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media/image21.bin" ContentType="image/x-emf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media/image29.bin" ContentType="image/png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8"/>
  </p:sldMasterIdLst>
  <p:notesMasterIdLst>
    <p:notesMasterId r:id="rId27"/>
  </p:notesMasterIdLst>
  <p:handoutMasterIdLst>
    <p:handoutMasterId r:id="rId28"/>
  </p:handoutMasterIdLst>
  <p:sldIdLst>
    <p:sldId id="2147480690" r:id="rId9"/>
    <p:sldId id="2147480661" r:id="rId10"/>
    <p:sldId id="2147480663" r:id="rId11"/>
    <p:sldId id="2147480662" r:id="rId12"/>
    <p:sldId id="2147480696" r:id="rId13"/>
    <p:sldId id="2147480672" r:id="rId14"/>
    <p:sldId id="2147480669" r:id="rId15"/>
    <p:sldId id="2147480671" r:id="rId16"/>
    <p:sldId id="2147480684" r:id="rId17"/>
    <p:sldId id="2147480700" r:id="rId18"/>
    <p:sldId id="2147480698" r:id="rId19"/>
    <p:sldId id="2147480697" r:id="rId20"/>
    <p:sldId id="2147480699" r:id="rId21"/>
    <p:sldId id="2147480673" r:id="rId22"/>
    <p:sldId id="2147480701" r:id="rId23"/>
    <p:sldId id="2147480686" r:id="rId24"/>
    <p:sldId id="2147480695" r:id="rId25"/>
    <p:sldId id="2147480679" r:id="rId26"/>
  </p:sldIdLst>
  <p:sldSz cx="12192000" cy="6858000"/>
  <p:notesSz cx="6858000" cy="9144000"/>
  <p:embeddedFontLst>
    <p:embeddedFont>
      <p:font typeface="CircularXX Offc" panose="020B0604020202020204" charset="0"/>
      <p:regular r:id="rId29"/>
      <p:bold r:id="rId30"/>
      <p:italic r:id="rId31"/>
      <p:boldItalic r:id="rId32"/>
    </p:embeddedFont>
    <p:embeddedFont>
      <p:font typeface="Gotham Rounded Book" pitchFamily="50" charset="0"/>
      <p:regular r:id="rId33"/>
      <p:italic r:id="rId34"/>
    </p:embeddedFont>
    <p:embeddedFont>
      <p:font typeface="Gotham Rounded Light" pitchFamily="50" charset="0"/>
      <p:regular r:id="rId35"/>
      <p:italic r:id="rId36"/>
    </p:embeddedFont>
    <p:embeddedFont>
      <p:font typeface="Gotham Rounded Medium" panose="02000000000000000000" pitchFamily="50" charset="0"/>
      <p:regular r:id="rId37"/>
      <p:italic r:id="rId38"/>
    </p:embeddedFont>
    <p:embeddedFont>
      <p:font typeface="Verdana" panose="020B0604030504040204" pitchFamily="34" charset="0"/>
      <p:regular r:id="rId39"/>
      <p:bold r:id="rId40"/>
      <p:italic r:id="rId41"/>
      <p:boldItalic r:id="rId42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" id="{930E517C-D1CC-4DE7-9241-B078F86F2328}">
          <p14:sldIdLst>
            <p14:sldId id="2147480690"/>
          </p14:sldIdLst>
        </p14:section>
        <p14:section name="Introduction" id="{1FA57A8A-7B72-4249-A6EE-61FF0CFD28D7}">
          <p14:sldIdLst>
            <p14:sldId id="2147480661"/>
            <p14:sldId id="2147480663"/>
            <p14:sldId id="2147480662"/>
            <p14:sldId id="2147480696"/>
          </p14:sldIdLst>
        </p14:section>
        <p14:section name="The Assessment Challenge" id="{C4D4421C-CA7D-473C-AB6A-69D222CFD1F7}">
          <p14:sldIdLst>
            <p14:sldId id="2147480672"/>
            <p14:sldId id="2147480669"/>
            <p14:sldId id="2147480671"/>
            <p14:sldId id="2147480684"/>
            <p14:sldId id="2147480700"/>
          </p14:sldIdLst>
        </p14:section>
        <p14:section name="How do we Compare?" id="{AD429371-F42C-4C83-9389-54A5585ED647}">
          <p14:sldIdLst>
            <p14:sldId id="2147480698"/>
            <p14:sldId id="2147480697"/>
          </p14:sldIdLst>
        </p14:section>
        <p14:section name="The CO2mpare viewer" id="{7FA04F88-D2EE-4549-962A-F9BE171DF593}">
          <p14:sldIdLst>
            <p14:sldId id="2147480699"/>
            <p14:sldId id="2147480673"/>
            <p14:sldId id="2147480701"/>
          </p14:sldIdLst>
        </p14:section>
        <p14:section name="New or Renew" id="{E98188CA-C5C6-4747-A7C0-F70C8ECE3BC1}">
          <p14:sldIdLst>
            <p14:sldId id="2147480686"/>
          </p14:sldIdLst>
        </p14:section>
        <p14:section name="Summary" id="{938EF880-5222-478D-90F6-06F8CC6BB58A}">
          <p14:sldIdLst>
            <p14:sldId id="2147480695"/>
            <p14:sldId id="2147480679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385E"/>
    <a:srgbClr val="347879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9523D37-4E8D-463F-A76D-E8E2171E9EFA}" v="71" dt="2024-09-17T14:33:24.69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392" autoAdjust="0"/>
    <p:restoredTop sz="93144" autoAdjust="0"/>
  </p:normalViewPr>
  <p:slideViewPr>
    <p:cSldViewPr snapToGrid="0" showGuides="1">
      <p:cViewPr varScale="1">
        <p:scale>
          <a:sx n="162" d="100"/>
          <a:sy n="162" d="100"/>
        </p:scale>
        <p:origin x="918" y="13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5400" y="6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font" Target="fonts/font11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font" Target="fonts/font6.fntdata"/><Relationship Id="rId42" Type="http://schemas.openxmlformats.org/officeDocument/2006/relationships/font" Target="fonts/font14.fntdata"/><Relationship Id="rId47" Type="http://schemas.microsoft.com/office/2016/11/relationships/changesInfo" Target="changesInfos/changesInfo1.xml"/><Relationship Id="rId7" Type="http://schemas.openxmlformats.org/officeDocument/2006/relationships/customXml" Target="../customXml/item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font" Target="fonts/font1.fntdata"/><Relationship Id="rId41" Type="http://schemas.openxmlformats.org/officeDocument/2006/relationships/font" Target="fonts/font13.fntdata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handoutMaster" Target="handoutMasters/handoutMaster1.xml"/><Relationship Id="rId36" Type="http://schemas.openxmlformats.org/officeDocument/2006/relationships/font" Target="fonts/font8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font" Target="fonts/font3.fntdata"/><Relationship Id="rId44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presProps" Target="presProps.xml"/><Relationship Id="rId48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aul Astle" userId="e7d3d11a-a38f-4880-a499-497e6159e966" providerId="ADAL" clId="{8D21D9CD-C6EA-437B-96E4-58387E9E4340}"/>
    <pc:docChg chg="undo redo custSel addSld delSld modSld sldOrd addSection delSection modSection">
      <pc:chgData name="Paul Astle" userId="e7d3d11a-a38f-4880-a499-497e6159e966" providerId="ADAL" clId="{8D21D9CD-C6EA-437B-96E4-58387E9E4340}" dt="2024-08-30T21:33:31.113" v="3942"/>
      <pc:docMkLst>
        <pc:docMk/>
      </pc:docMkLst>
      <pc:sldChg chg="del">
        <pc:chgData name="Paul Astle" userId="e7d3d11a-a38f-4880-a499-497e6159e966" providerId="ADAL" clId="{8D21D9CD-C6EA-437B-96E4-58387E9E4340}" dt="2024-08-29T20:38:50.635" v="1490" actId="47"/>
        <pc:sldMkLst>
          <pc:docMk/>
          <pc:sldMk cId="2368167326" sldId="256"/>
        </pc:sldMkLst>
      </pc:sldChg>
      <pc:sldChg chg="add del">
        <pc:chgData name="Paul Astle" userId="e7d3d11a-a38f-4880-a499-497e6159e966" providerId="ADAL" clId="{8D21D9CD-C6EA-437B-96E4-58387E9E4340}" dt="2024-08-30T12:07:45.439" v="2726" actId="47"/>
        <pc:sldMkLst>
          <pc:docMk/>
          <pc:sldMk cId="3797582595" sldId="258"/>
        </pc:sldMkLst>
      </pc:sldChg>
      <pc:sldChg chg="add del ord">
        <pc:chgData name="Paul Astle" userId="e7d3d11a-a38f-4880-a499-497e6159e966" providerId="ADAL" clId="{8D21D9CD-C6EA-437B-96E4-58387E9E4340}" dt="2024-08-30T12:07:45.439" v="2726" actId="47"/>
        <pc:sldMkLst>
          <pc:docMk/>
          <pc:sldMk cId="1276569087" sldId="260"/>
        </pc:sldMkLst>
      </pc:sldChg>
      <pc:sldChg chg="modSp new add del mod">
        <pc:chgData name="Paul Astle" userId="e7d3d11a-a38f-4880-a499-497e6159e966" providerId="ADAL" clId="{8D21D9CD-C6EA-437B-96E4-58387E9E4340}" dt="2024-08-30T12:07:45.439" v="2726" actId="47"/>
        <pc:sldMkLst>
          <pc:docMk/>
          <pc:sldMk cId="3111020440" sldId="261"/>
        </pc:sldMkLst>
        <pc:spChg chg="mod">
          <ac:chgData name="Paul Astle" userId="e7d3d11a-a38f-4880-a499-497e6159e966" providerId="ADAL" clId="{8D21D9CD-C6EA-437B-96E4-58387E9E4340}" dt="2024-08-17T20:33:14.092" v="8" actId="20577"/>
          <ac:spMkLst>
            <pc:docMk/>
            <pc:sldMk cId="3111020440" sldId="261"/>
            <ac:spMk id="2" creationId="{8BDE2033-F5C0-1EA9-9BED-6280D8AA57B9}"/>
          </ac:spMkLst>
        </pc:spChg>
        <pc:spChg chg="mod">
          <ac:chgData name="Paul Astle" userId="e7d3d11a-a38f-4880-a499-497e6159e966" providerId="ADAL" clId="{8D21D9CD-C6EA-437B-96E4-58387E9E4340}" dt="2024-08-17T20:49:34.137" v="921" actId="20577"/>
          <ac:spMkLst>
            <pc:docMk/>
            <pc:sldMk cId="3111020440" sldId="261"/>
            <ac:spMk id="3" creationId="{046008F0-87B3-7F36-A082-3416E097BA5A}"/>
          </ac:spMkLst>
        </pc:spChg>
      </pc:sldChg>
      <pc:sldChg chg="addSp delSp modSp new add del mod ord modTransition">
        <pc:chgData name="Paul Astle" userId="e7d3d11a-a38f-4880-a499-497e6159e966" providerId="ADAL" clId="{8D21D9CD-C6EA-437B-96E4-58387E9E4340}" dt="2024-08-30T14:56:14.919" v="3695"/>
        <pc:sldMkLst>
          <pc:docMk/>
          <pc:sldMk cId="2356264556" sldId="262"/>
        </pc:sldMkLst>
        <pc:spChg chg="del">
          <ac:chgData name="Paul Astle" userId="e7d3d11a-a38f-4880-a499-497e6159e966" providerId="ADAL" clId="{8D21D9CD-C6EA-437B-96E4-58387E9E4340}" dt="2024-08-30T14:38:26.005" v="3570" actId="478"/>
          <ac:spMkLst>
            <pc:docMk/>
            <pc:sldMk cId="2356264556" sldId="262"/>
            <ac:spMk id="2" creationId="{AC609316-C339-1162-BB38-437E85F00079}"/>
          </ac:spMkLst>
        </pc:spChg>
        <pc:spChg chg="del">
          <ac:chgData name="Paul Astle" userId="e7d3d11a-a38f-4880-a499-497e6159e966" providerId="ADAL" clId="{8D21D9CD-C6EA-437B-96E4-58387E9E4340}" dt="2024-08-30T14:38:25.217" v="3569" actId="478"/>
          <ac:spMkLst>
            <pc:docMk/>
            <pc:sldMk cId="2356264556" sldId="262"/>
            <ac:spMk id="3" creationId="{09B8BB70-2C37-3745-E87B-BDC395A0B53F}"/>
          </ac:spMkLst>
        </pc:spChg>
        <pc:picChg chg="add mod">
          <ac:chgData name="Paul Astle" userId="e7d3d11a-a38f-4880-a499-497e6159e966" providerId="ADAL" clId="{8D21D9CD-C6EA-437B-96E4-58387E9E4340}" dt="2024-08-30T14:38:19.532" v="3568" actId="732"/>
          <ac:picMkLst>
            <pc:docMk/>
            <pc:sldMk cId="2356264556" sldId="262"/>
            <ac:picMk id="1026" creationId="{B202D10D-F53E-B207-75CE-55745E24AADD}"/>
          </ac:picMkLst>
        </pc:picChg>
      </pc:sldChg>
      <pc:sldChg chg="new del">
        <pc:chgData name="Paul Astle" userId="e7d3d11a-a38f-4880-a499-497e6159e966" providerId="ADAL" clId="{8D21D9CD-C6EA-437B-96E4-58387E9E4340}" dt="2024-08-29T20:38:50.635" v="1490" actId="47"/>
        <pc:sldMkLst>
          <pc:docMk/>
          <pc:sldMk cId="3428267516" sldId="263"/>
        </pc:sldMkLst>
      </pc:sldChg>
      <pc:sldChg chg="modSp add del mod">
        <pc:chgData name="Paul Astle" userId="e7d3d11a-a38f-4880-a499-497e6159e966" providerId="ADAL" clId="{8D21D9CD-C6EA-437B-96E4-58387E9E4340}" dt="2024-08-30T14:12:49.145" v="3041" actId="47"/>
        <pc:sldMkLst>
          <pc:docMk/>
          <pc:sldMk cId="2410317820" sldId="264"/>
        </pc:sldMkLst>
        <pc:spChg chg="mod">
          <ac:chgData name="Paul Astle" userId="e7d3d11a-a38f-4880-a499-497e6159e966" providerId="ADAL" clId="{8D21D9CD-C6EA-437B-96E4-58387E9E4340}" dt="2024-08-29T20:04:38.785" v="1377" actId="255"/>
          <ac:spMkLst>
            <pc:docMk/>
            <pc:sldMk cId="2410317820" sldId="264"/>
            <ac:spMk id="4" creationId="{6B0476E5-A52A-4B07-881A-E13DA0F123F3}"/>
          </ac:spMkLst>
        </pc:spChg>
      </pc:sldChg>
      <pc:sldChg chg="addSp delSp modSp add mod modTransition">
        <pc:chgData name="Paul Astle" userId="e7d3d11a-a38f-4880-a499-497e6159e966" providerId="ADAL" clId="{8D21D9CD-C6EA-437B-96E4-58387E9E4340}" dt="2024-08-30T21:31:27.004" v="3937"/>
        <pc:sldMkLst>
          <pc:docMk/>
          <pc:sldMk cId="2370865088" sldId="2146848162"/>
        </pc:sldMkLst>
        <pc:spChg chg="mod">
          <ac:chgData name="Paul Astle" userId="e7d3d11a-a38f-4880-a499-497e6159e966" providerId="ADAL" clId="{8D21D9CD-C6EA-437B-96E4-58387E9E4340}" dt="2024-08-30T21:29:43.565" v="3894" actId="207"/>
          <ac:spMkLst>
            <pc:docMk/>
            <pc:sldMk cId="2370865088" sldId="2146848162"/>
            <ac:spMk id="3" creationId="{A5FF75E0-1BB3-4CF0-848A-D978DD9F00B1}"/>
          </ac:spMkLst>
        </pc:spChg>
        <pc:spChg chg="del">
          <ac:chgData name="Paul Astle" userId="e7d3d11a-a38f-4880-a499-497e6159e966" providerId="ADAL" clId="{8D21D9CD-C6EA-437B-96E4-58387E9E4340}" dt="2024-08-30T21:29:07.458" v="3887" actId="478"/>
          <ac:spMkLst>
            <pc:docMk/>
            <pc:sldMk cId="2370865088" sldId="2146848162"/>
            <ac:spMk id="5" creationId="{D7FD4F0E-CD52-4E94-A9D4-A18F20E6F98A}"/>
          </ac:spMkLst>
        </pc:spChg>
        <pc:spChg chg="add del mod">
          <ac:chgData name="Paul Astle" userId="e7d3d11a-a38f-4880-a499-497e6159e966" providerId="ADAL" clId="{8D21D9CD-C6EA-437B-96E4-58387E9E4340}" dt="2024-08-30T21:29:21.040" v="3889" actId="478"/>
          <ac:spMkLst>
            <pc:docMk/>
            <pc:sldMk cId="2370865088" sldId="2146848162"/>
            <ac:spMk id="9" creationId="{DD375A49-F743-5AC6-8CE2-6E6C3347C8BF}"/>
          </ac:spMkLst>
        </pc:spChg>
        <pc:spChg chg="del">
          <ac:chgData name="Paul Astle" userId="e7d3d11a-a38f-4880-a499-497e6159e966" providerId="ADAL" clId="{8D21D9CD-C6EA-437B-96E4-58387E9E4340}" dt="2024-08-30T21:29:31.745" v="3892" actId="478"/>
          <ac:spMkLst>
            <pc:docMk/>
            <pc:sldMk cId="2370865088" sldId="2146848162"/>
            <ac:spMk id="10" creationId="{E0046321-F7E2-8BE4-DA2C-95C7A3274AC7}"/>
          </ac:spMkLst>
        </pc:spChg>
        <pc:spChg chg="add mod">
          <ac:chgData name="Paul Astle" userId="e7d3d11a-a38f-4880-a499-497e6159e966" providerId="ADAL" clId="{8D21D9CD-C6EA-437B-96E4-58387E9E4340}" dt="2024-08-30T21:31:10.496" v="3935" actId="1076"/>
          <ac:spMkLst>
            <pc:docMk/>
            <pc:sldMk cId="2370865088" sldId="2146848162"/>
            <ac:spMk id="12" creationId="{9A9B47C5-3FAF-DC77-21DE-124D592B5117}"/>
          </ac:spMkLst>
        </pc:spChg>
        <pc:picChg chg="add mod">
          <ac:chgData name="Paul Astle" userId="e7d3d11a-a38f-4880-a499-497e6159e966" providerId="ADAL" clId="{8D21D9CD-C6EA-437B-96E4-58387E9E4340}" dt="2024-08-30T21:31:06.116" v="3934" actId="1076"/>
          <ac:picMkLst>
            <pc:docMk/>
            <pc:sldMk cId="2370865088" sldId="2146848162"/>
            <ac:picMk id="4" creationId="{D03BE242-9494-D436-E6C8-F362EF0DA26C}"/>
          </ac:picMkLst>
        </pc:picChg>
        <pc:picChg chg="mod modCrop">
          <ac:chgData name="Paul Astle" userId="e7d3d11a-a38f-4880-a499-497e6159e966" providerId="ADAL" clId="{8D21D9CD-C6EA-437B-96E4-58387E9E4340}" dt="2024-08-30T21:29:14.383" v="3888" actId="732"/>
          <ac:picMkLst>
            <pc:docMk/>
            <pc:sldMk cId="2370865088" sldId="2146848162"/>
            <ac:picMk id="6" creationId="{606B5A65-2B5A-D5F5-B4A0-EC752C2CC52B}"/>
          </ac:picMkLst>
        </pc:picChg>
        <pc:picChg chg="del">
          <ac:chgData name="Paul Astle" userId="e7d3d11a-a38f-4880-a499-497e6159e966" providerId="ADAL" clId="{8D21D9CD-C6EA-437B-96E4-58387E9E4340}" dt="2024-08-30T21:29:32.771" v="3893" actId="478"/>
          <ac:picMkLst>
            <pc:docMk/>
            <pc:sldMk cId="2370865088" sldId="2146848162"/>
            <ac:picMk id="7" creationId="{6C9FC6BF-D796-962B-506C-E1A9C486C625}"/>
          </ac:picMkLst>
        </pc:picChg>
        <pc:picChg chg="add del mod">
          <ac:chgData name="Paul Astle" userId="e7d3d11a-a38f-4880-a499-497e6159e966" providerId="ADAL" clId="{8D21D9CD-C6EA-437B-96E4-58387E9E4340}" dt="2024-08-30T21:30:04.152" v="3899" actId="478"/>
          <ac:picMkLst>
            <pc:docMk/>
            <pc:sldMk cId="2370865088" sldId="2146848162"/>
            <ac:picMk id="11" creationId="{72803E1A-A062-BC52-B49E-FF2310ABEF5D}"/>
          </ac:picMkLst>
        </pc:picChg>
      </pc:sldChg>
      <pc:sldChg chg="add del">
        <pc:chgData name="Paul Astle" userId="e7d3d11a-a38f-4880-a499-497e6159e966" providerId="ADAL" clId="{8D21D9CD-C6EA-437B-96E4-58387E9E4340}" dt="2024-08-30T12:07:45.439" v="2726" actId="47"/>
        <pc:sldMkLst>
          <pc:docMk/>
          <pc:sldMk cId="1417326606" sldId="2147470969"/>
        </pc:sldMkLst>
      </pc:sldChg>
      <pc:sldChg chg="add del">
        <pc:chgData name="Paul Astle" userId="e7d3d11a-a38f-4880-a499-497e6159e966" providerId="ADAL" clId="{8D21D9CD-C6EA-437B-96E4-58387E9E4340}" dt="2024-08-30T12:07:45.439" v="2726" actId="47"/>
        <pc:sldMkLst>
          <pc:docMk/>
          <pc:sldMk cId="356588231" sldId="2147480378"/>
        </pc:sldMkLst>
      </pc:sldChg>
      <pc:sldChg chg="add del">
        <pc:chgData name="Paul Astle" userId="e7d3d11a-a38f-4880-a499-497e6159e966" providerId="ADAL" clId="{8D21D9CD-C6EA-437B-96E4-58387E9E4340}" dt="2024-08-30T12:07:45.439" v="2726" actId="47"/>
        <pc:sldMkLst>
          <pc:docMk/>
          <pc:sldMk cId="2364871258" sldId="2147480647"/>
        </pc:sldMkLst>
      </pc:sldChg>
      <pc:sldChg chg="add del">
        <pc:chgData name="Paul Astle" userId="e7d3d11a-a38f-4880-a499-497e6159e966" providerId="ADAL" clId="{8D21D9CD-C6EA-437B-96E4-58387E9E4340}" dt="2024-08-30T12:07:45.439" v="2726" actId="47"/>
        <pc:sldMkLst>
          <pc:docMk/>
          <pc:sldMk cId="114922353" sldId="2147480648"/>
        </pc:sldMkLst>
      </pc:sldChg>
      <pc:sldChg chg="add del">
        <pc:chgData name="Paul Astle" userId="e7d3d11a-a38f-4880-a499-497e6159e966" providerId="ADAL" clId="{8D21D9CD-C6EA-437B-96E4-58387E9E4340}" dt="2024-08-30T12:07:45.439" v="2726" actId="47"/>
        <pc:sldMkLst>
          <pc:docMk/>
          <pc:sldMk cId="2187269854" sldId="2147480649"/>
        </pc:sldMkLst>
      </pc:sldChg>
      <pc:sldChg chg="add del">
        <pc:chgData name="Paul Astle" userId="e7d3d11a-a38f-4880-a499-497e6159e966" providerId="ADAL" clId="{8D21D9CD-C6EA-437B-96E4-58387E9E4340}" dt="2024-08-30T12:07:45.439" v="2726" actId="47"/>
        <pc:sldMkLst>
          <pc:docMk/>
          <pc:sldMk cId="2488966433" sldId="2147480650"/>
        </pc:sldMkLst>
      </pc:sldChg>
      <pc:sldChg chg="add del">
        <pc:chgData name="Paul Astle" userId="e7d3d11a-a38f-4880-a499-497e6159e966" providerId="ADAL" clId="{8D21D9CD-C6EA-437B-96E4-58387E9E4340}" dt="2024-08-30T12:07:45.439" v="2726" actId="47"/>
        <pc:sldMkLst>
          <pc:docMk/>
          <pc:sldMk cId="313922149" sldId="2147480651"/>
        </pc:sldMkLst>
      </pc:sldChg>
      <pc:sldChg chg="add del">
        <pc:chgData name="Paul Astle" userId="e7d3d11a-a38f-4880-a499-497e6159e966" providerId="ADAL" clId="{8D21D9CD-C6EA-437B-96E4-58387E9E4340}" dt="2024-08-30T12:07:45.439" v="2726" actId="47"/>
        <pc:sldMkLst>
          <pc:docMk/>
          <pc:sldMk cId="74885847" sldId="2147480654"/>
        </pc:sldMkLst>
      </pc:sldChg>
      <pc:sldChg chg="add del">
        <pc:chgData name="Paul Astle" userId="e7d3d11a-a38f-4880-a499-497e6159e966" providerId="ADAL" clId="{8D21D9CD-C6EA-437B-96E4-58387E9E4340}" dt="2024-08-30T12:07:45.439" v="2726" actId="47"/>
        <pc:sldMkLst>
          <pc:docMk/>
          <pc:sldMk cId="1589377578" sldId="2147480657"/>
        </pc:sldMkLst>
      </pc:sldChg>
      <pc:sldChg chg="add del">
        <pc:chgData name="Paul Astle" userId="e7d3d11a-a38f-4880-a499-497e6159e966" providerId="ADAL" clId="{8D21D9CD-C6EA-437B-96E4-58387E9E4340}" dt="2024-08-30T12:07:45.439" v="2726" actId="47"/>
        <pc:sldMkLst>
          <pc:docMk/>
          <pc:sldMk cId="4151300524" sldId="2147480658"/>
        </pc:sldMkLst>
      </pc:sldChg>
      <pc:sldChg chg="addSp delSp modSp new del mod modClrScheme chgLayout">
        <pc:chgData name="Paul Astle" userId="e7d3d11a-a38f-4880-a499-497e6159e966" providerId="ADAL" clId="{8D21D9CD-C6EA-437B-96E4-58387E9E4340}" dt="2024-08-29T20:38:50.635" v="1490" actId="47"/>
        <pc:sldMkLst>
          <pc:docMk/>
          <pc:sldMk cId="1685634177" sldId="2147480659"/>
        </pc:sldMkLst>
        <pc:spChg chg="mod ord">
          <ac:chgData name="Paul Astle" userId="e7d3d11a-a38f-4880-a499-497e6159e966" providerId="ADAL" clId="{8D21D9CD-C6EA-437B-96E4-58387E9E4340}" dt="2024-08-29T09:28:46.978" v="931" actId="700"/>
          <ac:spMkLst>
            <pc:docMk/>
            <pc:sldMk cId="1685634177" sldId="2147480659"/>
            <ac:spMk id="2" creationId="{BD8C110F-1E0D-1F09-EC54-2AF294695F97}"/>
          </ac:spMkLst>
        </pc:spChg>
        <pc:spChg chg="del mod ord">
          <ac:chgData name="Paul Astle" userId="e7d3d11a-a38f-4880-a499-497e6159e966" providerId="ADAL" clId="{8D21D9CD-C6EA-437B-96E4-58387E9E4340}" dt="2024-08-29T09:28:46.978" v="931" actId="700"/>
          <ac:spMkLst>
            <pc:docMk/>
            <pc:sldMk cId="1685634177" sldId="2147480659"/>
            <ac:spMk id="3" creationId="{363228AD-08A8-D188-C8B3-05A60D88B39E}"/>
          </ac:spMkLst>
        </pc:spChg>
        <pc:spChg chg="del mod ord">
          <ac:chgData name="Paul Astle" userId="e7d3d11a-a38f-4880-a499-497e6159e966" providerId="ADAL" clId="{8D21D9CD-C6EA-437B-96E4-58387E9E4340}" dt="2024-08-29T09:28:46.978" v="931" actId="700"/>
          <ac:spMkLst>
            <pc:docMk/>
            <pc:sldMk cId="1685634177" sldId="2147480659"/>
            <ac:spMk id="4" creationId="{24A3053A-D5D4-2410-4AD0-DC07FC7B7F0C}"/>
          </ac:spMkLst>
        </pc:spChg>
        <pc:spChg chg="del">
          <ac:chgData name="Paul Astle" userId="e7d3d11a-a38f-4880-a499-497e6159e966" providerId="ADAL" clId="{8D21D9CD-C6EA-437B-96E4-58387E9E4340}" dt="2024-08-29T09:28:46.978" v="931" actId="700"/>
          <ac:spMkLst>
            <pc:docMk/>
            <pc:sldMk cId="1685634177" sldId="2147480659"/>
            <ac:spMk id="5" creationId="{2CD0E4DA-0CBF-5C2D-A26C-767297FD8B55}"/>
          </ac:spMkLst>
        </pc:spChg>
        <pc:spChg chg="add mod ord">
          <ac:chgData name="Paul Astle" userId="e7d3d11a-a38f-4880-a499-497e6159e966" providerId="ADAL" clId="{8D21D9CD-C6EA-437B-96E4-58387E9E4340}" dt="2024-08-29T09:28:46.978" v="931" actId="700"/>
          <ac:spMkLst>
            <pc:docMk/>
            <pc:sldMk cId="1685634177" sldId="2147480659"/>
            <ac:spMk id="6" creationId="{BB25806D-C67E-BE1F-1687-1A877CE483B6}"/>
          </ac:spMkLst>
        </pc:spChg>
        <pc:spChg chg="add mod ord">
          <ac:chgData name="Paul Astle" userId="e7d3d11a-a38f-4880-a499-497e6159e966" providerId="ADAL" clId="{8D21D9CD-C6EA-437B-96E4-58387E9E4340}" dt="2024-08-29T09:29:10.652" v="936" actId="1076"/>
          <ac:spMkLst>
            <pc:docMk/>
            <pc:sldMk cId="1685634177" sldId="2147480659"/>
            <ac:spMk id="7" creationId="{47A022AC-409E-FBDF-4FE3-85E623C465DB}"/>
          </ac:spMkLst>
        </pc:spChg>
      </pc:sldChg>
      <pc:sldChg chg="new del">
        <pc:chgData name="Paul Astle" userId="e7d3d11a-a38f-4880-a499-497e6159e966" providerId="ADAL" clId="{8D21D9CD-C6EA-437B-96E4-58387E9E4340}" dt="2024-08-29T20:38:50.635" v="1490" actId="47"/>
        <pc:sldMkLst>
          <pc:docMk/>
          <pc:sldMk cId="21308791" sldId="2147480660"/>
        </pc:sldMkLst>
      </pc:sldChg>
      <pc:sldChg chg="addSp delSp modSp new add del mod modTransition setBg modClrScheme chgLayout">
        <pc:chgData name="Paul Astle" userId="e7d3d11a-a38f-4880-a499-497e6159e966" providerId="ADAL" clId="{8D21D9CD-C6EA-437B-96E4-58387E9E4340}" dt="2024-08-30T14:56:14.919" v="3695"/>
        <pc:sldMkLst>
          <pc:docMk/>
          <pc:sldMk cId="3136551916" sldId="2147480661"/>
        </pc:sldMkLst>
        <pc:spChg chg="mod ord">
          <ac:chgData name="Paul Astle" userId="e7d3d11a-a38f-4880-a499-497e6159e966" providerId="ADAL" clId="{8D21D9CD-C6EA-437B-96E4-58387E9E4340}" dt="2024-08-30T14:08:37.507" v="3018" actId="6549"/>
          <ac:spMkLst>
            <pc:docMk/>
            <pc:sldMk cId="3136551916" sldId="2147480661"/>
            <ac:spMk id="2" creationId="{61499A56-1C1D-3895-F399-D32AE57DEA00}"/>
          </ac:spMkLst>
        </pc:spChg>
        <pc:spChg chg="del">
          <ac:chgData name="Paul Astle" userId="e7d3d11a-a38f-4880-a499-497e6159e966" providerId="ADAL" clId="{8D21D9CD-C6EA-437B-96E4-58387E9E4340}" dt="2024-08-29T09:45:05.264" v="940"/>
          <ac:spMkLst>
            <pc:docMk/>
            <pc:sldMk cId="3136551916" sldId="2147480661"/>
            <ac:spMk id="3" creationId="{D56C0662-1EC0-C775-AE2E-B86EAC3F7862}"/>
          </ac:spMkLst>
        </pc:spChg>
        <pc:spChg chg="mod">
          <ac:chgData name="Paul Astle" userId="e7d3d11a-a38f-4880-a499-497e6159e966" providerId="ADAL" clId="{8D21D9CD-C6EA-437B-96E4-58387E9E4340}" dt="2024-08-29T09:51:16.682" v="1202" actId="26606"/>
          <ac:spMkLst>
            <pc:docMk/>
            <pc:sldMk cId="3136551916" sldId="2147480661"/>
            <ac:spMk id="4" creationId="{7B994B6B-D074-9193-2FBD-9D2CCFB222B0}"/>
          </ac:spMkLst>
        </pc:spChg>
        <pc:spChg chg="add del mod ord">
          <ac:chgData name="Paul Astle" userId="e7d3d11a-a38f-4880-a499-497e6159e966" providerId="ADAL" clId="{8D21D9CD-C6EA-437B-96E4-58387E9E4340}" dt="2024-08-29T09:45:30.241" v="971"/>
          <ac:spMkLst>
            <pc:docMk/>
            <pc:sldMk cId="3136551916" sldId="2147480661"/>
            <ac:spMk id="7" creationId="{6DE080B5-7661-8DE6-CD81-27EB6F1AF0D6}"/>
          </ac:spMkLst>
        </pc:spChg>
        <pc:spChg chg="add del mod ord">
          <ac:chgData name="Paul Astle" userId="e7d3d11a-a38f-4880-a499-497e6159e966" providerId="ADAL" clId="{8D21D9CD-C6EA-437B-96E4-58387E9E4340}" dt="2024-08-29T09:45:37.033" v="1014"/>
          <ac:spMkLst>
            <pc:docMk/>
            <pc:sldMk cId="3136551916" sldId="2147480661"/>
            <ac:spMk id="10" creationId="{DFF7EE4F-4628-70B2-2A6A-102F787025A4}"/>
          </ac:spMkLst>
        </pc:spChg>
        <pc:spChg chg="add del mod ord">
          <ac:chgData name="Paul Astle" userId="e7d3d11a-a38f-4880-a499-497e6159e966" providerId="ADAL" clId="{8D21D9CD-C6EA-437B-96E4-58387E9E4340}" dt="2024-08-29T09:45:43.241" v="1057"/>
          <ac:spMkLst>
            <pc:docMk/>
            <pc:sldMk cId="3136551916" sldId="2147480661"/>
            <ac:spMk id="13" creationId="{82B949D5-4DCF-94EE-4557-3E31491EA7BB}"/>
          </ac:spMkLst>
        </pc:spChg>
        <pc:spChg chg="add del mod ord">
          <ac:chgData name="Paul Astle" userId="e7d3d11a-a38f-4880-a499-497e6159e966" providerId="ADAL" clId="{8D21D9CD-C6EA-437B-96E4-58387E9E4340}" dt="2024-08-29T09:45:47.304" v="1100"/>
          <ac:spMkLst>
            <pc:docMk/>
            <pc:sldMk cId="3136551916" sldId="2147480661"/>
            <ac:spMk id="16" creationId="{F15F6F53-9E21-47B2-8F9C-016231D037F1}"/>
          </ac:spMkLst>
        </pc:spChg>
        <pc:spChg chg="add del mod ord">
          <ac:chgData name="Paul Astle" userId="e7d3d11a-a38f-4880-a499-497e6159e966" providerId="ADAL" clId="{8D21D9CD-C6EA-437B-96E4-58387E9E4340}" dt="2024-08-29T09:49:08.041" v="1143"/>
          <ac:spMkLst>
            <pc:docMk/>
            <pc:sldMk cId="3136551916" sldId="2147480661"/>
            <ac:spMk id="19" creationId="{2E0D1F0D-AAE0-D8DD-931C-105EE177BE10}"/>
          </ac:spMkLst>
        </pc:spChg>
        <pc:spChg chg="add del mod">
          <ac:chgData name="Paul Astle" userId="e7d3d11a-a38f-4880-a499-497e6159e966" providerId="ADAL" clId="{8D21D9CD-C6EA-437B-96E4-58387E9E4340}" dt="2024-08-29T09:51:16.682" v="1202" actId="26606"/>
          <ac:spMkLst>
            <pc:docMk/>
            <pc:sldMk cId="3136551916" sldId="2147480661"/>
            <ac:spMk id="22" creationId="{C47FB95E-8656-95D0-5B4E-11A8ED59D49F}"/>
          </ac:spMkLst>
        </pc:spChg>
        <pc:spChg chg="add del mod ord">
          <ac:chgData name="Paul Astle" userId="e7d3d11a-a38f-4880-a499-497e6159e966" providerId="ADAL" clId="{8D21D9CD-C6EA-437B-96E4-58387E9E4340}" dt="2024-08-29T20:03:02.449" v="1373" actId="478"/>
          <ac:spMkLst>
            <pc:docMk/>
            <pc:sldMk cId="3136551916" sldId="2147480661"/>
            <ac:spMk id="23" creationId="{D881E4A4-44DA-8A08-930B-BB0CC59E15EA}"/>
          </ac:spMkLst>
        </pc:spChg>
        <pc:spChg chg="add del mod">
          <ac:chgData name="Paul Astle" userId="e7d3d11a-a38f-4880-a499-497e6159e966" providerId="ADAL" clId="{8D21D9CD-C6EA-437B-96E4-58387E9E4340}" dt="2024-08-29T20:03:05.078" v="1374" actId="478"/>
          <ac:spMkLst>
            <pc:docMk/>
            <pc:sldMk cId="3136551916" sldId="2147480661"/>
            <ac:spMk id="27" creationId="{5C968BCB-5B55-F97C-6DC1-328D1571F9C4}"/>
          </ac:spMkLst>
        </pc:spChg>
        <pc:picChg chg="add del mod ord replST">
          <ac:chgData name="Paul Astle" userId="e7d3d11a-a38f-4880-a499-497e6159e966" providerId="ADAL" clId="{8D21D9CD-C6EA-437B-96E4-58387E9E4340}" dt="2024-08-29T09:45:30.274" v="997"/>
          <ac:picMkLst>
            <pc:docMk/>
            <pc:sldMk cId="3136551916" sldId="2147480661"/>
            <ac:picMk id="6" creationId="{7F6F53DF-702A-B3D9-A774-5F377DF239EF}"/>
          </ac:picMkLst>
        </pc:picChg>
        <pc:picChg chg="add del mod replST">
          <ac:chgData name="Paul Astle" userId="e7d3d11a-a38f-4880-a499-497e6159e966" providerId="ADAL" clId="{8D21D9CD-C6EA-437B-96E4-58387E9E4340}" dt="2024-08-29T09:45:37.058" v="1040"/>
          <ac:picMkLst>
            <pc:docMk/>
            <pc:sldMk cId="3136551916" sldId="2147480661"/>
            <ac:picMk id="9" creationId="{9E62B12D-8201-ED36-65CF-CDB7720147A4}"/>
          </ac:picMkLst>
        </pc:picChg>
        <pc:picChg chg="add del mod replST">
          <ac:chgData name="Paul Astle" userId="e7d3d11a-a38f-4880-a499-497e6159e966" providerId="ADAL" clId="{8D21D9CD-C6EA-437B-96E4-58387E9E4340}" dt="2024-08-29T09:45:43.276" v="1083"/>
          <ac:picMkLst>
            <pc:docMk/>
            <pc:sldMk cId="3136551916" sldId="2147480661"/>
            <ac:picMk id="12" creationId="{E19189CE-99C5-0F9E-6502-3A4F94699EA5}"/>
          </ac:picMkLst>
        </pc:picChg>
        <pc:picChg chg="add del mod replST">
          <ac:chgData name="Paul Astle" userId="e7d3d11a-a38f-4880-a499-497e6159e966" providerId="ADAL" clId="{8D21D9CD-C6EA-437B-96E4-58387E9E4340}" dt="2024-08-29T09:45:47.327" v="1126"/>
          <ac:picMkLst>
            <pc:docMk/>
            <pc:sldMk cId="3136551916" sldId="2147480661"/>
            <ac:picMk id="15" creationId="{FCBB5733-2C0E-BC4B-E2AD-5099E40B870A}"/>
          </ac:picMkLst>
        </pc:picChg>
        <pc:picChg chg="add del mod replST">
          <ac:chgData name="Paul Astle" userId="e7d3d11a-a38f-4880-a499-497e6159e966" providerId="ADAL" clId="{8D21D9CD-C6EA-437B-96E4-58387E9E4340}" dt="2024-08-29T09:45:55.159" v="1142" actId="478"/>
          <ac:picMkLst>
            <pc:docMk/>
            <pc:sldMk cId="3136551916" sldId="2147480661"/>
            <ac:picMk id="18" creationId="{DC92C044-AABB-17DA-07B7-D382BAE58916}"/>
          </ac:picMkLst>
        </pc:picChg>
        <pc:picChg chg="add mod modCrop">
          <ac:chgData name="Paul Astle" userId="e7d3d11a-a38f-4880-a499-497e6159e966" providerId="ADAL" clId="{8D21D9CD-C6EA-437B-96E4-58387E9E4340}" dt="2024-08-29T09:51:16.682" v="1202" actId="26606"/>
          <ac:picMkLst>
            <pc:docMk/>
            <pc:sldMk cId="3136551916" sldId="2147480661"/>
            <ac:picMk id="21" creationId="{CDC4BC47-8C4B-F7D6-0739-311DF4950C9C}"/>
          </ac:picMkLst>
        </pc:picChg>
      </pc:sldChg>
      <pc:sldChg chg="addSp delSp modSp new add del mod modTransition modAnim">
        <pc:chgData name="Paul Astle" userId="e7d3d11a-a38f-4880-a499-497e6159e966" providerId="ADAL" clId="{8D21D9CD-C6EA-437B-96E4-58387E9E4340}" dt="2024-08-30T15:43:59.746" v="3870"/>
        <pc:sldMkLst>
          <pc:docMk/>
          <pc:sldMk cId="3772919802" sldId="2147480662"/>
        </pc:sldMkLst>
        <pc:spChg chg="del mod">
          <ac:chgData name="Paul Astle" userId="e7d3d11a-a38f-4880-a499-497e6159e966" providerId="ADAL" clId="{8D21D9CD-C6EA-437B-96E4-58387E9E4340}" dt="2024-08-29T20:11:07.174" v="1399" actId="478"/>
          <ac:spMkLst>
            <pc:docMk/>
            <pc:sldMk cId="3772919802" sldId="2147480662"/>
            <ac:spMk id="2" creationId="{8B504D1E-ECF9-F435-B2AB-DC77E1E87EC4}"/>
          </ac:spMkLst>
        </pc:spChg>
        <pc:spChg chg="add del mod">
          <ac:chgData name="Paul Astle" userId="e7d3d11a-a38f-4880-a499-497e6159e966" providerId="ADAL" clId="{8D21D9CD-C6EA-437B-96E4-58387E9E4340}" dt="2024-08-29T20:11:09.476" v="1400" actId="478"/>
          <ac:spMkLst>
            <pc:docMk/>
            <pc:sldMk cId="3772919802" sldId="2147480662"/>
            <ac:spMk id="8" creationId="{FD71379C-E37C-FEA3-F665-94D9F726539E}"/>
          </ac:spMkLst>
        </pc:spChg>
        <pc:spChg chg="add mod">
          <ac:chgData name="Paul Astle" userId="e7d3d11a-a38f-4880-a499-497e6159e966" providerId="ADAL" clId="{8D21D9CD-C6EA-437B-96E4-58387E9E4340}" dt="2024-08-30T14:14:51.727" v="3054" actId="1076"/>
          <ac:spMkLst>
            <pc:docMk/>
            <pc:sldMk cId="3772919802" sldId="2147480662"/>
            <ac:spMk id="9" creationId="{D7917477-7549-A3A7-6B11-93B4844693FE}"/>
          </ac:spMkLst>
        </pc:spChg>
        <pc:picChg chg="add mod">
          <ac:chgData name="Paul Astle" userId="e7d3d11a-a38f-4880-a499-497e6159e966" providerId="ADAL" clId="{8D21D9CD-C6EA-437B-96E4-58387E9E4340}" dt="2024-08-30T14:14:45.228" v="3052" actId="1076"/>
          <ac:picMkLst>
            <pc:docMk/>
            <pc:sldMk cId="3772919802" sldId="2147480662"/>
            <ac:picMk id="5" creationId="{40F8B174-D4DE-699D-B591-C3657AA5F94D}"/>
          </ac:picMkLst>
        </pc:picChg>
        <pc:picChg chg="add mod">
          <ac:chgData name="Paul Astle" userId="e7d3d11a-a38f-4880-a499-497e6159e966" providerId="ADAL" clId="{8D21D9CD-C6EA-437B-96E4-58387E9E4340}" dt="2024-08-29T20:11:16.030" v="1402" actId="1076"/>
          <ac:picMkLst>
            <pc:docMk/>
            <pc:sldMk cId="3772919802" sldId="2147480662"/>
            <ac:picMk id="6" creationId="{683DACF5-2B05-2677-B18A-0E3304D41295}"/>
          </ac:picMkLst>
        </pc:picChg>
        <pc:cxnChg chg="add mod">
          <ac:chgData name="Paul Astle" userId="e7d3d11a-a38f-4880-a499-497e6159e966" providerId="ADAL" clId="{8D21D9CD-C6EA-437B-96E4-58387E9E4340}" dt="2024-08-30T14:14:47.977" v="3053" actId="14100"/>
          <ac:cxnSpMkLst>
            <pc:docMk/>
            <pc:sldMk cId="3772919802" sldId="2147480662"/>
            <ac:cxnSpMk id="11" creationId="{FAA0EC26-0E67-66B8-E80D-90CAF432B359}"/>
          </ac:cxnSpMkLst>
        </pc:cxnChg>
      </pc:sldChg>
      <pc:sldChg chg="addSp delSp modSp add del mod ord modTransition">
        <pc:chgData name="Paul Astle" userId="e7d3d11a-a38f-4880-a499-497e6159e966" providerId="ADAL" clId="{8D21D9CD-C6EA-437B-96E4-58387E9E4340}" dt="2024-08-30T14:56:14.919" v="3695"/>
        <pc:sldMkLst>
          <pc:docMk/>
          <pc:sldMk cId="2160947083" sldId="2147480663"/>
        </pc:sldMkLst>
        <pc:spChg chg="add del mod topLvl">
          <ac:chgData name="Paul Astle" userId="e7d3d11a-a38f-4880-a499-497e6159e966" providerId="ADAL" clId="{8D21D9CD-C6EA-437B-96E4-58387E9E4340}" dt="2024-08-30T14:11:35.669" v="3030" actId="1076"/>
          <ac:spMkLst>
            <pc:docMk/>
            <pc:sldMk cId="2160947083" sldId="2147480663"/>
            <ac:spMk id="13" creationId="{2AD33E8F-77F1-FC62-0DB8-4C4D24F18D7E}"/>
          </ac:spMkLst>
        </pc:spChg>
        <pc:spChg chg="add mod">
          <ac:chgData name="Paul Astle" userId="e7d3d11a-a38f-4880-a499-497e6159e966" providerId="ADAL" clId="{8D21D9CD-C6EA-437B-96E4-58387E9E4340}" dt="2024-08-30T14:11:46.404" v="3032" actId="1076"/>
          <ac:spMkLst>
            <pc:docMk/>
            <pc:sldMk cId="2160947083" sldId="2147480663"/>
            <ac:spMk id="14" creationId="{FCDC38A5-F83A-58D5-8365-E3ABA722BD8D}"/>
          </ac:spMkLst>
        </pc:spChg>
        <pc:spChg chg="add mod">
          <ac:chgData name="Paul Astle" userId="e7d3d11a-a38f-4880-a499-497e6159e966" providerId="ADAL" clId="{8D21D9CD-C6EA-437B-96E4-58387E9E4340}" dt="2024-08-30T14:12:39.172" v="3040" actId="1076"/>
          <ac:spMkLst>
            <pc:docMk/>
            <pc:sldMk cId="2160947083" sldId="2147480663"/>
            <ac:spMk id="18" creationId="{7870048E-8220-8D92-6B54-4B471C07041F}"/>
          </ac:spMkLst>
        </pc:spChg>
        <pc:spChg chg="add mod">
          <ac:chgData name="Paul Astle" userId="e7d3d11a-a38f-4880-a499-497e6159e966" providerId="ADAL" clId="{8D21D9CD-C6EA-437B-96E4-58387E9E4340}" dt="2024-08-30T14:12:39.172" v="3040" actId="1076"/>
          <ac:spMkLst>
            <pc:docMk/>
            <pc:sldMk cId="2160947083" sldId="2147480663"/>
            <ac:spMk id="20" creationId="{EFABF9BF-C9EA-CEC3-6C0F-F3A4CA29BE36}"/>
          </ac:spMkLst>
        </pc:spChg>
        <pc:spChg chg="add del mod">
          <ac:chgData name="Paul Astle" userId="e7d3d11a-a38f-4880-a499-497e6159e966" providerId="ADAL" clId="{8D21D9CD-C6EA-437B-96E4-58387E9E4340}" dt="2024-08-30T14:12:20.046" v="3037" actId="478"/>
          <ac:spMkLst>
            <pc:docMk/>
            <pc:sldMk cId="2160947083" sldId="2147480663"/>
            <ac:spMk id="21" creationId="{8EEB2BE6-8E28-64AA-5B45-988D53CC6A52}"/>
          </ac:spMkLst>
        </pc:spChg>
        <pc:spChg chg="add del mod">
          <ac:chgData name="Paul Astle" userId="e7d3d11a-a38f-4880-a499-497e6159e966" providerId="ADAL" clId="{8D21D9CD-C6EA-437B-96E4-58387E9E4340}" dt="2024-08-30T14:12:22.649" v="3039" actId="478"/>
          <ac:spMkLst>
            <pc:docMk/>
            <pc:sldMk cId="2160947083" sldId="2147480663"/>
            <ac:spMk id="22" creationId="{3D46EE88-A32F-A783-2956-CCE5EA072AD3}"/>
          </ac:spMkLst>
        </pc:spChg>
        <pc:grpChg chg="add del mod">
          <ac:chgData name="Paul Astle" userId="e7d3d11a-a38f-4880-a499-497e6159e966" providerId="ADAL" clId="{8D21D9CD-C6EA-437B-96E4-58387E9E4340}" dt="2024-08-30T14:10:53.611" v="3026" actId="165"/>
          <ac:grpSpMkLst>
            <pc:docMk/>
            <pc:sldMk cId="2160947083" sldId="2147480663"/>
            <ac:grpSpMk id="11" creationId="{0F4053C9-3930-1940-3B48-E85DE60B0889}"/>
          </ac:grpSpMkLst>
        </pc:grpChg>
        <pc:grpChg chg="mod">
          <ac:chgData name="Paul Astle" userId="e7d3d11a-a38f-4880-a499-497e6159e966" providerId="ADAL" clId="{8D21D9CD-C6EA-437B-96E4-58387E9E4340}" dt="2024-08-30T14:13:29.860" v="3044" actId="1076"/>
          <ac:grpSpMkLst>
            <pc:docMk/>
            <pc:sldMk cId="2160947083" sldId="2147480663"/>
            <ac:grpSpMk id="43" creationId="{41387CF7-CDAE-65F0-0134-DF7B1659BB89}"/>
          </ac:grpSpMkLst>
        </pc:grpChg>
        <pc:picChg chg="add del mod topLvl">
          <ac:chgData name="Paul Astle" userId="e7d3d11a-a38f-4880-a499-497e6159e966" providerId="ADAL" clId="{8D21D9CD-C6EA-437B-96E4-58387E9E4340}" dt="2024-08-30T14:11:24.677" v="3029" actId="478"/>
          <ac:picMkLst>
            <pc:docMk/>
            <pc:sldMk cId="2160947083" sldId="2147480663"/>
            <ac:picMk id="12" creationId="{D481EFDF-25BB-C823-0467-8D7971CA6B97}"/>
          </ac:picMkLst>
        </pc:picChg>
        <pc:picChg chg="add mod">
          <ac:chgData name="Paul Astle" userId="e7d3d11a-a38f-4880-a499-497e6159e966" providerId="ADAL" clId="{8D21D9CD-C6EA-437B-96E4-58387E9E4340}" dt="2024-08-30T14:12:39.172" v="3040" actId="1076"/>
          <ac:picMkLst>
            <pc:docMk/>
            <pc:sldMk cId="2160947083" sldId="2147480663"/>
            <ac:picMk id="17" creationId="{1B397E5B-4AF3-C600-C8F8-6B742998346E}"/>
          </ac:picMkLst>
        </pc:picChg>
        <pc:picChg chg="add del mod">
          <ac:chgData name="Paul Astle" userId="e7d3d11a-a38f-4880-a499-497e6159e966" providerId="ADAL" clId="{8D21D9CD-C6EA-437B-96E4-58387E9E4340}" dt="2024-08-30T14:12:18.486" v="3036" actId="478"/>
          <ac:picMkLst>
            <pc:docMk/>
            <pc:sldMk cId="2160947083" sldId="2147480663"/>
            <ac:picMk id="19" creationId="{A7587B24-2B19-42E7-0D0F-F2EBB25C0BCD}"/>
          </ac:picMkLst>
        </pc:picChg>
        <pc:picChg chg="add mod">
          <ac:chgData name="Paul Astle" userId="e7d3d11a-a38f-4880-a499-497e6159e966" providerId="ADAL" clId="{8D21D9CD-C6EA-437B-96E4-58387E9E4340}" dt="2024-08-30T14:14:08.959" v="3050" actId="1076"/>
          <ac:picMkLst>
            <pc:docMk/>
            <pc:sldMk cId="2160947083" sldId="2147480663"/>
            <ac:picMk id="23" creationId="{CC2DEB9D-6AB1-9EBF-FF17-525932B40A14}"/>
          </ac:picMkLst>
        </pc:picChg>
        <pc:cxnChg chg="add del mod">
          <ac:chgData name="Paul Astle" userId="e7d3d11a-a38f-4880-a499-497e6159e966" providerId="ADAL" clId="{8D21D9CD-C6EA-437B-96E4-58387E9E4340}" dt="2024-08-30T14:12:17.022" v="3035" actId="478"/>
          <ac:cxnSpMkLst>
            <pc:docMk/>
            <pc:sldMk cId="2160947083" sldId="2147480663"/>
            <ac:cxnSpMk id="8" creationId="{B5B4E22C-BED2-DE60-B8C6-75BB5E2149F1}"/>
          </ac:cxnSpMkLst>
        </pc:cxnChg>
        <pc:cxnChg chg="add mod">
          <ac:chgData name="Paul Astle" userId="e7d3d11a-a38f-4880-a499-497e6159e966" providerId="ADAL" clId="{8D21D9CD-C6EA-437B-96E4-58387E9E4340}" dt="2024-08-30T14:12:39.172" v="3040" actId="1076"/>
          <ac:cxnSpMkLst>
            <pc:docMk/>
            <pc:sldMk cId="2160947083" sldId="2147480663"/>
            <ac:cxnSpMk id="9" creationId="{322B97EA-10A2-8F9B-0ABE-4039F0CC34ED}"/>
          </ac:cxnSpMkLst>
        </pc:cxnChg>
        <pc:cxnChg chg="add mod">
          <ac:chgData name="Paul Astle" userId="e7d3d11a-a38f-4880-a499-497e6159e966" providerId="ADAL" clId="{8D21D9CD-C6EA-437B-96E4-58387E9E4340}" dt="2024-08-30T14:11:41.988" v="3031" actId="1076"/>
          <ac:cxnSpMkLst>
            <pc:docMk/>
            <pc:sldMk cId="2160947083" sldId="2147480663"/>
            <ac:cxnSpMk id="10" creationId="{E0288EDB-8316-1322-19B9-E12A0D27D1D9}"/>
          </ac:cxnSpMkLst>
        </pc:cxnChg>
        <pc:cxnChg chg="add del mod">
          <ac:chgData name="Paul Astle" userId="e7d3d11a-a38f-4880-a499-497e6159e966" providerId="ADAL" clId="{8D21D9CD-C6EA-437B-96E4-58387E9E4340}" dt="2024-08-30T14:11:50.585" v="3033" actId="478"/>
          <ac:cxnSpMkLst>
            <pc:docMk/>
            <pc:sldMk cId="2160947083" sldId="2147480663"/>
            <ac:cxnSpMk id="15" creationId="{1659FBA5-D29F-C854-A0AE-A9CEC3AA80A8}"/>
          </ac:cxnSpMkLst>
        </pc:cxnChg>
        <pc:cxnChg chg="add del mod">
          <ac:chgData name="Paul Astle" userId="e7d3d11a-a38f-4880-a499-497e6159e966" providerId="ADAL" clId="{8D21D9CD-C6EA-437B-96E4-58387E9E4340}" dt="2024-08-30T14:12:21.114" v="3038" actId="478"/>
          <ac:cxnSpMkLst>
            <pc:docMk/>
            <pc:sldMk cId="2160947083" sldId="2147480663"/>
            <ac:cxnSpMk id="16" creationId="{791C1785-2EFF-5924-01AF-52C79E34760F}"/>
          </ac:cxnSpMkLst>
        </pc:cxnChg>
      </pc:sldChg>
      <pc:sldChg chg="add del">
        <pc:chgData name="Paul Astle" userId="e7d3d11a-a38f-4880-a499-497e6159e966" providerId="ADAL" clId="{8D21D9CD-C6EA-437B-96E4-58387E9E4340}" dt="2024-08-29T09:56:11.420" v="1238" actId="47"/>
        <pc:sldMkLst>
          <pc:docMk/>
          <pc:sldMk cId="3030497169" sldId="2147480664"/>
        </pc:sldMkLst>
      </pc:sldChg>
      <pc:sldChg chg="add del">
        <pc:chgData name="Paul Astle" userId="e7d3d11a-a38f-4880-a499-497e6159e966" providerId="ADAL" clId="{8D21D9CD-C6EA-437B-96E4-58387E9E4340}" dt="2024-08-29T09:56:11.420" v="1238" actId="47"/>
        <pc:sldMkLst>
          <pc:docMk/>
          <pc:sldMk cId="2814558967" sldId="2147480665"/>
        </pc:sldMkLst>
      </pc:sldChg>
      <pc:sldChg chg="add del">
        <pc:chgData name="Paul Astle" userId="e7d3d11a-a38f-4880-a499-497e6159e966" providerId="ADAL" clId="{8D21D9CD-C6EA-437B-96E4-58387E9E4340}" dt="2024-08-29T20:18:14.518" v="1473" actId="47"/>
        <pc:sldMkLst>
          <pc:docMk/>
          <pc:sldMk cId="293574675" sldId="2147480666"/>
        </pc:sldMkLst>
      </pc:sldChg>
      <pc:sldChg chg="modSp new add del mod">
        <pc:chgData name="Paul Astle" userId="e7d3d11a-a38f-4880-a499-497e6159e966" providerId="ADAL" clId="{8D21D9CD-C6EA-437B-96E4-58387E9E4340}" dt="2024-08-29T20:22:11.557" v="1485" actId="47"/>
        <pc:sldMkLst>
          <pc:docMk/>
          <pc:sldMk cId="2227737159" sldId="2147480667"/>
        </pc:sldMkLst>
        <pc:spChg chg="mod">
          <ac:chgData name="Paul Astle" userId="e7d3d11a-a38f-4880-a499-497e6159e966" providerId="ADAL" clId="{8D21D9CD-C6EA-437B-96E4-58387E9E4340}" dt="2024-08-29T10:01:05.711" v="1280" actId="20577"/>
          <ac:spMkLst>
            <pc:docMk/>
            <pc:sldMk cId="2227737159" sldId="2147480667"/>
            <ac:spMk id="2" creationId="{5588F083-3087-261A-CA82-E889504B35F1}"/>
          </ac:spMkLst>
        </pc:spChg>
      </pc:sldChg>
      <pc:sldChg chg="modSp del mod chgLayout">
        <pc:chgData name="Paul Astle" userId="e7d3d11a-a38f-4880-a499-497e6159e966" providerId="ADAL" clId="{8D21D9CD-C6EA-437B-96E4-58387E9E4340}" dt="2024-08-29T10:00:56.770" v="1258" actId="2696"/>
        <pc:sldMkLst>
          <pc:docMk/>
          <pc:sldMk cId="3449195659" sldId="2147480667"/>
        </pc:sldMkLst>
        <pc:spChg chg="mod ord">
          <ac:chgData name="Paul Astle" userId="e7d3d11a-a38f-4880-a499-497e6159e966" providerId="ADAL" clId="{8D21D9CD-C6EA-437B-96E4-58387E9E4340}" dt="2024-08-29T10:00:52.313" v="1257" actId="700"/>
          <ac:spMkLst>
            <pc:docMk/>
            <pc:sldMk cId="3449195659" sldId="2147480667"/>
            <ac:spMk id="4" creationId="{091E06BA-F075-A36D-E886-54F03920B6D6}"/>
          </ac:spMkLst>
        </pc:spChg>
        <pc:spChg chg="mod ord">
          <ac:chgData name="Paul Astle" userId="e7d3d11a-a38f-4880-a499-497e6159e966" providerId="ADAL" clId="{8D21D9CD-C6EA-437B-96E4-58387E9E4340}" dt="2024-08-29T10:00:52.313" v="1257" actId="700"/>
          <ac:spMkLst>
            <pc:docMk/>
            <pc:sldMk cId="3449195659" sldId="2147480667"/>
            <ac:spMk id="6" creationId="{EEF7C669-9156-B7FA-2963-AF06CD9463A3}"/>
          </ac:spMkLst>
        </pc:spChg>
        <pc:picChg chg="mod ord">
          <ac:chgData name="Paul Astle" userId="e7d3d11a-a38f-4880-a499-497e6159e966" providerId="ADAL" clId="{8D21D9CD-C6EA-437B-96E4-58387E9E4340}" dt="2024-08-29T10:00:52.313" v="1257" actId="700"/>
          <ac:picMkLst>
            <pc:docMk/>
            <pc:sldMk cId="3449195659" sldId="2147480667"/>
            <ac:picMk id="33" creationId="{4130DB80-59FF-E6E3-BE09-3B75B4627CB0}"/>
          </ac:picMkLst>
        </pc:picChg>
      </pc:sldChg>
      <pc:sldChg chg="new add del">
        <pc:chgData name="Paul Astle" userId="e7d3d11a-a38f-4880-a499-497e6159e966" providerId="ADAL" clId="{8D21D9CD-C6EA-437B-96E4-58387E9E4340}" dt="2024-08-29T10:02:17.620" v="1285" actId="2696"/>
        <pc:sldMkLst>
          <pc:docMk/>
          <pc:sldMk cId="577130741" sldId="2147480668"/>
        </pc:sldMkLst>
      </pc:sldChg>
      <pc:sldChg chg="new del">
        <pc:chgData name="Paul Astle" userId="e7d3d11a-a38f-4880-a499-497e6159e966" providerId="ADAL" clId="{8D21D9CD-C6EA-437B-96E4-58387E9E4340}" dt="2024-08-29T20:22:11.557" v="1485" actId="47"/>
        <pc:sldMkLst>
          <pc:docMk/>
          <pc:sldMk cId="3925602717" sldId="2147480668"/>
        </pc:sldMkLst>
      </pc:sldChg>
      <pc:sldChg chg="add ord modTransition">
        <pc:chgData name="Paul Astle" userId="e7d3d11a-a38f-4880-a499-497e6159e966" providerId="ADAL" clId="{8D21D9CD-C6EA-437B-96E4-58387E9E4340}" dt="2024-08-30T14:56:14.919" v="3695"/>
        <pc:sldMkLst>
          <pc:docMk/>
          <pc:sldMk cId="851387023" sldId="2147480669"/>
        </pc:sldMkLst>
      </pc:sldChg>
      <pc:sldChg chg="add del ord">
        <pc:chgData name="Paul Astle" userId="e7d3d11a-a38f-4880-a499-497e6159e966" providerId="ADAL" clId="{8D21D9CD-C6EA-437B-96E4-58387E9E4340}" dt="2024-08-30T10:31:14.633" v="2066" actId="47"/>
        <pc:sldMkLst>
          <pc:docMk/>
          <pc:sldMk cId="1758721246" sldId="2147480670"/>
        </pc:sldMkLst>
      </pc:sldChg>
      <pc:sldChg chg="addSp delSp modSp add mod ord modTransition">
        <pc:chgData name="Paul Astle" userId="e7d3d11a-a38f-4880-a499-497e6159e966" providerId="ADAL" clId="{8D21D9CD-C6EA-437B-96E4-58387E9E4340}" dt="2024-08-30T15:44:35.428" v="3876" actId="478"/>
        <pc:sldMkLst>
          <pc:docMk/>
          <pc:sldMk cId="3177045622" sldId="2147480671"/>
        </pc:sldMkLst>
        <pc:spChg chg="mod">
          <ac:chgData name="Paul Astle" userId="e7d3d11a-a38f-4880-a499-497e6159e966" providerId="ADAL" clId="{8D21D9CD-C6EA-437B-96E4-58387E9E4340}" dt="2024-08-30T14:36:38.595" v="3521" actId="6549"/>
          <ac:spMkLst>
            <pc:docMk/>
            <pc:sldMk cId="3177045622" sldId="2147480671"/>
            <ac:spMk id="3" creationId="{B8E13A34-F855-A8B5-E285-CC8BB0DED20C}"/>
          </ac:spMkLst>
        </pc:spChg>
        <pc:spChg chg="mod">
          <ac:chgData name="Paul Astle" userId="e7d3d11a-a38f-4880-a499-497e6159e966" providerId="ADAL" clId="{8D21D9CD-C6EA-437B-96E4-58387E9E4340}" dt="2024-08-30T14:37:02.696" v="3523" actId="6549"/>
          <ac:spMkLst>
            <pc:docMk/>
            <pc:sldMk cId="3177045622" sldId="2147480671"/>
            <ac:spMk id="4" creationId="{9E53C6EE-0A7C-3704-72D7-6C1A5B118233}"/>
          </ac:spMkLst>
        </pc:spChg>
        <pc:spChg chg="mod">
          <ac:chgData name="Paul Astle" userId="e7d3d11a-a38f-4880-a499-497e6159e966" providerId="ADAL" clId="{8D21D9CD-C6EA-437B-96E4-58387E9E4340}" dt="2024-08-30T15:44:32.828" v="3875" actId="20577"/>
          <ac:spMkLst>
            <pc:docMk/>
            <pc:sldMk cId="3177045622" sldId="2147480671"/>
            <ac:spMk id="12" creationId="{681E79EB-C12A-BFE3-02C5-A8BD3381FB0E}"/>
          </ac:spMkLst>
        </pc:spChg>
        <pc:spChg chg="mod">
          <ac:chgData name="Paul Astle" userId="e7d3d11a-a38f-4880-a499-497e6159e966" providerId="ADAL" clId="{8D21D9CD-C6EA-437B-96E4-58387E9E4340}" dt="2024-08-30T14:37:18.147" v="3557" actId="20577"/>
          <ac:spMkLst>
            <pc:docMk/>
            <pc:sldMk cId="3177045622" sldId="2147480671"/>
            <ac:spMk id="13" creationId="{C949A09F-738D-D4D6-0749-72E2E2345A63}"/>
          </ac:spMkLst>
        </pc:spChg>
        <pc:spChg chg="mod">
          <ac:chgData name="Paul Astle" userId="e7d3d11a-a38f-4880-a499-497e6159e966" providerId="ADAL" clId="{8D21D9CD-C6EA-437B-96E4-58387E9E4340}" dt="2024-08-30T14:36:56.104" v="3522" actId="20577"/>
          <ac:spMkLst>
            <pc:docMk/>
            <pc:sldMk cId="3177045622" sldId="2147480671"/>
            <ac:spMk id="57" creationId="{E3B6EB5F-FFD4-20B1-DF25-A609E0B65F90}"/>
          </ac:spMkLst>
        </pc:spChg>
        <pc:graphicFrameChg chg="add del modGraphic">
          <ac:chgData name="Paul Astle" userId="e7d3d11a-a38f-4880-a499-497e6159e966" providerId="ADAL" clId="{8D21D9CD-C6EA-437B-96E4-58387E9E4340}" dt="2024-08-30T15:44:35.428" v="3876" actId="478"/>
          <ac:graphicFrameMkLst>
            <pc:docMk/>
            <pc:sldMk cId="3177045622" sldId="2147480671"/>
            <ac:graphicFrameMk id="41" creationId="{6226179D-4C91-D202-7CFE-851CC6979319}"/>
          </ac:graphicFrameMkLst>
        </pc:graphicFrameChg>
      </pc:sldChg>
      <pc:sldChg chg="modSp add ord modTransition">
        <pc:chgData name="Paul Astle" userId="e7d3d11a-a38f-4880-a499-497e6159e966" providerId="ADAL" clId="{8D21D9CD-C6EA-437B-96E4-58387E9E4340}" dt="2024-08-30T14:56:14.919" v="3695"/>
        <pc:sldMkLst>
          <pc:docMk/>
          <pc:sldMk cId="4174101951" sldId="2147480672"/>
        </pc:sldMkLst>
        <pc:picChg chg="mod">
          <ac:chgData name="Paul Astle" userId="e7d3d11a-a38f-4880-a499-497e6159e966" providerId="ADAL" clId="{8D21D9CD-C6EA-437B-96E4-58387E9E4340}" dt="2024-08-30T14:36:22.448" v="3520" actId="1076"/>
          <ac:picMkLst>
            <pc:docMk/>
            <pc:sldMk cId="4174101951" sldId="2147480672"/>
            <ac:picMk id="3074" creationId="{B937B0B0-08CA-32B1-458E-F3089B0506A8}"/>
          </ac:picMkLst>
        </pc:picChg>
      </pc:sldChg>
      <pc:sldChg chg="addSp modSp new mod ord modTransition modAnim">
        <pc:chgData name="Paul Astle" userId="e7d3d11a-a38f-4880-a499-497e6159e966" providerId="ADAL" clId="{8D21D9CD-C6EA-437B-96E4-58387E9E4340}" dt="2024-08-30T14:56:14.919" v="3695"/>
        <pc:sldMkLst>
          <pc:docMk/>
          <pc:sldMk cId="3654142485" sldId="2147480673"/>
        </pc:sldMkLst>
        <pc:spChg chg="add mod">
          <ac:chgData name="Paul Astle" userId="e7d3d11a-a38f-4880-a499-497e6159e966" providerId="ADAL" clId="{8D21D9CD-C6EA-437B-96E4-58387E9E4340}" dt="2024-08-29T20:54:30.132" v="1543" actId="14100"/>
          <ac:spMkLst>
            <pc:docMk/>
            <pc:sldMk cId="3654142485" sldId="2147480673"/>
            <ac:spMk id="5" creationId="{91CC6A9F-9BF4-AE32-A0DB-27060F08979A}"/>
          </ac:spMkLst>
        </pc:spChg>
        <pc:spChg chg="add mod">
          <ac:chgData name="Paul Astle" userId="e7d3d11a-a38f-4880-a499-497e6159e966" providerId="ADAL" clId="{8D21D9CD-C6EA-437B-96E4-58387E9E4340}" dt="2024-08-29T20:53:57.723" v="1536" actId="1076"/>
          <ac:spMkLst>
            <pc:docMk/>
            <pc:sldMk cId="3654142485" sldId="2147480673"/>
            <ac:spMk id="6" creationId="{1B4F9C33-12D3-1ECB-11B9-B8D91C72F96C}"/>
          </ac:spMkLst>
        </pc:spChg>
        <pc:spChg chg="add mod">
          <ac:chgData name="Paul Astle" userId="e7d3d11a-a38f-4880-a499-497e6159e966" providerId="ADAL" clId="{8D21D9CD-C6EA-437B-96E4-58387E9E4340}" dt="2024-08-29T20:54:26.797" v="1542" actId="14100"/>
          <ac:spMkLst>
            <pc:docMk/>
            <pc:sldMk cId="3654142485" sldId="2147480673"/>
            <ac:spMk id="9" creationId="{3E8E166C-2A24-3957-F62C-07F9A377F592}"/>
          </ac:spMkLst>
        </pc:spChg>
        <pc:spChg chg="add mod">
          <ac:chgData name="Paul Astle" userId="e7d3d11a-a38f-4880-a499-497e6159e966" providerId="ADAL" clId="{8D21D9CD-C6EA-437B-96E4-58387E9E4340}" dt="2024-08-29T20:55:14.325" v="1568" actId="1076"/>
          <ac:spMkLst>
            <pc:docMk/>
            <pc:sldMk cId="3654142485" sldId="2147480673"/>
            <ac:spMk id="10" creationId="{808C52C9-1986-19FB-56A5-E12A3A3BAD6D}"/>
          </ac:spMkLst>
        </pc:spChg>
        <pc:picChg chg="add mod">
          <ac:chgData name="Paul Astle" userId="e7d3d11a-a38f-4880-a499-497e6159e966" providerId="ADAL" clId="{8D21D9CD-C6EA-437B-96E4-58387E9E4340}" dt="2024-08-29T20:37:41.571" v="1487"/>
          <ac:picMkLst>
            <pc:docMk/>
            <pc:sldMk cId="3654142485" sldId="2147480673"/>
            <ac:picMk id="4" creationId="{D52F631D-F805-869C-03FA-A13DA24B3D71}"/>
          </ac:picMkLst>
        </pc:picChg>
        <pc:cxnChg chg="add mod">
          <ac:chgData name="Paul Astle" userId="e7d3d11a-a38f-4880-a499-497e6159e966" providerId="ADAL" clId="{8D21D9CD-C6EA-437B-96E4-58387E9E4340}" dt="2024-08-29T20:54:03.726" v="1538" actId="13822"/>
          <ac:cxnSpMkLst>
            <pc:docMk/>
            <pc:sldMk cId="3654142485" sldId="2147480673"/>
            <ac:cxnSpMk id="8" creationId="{527A720E-AEE2-53BE-7909-66BF738B1C62}"/>
          </ac:cxnSpMkLst>
        </pc:cxnChg>
        <pc:cxnChg chg="add mod">
          <ac:chgData name="Paul Astle" userId="e7d3d11a-a38f-4880-a499-497e6159e966" providerId="ADAL" clId="{8D21D9CD-C6EA-437B-96E4-58387E9E4340}" dt="2024-08-29T20:55:23.935" v="1570" actId="1076"/>
          <ac:cxnSpMkLst>
            <pc:docMk/>
            <pc:sldMk cId="3654142485" sldId="2147480673"/>
            <ac:cxnSpMk id="11" creationId="{63C6C2F3-81B6-4962-418D-3690E6E34E19}"/>
          </ac:cxnSpMkLst>
        </pc:cxnChg>
      </pc:sldChg>
      <pc:sldChg chg="addSp new del mod">
        <pc:chgData name="Paul Astle" userId="e7d3d11a-a38f-4880-a499-497e6159e966" providerId="ADAL" clId="{8D21D9CD-C6EA-437B-96E4-58387E9E4340}" dt="2024-08-29T20:38:33.668" v="1488" actId="47"/>
        <pc:sldMkLst>
          <pc:docMk/>
          <pc:sldMk cId="1775877574" sldId="2147480674"/>
        </pc:sldMkLst>
        <pc:picChg chg="add">
          <ac:chgData name="Paul Astle" userId="e7d3d11a-a38f-4880-a499-497e6159e966" providerId="ADAL" clId="{8D21D9CD-C6EA-437B-96E4-58387E9E4340}" dt="2024-08-29T20:27:25.384" v="1486" actId="22"/>
          <ac:picMkLst>
            <pc:docMk/>
            <pc:sldMk cId="1775877574" sldId="2147480674"/>
            <ac:picMk id="6" creationId="{832015E5-FE70-E57C-4828-C8E335CF2DC5}"/>
          </ac:picMkLst>
        </pc:picChg>
      </pc:sldChg>
      <pc:sldChg chg="addSp delSp modSp new mod modTransition">
        <pc:chgData name="Paul Astle" userId="e7d3d11a-a38f-4880-a499-497e6159e966" providerId="ADAL" clId="{8D21D9CD-C6EA-437B-96E4-58387E9E4340}" dt="2024-08-30T15:34:43.145" v="3867" actId="478"/>
        <pc:sldMkLst>
          <pc:docMk/>
          <pc:sldMk cId="1714013703" sldId="2147480675"/>
        </pc:sldMkLst>
        <pc:spChg chg="del">
          <ac:chgData name="Paul Astle" userId="e7d3d11a-a38f-4880-a499-497e6159e966" providerId="ADAL" clId="{8D21D9CD-C6EA-437B-96E4-58387E9E4340}" dt="2024-08-30T15:34:42.423" v="3866" actId="478"/>
          <ac:spMkLst>
            <pc:docMk/>
            <pc:sldMk cId="1714013703" sldId="2147480675"/>
            <ac:spMk id="2" creationId="{8FFB0022-DDCD-AC60-6015-B9C77A8C86A5}"/>
          </ac:spMkLst>
        </pc:spChg>
        <pc:spChg chg="del">
          <ac:chgData name="Paul Astle" userId="e7d3d11a-a38f-4880-a499-497e6159e966" providerId="ADAL" clId="{8D21D9CD-C6EA-437B-96E4-58387E9E4340}" dt="2024-08-30T15:34:43.145" v="3867" actId="478"/>
          <ac:spMkLst>
            <pc:docMk/>
            <pc:sldMk cId="1714013703" sldId="2147480675"/>
            <ac:spMk id="3" creationId="{BD6052DF-034A-D7A9-D1DD-CE5D9B1109B3}"/>
          </ac:spMkLst>
        </pc:spChg>
        <pc:picChg chg="add mod">
          <ac:chgData name="Paul Astle" userId="e7d3d11a-a38f-4880-a499-497e6159e966" providerId="ADAL" clId="{8D21D9CD-C6EA-437B-96E4-58387E9E4340}" dt="2024-08-29T20:51:43.617" v="1508" actId="1076"/>
          <ac:picMkLst>
            <pc:docMk/>
            <pc:sldMk cId="1714013703" sldId="2147480675"/>
            <ac:picMk id="5" creationId="{299812EA-2D2A-365A-03A0-AA68B541D5DA}"/>
          </ac:picMkLst>
        </pc:picChg>
      </pc:sldChg>
      <pc:sldChg chg="addSp new mod modTransition">
        <pc:chgData name="Paul Astle" userId="e7d3d11a-a38f-4880-a499-497e6159e966" providerId="ADAL" clId="{8D21D9CD-C6EA-437B-96E4-58387E9E4340}" dt="2024-08-30T14:56:14.919" v="3695"/>
        <pc:sldMkLst>
          <pc:docMk/>
          <pc:sldMk cId="3801368965" sldId="2147480676"/>
        </pc:sldMkLst>
        <pc:picChg chg="add">
          <ac:chgData name="Paul Astle" userId="e7d3d11a-a38f-4880-a499-497e6159e966" providerId="ADAL" clId="{8D21D9CD-C6EA-437B-96E4-58387E9E4340}" dt="2024-08-30T11:51:47.914" v="2329" actId="22"/>
          <ac:picMkLst>
            <pc:docMk/>
            <pc:sldMk cId="3801368965" sldId="2147480676"/>
            <ac:picMk id="6" creationId="{1E1A5F00-DB3D-8D3E-E0DF-71EC50C6E864}"/>
          </ac:picMkLst>
        </pc:picChg>
      </pc:sldChg>
      <pc:sldChg chg="new del">
        <pc:chgData name="Paul Astle" userId="e7d3d11a-a38f-4880-a499-497e6159e966" providerId="ADAL" clId="{8D21D9CD-C6EA-437B-96E4-58387E9E4340}" dt="2024-08-30T11:49:23.662" v="2328" actId="47"/>
        <pc:sldMkLst>
          <pc:docMk/>
          <pc:sldMk cId="3158138544" sldId="2147480677"/>
        </pc:sldMkLst>
      </pc:sldChg>
      <pc:sldChg chg="addSp delSp modSp new mod ord modTransition">
        <pc:chgData name="Paul Astle" userId="e7d3d11a-a38f-4880-a499-497e6159e966" providerId="ADAL" clId="{8D21D9CD-C6EA-437B-96E4-58387E9E4340}" dt="2024-08-30T21:32:22.473" v="3941" actId="478"/>
        <pc:sldMkLst>
          <pc:docMk/>
          <pc:sldMk cId="2657433642" sldId="2147480678"/>
        </pc:sldMkLst>
        <pc:spChg chg="mod">
          <ac:chgData name="Paul Astle" userId="e7d3d11a-a38f-4880-a499-497e6159e966" providerId="ADAL" clId="{8D21D9CD-C6EA-437B-96E4-58387E9E4340}" dt="2024-08-29T10:13:03.784" v="1329" actId="20577"/>
          <ac:spMkLst>
            <pc:docMk/>
            <pc:sldMk cId="2657433642" sldId="2147480678"/>
            <ac:spMk id="2" creationId="{0E0C6716-EF38-B106-EB9C-3B25560F5EA4}"/>
          </ac:spMkLst>
        </pc:spChg>
        <pc:picChg chg="add mod">
          <ac:chgData name="Paul Astle" userId="e7d3d11a-a38f-4880-a499-497e6159e966" providerId="ADAL" clId="{8D21D9CD-C6EA-437B-96E4-58387E9E4340}" dt="2024-08-30T21:32:20.737" v="3940" actId="1076"/>
          <ac:picMkLst>
            <pc:docMk/>
            <pc:sldMk cId="2657433642" sldId="2147480678"/>
            <ac:picMk id="6" creationId="{7E701716-551B-E6F5-1B7A-B64A9C78F4E1}"/>
          </ac:picMkLst>
        </pc:picChg>
        <pc:picChg chg="add del mod">
          <ac:chgData name="Paul Astle" userId="e7d3d11a-a38f-4880-a499-497e6159e966" providerId="ADAL" clId="{8D21D9CD-C6EA-437B-96E4-58387E9E4340}" dt="2024-08-30T21:32:22.473" v="3941" actId="478"/>
          <ac:picMkLst>
            <pc:docMk/>
            <pc:sldMk cId="2657433642" sldId="2147480678"/>
            <ac:picMk id="7" creationId="{57690636-A6D2-55B8-6A1A-2057B00DCE78}"/>
          </ac:picMkLst>
        </pc:picChg>
      </pc:sldChg>
      <pc:sldChg chg="addSp delSp modSp new mod modTransition setBg">
        <pc:chgData name="Paul Astle" userId="e7d3d11a-a38f-4880-a499-497e6159e966" providerId="ADAL" clId="{8D21D9CD-C6EA-437B-96E4-58387E9E4340}" dt="2024-08-30T14:56:14.919" v="3695"/>
        <pc:sldMkLst>
          <pc:docMk/>
          <pc:sldMk cId="3356451402" sldId="2147480679"/>
        </pc:sldMkLst>
        <pc:spChg chg="add mod topLvl">
          <ac:chgData name="Paul Astle" userId="e7d3d11a-a38f-4880-a499-497e6159e966" providerId="ADAL" clId="{8D21D9CD-C6EA-437B-96E4-58387E9E4340}" dt="2024-08-30T11:55:24.822" v="2332" actId="338"/>
          <ac:spMkLst>
            <pc:docMk/>
            <pc:sldMk cId="3356451402" sldId="2147480679"/>
            <ac:spMk id="8" creationId="{0505CD60-FF38-DC92-03FD-1767E7274B49}"/>
          </ac:spMkLst>
        </pc:spChg>
        <pc:spChg chg="add mod topLvl">
          <ac:chgData name="Paul Astle" userId="e7d3d11a-a38f-4880-a499-497e6159e966" providerId="ADAL" clId="{8D21D9CD-C6EA-437B-96E4-58387E9E4340}" dt="2024-08-30T11:55:24.822" v="2332" actId="338"/>
          <ac:spMkLst>
            <pc:docMk/>
            <pc:sldMk cId="3356451402" sldId="2147480679"/>
            <ac:spMk id="9" creationId="{70AAD154-3FAE-02F8-E8EA-85476A27F3A2}"/>
          </ac:spMkLst>
        </pc:spChg>
        <pc:grpChg chg="add del mod">
          <ac:chgData name="Paul Astle" userId="e7d3d11a-a38f-4880-a499-497e6159e966" providerId="ADAL" clId="{8D21D9CD-C6EA-437B-96E4-58387E9E4340}" dt="2024-08-30T11:55:16.081" v="2331" actId="165"/>
          <ac:grpSpMkLst>
            <pc:docMk/>
            <pc:sldMk cId="3356451402" sldId="2147480679"/>
            <ac:grpSpMk id="10" creationId="{FC8E1161-24B5-FD0A-6525-05BF638C12E5}"/>
          </ac:grpSpMkLst>
        </pc:grpChg>
        <pc:grpChg chg="add mod">
          <ac:chgData name="Paul Astle" userId="e7d3d11a-a38f-4880-a499-497e6159e966" providerId="ADAL" clId="{8D21D9CD-C6EA-437B-96E4-58387E9E4340}" dt="2024-08-30T11:55:31.888" v="2334" actId="1076"/>
          <ac:grpSpMkLst>
            <pc:docMk/>
            <pc:sldMk cId="3356451402" sldId="2147480679"/>
            <ac:grpSpMk id="11" creationId="{9C6E7977-56B6-FFD5-F05F-9D34461579EC}"/>
          </ac:grpSpMkLst>
        </pc:grpChg>
        <pc:picChg chg="add mod topLvl modCrop">
          <ac:chgData name="Paul Astle" userId="e7d3d11a-a38f-4880-a499-497e6159e966" providerId="ADAL" clId="{8D21D9CD-C6EA-437B-96E4-58387E9E4340}" dt="2024-08-30T11:55:24.822" v="2332" actId="338"/>
          <ac:picMkLst>
            <pc:docMk/>
            <pc:sldMk cId="3356451402" sldId="2147480679"/>
            <ac:picMk id="6" creationId="{DF1AB991-E43F-2DA3-9866-CF615B12A3F6}"/>
          </ac:picMkLst>
        </pc:picChg>
        <pc:picChg chg="add mod topLvl modCrop">
          <ac:chgData name="Paul Astle" userId="e7d3d11a-a38f-4880-a499-497e6159e966" providerId="ADAL" clId="{8D21D9CD-C6EA-437B-96E4-58387E9E4340}" dt="2024-08-30T11:55:24.822" v="2332" actId="338"/>
          <ac:picMkLst>
            <pc:docMk/>
            <pc:sldMk cId="3356451402" sldId="2147480679"/>
            <ac:picMk id="7" creationId="{1724D459-DD90-3EB9-7681-E38C4A6E70FB}"/>
          </ac:picMkLst>
        </pc:picChg>
      </pc:sldChg>
      <pc:sldChg chg="add del">
        <pc:chgData name="Paul Astle" userId="e7d3d11a-a38f-4880-a499-497e6159e966" providerId="ADAL" clId="{8D21D9CD-C6EA-437B-96E4-58387E9E4340}" dt="2024-08-29T20:18:14.518" v="1473" actId="47"/>
        <pc:sldMkLst>
          <pc:docMk/>
          <pc:sldMk cId="4147921214" sldId="2147480680"/>
        </pc:sldMkLst>
      </pc:sldChg>
      <pc:sldChg chg="add del">
        <pc:chgData name="Paul Astle" userId="e7d3d11a-a38f-4880-a499-497e6159e966" providerId="ADAL" clId="{8D21D9CD-C6EA-437B-96E4-58387E9E4340}" dt="2024-08-29T20:18:14.518" v="1473" actId="47"/>
        <pc:sldMkLst>
          <pc:docMk/>
          <pc:sldMk cId="550912034" sldId="2147480681"/>
        </pc:sldMkLst>
      </pc:sldChg>
      <pc:sldChg chg="delSp add del mod">
        <pc:chgData name="Paul Astle" userId="e7d3d11a-a38f-4880-a499-497e6159e966" providerId="ADAL" clId="{8D21D9CD-C6EA-437B-96E4-58387E9E4340}" dt="2024-08-29T20:18:14.518" v="1473" actId="47"/>
        <pc:sldMkLst>
          <pc:docMk/>
          <pc:sldMk cId="0" sldId="2147480682"/>
        </pc:sldMkLst>
        <pc:spChg chg="del">
          <ac:chgData name="Paul Astle" userId="e7d3d11a-a38f-4880-a499-497e6159e966" providerId="ADAL" clId="{8D21D9CD-C6EA-437B-96E4-58387E9E4340}" dt="2024-08-29T20:10:31.018" v="1394" actId="478"/>
          <ac:spMkLst>
            <pc:docMk/>
            <pc:sldMk cId="0" sldId="2147480682"/>
            <ac:spMk id="2" creationId="{00000000-0000-0000-0000-000000000000}"/>
          </ac:spMkLst>
        </pc:spChg>
      </pc:sldChg>
      <pc:sldChg chg="addSp delSp modSp new del mod">
        <pc:chgData name="Paul Astle" userId="e7d3d11a-a38f-4880-a499-497e6159e966" providerId="ADAL" clId="{8D21D9CD-C6EA-437B-96E4-58387E9E4340}" dt="2024-08-30T10:52:28.557" v="2321" actId="47"/>
        <pc:sldMkLst>
          <pc:docMk/>
          <pc:sldMk cId="2456457001" sldId="2147480683"/>
        </pc:sldMkLst>
        <pc:spChg chg="mod">
          <ac:chgData name="Paul Astle" userId="e7d3d11a-a38f-4880-a499-497e6159e966" providerId="ADAL" clId="{8D21D9CD-C6EA-437B-96E4-58387E9E4340}" dt="2024-08-29T20:14:04.021" v="1466" actId="20577"/>
          <ac:spMkLst>
            <pc:docMk/>
            <pc:sldMk cId="2456457001" sldId="2147480683"/>
            <ac:spMk id="2" creationId="{CC3B338C-25F9-EBA8-A9ED-5FB25570A8C0}"/>
          </ac:spMkLst>
        </pc:spChg>
        <pc:spChg chg="add del mod">
          <ac:chgData name="Paul Astle" userId="e7d3d11a-a38f-4880-a499-497e6159e966" providerId="ADAL" clId="{8D21D9CD-C6EA-437B-96E4-58387E9E4340}" dt="2024-08-30T10:30:43.926" v="2064" actId="478"/>
          <ac:spMkLst>
            <pc:docMk/>
            <pc:sldMk cId="2456457001" sldId="2147480683"/>
            <ac:spMk id="44" creationId="{781A7396-BCDD-F3D2-A5C8-72DE6BB7A30E}"/>
          </ac:spMkLst>
        </pc:spChg>
        <pc:picChg chg="add del mod">
          <ac:chgData name="Paul Astle" userId="e7d3d11a-a38f-4880-a499-497e6159e966" providerId="ADAL" clId="{8D21D9CD-C6EA-437B-96E4-58387E9E4340}" dt="2024-08-29T21:11:52.398" v="1839" actId="478"/>
          <ac:picMkLst>
            <pc:docMk/>
            <pc:sldMk cId="2456457001" sldId="2147480683"/>
            <ac:picMk id="5" creationId="{6F6466D8-DDA6-4FBB-6FF5-7999ABEA7F6E}"/>
          </ac:picMkLst>
        </pc:picChg>
        <pc:picChg chg="add del mod ord replST">
          <ac:chgData name="Paul Astle" userId="e7d3d11a-a38f-4880-a499-497e6159e966" providerId="ADAL" clId="{8D21D9CD-C6EA-437B-96E4-58387E9E4340}" dt="2024-08-29T21:09:20.382" v="1620"/>
          <ac:picMkLst>
            <pc:docMk/>
            <pc:sldMk cId="2456457001" sldId="2147480683"/>
            <ac:picMk id="7" creationId="{A6432B80-AF47-38C5-6870-D9434291930C}"/>
          </ac:picMkLst>
        </pc:picChg>
        <pc:picChg chg="add del mod replST">
          <ac:chgData name="Paul Astle" userId="e7d3d11a-a38f-4880-a499-497e6159e966" providerId="ADAL" clId="{8D21D9CD-C6EA-437B-96E4-58387E9E4340}" dt="2024-08-29T21:09:34.011" v="1649"/>
          <ac:picMkLst>
            <pc:docMk/>
            <pc:sldMk cId="2456457001" sldId="2147480683"/>
            <ac:picMk id="9" creationId="{11E9B671-BDF6-B885-6647-58D30016C1E4}"/>
          </ac:picMkLst>
        </pc:picChg>
        <pc:picChg chg="add del mod replST">
          <ac:chgData name="Paul Astle" userId="e7d3d11a-a38f-4880-a499-497e6159e966" providerId="ADAL" clId="{8D21D9CD-C6EA-437B-96E4-58387E9E4340}" dt="2024-08-29T21:09:38.499" v="1678"/>
          <ac:picMkLst>
            <pc:docMk/>
            <pc:sldMk cId="2456457001" sldId="2147480683"/>
            <ac:picMk id="11" creationId="{B05261A9-7065-C8FE-8139-2E2617447619}"/>
          </ac:picMkLst>
        </pc:picChg>
        <pc:picChg chg="add del mod replST modCrop">
          <ac:chgData name="Paul Astle" userId="e7d3d11a-a38f-4880-a499-497e6159e966" providerId="ADAL" clId="{8D21D9CD-C6EA-437B-96E4-58387E9E4340}" dt="2024-08-29T21:09:48.913" v="1710"/>
          <ac:picMkLst>
            <pc:docMk/>
            <pc:sldMk cId="2456457001" sldId="2147480683"/>
            <ac:picMk id="13" creationId="{33830401-C3EB-F25D-C2B1-5289FBF2BD5B}"/>
          </ac:picMkLst>
        </pc:picChg>
        <pc:picChg chg="add del mod replST">
          <ac:chgData name="Paul Astle" userId="e7d3d11a-a38f-4880-a499-497e6159e966" providerId="ADAL" clId="{8D21D9CD-C6EA-437B-96E4-58387E9E4340}" dt="2024-08-29T21:12:27.878" v="1852" actId="478"/>
          <ac:picMkLst>
            <pc:docMk/>
            <pc:sldMk cId="2456457001" sldId="2147480683"/>
            <ac:picMk id="15" creationId="{BD0B341B-5110-99B9-0CAC-F0F7C81579F3}"/>
          </ac:picMkLst>
        </pc:picChg>
        <pc:picChg chg="add del mod ord replST">
          <ac:chgData name="Paul Astle" userId="e7d3d11a-a38f-4880-a499-497e6159e966" providerId="ADAL" clId="{8D21D9CD-C6EA-437B-96E4-58387E9E4340}" dt="2024-08-29T21:10:01.185" v="1758"/>
          <ac:picMkLst>
            <pc:docMk/>
            <pc:sldMk cId="2456457001" sldId="2147480683"/>
            <ac:picMk id="17" creationId="{264E5DB7-C07A-C468-AA11-09EA2C7570C3}"/>
          </ac:picMkLst>
        </pc:picChg>
        <pc:picChg chg="add mod replST modCrop">
          <ac:chgData name="Paul Astle" userId="e7d3d11a-a38f-4880-a499-497e6159e966" providerId="ADAL" clId="{8D21D9CD-C6EA-437B-96E4-58387E9E4340}" dt="2024-08-30T10:31:52.513" v="2070" actId="1076"/>
          <ac:picMkLst>
            <pc:docMk/>
            <pc:sldMk cId="2456457001" sldId="2147480683"/>
            <ac:picMk id="19" creationId="{8169DA6C-1E6C-2E56-4B40-CCA28C7C2517}"/>
          </ac:picMkLst>
        </pc:picChg>
        <pc:picChg chg="add del mod ord replST">
          <ac:chgData name="Paul Astle" userId="e7d3d11a-a38f-4880-a499-497e6159e966" providerId="ADAL" clId="{8D21D9CD-C6EA-437B-96E4-58387E9E4340}" dt="2024-08-30T10:26:46.772" v="2014" actId="1076"/>
          <ac:picMkLst>
            <pc:docMk/>
            <pc:sldMk cId="2456457001" sldId="2147480683"/>
            <ac:picMk id="21" creationId="{A2244B27-2892-D810-92C0-B417890C082B}"/>
          </ac:picMkLst>
        </pc:picChg>
        <pc:picChg chg="add mod replST delST">
          <ac:chgData name="Paul Astle" userId="e7d3d11a-a38f-4880-a499-497e6159e966" providerId="ADAL" clId="{8D21D9CD-C6EA-437B-96E4-58387E9E4340}" dt="2024-08-29T21:11:14.571" v="1821"/>
          <ac:picMkLst>
            <pc:docMk/>
            <pc:sldMk cId="2456457001" sldId="2147480683"/>
            <ac:picMk id="23" creationId="{763993A8-F504-CFFD-B41A-E682D9666DB4}"/>
          </ac:picMkLst>
        </pc:picChg>
        <pc:picChg chg="add mod ord replST">
          <ac:chgData name="Paul Astle" userId="e7d3d11a-a38f-4880-a499-497e6159e966" providerId="ADAL" clId="{8D21D9CD-C6EA-437B-96E4-58387E9E4340}" dt="2024-08-30T10:22:34.167" v="1970" actId="1076"/>
          <ac:picMkLst>
            <pc:docMk/>
            <pc:sldMk cId="2456457001" sldId="2147480683"/>
            <ac:picMk id="25" creationId="{B1E30D58-493D-3E3D-E366-99815BFDF624}"/>
          </ac:picMkLst>
        </pc:picChg>
        <pc:picChg chg="add mod">
          <ac:chgData name="Paul Astle" userId="e7d3d11a-a38f-4880-a499-497e6159e966" providerId="ADAL" clId="{8D21D9CD-C6EA-437B-96E4-58387E9E4340}" dt="2024-08-30T10:22:53.098" v="1972" actId="1076"/>
          <ac:picMkLst>
            <pc:docMk/>
            <pc:sldMk cId="2456457001" sldId="2147480683"/>
            <ac:picMk id="26" creationId="{0AB7CF00-184B-4F29-3114-409E615A5529}"/>
          </ac:picMkLst>
        </pc:picChg>
        <pc:picChg chg="add mod">
          <ac:chgData name="Paul Astle" userId="e7d3d11a-a38f-4880-a499-497e6159e966" providerId="ADAL" clId="{8D21D9CD-C6EA-437B-96E4-58387E9E4340}" dt="2024-08-30T10:22:14.518" v="1962" actId="1076"/>
          <ac:picMkLst>
            <pc:docMk/>
            <pc:sldMk cId="2456457001" sldId="2147480683"/>
            <ac:picMk id="27" creationId="{2858020A-2B26-4623-B89D-F652A6F3CE52}"/>
          </ac:picMkLst>
        </pc:picChg>
        <pc:picChg chg="add mod">
          <ac:chgData name="Paul Astle" userId="e7d3d11a-a38f-4880-a499-497e6159e966" providerId="ADAL" clId="{8D21D9CD-C6EA-437B-96E4-58387E9E4340}" dt="2024-08-30T10:26:24.163" v="2010" actId="1076"/>
          <ac:picMkLst>
            <pc:docMk/>
            <pc:sldMk cId="2456457001" sldId="2147480683"/>
            <ac:picMk id="46" creationId="{E67A0B62-CD47-6706-B0F3-828B1368B1F7}"/>
          </ac:picMkLst>
        </pc:picChg>
        <pc:picChg chg="add mod">
          <ac:chgData name="Paul Astle" userId="e7d3d11a-a38f-4880-a499-497e6159e966" providerId="ADAL" clId="{8D21D9CD-C6EA-437B-96E4-58387E9E4340}" dt="2024-08-30T10:28:14.166" v="2022" actId="1076"/>
          <ac:picMkLst>
            <pc:docMk/>
            <pc:sldMk cId="2456457001" sldId="2147480683"/>
            <ac:picMk id="51" creationId="{60BB5CF8-C5CC-45F2-56B0-1A0638E5C463}"/>
          </ac:picMkLst>
        </pc:picChg>
        <pc:picChg chg="add mod">
          <ac:chgData name="Paul Astle" userId="e7d3d11a-a38f-4880-a499-497e6159e966" providerId="ADAL" clId="{8D21D9CD-C6EA-437B-96E4-58387E9E4340}" dt="2024-08-30T10:28:10.385" v="2021" actId="1076"/>
          <ac:picMkLst>
            <pc:docMk/>
            <pc:sldMk cId="2456457001" sldId="2147480683"/>
            <ac:picMk id="52" creationId="{D61BFA93-8717-B2F4-A5CF-A8EDE8CF1005}"/>
          </ac:picMkLst>
        </pc:picChg>
        <pc:picChg chg="add del mod">
          <ac:chgData name="Paul Astle" userId="e7d3d11a-a38f-4880-a499-497e6159e966" providerId="ADAL" clId="{8D21D9CD-C6EA-437B-96E4-58387E9E4340}" dt="2024-08-30T10:30:06.845" v="2056" actId="478"/>
          <ac:picMkLst>
            <pc:docMk/>
            <pc:sldMk cId="2456457001" sldId="2147480683"/>
            <ac:picMk id="54" creationId="{272F16EB-F79D-1F75-8044-FF6A2D6C6389}"/>
          </ac:picMkLst>
        </pc:picChg>
        <pc:picChg chg="add mod">
          <ac:chgData name="Paul Astle" userId="e7d3d11a-a38f-4880-a499-497e6159e966" providerId="ADAL" clId="{8D21D9CD-C6EA-437B-96E4-58387E9E4340}" dt="2024-08-30T10:30:53.289" v="2065" actId="1076"/>
          <ac:picMkLst>
            <pc:docMk/>
            <pc:sldMk cId="2456457001" sldId="2147480683"/>
            <ac:picMk id="56" creationId="{56E5C77D-58F2-2F43-1D42-42469DA0B23C}"/>
          </ac:picMkLst>
        </pc:picChg>
        <pc:picChg chg="add mod">
          <ac:chgData name="Paul Astle" userId="e7d3d11a-a38f-4880-a499-497e6159e966" providerId="ADAL" clId="{8D21D9CD-C6EA-437B-96E4-58387E9E4340}" dt="2024-08-30T10:32:01.058" v="2074" actId="1076"/>
          <ac:picMkLst>
            <pc:docMk/>
            <pc:sldMk cId="2456457001" sldId="2147480683"/>
            <ac:picMk id="58" creationId="{1FEDCA4F-CE16-40FC-B815-631310FAFC6F}"/>
          </ac:picMkLst>
        </pc:picChg>
        <pc:cxnChg chg="add mod">
          <ac:chgData name="Paul Astle" userId="e7d3d11a-a38f-4880-a499-497e6159e966" providerId="ADAL" clId="{8D21D9CD-C6EA-437B-96E4-58387E9E4340}" dt="2024-08-30T10:32:30.107" v="2079" actId="1076"/>
          <ac:cxnSpMkLst>
            <pc:docMk/>
            <pc:sldMk cId="2456457001" sldId="2147480683"/>
            <ac:cxnSpMk id="29" creationId="{B2181D4B-E811-702D-14F5-0B0D98A3D161}"/>
          </ac:cxnSpMkLst>
        </pc:cxnChg>
        <pc:cxnChg chg="add mod">
          <ac:chgData name="Paul Astle" userId="e7d3d11a-a38f-4880-a499-497e6159e966" providerId="ADAL" clId="{8D21D9CD-C6EA-437B-96E4-58387E9E4340}" dt="2024-08-30T10:32:15.963" v="2077" actId="1076"/>
          <ac:cxnSpMkLst>
            <pc:docMk/>
            <pc:sldMk cId="2456457001" sldId="2147480683"/>
            <ac:cxnSpMk id="31" creationId="{3B2571BA-6D8C-5349-6094-BF53EE346E8E}"/>
          </ac:cxnSpMkLst>
        </pc:cxnChg>
        <pc:cxnChg chg="add mod">
          <ac:chgData name="Paul Astle" userId="e7d3d11a-a38f-4880-a499-497e6159e966" providerId="ADAL" clId="{8D21D9CD-C6EA-437B-96E4-58387E9E4340}" dt="2024-08-30T10:23:21.480" v="1978" actId="14100"/>
          <ac:cxnSpMkLst>
            <pc:docMk/>
            <pc:sldMk cId="2456457001" sldId="2147480683"/>
            <ac:cxnSpMk id="36" creationId="{772A733E-42EE-C680-C678-BC83E45C07F5}"/>
          </ac:cxnSpMkLst>
        </pc:cxnChg>
        <pc:cxnChg chg="add del">
          <ac:chgData name="Paul Astle" userId="e7d3d11a-a38f-4880-a499-497e6159e966" providerId="ADAL" clId="{8D21D9CD-C6EA-437B-96E4-58387E9E4340}" dt="2024-08-30T10:23:52.287" v="1985" actId="478"/>
          <ac:cxnSpMkLst>
            <pc:docMk/>
            <pc:sldMk cId="2456457001" sldId="2147480683"/>
            <ac:cxnSpMk id="41" creationId="{BDB489FA-0E4A-739B-85DA-C573003401BE}"/>
          </ac:cxnSpMkLst>
        </pc:cxnChg>
        <pc:cxnChg chg="add mod">
          <ac:chgData name="Paul Astle" userId="e7d3d11a-a38f-4880-a499-497e6159e966" providerId="ADAL" clId="{8D21D9CD-C6EA-437B-96E4-58387E9E4340}" dt="2024-08-30T10:26:54.964" v="2015" actId="14100"/>
          <ac:cxnSpMkLst>
            <pc:docMk/>
            <pc:sldMk cId="2456457001" sldId="2147480683"/>
            <ac:cxnSpMk id="48" creationId="{A4D7DC3B-6185-E7A9-C758-2470FD0FDDA8}"/>
          </ac:cxnSpMkLst>
        </pc:cxnChg>
        <pc:cxnChg chg="add">
          <ac:chgData name="Paul Astle" userId="e7d3d11a-a38f-4880-a499-497e6159e966" providerId="ADAL" clId="{8D21D9CD-C6EA-437B-96E4-58387E9E4340}" dt="2024-08-30T10:32:21.004" v="2078" actId="11529"/>
          <ac:cxnSpMkLst>
            <pc:docMk/>
            <pc:sldMk cId="2456457001" sldId="2147480683"/>
            <ac:cxnSpMk id="60" creationId="{B6C1CC03-6311-3989-24F5-CF177691E67F}"/>
          </ac:cxnSpMkLst>
        </pc:cxnChg>
      </pc:sldChg>
      <pc:sldChg chg="add del">
        <pc:chgData name="Paul Astle" userId="e7d3d11a-a38f-4880-a499-497e6159e966" providerId="ADAL" clId="{8D21D9CD-C6EA-437B-96E4-58387E9E4340}" dt="2024-08-29T20:10:19.776" v="1393" actId="47"/>
        <pc:sldMkLst>
          <pc:docMk/>
          <pc:sldMk cId="2924463639" sldId="2147480683"/>
        </pc:sldMkLst>
      </pc:sldChg>
      <pc:sldChg chg="addSp delSp modSp new mod modTransition">
        <pc:chgData name="Paul Astle" userId="e7d3d11a-a38f-4880-a499-497e6159e966" providerId="ADAL" clId="{8D21D9CD-C6EA-437B-96E4-58387E9E4340}" dt="2024-08-30T14:56:14.919" v="3695"/>
        <pc:sldMkLst>
          <pc:docMk/>
          <pc:sldMk cId="2019523628" sldId="2147480684"/>
        </pc:sldMkLst>
        <pc:picChg chg="add del mod">
          <ac:chgData name="Paul Astle" userId="e7d3d11a-a38f-4880-a499-497e6159e966" providerId="ADAL" clId="{8D21D9CD-C6EA-437B-96E4-58387E9E4340}" dt="2024-08-29T20:21:25.494" v="1478" actId="478"/>
          <ac:picMkLst>
            <pc:docMk/>
            <pc:sldMk cId="2019523628" sldId="2147480684"/>
            <ac:picMk id="4" creationId="{730F7B71-A9DF-1541-FD3F-B6C0A99AF05A}"/>
          </ac:picMkLst>
        </pc:picChg>
        <pc:picChg chg="add mod">
          <ac:chgData name="Paul Astle" userId="e7d3d11a-a38f-4880-a499-497e6159e966" providerId="ADAL" clId="{8D21D9CD-C6EA-437B-96E4-58387E9E4340}" dt="2024-08-29T20:21:29.803" v="1479" actId="1076"/>
          <ac:picMkLst>
            <pc:docMk/>
            <pc:sldMk cId="2019523628" sldId="2147480684"/>
            <ac:picMk id="6" creationId="{F3886894-C975-3C01-C849-54C6DA4B6288}"/>
          </ac:picMkLst>
        </pc:picChg>
      </pc:sldChg>
      <pc:sldChg chg="add del">
        <pc:chgData name="Paul Astle" userId="e7d3d11a-a38f-4880-a499-497e6159e966" providerId="ADAL" clId="{8D21D9CD-C6EA-437B-96E4-58387E9E4340}" dt="2024-08-29T20:10:19.776" v="1393" actId="47"/>
        <pc:sldMkLst>
          <pc:docMk/>
          <pc:sldMk cId="2019523628" sldId="2147480684"/>
        </pc:sldMkLst>
      </pc:sldChg>
      <pc:sldChg chg="add del">
        <pc:chgData name="Paul Astle" userId="e7d3d11a-a38f-4880-a499-497e6159e966" providerId="ADAL" clId="{8D21D9CD-C6EA-437B-96E4-58387E9E4340}" dt="2024-08-29T20:10:19.776" v="1393" actId="47"/>
        <pc:sldMkLst>
          <pc:docMk/>
          <pc:sldMk cId="0" sldId="2147480685"/>
        </pc:sldMkLst>
      </pc:sldChg>
      <pc:sldChg chg="new del">
        <pc:chgData name="Paul Astle" userId="e7d3d11a-a38f-4880-a499-497e6159e966" providerId="ADAL" clId="{8D21D9CD-C6EA-437B-96E4-58387E9E4340}" dt="2024-08-30T10:46:29.275" v="2288" actId="47"/>
        <pc:sldMkLst>
          <pc:docMk/>
          <pc:sldMk cId="1614268965" sldId="2147480685"/>
        </pc:sldMkLst>
      </pc:sldChg>
      <pc:sldChg chg="addSp delSp modSp new mod ord modTransition">
        <pc:chgData name="Paul Astle" userId="e7d3d11a-a38f-4880-a499-497e6159e966" providerId="ADAL" clId="{8D21D9CD-C6EA-437B-96E4-58387E9E4340}" dt="2024-08-30T14:56:14.919" v="3695"/>
        <pc:sldMkLst>
          <pc:docMk/>
          <pc:sldMk cId="893225310" sldId="2147480686"/>
        </pc:sldMkLst>
        <pc:spChg chg="del">
          <ac:chgData name="Paul Astle" userId="e7d3d11a-a38f-4880-a499-497e6159e966" providerId="ADAL" clId="{8D21D9CD-C6EA-437B-96E4-58387E9E4340}" dt="2024-08-29T20:46:33.004" v="1495" actId="478"/>
          <ac:spMkLst>
            <pc:docMk/>
            <pc:sldMk cId="893225310" sldId="2147480686"/>
            <ac:spMk id="2" creationId="{7EB82C1F-28D2-2642-5571-F73E7AC04431}"/>
          </ac:spMkLst>
        </pc:spChg>
        <pc:spChg chg="del">
          <ac:chgData name="Paul Astle" userId="e7d3d11a-a38f-4880-a499-497e6159e966" providerId="ADAL" clId="{8D21D9CD-C6EA-437B-96E4-58387E9E4340}" dt="2024-08-29T20:46:31.705" v="1494" actId="478"/>
          <ac:spMkLst>
            <pc:docMk/>
            <pc:sldMk cId="893225310" sldId="2147480686"/>
            <ac:spMk id="3" creationId="{6E3D9CE7-7554-9674-6506-79D7F35024BD}"/>
          </ac:spMkLst>
        </pc:spChg>
        <pc:picChg chg="add mod">
          <ac:chgData name="Paul Astle" userId="e7d3d11a-a38f-4880-a499-497e6159e966" providerId="ADAL" clId="{8D21D9CD-C6EA-437B-96E4-58387E9E4340}" dt="2024-08-29T20:51:30.795" v="1503" actId="1076"/>
          <ac:picMkLst>
            <pc:docMk/>
            <pc:sldMk cId="893225310" sldId="2147480686"/>
            <ac:picMk id="6" creationId="{6F61C480-F988-EB60-979E-577B020D66A8}"/>
          </ac:picMkLst>
        </pc:picChg>
        <pc:picChg chg="add del mod">
          <ac:chgData name="Paul Astle" userId="e7d3d11a-a38f-4880-a499-497e6159e966" providerId="ADAL" clId="{8D21D9CD-C6EA-437B-96E4-58387E9E4340}" dt="2024-08-29T20:51:25.568" v="1502" actId="478"/>
          <ac:picMkLst>
            <pc:docMk/>
            <pc:sldMk cId="893225310" sldId="2147480686"/>
            <ac:picMk id="1026" creationId="{4C9970BD-9E5A-5982-09DA-AD76A50E8F61}"/>
          </ac:picMkLst>
        </pc:picChg>
      </pc:sldChg>
      <pc:sldChg chg="add del">
        <pc:chgData name="Paul Astle" userId="e7d3d11a-a38f-4880-a499-497e6159e966" providerId="ADAL" clId="{8D21D9CD-C6EA-437B-96E4-58387E9E4340}" dt="2024-08-29T20:10:19.776" v="1393" actId="47"/>
        <pc:sldMkLst>
          <pc:docMk/>
          <pc:sldMk cId="893225310" sldId="2147480686"/>
        </pc:sldMkLst>
      </pc:sldChg>
      <pc:sldChg chg="add del">
        <pc:chgData name="Paul Astle" userId="e7d3d11a-a38f-4880-a499-497e6159e966" providerId="ADAL" clId="{8D21D9CD-C6EA-437B-96E4-58387E9E4340}" dt="2024-08-29T20:10:19.776" v="1393" actId="47"/>
        <pc:sldMkLst>
          <pc:docMk/>
          <pc:sldMk cId="3151478275" sldId="2147480687"/>
        </pc:sldMkLst>
      </pc:sldChg>
      <pc:sldChg chg="addSp modSp new mod modTransition">
        <pc:chgData name="Paul Astle" userId="e7d3d11a-a38f-4880-a499-497e6159e966" providerId="ADAL" clId="{8D21D9CD-C6EA-437B-96E4-58387E9E4340}" dt="2024-08-30T14:56:14.919" v="3695"/>
        <pc:sldMkLst>
          <pc:docMk/>
          <pc:sldMk cId="3151478275" sldId="2147480687"/>
        </pc:sldMkLst>
        <pc:picChg chg="add mod modCrop">
          <ac:chgData name="Paul Astle" userId="e7d3d11a-a38f-4880-a499-497e6159e966" providerId="ADAL" clId="{8D21D9CD-C6EA-437B-96E4-58387E9E4340}" dt="2024-08-29T20:58:45.023" v="1575" actId="732"/>
          <ac:picMkLst>
            <pc:docMk/>
            <pc:sldMk cId="3151478275" sldId="2147480687"/>
            <ac:picMk id="6" creationId="{E0E863F3-C0FC-2654-D31D-1B98153F82DE}"/>
          </ac:picMkLst>
        </pc:picChg>
      </pc:sldChg>
      <pc:sldChg chg="add del">
        <pc:chgData name="Paul Astle" userId="e7d3d11a-a38f-4880-a499-497e6159e966" providerId="ADAL" clId="{8D21D9CD-C6EA-437B-96E4-58387E9E4340}" dt="2024-08-29T20:10:19.776" v="1393" actId="47"/>
        <pc:sldMkLst>
          <pc:docMk/>
          <pc:sldMk cId="0" sldId="2147480688"/>
        </pc:sldMkLst>
      </pc:sldChg>
      <pc:sldChg chg="addSp delSp modSp new del mod modTransition modClrScheme chgLayout">
        <pc:chgData name="Paul Astle" userId="e7d3d11a-a38f-4880-a499-497e6159e966" providerId="ADAL" clId="{8D21D9CD-C6EA-437B-96E4-58387E9E4340}" dt="2024-08-30T21:31:21.620" v="3936" actId="47"/>
        <pc:sldMkLst>
          <pc:docMk/>
          <pc:sldMk cId="865061097" sldId="2147480688"/>
        </pc:sldMkLst>
        <pc:spChg chg="del">
          <ac:chgData name="Paul Astle" userId="e7d3d11a-a38f-4880-a499-497e6159e966" providerId="ADAL" clId="{8D21D9CD-C6EA-437B-96E4-58387E9E4340}" dt="2024-08-29T21:20:17.134" v="1940" actId="26606"/>
          <ac:spMkLst>
            <pc:docMk/>
            <pc:sldMk cId="865061097" sldId="2147480688"/>
            <ac:spMk id="2" creationId="{E97CDEF4-75B5-6F70-2FEC-36E7BF7FE9C4}"/>
          </ac:spMkLst>
        </pc:spChg>
        <pc:spChg chg="del">
          <ac:chgData name="Paul Astle" userId="e7d3d11a-a38f-4880-a499-497e6159e966" providerId="ADAL" clId="{8D21D9CD-C6EA-437B-96E4-58387E9E4340}" dt="2024-08-29T21:16:45.658" v="1863"/>
          <ac:spMkLst>
            <pc:docMk/>
            <pc:sldMk cId="865061097" sldId="2147480688"/>
            <ac:spMk id="3" creationId="{2D8A2834-9E35-E1E5-FCC5-4357C0C8DDE5}"/>
          </ac:spMkLst>
        </pc:spChg>
        <pc:spChg chg="mod ord modVis">
          <ac:chgData name="Paul Astle" userId="e7d3d11a-a38f-4880-a499-497e6159e966" providerId="ADAL" clId="{8D21D9CD-C6EA-437B-96E4-58387E9E4340}" dt="2024-08-29T21:20:17.134" v="1940" actId="26606"/>
          <ac:spMkLst>
            <pc:docMk/>
            <pc:sldMk cId="865061097" sldId="2147480688"/>
            <ac:spMk id="4" creationId="{3F9026D9-C186-C223-DB38-6590F6D9C459}"/>
          </ac:spMkLst>
        </pc:spChg>
        <pc:spChg chg="add del mod ord">
          <ac:chgData name="Paul Astle" userId="e7d3d11a-a38f-4880-a499-497e6159e966" providerId="ADAL" clId="{8D21D9CD-C6EA-437B-96E4-58387E9E4340}" dt="2024-08-29T21:17:34.183" v="1894"/>
          <ac:spMkLst>
            <pc:docMk/>
            <pc:sldMk cId="865061097" sldId="2147480688"/>
            <ac:spMk id="7" creationId="{26EE9D6C-BC7B-D797-EC5E-A9466127C5E5}"/>
          </ac:spMkLst>
        </pc:spChg>
        <pc:spChg chg="add del mod ord">
          <ac:chgData name="Paul Astle" userId="e7d3d11a-a38f-4880-a499-497e6159e966" providerId="ADAL" clId="{8D21D9CD-C6EA-437B-96E4-58387E9E4340}" dt="2024-08-29T21:20:01.404" v="1938" actId="478"/>
          <ac:spMkLst>
            <pc:docMk/>
            <pc:sldMk cId="865061097" sldId="2147480688"/>
            <ac:spMk id="10" creationId="{43ECAE9A-2C56-86CA-2193-E623F052D81A}"/>
          </ac:spMkLst>
        </pc:spChg>
        <pc:spChg chg="add del mod">
          <ac:chgData name="Paul Astle" userId="e7d3d11a-a38f-4880-a499-497e6159e966" providerId="ADAL" clId="{8D21D9CD-C6EA-437B-96E4-58387E9E4340}" dt="2024-08-30T14:51:25.369" v="3649" actId="478"/>
          <ac:spMkLst>
            <pc:docMk/>
            <pc:sldMk cId="865061097" sldId="2147480688"/>
            <ac:spMk id="13" creationId="{1C82C5DA-8EBC-6B25-7BA4-5C8AB362B94E}"/>
          </ac:spMkLst>
        </pc:spChg>
        <pc:spChg chg="add mod">
          <ac:chgData name="Paul Astle" userId="e7d3d11a-a38f-4880-a499-497e6159e966" providerId="ADAL" clId="{8D21D9CD-C6EA-437B-96E4-58387E9E4340}" dt="2024-08-30T14:51:39.237" v="3653" actId="20577"/>
          <ac:spMkLst>
            <pc:docMk/>
            <pc:sldMk cId="865061097" sldId="2147480688"/>
            <ac:spMk id="14" creationId="{DD14D016-B31D-038B-F6B8-BC83FDD7C3E2}"/>
          </ac:spMkLst>
        </pc:spChg>
        <pc:spChg chg="add mod">
          <ac:chgData name="Paul Astle" userId="e7d3d11a-a38f-4880-a499-497e6159e966" providerId="ADAL" clId="{8D21D9CD-C6EA-437B-96E4-58387E9E4340}" dt="2024-08-29T21:20:17.134" v="1940" actId="26606"/>
          <ac:spMkLst>
            <pc:docMk/>
            <pc:sldMk cId="865061097" sldId="2147480688"/>
            <ac:spMk id="17" creationId="{AA0D8DD8-D725-F191-0321-EB0AD0DABB33}"/>
          </ac:spMkLst>
        </pc:spChg>
        <pc:picChg chg="add del mod ord replST">
          <ac:chgData name="Paul Astle" userId="e7d3d11a-a38f-4880-a499-497e6159e966" providerId="ADAL" clId="{8D21D9CD-C6EA-437B-96E4-58387E9E4340}" dt="2024-08-29T21:17:34.217" v="1920"/>
          <ac:picMkLst>
            <pc:docMk/>
            <pc:sldMk cId="865061097" sldId="2147480688"/>
            <ac:picMk id="6" creationId="{60F5E319-0A21-CD35-3FE4-766C93FFC748}"/>
          </ac:picMkLst>
        </pc:picChg>
        <pc:picChg chg="add del mod replST modCrop">
          <ac:chgData name="Paul Astle" userId="e7d3d11a-a38f-4880-a499-497e6159e966" providerId="ADAL" clId="{8D21D9CD-C6EA-437B-96E4-58387E9E4340}" dt="2024-08-29T21:19:59.852" v="1937" actId="478"/>
          <ac:picMkLst>
            <pc:docMk/>
            <pc:sldMk cId="865061097" sldId="2147480688"/>
            <ac:picMk id="9" creationId="{E174B2B3-7B19-E510-09DF-4AD7420D0496}"/>
          </ac:picMkLst>
        </pc:picChg>
        <pc:picChg chg="add mod">
          <ac:chgData name="Paul Astle" userId="e7d3d11a-a38f-4880-a499-497e6159e966" providerId="ADAL" clId="{8D21D9CD-C6EA-437B-96E4-58387E9E4340}" dt="2024-08-29T21:20:17.134" v="1940" actId="26606"/>
          <ac:picMkLst>
            <pc:docMk/>
            <pc:sldMk cId="865061097" sldId="2147480688"/>
            <ac:picMk id="12" creationId="{DD1E6282-F217-A918-A44B-24ADD855FA5F}"/>
          </ac:picMkLst>
        </pc:picChg>
      </pc:sldChg>
      <pc:sldChg chg="add del">
        <pc:chgData name="Paul Astle" userId="e7d3d11a-a38f-4880-a499-497e6159e966" providerId="ADAL" clId="{8D21D9CD-C6EA-437B-96E4-58387E9E4340}" dt="2024-08-29T20:10:19.776" v="1393" actId="47"/>
        <pc:sldMkLst>
          <pc:docMk/>
          <pc:sldMk cId="0" sldId="2147480689"/>
        </pc:sldMkLst>
      </pc:sldChg>
      <pc:sldChg chg="new del">
        <pc:chgData name="Paul Astle" userId="e7d3d11a-a38f-4880-a499-497e6159e966" providerId="ADAL" clId="{8D21D9CD-C6EA-437B-96E4-58387E9E4340}" dt="2024-08-30T11:48:22.903" v="2326" actId="47"/>
        <pc:sldMkLst>
          <pc:docMk/>
          <pc:sldMk cId="256477198" sldId="2147480689"/>
        </pc:sldMkLst>
      </pc:sldChg>
      <pc:sldChg chg="add del">
        <pc:chgData name="Paul Astle" userId="e7d3d11a-a38f-4880-a499-497e6159e966" providerId="ADAL" clId="{8D21D9CD-C6EA-437B-96E4-58387E9E4340}" dt="2024-08-29T20:10:19.776" v="1393" actId="47"/>
        <pc:sldMkLst>
          <pc:docMk/>
          <pc:sldMk cId="2928244026" sldId="2147480690"/>
        </pc:sldMkLst>
      </pc:sldChg>
      <pc:sldChg chg="addSp delSp modSp new mod ord modTransition modClrScheme chgLayout">
        <pc:chgData name="Paul Astle" userId="e7d3d11a-a38f-4880-a499-497e6159e966" providerId="ADAL" clId="{8D21D9CD-C6EA-437B-96E4-58387E9E4340}" dt="2024-08-30T15:14:58.614" v="3699" actId="20577"/>
        <pc:sldMkLst>
          <pc:docMk/>
          <pc:sldMk cId="2928244026" sldId="2147480690"/>
        </pc:sldMkLst>
        <pc:spChg chg="del mod ord">
          <ac:chgData name="Paul Astle" userId="e7d3d11a-a38f-4880-a499-497e6159e966" providerId="ADAL" clId="{8D21D9CD-C6EA-437B-96E4-58387E9E4340}" dt="2024-08-30T10:11:14.719" v="1959" actId="700"/>
          <ac:spMkLst>
            <pc:docMk/>
            <pc:sldMk cId="2928244026" sldId="2147480690"/>
            <ac:spMk id="2" creationId="{5A658368-2C15-EDB8-CF1B-309EB86F85E3}"/>
          </ac:spMkLst>
        </pc:spChg>
        <pc:spChg chg="del mod ord">
          <ac:chgData name="Paul Astle" userId="e7d3d11a-a38f-4880-a499-497e6159e966" providerId="ADAL" clId="{8D21D9CD-C6EA-437B-96E4-58387E9E4340}" dt="2024-08-30T10:11:14.719" v="1959" actId="700"/>
          <ac:spMkLst>
            <pc:docMk/>
            <pc:sldMk cId="2928244026" sldId="2147480690"/>
            <ac:spMk id="3" creationId="{A41081DC-CDBE-EB0E-AF7A-2F776DBD3E3C}"/>
          </ac:spMkLst>
        </pc:spChg>
        <pc:spChg chg="del mod ord">
          <ac:chgData name="Paul Astle" userId="e7d3d11a-a38f-4880-a499-497e6159e966" providerId="ADAL" clId="{8D21D9CD-C6EA-437B-96E4-58387E9E4340}" dt="2024-08-30T10:11:14.719" v="1959" actId="700"/>
          <ac:spMkLst>
            <pc:docMk/>
            <pc:sldMk cId="2928244026" sldId="2147480690"/>
            <ac:spMk id="4" creationId="{EC4B1586-B64E-39BF-2EAA-9E611FE09E4A}"/>
          </ac:spMkLst>
        </pc:spChg>
        <pc:spChg chg="mod ord">
          <ac:chgData name="Paul Astle" userId="e7d3d11a-a38f-4880-a499-497e6159e966" providerId="ADAL" clId="{8D21D9CD-C6EA-437B-96E4-58387E9E4340}" dt="2024-08-30T14:02:31.150" v="2853" actId="700"/>
          <ac:spMkLst>
            <pc:docMk/>
            <pc:sldMk cId="2928244026" sldId="2147480690"/>
            <ac:spMk id="5" creationId="{6466C94F-F2C3-8FDC-7C10-A1CF8770021A}"/>
          </ac:spMkLst>
        </pc:spChg>
        <pc:spChg chg="add del mod ord">
          <ac:chgData name="Paul Astle" userId="e7d3d11a-a38f-4880-a499-497e6159e966" providerId="ADAL" clId="{8D21D9CD-C6EA-437B-96E4-58387E9E4340}" dt="2024-08-30T14:02:31.150" v="2853" actId="700"/>
          <ac:spMkLst>
            <pc:docMk/>
            <pc:sldMk cId="2928244026" sldId="2147480690"/>
            <ac:spMk id="6" creationId="{914A8D38-5F39-54CF-8937-F4DD40FF9F6D}"/>
          </ac:spMkLst>
        </pc:spChg>
        <pc:spChg chg="add del mod ord">
          <ac:chgData name="Paul Astle" userId="e7d3d11a-a38f-4880-a499-497e6159e966" providerId="ADAL" clId="{8D21D9CD-C6EA-437B-96E4-58387E9E4340}" dt="2024-08-30T14:02:31.150" v="2853" actId="700"/>
          <ac:spMkLst>
            <pc:docMk/>
            <pc:sldMk cId="2928244026" sldId="2147480690"/>
            <ac:spMk id="7" creationId="{899523EA-EF75-EC7A-F895-F3C3914DBE09}"/>
          </ac:spMkLst>
        </pc:spChg>
        <pc:spChg chg="add del mod ord">
          <ac:chgData name="Paul Astle" userId="e7d3d11a-a38f-4880-a499-497e6159e966" providerId="ADAL" clId="{8D21D9CD-C6EA-437B-96E4-58387E9E4340}" dt="2024-08-30T14:01:58.474" v="2851"/>
          <ac:spMkLst>
            <pc:docMk/>
            <pc:sldMk cId="2928244026" sldId="2147480690"/>
            <ac:spMk id="8" creationId="{C7F67261-E941-7FFC-B78D-0EC0A1051336}"/>
          </ac:spMkLst>
        </pc:spChg>
        <pc:spChg chg="add mod ord">
          <ac:chgData name="Paul Astle" userId="e7d3d11a-a38f-4880-a499-497e6159e966" providerId="ADAL" clId="{8D21D9CD-C6EA-437B-96E4-58387E9E4340}" dt="2024-08-30T14:04:03.193" v="2861" actId="20577"/>
          <ac:spMkLst>
            <pc:docMk/>
            <pc:sldMk cId="2928244026" sldId="2147480690"/>
            <ac:spMk id="10" creationId="{41213B6B-E369-5ADB-5C41-55D01647F15D}"/>
          </ac:spMkLst>
        </pc:spChg>
        <pc:spChg chg="add mod ord">
          <ac:chgData name="Paul Astle" userId="e7d3d11a-a38f-4880-a499-497e6159e966" providerId="ADAL" clId="{8D21D9CD-C6EA-437B-96E4-58387E9E4340}" dt="2024-08-30T14:05:47.208" v="2955" actId="207"/>
          <ac:spMkLst>
            <pc:docMk/>
            <pc:sldMk cId="2928244026" sldId="2147480690"/>
            <ac:spMk id="11" creationId="{E4AA67F4-E2B9-7D02-8D51-84EE3C0B9B5E}"/>
          </ac:spMkLst>
        </pc:spChg>
        <pc:spChg chg="add mod ord">
          <ac:chgData name="Paul Astle" userId="e7d3d11a-a38f-4880-a499-497e6159e966" providerId="ADAL" clId="{8D21D9CD-C6EA-437B-96E4-58387E9E4340}" dt="2024-08-30T15:14:58.614" v="3699" actId="20577"/>
          <ac:spMkLst>
            <pc:docMk/>
            <pc:sldMk cId="2928244026" sldId="2147480690"/>
            <ac:spMk id="12" creationId="{2A1E081A-B944-047F-813D-25AF49158A85}"/>
          </ac:spMkLst>
        </pc:spChg>
        <pc:spChg chg="add mod ord">
          <ac:chgData name="Paul Astle" userId="e7d3d11a-a38f-4880-a499-497e6159e966" providerId="ADAL" clId="{8D21D9CD-C6EA-437B-96E4-58387E9E4340}" dt="2024-08-30T14:02:31.150" v="2853" actId="700"/>
          <ac:spMkLst>
            <pc:docMk/>
            <pc:sldMk cId="2928244026" sldId="2147480690"/>
            <ac:spMk id="13" creationId="{24E66815-82A4-99EF-DE94-A62671E9DB98}"/>
          </ac:spMkLst>
        </pc:spChg>
        <pc:picChg chg="add mod ord">
          <ac:chgData name="Paul Astle" userId="e7d3d11a-a38f-4880-a499-497e6159e966" providerId="ADAL" clId="{8D21D9CD-C6EA-437B-96E4-58387E9E4340}" dt="2024-08-30T14:02:31.150" v="2853" actId="700"/>
          <ac:picMkLst>
            <pc:docMk/>
            <pc:sldMk cId="2928244026" sldId="2147480690"/>
            <ac:picMk id="9" creationId="{6F3F8604-7223-D477-368C-E933BA6450CC}"/>
          </ac:picMkLst>
        </pc:picChg>
      </pc:sldChg>
      <pc:sldChg chg="addSp delSp modSp add del mod ord modTransition">
        <pc:chgData name="Paul Astle" userId="e7d3d11a-a38f-4880-a499-497e6159e966" providerId="ADAL" clId="{8D21D9CD-C6EA-437B-96E4-58387E9E4340}" dt="2024-08-30T14:48:13.984" v="3644" actId="47"/>
        <pc:sldMkLst>
          <pc:docMk/>
          <pc:sldMk cId="1395812769" sldId="2147480691"/>
        </pc:sldMkLst>
        <pc:spChg chg="mod">
          <ac:chgData name="Paul Astle" userId="e7d3d11a-a38f-4880-a499-497e6159e966" providerId="ADAL" clId="{8D21D9CD-C6EA-437B-96E4-58387E9E4340}" dt="2024-08-30T10:41:23.149" v="2240" actId="1076"/>
          <ac:spMkLst>
            <pc:docMk/>
            <pc:sldMk cId="1395812769" sldId="2147480691"/>
            <ac:spMk id="2" creationId="{CC3B338C-25F9-EBA8-A9ED-5FB25570A8C0}"/>
          </ac:spMkLst>
        </pc:spChg>
        <pc:spChg chg="add mod">
          <ac:chgData name="Paul Astle" userId="e7d3d11a-a38f-4880-a499-497e6159e966" providerId="ADAL" clId="{8D21D9CD-C6EA-437B-96E4-58387E9E4340}" dt="2024-08-30T14:44:56.070" v="3605" actId="164"/>
          <ac:spMkLst>
            <pc:docMk/>
            <pc:sldMk cId="1395812769" sldId="2147480691"/>
            <ac:spMk id="17" creationId="{6D67EDF6-F0D4-4179-7C57-8104026B3CE9}"/>
          </ac:spMkLst>
        </pc:spChg>
        <pc:spChg chg="add mod">
          <ac:chgData name="Paul Astle" userId="e7d3d11a-a38f-4880-a499-497e6159e966" providerId="ADAL" clId="{8D21D9CD-C6EA-437B-96E4-58387E9E4340}" dt="2024-08-30T14:44:56.070" v="3605" actId="164"/>
          <ac:spMkLst>
            <pc:docMk/>
            <pc:sldMk cId="1395812769" sldId="2147480691"/>
            <ac:spMk id="23" creationId="{F0AD9F54-CD1C-B709-9602-57E7462F3777}"/>
          </ac:spMkLst>
        </pc:spChg>
        <pc:spChg chg="add mod">
          <ac:chgData name="Paul Astle" userId="e7d3d11a-a38f-4880-a499-497e6159e966" providerId="ADAL" clId="{8D21D9CD-C6EA-437B-96E4-58387E9E4340}" dt="2024-08-30T14:44:56.070" v="3605" actId="164"/>
          <ac:spMkLst>
            <pc:docMk/>
            <pc:sldMk cId="1395812769" sldId="2147480691"/>
            <ac:spMk id="24" creationId="{A3ADA337-EF66-8F71-D17C-D0E75A5633EB}"/>
          </ac:spMkLst>
        </pc:spChg>
        <pc:spChg chg="add mod">
          <ac:chgData name="Paul Astle" userId="e7d3d11a-a38f-4880-a499-497e6159e966" providerId="ADAL" clId="{8D21D9CD-C6EA-437B-96E4-58387E9E4340}" dt="2024-08-30T14:44:56.070" v="3605" actId="164"/>
          <ac:spMkLst>
            <pc:docMk/>
            <pc:sldMk cId="1395812769" sldId="2147480691"/>
            <ac:spMk id="28" creationId="{03D17BCD-A5B9-EA47-D6ED-F14331962005}"/>
          </ac:spMkLst>
        </pc:spChg>
        <pc:spChg chg="mod">
          <ac:chgData name="Paul Astle" userId="e7d3d11a-a38f-4880-a499-497e6159e966" providerId="ADAL" clId="{8D21D9CD-C6EA-437B-96E4-58387E9E4340}" dt="2024-08-30T10:42:41.839" v="2251" actId="27803"/>
          <ac:spMkLst>
            <pc:docMk/>
            <pc:sldMk cId="1395812769" sldId="2147480691"/>
            <ac:spMk id="44" creationId="{0BA1CA35-41F9-F943-9335-FA54A18EC987}"/>
          </ac:spMkLst>
        </pc:spChg>
        <pc:spChg chg="mod">
          <ac:chgData name="Paul Astle" userId="e7d3d11a-a38f-4880-a499-497e6159e966" providerId="ADAL" clId="{8D21D9CD-C6EA-437B-96E4-58387E9E4340}" dt="2024-08-30T10:42:41.839" v="2251" actId="27803"/>
          <ac:spMkLst>
            <pc:docMk/>
            <pc:sldMk cId="1395812769" sldId="2147480691"/>
            <ac:spMk id="45" creationId="{CE7006D4-C582-9DEC-AE33-3D9531090E59}"/>
          </ac:spMkLst>
        </pc:spChg>
        <pc:spChg chg="mod">
          <ac:chgData name="Paul Astle" userId="e7d3d11a-a38f-4880-a499-497e6159e966" providerId="ADAL" clId="{8D21D9CD-C6EA-437B-96E4-58387E9E4340}" dt="2024-08-30T10:42:41.839" v="2251" actId="27803"/>
          <ac:spMkLst>
            <pc:docMk/>
            <pc:sldMk cId="1395812769" sldId="2147480691"/>
            <ac:spMk id="47" creationId="{966E2F9C-12C0-6806-F879-38459DDE91BA}"/>
          </ac:spMkLst>
        </pc:spChg>
        <pc:spChg chg="mod">
          <ac:chgData name="Paul Astle" userId="e7d3d11a-a38f-4880-a499-497e6159e966" providerId="ADAL" clId="{8D21D9CD-C6EA-437B-96E4-58387E9E4340}" dt="2024-08-30T10:42:41.839" v="2251" actId="27803"/>
          <ac:spMkLst>
            <pc:docMk/>
            <pc:sldMk cId="1395812769" sldId="2147480691"/>
            <ac:spMk id="49" creationId="{28FDACD1-5562-1C15-98EC-FA82CC7385A3}"/>
          </ac:spMkLst>
        </pc:spChg>
        <pc:spChg chg="mod">
          <ac:chgData name="Paul Astle" userId="e7d3d11a-a38f-4880-a499-497e6159e966" providerId="ADAL" clId="{8D21D9CD-C6EA-437B-96E4-58387E9E4340}" dt="2024-08-30T10:42:41.839" v="2251" actId="27803"/>
          <ac:spMkLst>
            <pc:docMk/>
            <pc:sldMk cId="1395812769" sldId="2147480691"/>
            <ac:spMk id="50" creationId="{F4CDA48A-0949-1876-CCB6-BBE9B5D44B69}"/>
          </ac:spMkLst>
        </pc:spChg>
        <pc:spChg chg="mod">
          <ac:chgData name="Paul Astle" userId="e7d3d11a-a38f-4880-a499-497e6159e966" providerId="ADAL" clId="{8D21D9CD-C6EA-437B-96E4-58387E9E4340}" dt="2024-08-30T10:42:41.839" v="2251" actId="27803"/>
          <ac:spMkLst>
            <pc:docMk/>
            <pc:sldMk cId="1395812769" sldId="2147480691"/>
            <ac:spMk id="53" creationId="{63F7F75E-3574-A37E-BBCD-BDE1ABE85B1A}"/>
          </ac:spMkLst>
        </pc:spChg>
        <pc:spChg chg="mod">
          <ac:chgData name="Paul Astle" userId="e7d3d11a-a38f-4880-a499-497e6159e966" providerId="ADAL" clId="{8D21D9CD-C6EA-437B-96E4-58387E9E4340}" dt="2024-08-30T10:42:41.839" v="2251" actId="27803"/>
          <ac:spMkLst>
            <pc:docMk/>
            <pc:sldMk cId="1395812769" sldId="2147480691"/>
            <ac:spMk id="54" creationId="{DF30CC04-2891-486B-4725-8C2D0E730F9B}"/>
          </ac:spMkLst>
        </pc:spChg>
        <pc:spChg chg="mod">
          <ac:chgData name="Paul Astle" userId="e7d3d11a-a38f-4880-a499-497e6159e966" providerId="ADAL" clId="{8D21D9CD-C6EA-437B-96E4-58387E9E4340}" dt="2024-08-30T10:42:41.839" v="2251" actId="27803"/>
          <ac:spMkLst>
            <pc:docMk/>
            <pc:sldMk cId="1395812769" sldId="2147480691"/>
            <ac:spMk id="55" creationId="{A3306BCA-4ADD-E310-DB8F-E7CF6860DA33}"/>
          </ac:spMkLst>
        </pc:spChg>
        <pc:spChg chg="mod">
          <ac:chgData name="Paul Astle" userId="e7d3d11a-a38f-4880-a499-497e6159e966" providerId="ADAL" clId="{8D21D9CD-C6EA-437B-96E4-58387E9E4340}" dt="2024-08-30T10:42:41.839" v="2251" actId="27803"/>
          <ac:spMkLst>
            <pc:docMk/>
            <pc:sldMk cId="1395812769" sldId="2147480691"/>
            <ac:spMk id="57" creationId="{AF3C6FB4-5919-C556-6317-C6D55A7CF57B}"/>
          </ac:spMkLst>
        </pc:spChg>
        <pc:spChg chg="mod">
          <ac:chgData name="Paul Astle" userId="e7d3d11a-a38f-4880-a499-497e6159e966" providerId="ADAL" clId="{8D21D9CD-C6EA-437B-96E4-58387E9E4340}" dt="2024-08-30T10:42:41.839" v="2251" actId="27803"/>
          <ac:spMkLst>
            <pc:docMk/>
            <pc:sldMk cId="1395812769" sldId="2147480691"/>
            <ac:spMk id="59" creationId="{773C5453-BA6A-7513-5C5D-472A5DF0C572}"/>
          </ac:spMkLst>
        </pc:spChg>
        <pc:spChg chg="mod">
          <ac:chgData name="Paul Astle" userId="e7d3d11a-a38f-4880-a499-497e6159e966" providerId="ADAL" clId="{8D21D9CD-C6EA-437B-96E4-58387E9E4340}" dt="2024-08-30T10:42:41.839" v="2251" actId="27803"/>
          <ac:spMkLst>
            <pc:docMk/>
            <pc:sldMk cId="1395812769" sldId="2147480691"/>
            <ac:spMk id="61" creationId="{CF380CF8-AC03-65B7-A602-5406A9925C43}"/>
          </ac:spMkLst>
        </pc:spChg>
        <pc:spChg chg="mod">
          <ac:chgData name="Paul Astle" userId="e7d3d11a-a38f-4880-a499-497e6159e966" providerId="ADAL" clId="{8D21D9CD-C6EA-437B-96E4-58387E9E4340}" dt="2024-08-30T10:42:41.839" v="2251" actId="27803"/>
          <ac:spMkLst>
            <pc:docMk/>
            <pc:sldMk cId="1395812769" sldId="2147480691"/>
            <ac:spMk id="62" creationId="{61469404-8D93-1A7F-04AF-B84C6E2D0A0E}"/>
          </ac:spMkLst>
        </pc:spChg>
        <pc:spChg chg="mod">
          <ac:chgData name="Paul Astle" userId="e7d3d11a-a38f-4880-a499-497e6159e966" providerId="ADAL" clId="{8D21D9CD-C6EA-437B-96E4-58387E9E4340}" dt="2024-08-30T10:42:39.271" v="2248" actId="27803"/>
          <ac:spMkLst>
            <pc:docMk/>
            <pc:sldMk cId="1395812769" sldId="2147480691"/>
            <ac:spMk id="64" creationId="{69D2FC59-3BBA-937C-2046-9D7FB32E7802}"/>
          </ac:spMkLst>
        </pc:spChg>
        <pc:spChg chg="mod">
          <ac:chgData name="Paul Astle" userId="e7d3d11a-a38f-4880-a499-497e6159e966" providerId="ADAL" clId="{8D21D9CD-C6EA-437B-96E4-58387E9E4340}" dt="2024-08-30T10:42:39.271" v="2248" actId="27803"/>
          <ac:spMkLst>
            <pc:docMk/>
            <pc:sldMk cId="1395812769" sldId="2147480691"/>
            <ac:spMk id="65" creationId="{D0C4EA7D-42BB-A219-32B6-D8B9E955C382}"/>
          </ac:spMkLst>
        </pc:spChg>
        <pc:spChg chg="mod">
          <ac:chgData name="Paul Astle" userId="e7d3d11a-a38f-4880-a499-497e6159e966" providerId="ADAL" clId="{8D21D9CD-C6EA-437B-96E4-58387E9E4340}" dt="2024-08-30T10:42:39.271" v="2248" actId="27803"/>
          <ac:spMkLst>
            <pc:docMk/>
            <pc:sldMk cId="1395812769" sldId="2147480691"/>
            <ac:spMk id="66" creationId="{E9CABE35-A3CE-8D81-B537-FC0344C9F816}"/>
          </ac:spMkLst>
        </pc:spChg>
        <pc:spChg chg="mod">
          <ac:chgData name="Paul Astle" userId="e7d3d11a-a38f-4880-a499-497e6159e966" providerId="ADAL" clId="{8D21D9CD-C6EA-437B-96E4-58387E9E4340}" dt="2024-08-30T10:42:39.271" v="2248" actId="27803"/>
          <ac:spMkLst>
            <pc:docMk/>
            <pc:sldMk cId="1395812769" sldId="2147480691"/>
            <ac:spMk id="67" creationId="{7517C2C4-319D-B45C-6D18-0729785CE018}"/>
          </ac:spMkLst>
        </pc:spChg>
        <pc:spChg chg="mod">
          <ac:chgData name="Paul Astle" userId="e7d3d11a-a38f-4880-a499-497e6159e966" providerId="ADAL" clId="{8D21D9CD-C6EA-437B-96E4-58387E9E4340}" dt="2024-08-30T10:42:39.271" v="2248" actId="27803"/>
          <ac:spMkLst>
            <pc:docMk/>
            <pc:sldMk cId="1395812769" sldId="2147480691"/>
            <ac:spMk id="68" creationId="{205C4B4A-0C0C-BDA0-1E70-39A76481FBF0}"/>
          </ac:spMkLst>
        </pc:spChg>
        <pc:spChg chg="mod">
          <ac:chgData name="Paul Astle" userId="e7d3d11a-a38f-4880-a499-497e6159e966" providerId="ADAL" clId="{8D21D9CD-C6EA-437B-96E4-58387E9E4340}" dt="2024-08-30T10:42:39.271" v="2248" actId="27803"/>
          <ac:spMkLst>
            <pc:docMk/>
            <pc:sldMk cId="1395812769" sldId="2147480691"/>
            <ac:spMk id="69" creationId="{8736A2A7-6D0B-59A6-20C7-6C55A867A197}"/>
          </ac:spMkLst>
        </pc:spChg>
        <pc:spChg chg="mod">
          <ac:chgData name="Paul Astle" userId="e7d3d11a-a38f-4880-a499-497e6159e966" providerId="ADAL" clId="{8D21D9CD-C6EA-437B-96E4-58387E9E4340}" dt="2024-08-30T10:42:39.271" v="2248" actId="27803"/>
          <ac:spMkLst>
            <pc:docMk/>
            <pc:sldMk cId="1395812769" sldId="2147480691"/>
            <ac:spMk id="70" creationId="{8A944C79-ED52-E349-9678-CEABA29F8855}"/>
          </ac:spMkLst>
        </pc:spChg>
        <pc:spChg chg="mod">
          <ac:chgData name="Paul Astle" userId="e7d3d11a-a38f-4880-a499-497e6159e966" providerId="ADAL" clId="{8D21D9CD-C6EA-437B-96E4-58387E9E4340}" dt="2024-08-30T10:42:39.271" v="2248" actId="27803"/>
          <ac:spMkLst>
            <pc:docMk/>
            <pc:sldMk cId="1395812769" sldId="2147480691"/>
            <ac:spMk id="71" creationId="{9C54A670-5F00-D67B-4F39-CF86E6B9B0C3}"/>
          </ac:spMkLst>
        </pc:spChg>
        <pc:spChg chg="mod">
          <ac:chgData name="Paul Astle" userId="e7d3d11a-a38f-4880-a499-497e6159e966" providerId="ADAL" clId="{8D21D9CD-C6EA-437B-96E4-58387E9E4340}" dt="2024-08-30T10:42:39.271" v="2248" actId="27803"/>
          <ac:spMkLst>
            <pc:docMk/>
            <pc:sldMk cId="1395812769" sldId="2147480691"/>
            <ac:spMk id="72" creationId="{B12DACFB-86F5-8145-E53F-72084E23227E}"/>
          </ac:spMkLst>
        </pc:spChg>
        <pc:spChg chg="mod">
          <ac:chgData name="Paul Astle" userId="e7d3d11a-a38f-4880-a499-497e6159e966" providerId="ADAL" clId="{8D21D9CD-C6EA-437B-96E4-58387E9E4340}" dt="2024-08-30T10:42:39.271" v="2248" actId="27803"/>
          <ac:spMkLst>
            <pc:docMk/>
            <pc:sldMk cId="1395812769" sldId="2147480691"/>
            <ac:spMk id="73" creationId="{CE3F200F-263A-F471-21FE-563277827807}"/>
          </ac:spMkLst>
        </pc:spChg>
        <pc:spChg chg="mod">
          <ac:chgData name="Paul Astle" userId="e7d3d11a-a38f-4880-a499-497e6159e966" providerId="ADAL" clId="{8D21D9CD-C6EA-437B-96E4-58387E9E4340}" dt="2024-08-30T10:42:39.271" v="2248" actId="27803"/>
          <ac:spMkLst>
            <pc:docMk/>
            <pc:sldMk cId="1395812769" sldId="2147480691"/>
            <ac:spMk id="74" creationId="{F3493C0D-77B1-BD7B-0D12-49263169E642}"/>
          </ac:spMkLst>
        </pc:spChg>
        <pc:spChg chg="mod">
          <ac:chgData name="Paul Astle" userId="e7d3d11a-a38f-4880-a499-497e6159e966" providerId="ADAL" clId="{8D21D9CD-C6EA-437B-96E4-58387E9E4340}" dt="2024-08-30T10:42:39.271" v="2248" actId="27803"/>
          <ac:spMkLst>
            <pc:docMk/>
            <pc:sldMk cId="1395812769" sldId="2147480691"/>
            <ac:spMk id="75" creationId="{672AED56-C8D5-C31E-7954-5B32022070A0}"/>
          </ac:spMkLst>
        </pc:spChg>
        <pc:grpChg chg="add del mod">
          <ac:chgData name="Paul Astle" userId="e7d3d11a-a38f-4880-a499-497e6159e966" providerId="ADAL" clId="{8D21D9CD-C6EA-437B-96E4-58387E9E4340}" dt="2024-08-30T10:42:41.839" v="2251" actId="27803"/>
          <ac:grpSpMkLst>
            <pc:docMk/>
            <pc:sldMk cId="1395812769" sldId="2147480691"/>
            <ac:grpSpMk id="43" creationId="{C9F2B4E2-312A-46EA-E1D2-323A44382F56}"/>
          </ac:grpSpMkLst>
        </pc:grpChg>
        <pc:grpChg chg="add del mod">
          <ac:chgData name="Paul Astle" userId="e7d3d11a-a38f-4880-a499-497e6159e966" providerId="ADAL" clId="{8D21D9CD-C6EA-437B-96E4-58387E9E4340}" dt="2024-08-30T10:42:39.271" v="2248" actId="27803"/>
          <ac:grpSpMkLst>
            <pc:docMk/>
            <pc:sldMk cId="1395812769" sldId="2147480691"/>
            <ac:grpSpMk id="63" creationId="{FAEF6E98-F994-892F-6829-23253247A5CF}"/>
          </ac:grpSpMkLst>
        </pc:grpChg>
        <pc:grpChg chg="add mod">
          <ac:chgData name="Paul Astle" userId="e7d3d11a-a38f-4880-a499-497e6159e966" providerId="ADAL" clId="{8D21D9CD-C6EA-437B-96E4-58387E9E4340}" dt="2024-08-30T14:44:56.070" v="3605" actId="164"/>
          <ac:grpSpMkLst>
            <pc:docMk/>
            <pc:sldMk cId="1395812769" sldId="2147480691"/>
            <ac:grpSpMk id="90" creationId="{F78A99D4-C162-26FF-A203-1E096850C4B9}"/>
          </ac:grpSpMkLst>
        </pc:grpChg>
        <pc:picChg chg="add del mod">
          <ac:chgData name="Paul Astle" userId="e7d3d11a-a38f-4880-a499-497e6159e966" providerId="ADAL" clId="{8D21D9CD-C6EA-437B-96E4-58387E9E4340}" dt="2024-08-30T10:42:51.787" v="2253" actId="207"/>
          <ac:picMkLst>
            <pc:docMk/>
            <pc:sldMk cId="1395812769" sldId="2147480691"/>
            <ac:picMk id="19" creationId="{8169DA6C-1E6C-2E56-4B40-CCA28C7C2517}"/>
          </ac:picMkLst>
        </pc:picChg>
        <pc:picChg chg="mod">
          <ac:chgData name="Paul Astle" userId="e7d3d11a-a38f-4880-a499-497e6159e966" providerId="ADAL" clId="{8D21D9CD-C6EA-437B-96E4-58387E9E4340}" dt="2024-08-30T10:33:54.575" v="2083" actId="1076"/>
          <ac:picMkLst>
            <pc:docMk/>
            <pc:sldMk cId="1395812769" sldId="2147480691"/>
            <ac:picMk id="25" creationId="{B1E30D58-493D-3E3D-E366-99815BFDF624}"/>
          </ac:picMkLst>
        </pc:picChg>
        <pc:picChg chg="mod">
          <ac:chgData name="Paul Astle" userId="e7d3d11a-a38f-4880-a499-497e6159e966" providerId="ADAL" clId="{8D21D9CD-C6EA-437B-96E4-58387E9E4340}" dt="2024-08-30T10:42:56.402" v="2254" actId="207"/>
          <ac:picMkLst>
            <pc:docMk/>
            <pc:sldMk cId="1395812769" sldId="2147480691"/>
            <ac:picMk id="26" creationId="{0AB7CF00-184B-4F29-3114-409E615A5529}"/>
          </ac:picMkLst>
        </pc:picChg>
        <pc:picChg chg="mod">
          <ac:chgData name="Paul Astle" userId="e7d3d11a-a38f-4880-a499-497e6159e966" providerId="ADAL" clId="{8D21D9CD-C6EA-437B-96E4-58387E9E4340}" dt="2024-08-30T10:43:00.502" v="2255" actId="207"/>
          <ac:picMkLst>
            <pc:docMk/>
            <pc:sldMk cId="1395812769" sldId="2147480691"/>
            <ac:picMk id="27" creationId="{2858020A-2B26-4623-B89D-F652A6F3CE52}"/>
          </ac:picMkLst>
        </pc:picChg>
        <pc:picChg chg="mod">
          <ac:chgData name="Paul Astle" userId="e7d3d11a-a38f-4880-a499-497e6159e966" providerId="ADAL" clId="{8D21D9CD-C6EA-437B-96E4-58387E9E4340}" dt="2024-08-30T10:33:54.575" v="2083" actId="1076"/>
          <ac:picMkLst>
            <pc:docMk/>
            <pc:sldMk cId="1395812769" sldId="2147480691"/>
            <ac:picMk id="46" creationId="{E67A0B62-CD47-6706-B0F3-828B1368B1F7}"/>
          </ac:picMkLst>
        </pc:picChg>
        <pc:picChg chg="mod">
          <ac:chgData name="Paul Astle" userId="e7d3d11a-a38f-4880-a499-497e6159e966" providerId="ADAL" clId="{8D21D9CD-C6EA-437B-96E4-58387E9E4340}" dt="2024-08-30T10:33:54.575" v="2083" actId="1076"/>
          <ac:picMkLst>
            <pc:docMk/>
            <pc:sldMk cId="1395812769" sldId="2147480691"/>
            <ac:picMk id="56" creationId="{56E5C77D-58F2-2F43-1D42-42469DA0B23C}"/>
          </ac:picMkLst>
        </pc:picChg>
        <pc:picChg chg="add del mod">
          <ac:chgData name="Paul Astle" userId="e7d3d11a-a38f-4880-a499-497e6159e966" providerId="ADAL" clId="{8D21D9CD-C6EA-437B-96E4-58387E9E4340}" dt="2024-08-30T10:42:45.995" v="2252" actId="207"/>
          <ac:picMkLst>
            <pc:docMk/>
            <pc:sldMk cId="1395812769" sldId="2147480691"/>
            <ac:picMk id="58" creationId="{1FEDCA4F-CE16-40FC-B815-631310FAFC6F}"/>
          </ac:picMkLst>
        </pc:picChg>
        <pc:cxnChg chg="add mod">
          <ac:chgData name="Paul Astle" userId="e7d3d11a-a38f-4880-a499-497e6159e966" providerId="ADAL" clId="{8D21D9CD-C6EA-437B-96E4-58387E9E4340}" dt="2024-08-30T14:44:56.070" v="3605" actId="164"/>
          <ac:cxnSpMkLst>
            <pc:docMk/>
            <pc:sldMk cId="1395812769" sldId="2147480691"/>
            <ac:cxnSpMk id="6" creationId="{3AB1DC5C-9F12-76A8-6808-7EBACC223AF7}"/>
          </ac:cxnSpMkLst>
        </pc:cxnChg>
        <pc:cxnChg chg="add mod">
          <ac:chgData name="Paul Astle" userId="e7d3d11a-a38f-4880-a499-497e6159e966" providerId="ADAL" clId="{8D21D9CD-C6EA-437B-96E4-58387E9E4340}" dt="2024-08-30T14:44:56.070" v="3605" actId="164"/>
          <ac:cxnSpMkLst>
            <pc:docMk/>
            <pc:sldMk cId="1395812769" sldId="2147480691"/>
            <ac:cxnSpMk id="9" creationId="{1A4FCE07-9F9E-63AE-E7D8-5BE97904EEE6}"/>
          </ac:cxnSpMkLst>
        </pc:cxnChg>
        <pc:cxnChg chg="add mod">
          <ac:chgData name="Paul Astle" userId="e7d3d11a-a38f-4880-a499-497e6159e966" providerId="ADAL" clId="{8D21D9CD-C6EA-437B-96E4-58387E9E4340}" dt="2024-08-30T14:44:56.070" v="3605" actId="164"/>
          <ac:cxnSpMkLst>
            <pc:docMk/>
            <pc:sldMk cId="1395812769" sldId="2147480691"/>
            <ac:cxnSpMk id="10" creationId="{94239937-AFC6-F3F5-79C2-5DD464E2DBAE}"/>
          </ac:cxnSpMkLst>
        </pc:cxnChg>
        <pc:cxnChg chg="add del">
          <ac:chgData name="Paul Astle" userId="e7d3d11a-a38f-4880-a499-497e6159e966" providerId="ADAL" clId="{8D21D9CD-C6EA-437B-96E4-58387E9E4340}" dt="2024-08-30T10:39:44.178" v="2233" actId="478"/>
          <ac:cxnSpMkLst>
            <pc:docMk/>
            <pc:sldMk cId="1395812769" sldId="2147480691"/>
            <ac:cxnSpMk id="12" creationId="{66F57622-B46C-E669-BA1C-C7C7861DE7E6}"/>
          </ac:cxnSpMkLst>
        </pc:cxnChg>
        <pc:cxnChg chg="add mod">
          <ac:chgData name="Paul Astle" userId="e7d3d11a-a38f-4880-a499-497e6159e966" providerId="ADAL" clId="{8D21D9CD-C6EA-437B-96E4-58387E9E4340}" dt="2024-08-30T14:44:56.070" v="3605" actId="164"/>
          <ac:cxnSpMkLst>
            <pc:docMk/>
            <pc:sldMk cId="1395812769" sldId="2147480691"/>
            <ac:cxnSpMk id="14" creationId="{3C046313-26DF-118F-A7EB-C251E140ED10}"/>
          </ac:cxnSpMkLst>
        </pc:cxnChg>
        <pc:cxnChg chg="add mod">
          <ac:chgData name="Paul Astle" userId="e7d3d11a-a38f-4880-a499-497e6159e966" providerId="ADAL" clId="{8D21D9CD-C6EA-437B-96E4-58387E9E4340}" dt="2024-08-30T14:44:56.070" v="3605" actId="164"/>
          <ac:cxnSpMkLst>
            <pc:docMk/>
            <pc:sldMk cId="1395812769" sldId="2147480691"/>
            <ac:cxnSpMk id="16" creationId="{9358AF98-A045-9BB0-86B7-894071415EE0}"/>
          </ac:cxnSpMkLst>
        </pc:cxnChg>
        <pc:cxnChg chg="mod">
          <ac:chgData name="Paul Astle" userId="e7d3d11a-a38f-4880-a499-497e6159e966" providerId="ADAL" clId="{8D21D9CD-C6EA-437B-96E4-58387E9E4340}" dt="2024-08-30T10:45:29.129" v="2282" actId="1076"/>
          <ac:cxnSpMkLst>
            <pc:docMk/>
            <pc:sldMk cId="1395812769" sldId="2147480691"/>
            <ac:cxnSpMk id="29" creationId="{B2181D4B-E811-702D-14F5-0B0D98A3D161}"/>
          </ac:cxnSpMkLst>
        </pc:cxnChg>
        <pc:cxnChg chg="add mod">
          <ac:chgData name="Paul Astle" userId="e7d3d11a-a38f-4880-a499-497e6159e966" providerId="ADAL" clId="{8D21D9CD-C6EA-437B-96E4-58387E9E4340}" dt="2024-08-30T14:44:56.070" v="3605" actId="164"/>
          <ac:cxnSpMkLst>
            <pc:docMk/>
            <pc:sldMk cId="1395812769" sldId="2147480691"/>
            <ac:cxnSpMk id="30" creationId="{7D167210-518E-786A-E5FF-498F993E828C}"/>
          </ac:cxnSpMkLst>
        </pc:cxnChg>
        <pc:cxnChg chg="mod">
          <ac:chgData name="Paul Astle" userId="e7d3d11a-a38f-4880-a499-497e6159e966" providerId="ADAL" clId="{8D21D9CD-C6EA-437B-96E4-58387E9E4340}" dt="2024-08-30T10:45:25.991" v="2281" actId="1076"/>
          <ac:cxnSpMkLst>
            <pc:docMk/>
            <pc:sldMk cId="1395812769" sldId="2147480691"/>
            <ac:cxnSpMk id="31" creationId="{3B2571BA-6D8C-5349-6094-BF53EE346E8E}"/>
          </ac:cxnSpMkLst>
        </pc:cxnChg>
        <pc:cxnChg chg="add mod">
          <ac:chgData name="Paul Astle" userId="e7d3d11a-a38f-4880-a499-497e6159e966" providerId="ADAL" clId="{8D21D9CD-C6EA-437B-96E4-58387E9E4340}" dt="2024-08-30T14:44:56.070" v="3605" actId="164"/>
          <ac:cxnSpMkLst>
            <pc:docMk/>
            <pc:sldMk cId="1395812769" sldId="2147480691"/>
            <ac:cxnSpMk id="34" creationId="{14FD68AE-7A2E-3EC3-5603-3D83966A56FD}"/>
          </ac:cxnSpMkLst>
        </pc:cxnChg>
        <pc:cxnChg chg="mod">
          <ac:chgData name="Paul Astle" userId="e7d3d11a-a38f-4880-a499-497e6159e966" providerId="ADAL" clId="{8D21D9CD-C6EA-437B-96E4-58387E9E4340}" dt="2024-08-30T10:45:13.394" v="2279" actId="1076"/>
          <ac:cxnSpMkLst>
            <pc:docMk/>
            <pc:sldMk cId="1395812769" sldId="2147480691"/>
            <ac:cxnSpMk id="36" creationId="{772A733E-42EE-C680-C678-BC83E45C07F5}"/>
          </ac:cxnSpMkLst>
        </pc:cxnChg>
        <pc:cxnChg chg="add mod">
          <ac:chgData name="Paul Astle" userId="e7d3d11a-a38f-4880-a499-497e6159e966" providerId="ADAL" clId="{8D21D9CD-C6EA-437B-96E4-58387E9E4340}" dt="2024-08-30T14:44:56.070" v="3605" actId="164"/>
          <ac:cxnSpMkLst>
            <pc:docMk/>
            <pc:sldMk cId="1395812769" sldId="2147480691"/>
            <ac:cxnSpMk id="38" creationId="{1E5F3CE8-805A-2DA1-4842-43B982D12DBB}"/>
          </ac:cxnSpMkLst>
        </pc:cxnChg>
        <pc:cxnChg chg="mod">
          <ac:chgData name="Paul Astle" userId="e7d3d11a-a38f-4880-a499-497e6159e966" providerId="ADAL" clId="{8D21D9CD-C6EA-437B-96E4-58387E9E4340}" dt="2024-08-30T10:33:57.630" v="2084" actId="14100"/>
          <ac:cxnSpMkLst>
            <pc:docMk/>
            <pc:sldMk cId="1395812769" sldId="2147480691"/>
            <ac:cxnSpMk id="48" creationId="{A4D7DC3B-6185-E7A9-C758-2470FD0FDDA8}"/>
          </ac:cxnSpMkLst>
        </pc:cxnChg>
        <pc:cxnChg chg="mod">
          <ac:chgData name="Paul Astle" userId="e7d3d11a-a38f-4880-a499-497e6159e966" providerId="ADAL" clId="{8D21D9CD-C6EA-437B-96E4-58387E9E4340}" dt="2024-08-30T10:45:31.392" v="2283" actId="1076"/>
          <ac:cxnSpMkLst>
            <pc:docMk/>
            <pc:sldMk cId="1395812769" sldId="2147480691"/>
            <ac:cxnSpMk id="60" creationId="{B6C1CC03-6311-3989-24F5-CF177691E67F}"/>
          </ac:cxnSpMkLst>
        </pc:cxnChg>
        <pc:cxnChg chg="add del mod">
          <ac:chgData name="Paul Astle" userId="e7d3d11a-a38f-4880-a499-497e6159e966" providerId="ADAL" clId="{8D21D9CD-C6EA-437B-96E4-58387E9E4340}" dt="2024-08-30T10:43:32.723" v="2262" actId="478"/>
          <ac:cxnSpMkLst>
            <pc:docMk/>
            <pc:sldMk cId="1395812769" sldId="2147480691"/>
            <ac:cxnSpMk id="77" creationId="{05B20185-D311-B02B-0614-4EBB2B4161E8}"/>
          </ac:cxnSpMkLst>
        </pc:cxnChg>
        <pc:cxnChg chg="add mod">
          <ac:chgData name="Paul Astle" userId="e7d3d11a-a38f-4880-a499-497e6159e966" providerId="ADAL" clId="{8D21D9CD-C6EA-437B-96E4-58387E9E4340}" dt="2024-08-30T10:46:00.894" v="2287" actId="692"/>
          <ac:cxnSpMkLst>
            <pc:docMk/>
            <pc:sldMk cId="1395812769" sldId="2147480691"/>
            <ac:cxnSpMk id="83" creationId="{1F3E6175-6439-5342-0BAF-82E8BECF5B6B}"/>
          </ac:cxnSpMkLst>
        </pc:cxnChg>
        <pc:cxnChg chg="add mod">
          <ac:chgData name="Paul Astle" userId="e7d3d11a-a38f-4880-a499-497e6159e966" providerId="ADAL" clId="{8D21D9CD-C6EA-437B-96E4-58387E9E4340}" dt="2024-08-30T10:46:00.894" v="2287" actId="692"/>
          <ac:cxnSpMkLst>
            <pc:docMk/>
            <pc:sldMk cId="1395812769" sldId="2147480691"/>
            <ac:cxnSpMk id="85" creationId="{7F87A591-8358-D446-EB71-6E2428A8D789}"/>
          </ac:cxnSpMkLst>
        </pc:cxnChg>
        <pc:cxnChg chg="add mod">
          <ac:chgData name="Paul Astle" userId="e7d3d11a-a38f-4880-a499-497e6159e966" providerId="ADAL" clId="{8D21D9CD-C6EA-437B-96E4-58387E9E4340}" dt="2024-08-30T10:46:00.894" v="2287" actId="692"/>
          <ac:cxnSpMkLst>
            <pc:docMk/>
            <pc:sldMk cId="1395812769" sldId="2147480691"/>
            <ac:cxnSpMk id="86" creationId="{DC153458-93BA-F950-7A4B-5B0413AE3A5E}"/>
          </ac:cxnSpMkLst>
        </pc:cxnChg>
        <pc:cxnChg chg="add mod">
          <ac:chgData name="Paul Astle" userId="e7d3d11a-a38f-4880-a499-497e6159e966" providerId="ADAL" clId="{8D21D9CD-C6EA-437B-96E4-58387E9E4340}" dt="2024-08-30T10:46:00.894" v="2287" actId="692"/>
          <ac:cxnSpMkLst>
            <pc:docMk/>
            <pc:sldMk cId="1395812769" sldId="2147480691"/>
            <ac:cxnSpMk id="87" creationId="{8ABA8694-7471-BF94-1F4F-0192E0EF8731}"/>
          </ac:cxnSpMkLst>
        </pc:cxnChg>
      </pc:sldChg>
      <pc:sldChg chg="modSp add del mod">
        <pc:chgData name="Paul Astle" userId="e7d3d11a-a38f-4880-a499-497e6159e966" providerId="ADAL" clId="{8D21D9CD-C6EA-437B-96E4-58387E9E4340}" dt="2024-08-30T10:47:49.647" v="2294" actId="47"/>
        <pc:sldMkLst>
          <pc:docMk/>
          <pc:sldMk cId="3561034020" sldId="2147480692"/>
        </pc:sldMkLst>
        <pc:picChg chg="mod">
          <ac:chgData name="Paul Astle" userId="e7d3d11a-a38f-4880-a499-497e6159e966" providerId="ADAL" clId="{8D21D9CD-C6EA-437B-96E4-58387E9E4340}" dt="2024-08-30T10:47:12.258" v="2292" actId="692"/>
          <ac:picMkLst>
            <pc:docMk/>
            <pc:sldMk cId="3561034020" sldId="2147480692"/>
            <ac:picMk id="58" creationId="{1FEDCA4F-CE16-40FC-B815-631310FAFC6F}"/>
          </ac:picMkLst>
        </pc:picChg>
        <pc:cxnChg chg="mod">
          <ac:chgData name="Paul Astle" userId="e7d3d11a-a38f-4880-a499-497e6159e966" providerId="ADAL" clId="{8D21D9CD-C6EA-437B-96E4-58387E9E4340}" dt="2024-08-30T10:47:12.258" v="2292" actId="692"/>
          <ac:cxnSpMkLst>
            <pc:docMk/>
            <pc:sldMk cId="3561034020" sldId="2147480692"/>
            <ac:cxnSpMk id="60" creationId="{B6C1CC03-6311-3989-24F5-CF177691E67F}"/>
          </ac:cxnSpMkLst>
        </pc:cxnChg>
      </pc:sldChg>
      <pc:sldChg chg="addSp delSp modSp add del mod">
        <pc:chgData name="Paul Astle" userId="e7d3d11a-a38f-4880-a499-497e6159e966" providerId="ADAL" clId="{8D21D9CD-C6EA-437B-96E4-58387E9E4340}" dt="2024-08-30T14:48:13.984" v="3644" actId="47"/>
        <pc:sldMkLst>
          <pc:docMk/>
          <pc:sldMk cId="1677013834" sldId="2147480693"/>
        </pc:sldMkLst>
        <pc:spChg chg="del">
          <ac:chgData name="Paul Astle" userId="e7d3d11a-a38f-4880-a499-497e6159e966" providerId="ADAL" clId="{8D21D9CD-C6EA-437B-96E4-58387E9E4340}" dt="2024-08-30T10:48:14.107" v="2300" actId="478"/>
          <ac:spMkLst>
            <pc:docMk/>
            <pc:sldMk cId="1677013834" sldId="2147480693"/>
            <ac:spMk id="17" creationId="{6D67EDF6-F0D4-4179-7C57-8104026B3CE9}"/>
          </ac:spMkLst>
        </pc:spChg>
        <pc:spChg chg="del mod">
          <ac:chgData name="Paul Astle" userId="e7d3d11a-a38f-4880-a499-497e6159e966" providerId="ADAL" clId="{8D21D9CD-C6EA-437B-96E4-58387E9E4340}" dt="2024-08-30T10:48:12.759" v="2299" actId="478"/>
          <ac:spMkLst>
            <pc:docMk/>
            <pc:sldMk cId="1677013834" sldId="2147480693"/>
            <ac:spMk id="23" creationId="{F0AD9F54-CD1C-B709-9602-57E7462F3777}"/>
          </ac:spMkLst>
        </pc:spChg>
        <pc:spChg chg="del">
          <ac:chgData name="Paul Astle" userId="e7d3d11a-a38f-4880-a499-497e6159e966" providerId="ADAL" clId="{8D21D9CD-C6EA-437B-96E4-58387E9E4340}" dt="2024-08-30T10:48:11.568" v="2298" actId="478"/>
          <ac:spMkLst>
            <pc:docMk/>
            <pc:sldMk cId="1677013834" sldId="2147480693"/>
            <ac:spMk id="24" creationId="{A3ADA337-EF66-8F71-D17C-D0E75A5633EB}"/>
          </ac:spMkLst>
        </pc:spChg>
        <pc:spChg chg="del">
          <ac:chgData name="Paul Astle" userId="e7d3d11a-a38f-4880-a499-497e6159e966" providerId="ADAL" clId="{8D21D9CD-C6EA-437B-96E4-58387E9E4340}" dt="2024-08-30T10:48:07.824" v="2296" actId="478"/>
          <ac:spMkLst>
            <pc:docMk/>
            <pc:sldMk cId="1677013834" sldId="2147480693"/>
            <ac:spMk id="28" creationId="{03D17BCD-A5B9-EA47-D6ED-F14331962005}"/>
          </ac:spMkLst>
        </pc:spChg>
        <pc:grpChg chg="add mod">
          <ac:chgData name="Paul Astle" userId="e7d3d11a-a38f-4880-a499-497e6159e966" providerId="ADAL" clId="{8D21D9CD-C6EA-437B-96E4-58387E9E4340}" dt="2024-08-30T10:49:16.724" v="2310" actId="1076"/>
          <ac:grpSpMkLst>
            <pc:docMk/>
            <pc:sldMk cId="1677013834" sldId="2147480693"/>
            <ac:grpSpMk id="4" creationId="{D76310D8-7ED2-71B0-F873-734C06D9C90F}"/>
          </ac:grpSpMkLst>
        </pc:grpChg>
        <pc:picChg chg="mod">
          <ac:chgData name="Paul Astle" userId="e7d3d11a-a38f-4880-a499-497e6159e966" providerId="ADAL" clId="{8D21D9CD-C6EA-437B-96E4-58387E9E4340}" dt="2024-08-30T10:48:31.432" v="2302" actId="164"/>
          <ac:picMkLst>
            <pc:docMk/>
            <pc:sldMk cId="1677013834" sldId="2147480693"/>
            <ac:picMk id="25" creationId="{B1E30D58-493D-3E3D-E366-99815BFDF624}"/>
          </ac:picMkLst>
        </pc:picChg>
        <pc:picChg chg="mod">
          <ac:chgData name="Paul Astle" userId="e7d3d11a-a38f-4880-a499-497e6159e966" providerId="ADAL" clId="{8D21D9CD-C6EA-437B-96E4-58387E9E4340}" dt="2024-08-30T10:48:31.432" v="2302" actId="164"/>
          <ac:picMkLst>
            <pc:docMk/>
            <pc:sldMk cId="1677013834" sldId="2147480693"/>
            <ac:picMk id="46" creationId="{E67A0B62-CD47-6706-B0F3-828B1368B1F7}"/>
          </ac:picMkLst>
        </pc:picChg>
        <pc:picChg chg="mod">
          <ac:chgData name="Paul Astle" userId="e7d3d11a-a38f-4880-a499-497e6159e966" providerId="ADAL" clId="{8D21D9CD-C6EA-437B-96E4-58387E9E4340}" dt="2024-08-30T10:48:31.432" v="2302" actId="164"/>
          <ac:picMkLst>
            <pc:docMk/>
            <pc:sldMk cId="1677013834" sldId="2147480693"/>
            <ac:picMk id="56" creationId="{56E5C77D-58F2-2F43-1D42-42469DA0B23C}"/>
          </ac:picMkLst>
        </pc:picChg>
        <pc:cxnChg chg="del">
          <ac:chgData name="Paul Astle" userId="e7d3d11a-a38f-4880-a499-497e6159e966" providerId="ADAL" clId="{8D21D9CD-C6EA-437B-96E4-58387E9E4340}" dt="2024-08-30T10:48:47.833" v="2304" actId="478"/>
          <ac:cxnSpMkLst>
            <pc:docMk/>
            <pc:sldMk cId="1677013834" sldId="2147480693"/>
            <ac:cxnSpMk id="6" creationId="{3AB1DC5C-9F12-76A8-6808-7EBACC223AF7}"/>
          </ac:cxnSpMkLst>
        </pc:cxnChg>
        <pc:cxnChg chg="del">
          <ac:chgData name="Paul Astle" userId="e7d3d11a-a38f-4880-a499-497e6159e966" providerId="ADAL" clId="{8D21D9CD-C6EA-437B-96E4-58387E9E4340}" dt="2024-08-30T10:48:49.011" v="2305" actId="478"/>
          <ac:cxnSpMkLst>
            <pc:docMk/>
            <pc:sldMk cId="1677013834" sldId="2147480693"/>
            <ac:cxnSpMk id="9" creationId="{1A4FCE07-9F9E-63AE-E7D8-5BE97904EEE6}"/>
          </ac:cxnSpMkLst>
        </pc:cxnChg>
        <pc:cxnChg chg="del">
          <ac:chgData name="Paul Astle" userId="e7d3d11a-a38f-4880-a499-497e6159e966" providerId="ADAL" clId="{8D21D9CD-C6EA-437B-96E4-58387E9E4340}" dt="2024-08-30T10:48:49.734" v="2306" actId="478"/>
          <ac:cxnSpMkLst>
            <pc:docMk/>
            <pc:sldMk cId="1677013834" sldId="2147480693"/>
            <ac:cxnSpMk id="10" creationId="{94239937-AFC6-F3F5-79C2-5DD464E2DBAE}"/>
          </ac:cxnSpMkLst>
        </pc:cxnChg>
        <pc:cxnChg chg="del">
          <ac:chgData name="Paul Astle" userId="e7d3d11a-a38f-4880-a499-497e6159e966" providerId="ADAL" clId="{8D21D9CD-C6EA-437B-96E4-58387E9E4340}" dt="2024-08-30T10:48:50.261" v="2307" actId="478"/>
          <ac:cxnSpMkLst>
            <pc:docMk/>
            <pc:sldMk cId="1677013834" sldId="2147480693"/>
            <ac:cxnSpMk id="14" creationId="{3C046313-26DF-118F-A7EB-C251E140ED10}"/>
          </ac:cxnSpMkLst>
        </pc:cxnChg>
        <pc:cxnChg chg="del">
          <ac:chgData name="Paul Astle" userId="e7d3d11a-a38f-4880-a499-497e6159e966" providerId="ADAL" clId="{8D21D9CD-C6EA-437B-96E4-58387E9E4340}" dt="2024-08-30T10:47:59.894" v="2295" actId="478"/>
          <ac:cxnSpMkLst>
            <pc:docMk/>
            <pc:sldMk cId="1677013834" sldId="2147480693"/>
            <ac:cxnSpMk id="16" creationId="{9358AF98-A045-9BB0-86B7-894071415EE0}"/>
          </ac:cxnSpMkLst>
        </pc:cxnChg>
        <pc:cxnChg chg="del">
          <ac:chgData name="Paul Astle" userId="e7d3d11a-a38f-4880-a499-497e6159e966" providerId="ADAL" clId="{8D21D9CD-C6EA-437B-96E4-58387E9E4340}" dt="2024-08-30T10:47:59.894" v="2295" actId="478"/>
          <ac:cxnSpMkLst>
            <pc:docMk/>
            <pc:sldMk cId="1677013834" sldId="2147480693"/>
            <ac:cxnSpMk id="30" creationId="{7D167210-518E-786A-E5FF-498F993E828C}"/>
          </ac:cxnSpMkLst>
        </pc:cxnChg>
        <pc:cxnChg chg="del">
          <ac:chgData name="Paul Astle" userId="e7d3d11a-a38f-4880-a499-497e6159e966" providerId="ADAL" clId="{8D21D9CD-C6EA-437B-96E4-58387E9E4340}" dt="2024-08-30T10:47:59.894" v="2295" actId="478"/>
          <ac:cxnSpMkLst>
            <pc:docMk/>
            <pc:sldMk cId="1677013834" sldId="2147480693"/>
            <ac:cxnSpMk id="34" creationId="{14FD68AE-7A2E-3EC3-5603-3D83966A56FD}"/>
          </ac:cxnSpMkLst>
        </pc:cxnChg>
        <pc:cxnChg chg="del">
          <ac:chgData name="Paul Astle" userId="e7d3d11a-a38f-4880-a499-497e6159e966" providerId="ADAL" clId="{8D21D9CD-C6EA-437B-96E4-58387E9E4340}" dt="2024-08-30T10:47:59.894" v="2295" actId="478"/>
          <ac:cxnSpMkLst>
            <pc:docMk/>
            <pc:sldMk cId="1677013834" sldId="2147480693"/>
            <ac:cxnSpMk id="38" creationId="{1E5F3CE8-805A-2DA1-4842-43B982D12DBB}"/>
          </ac:cxnSpMkLst>
        </pc:cxnChg>
        <pc:cxnChg chg="mod">
          <ac:chgData name="Paul Astle" userId="e7d3d11a-a38f-4880-a499-497e6159e966" providerId="ADAL" clId="{8D21D9CD-C6EA-437B-96E4-58387E9E4340}" dt="2024-08-30T10:49:22.364" v="2311" actId="14100"/>
          <ac:cxnSpMkLst>
            <pc:docMk/>
            <pc:sldMk cId="1677013834" sldId="2147480693"/>
            <ac:cxnSpMk id="48" creationId="{A4D7DC3B-6185-E7A9-C758-2470FD0FDDA8}"/>
          </ac:cxnSpMkLst>
        </pc:cxnChg>
        <pc:cxnChg chg="del">
          <ac:chgData name="Paul Astle" userId="e7d3d11a-a38f-4880-a499-497e6159e966" providerId="ADAL" clId="{8D21D9CD-C6EA-437B-96E4-58387E9E4340}" dt="2024-08-30T10:48:23.326" v="2301" actId="478"/>
          <ac:cxnSpMkLst>
            <pc:docMk/>
            <pc:sldMk cId="1677013834" sldId="2147480693"/>
            <ac:cxnSpMk id="83" creationId="{1F3E6175-6439-5342-0BAF-82E8BECF5B6B}"/>
          </ac:cxnSpMkLst>
        </pc:cxnChg>
        <pc:cxnChg chg="del">
          <ac:chgData name="Paul Astle" userId="e7d3d11a-a38f-4880-a499-497e6159e966" providerId="ADAL" clId="{8D21D9CD-C6EA-437B-96E4-58387E9E4340}" dt="2024-08-30T10:48:23.326" v="2301" actId="478"/>
          <ac:cxnSpMkLst>
            <pc:docMk/>
            <pc:sldMk cId="1677013834" sldId="2147480693"/>
            <ac:cxnSpMk id="85" creationId="{7F87A591-8358-D446-EB71-6E2428A8D789}"/>
          </ac:cxnSpMkLst>
        </pc:cxnChg>
        <pc:cxnChg chg="del">
          <ac:chgData name="Paul Astle" userId="e7d3d11a-a38f-4880-a499-497e6159e966" providerId="ADAL" clId="{8D21D9CD-C6EA-437B-96E4-58387E9E4340}" dt="2024-08-30T10:48:23.326" v="2301" actId="478"/>
          <ac:cxnSpMkLst>
            <pc:docMk/>
            <pc:sldMk cId="1677013834" sldId="2147480693"/>
            <ac:cxnSpMk id="86" creationId="{DC153458-93BA-F950-7A4B-5B0413AE3A5E}"/>
          </ac:cxnSpMkLst>
        </pc:cxnChg>
        <pc:cxnChg chg="del">
          <ac:chgData name="Paul Astle" userId="e7d3d11a-a38f-4880-a499-497e6159e966" providerId="ADAL" clId="{8D21D9CD-C6EA-437B-96E4-58387E9E4340}" dt="2024-08-30T10:48:23.326" v="2301" actId="478"/>
          <ac:cxnSpMkLst>
            <pc:docMk/>
            <pc:sldMk cId="1677013834" sldId="2147480693"/>
            <ac:cxnSpMk id="87" creationId="{8ABA8694-7471-BF94-1F4F-0192E0EF8731}"/>
          </ac:cxnSpMkLst>
        </pc:cxnChg>
      </pc:sldChg>
      <pc:sldChg chg="modSp add del mod">
        <pc:chgData name="Paul Astle" userId="e7d3d11a-a38f-4880-a499-497e6159e966" providerId="ADAL" clId="{8D21D9CD-C6EA-437B-96E4-58387E9E4340}" dt="2024-08-30T14:36:15.685" v="3518" actId="47"/>
        <pc:sldMkLst>
          <pc:docMk/>
          <pc:sldMk cId="1752771198" sldId="2147480694"/>
        </pc:sldMkLst>
        <pc:picChg chg="mod">
          <ac:chgData name="Paul Astle" userId="e7d3d11a-a38f-4880-a499-497e6159e966" providerId="ADAL" clId="{8D21D9CD-C6EA-437B-96E4-58387E9E4340}" dt="2024-08-30T10:52:10.925" v="2320" actId="692"/>
          <ac:picMkLst>
            <pc:docMk/>
            <pc:sldMk cId="1752771198" sldId="2147480694"/>
            <ac:picMk id="19" creationId="{8169DA6C-1E6C-2E56-4B40-CCA28C7C2517}"/>
          </ac:picMkLst>
        </pc:picChg>
        <pc:picChg chg="mod">
          <ac:chgData name="Paul Astle" userId="e7d3d11a-a38f-4880-a499-497e6159e966" providerId="ADAL" clId="{8D21D9CD-C6EA-437B-96E4-58387E9E4340}" dt="2024-08-30T10:52:10.925" v="2320" actId="692"/>
          <ac:picMkLst>
            <pc:docMk/>
            <pc:sldMk cId="1752771198" sldId="2147480694"/>
            <ac:picMk id="26" creationId="{0AB7CF00-184B-4F29-3114-409E615A5529}"/>
          </ac:picMkLst>
        </pc:picChg>
        <pc:picChg chg="mod">
          <ac:chgData name="Paul Astle" userId="e7d3d11a-a38f-4880-a499-497e6159e966" providerId="ADAL" clId="{8D21D9CD-C6EA-437B-96E4-58387E9E4340}" dt="2024-08-30T10:52:10.925" v="2320" actId="692"/>
          <ac:picMkLst>
            <pc:docMk/>
            <pc:sldMk cId="1752771198" sldId="2147480694"/>
            <ac:picMk id="27" creationId="{2858020A-2B26-4623-B89D-F652A6F3CE52}"/>
          </ac:picMkLst>
        </pc:picChg>
        <pc:picChg chg="mod">
          <ac:chgData name="Paul Astle" userId="e7d3d11a-a38f-4880-a499-497e6159e966" providerId="ADAL" clId="{8D21D9CD-C6EA-437B-96E4-58387E9E4340}" dt="2024-08-30T10:52:10.925" v="2320" actId="692"/>
          <ac:picMkLst>
            <pc:docMk/>
            <pc:sldMk cId="1752771198" sldId="2147480694"/>
            <ac:picMk id="58" creationId="{1FEDCA4F-CE16-40FC-B815-631310FAFC6F}"/>
          </ac:picMkLst>
        </pc:picChg>
        <pc:cxnChg chg="mod">
          <ac:chgData name="Paul Astle" userId="e7d3d11a-a38f-4880-a499-497e6159e966" providerId="ADAL" clId="{8D21D9CD-C6EA-437B-96E4-58387E9E4340}" dt="2024-08-30T10:52:10.925" v="2320" actId="692"/>
          <ac:cxnSpMkLst>
            <pc:docMk/>
            <pc:sldMk cId="1752771198" sldId="2147480694"/>
            <ac:cxnSpMk id="29" creationId="{B2181D4B-E811-702D-14F5-0B0D98A3D161}"/>
          </ac:cxnSpMkLst>
        </pc:cxnChg>
        <pc:cxnChg chg="mod">
          <ac:chgData name="Paul Astle" userId="e7d3d11a-a38f-4880-a499-497e6159e966" providerId="ADAL" clId="{8D21D9CD-C6EA-437B-96E4-58387E9E4340}" dt="2024-08-30T10:52:10.925" v="2320" actId="692"/>
          <ac:cxnSpMkLst>
            <pc:docMk/>
            <pc:sldMk cId="1752771198" sldId="2147480694"/>
            <ac:cxnSpMk id="31" creationId="{3B2571BA-6D8C-5349-6094-BF53EE346E8E}"/>
          </ac:cxnSpMkLst>
        </pc:cxnChg>
        <pc:cxnChg chg="mod">
          <ac:chgData name="Paul Astle" userId="e7d3d11a-a38f-4880-a499-497e6159e966" providerId="ADAL" clId="{8D21D9CD-C6EA-437B-96E4-58387E9E4340}" dt="2024-08-30T10:52:10.925" v="2320" actId="692"/>
          <ac:cxnSpMkLst>
            <pc:docMk/>
            <pc:sldMk cId="1752771198" sldId="2147480694"/>
            <ac:cxnSpMk id="36" creationId="{772A733E-42EE-C680-C678-BC83E45C07F5}"/>
          </ac:cxnSpMkLst>
        </pc:cxnChg>
        <pc:cxnChg chg="mod">
          <ac:chgData name="Paul Astle" userId="e7d3d11a-a38f-4880-a499-497e6159e966" providerId="ADAL" clId="{8D21D9CD-C6EA-437B-96E4-58387E9E4340}" dt="2024-08-30T12:01:18.969" v="2658" actId="692"/>
          <ac:cxnSpMkLst>
            <pc:docMk/>
            <pc:sldMk cId="1752771198" sldId="2147480694"/>
            <ac:cxnSpMk id="48" creationId="{A4D7DC3B-6185-E7A9-C758-2470FD0FDDA8}"/>
          </ac:cxnSpMkLst>
        </pc:cxnChg>
        <pc:cxnChg chg="mod">
          <ac:chgData name="Paul Astle" userId="e7d3d11a-a38f-4880-a499-497e6159e966" providerId="ADAL" clId="{8D21D9CD-C6EA-437B-96E4-58387E9E4340}" dt="2024-08-30T10:52:10.925" v="2320" actId="692"/>
          <ac:cxnSpMkLst>
            <pc:docMk/>
            <pc:sldMk cId="1752771198" sldId="2147480694"/>
            <ac:cxnSpMk id="60" creationId="{B6C1CC03-6311-3989-24F5-CF177691E67F}"/>
          </ac:cxnSpMkLst>
        </pc:cxnChg>
      </pc:sldChg>
      <pc:sldChg chg="addSp delSp modSp new mod modTransition setBg modAnim">
        <pc:chgData name="Paul Astle" userId="e7d3d11a-a38f-4880-a499-497e6159e966" providerId="ADAL" clId="{8D21D9CD-C6EA-437B-96E4-58387E9E4340}" dt="2024-08-30T15:20:22.684" v="3808" actId="20577"/>
        <pc:sldMkLst>
          <pc:docMk/>
          <pc:sldMk cId="4020123783" sldId="2147480695"/>
        </pc:sldMkLst>
        <pc:spChg chg="mod">
          <ac:chgData name="Paul Astle" userId="e7d3d11a-a38f-4880-a499-497e6159e966" providerId="ADAL" clId="{8D21D9CD-C6EA-437B-96E4-58387E9E4340}" dt="2024-08-30T12:05:26.742" v="2677" actId="20577"/>
          <ac:spMkLst>
            <pc:docMk/>
            <pc:sldMk cId="4020123783" sldId="2147480695"/>
            <ac:spMk id="2" creationId="{21A78541-4C0B-34B0-DAF3-5EB808152478}"/>
          </ac:spMkLst>
        </pc:spChg>
        <pc:spChg chg="mod">
          <ac:chgData name="Paul Astle" userId="e7d3d11a-a38f-4880-a499-497e6159e966" providerId="ADAL" clId="{8D21D9CD-C6EA-437B-96E4-58387E9E4340}" dt="2024-08-30T15:20:22.684" v="3808" actId="20577"/>
          <ac:spMkLst>
            <pc:docMk/>
            <pc:sldMk cId="4020123783" sldId="2147480695"/>
            <ac:spMk id="3" creationId="{D0FD2527-9424-2B6C-1BDF-14284EADA7FD}"/>
          </ac:spMkLst>
        </pc:spChg>
        <pc:spChg chg="mod">
          <ac:chgData name="Paul Astle" userId="e7d3d11a-a38f-4880-a499-497e6159e966" providerId="ADAL" clId="{8D21D9CD-C6EA-437B-96E4-58387E9E4340}" dt="2024-08-30T11:55:39.135" v="2335"/>
          <ac:spMkLst>
            <pc:docMk/>
            <pc:sldMk cId="4020123783" sldId="2147480695"/>
            <ac:spMk id="8" creationId="{2AA63990-C89E-E49F-29FE-F4DCCD798B9A}"/>
          </ac:spMkLst>
        </pc:spChg>
        <pc:spChg chg="mod">
          <ac:chgData name="Paul Astle" userId="e7d3d11a-a38f-4880-a499-497e6159e966" providerId="ADAL" clId="{8D21D9CD-C6EA-437B-96E4-58387E9E4340}" dt="2024-08-30T11:55:39.135" v="2335"/>
          <ac:spMkLst>
            <pc:docMk/>
            <pc:sldMk cId="4020123783" sldId="2147480695"/>
            <ac:spMk id="9" creationId="{FEF4E20F-043D-6695-3D43-55B6BF5BE939}"/>
          </ac:spMkLst>
        </pc:spChg>
        <pc:spChg chg="add del mod">
          <ac:chgData name="Paul Astle" userId="e7d3d11a-a38f-4880-a499-497e6159e966" providerId="ADAL" clId="{8D21D9CD-C6EA-437B-96E4-58387E9E4340}" dt="2024-08-30T13:26:55.674" v="2850" actId="478"/>
          <ac:spMkLst>
            <pc:docMk/>
            <pc:sldMk cId="4020123783" sldId="2147480695"/>
            <ac:spMk id="10" creationId="{1A56E0FC-D80E-D0D8-8126-BD71D3A2D3AF}"/>
          </ac:spMkLst>
        </pc:spChg>
        <pc:spChg chg="add del mod">
          <ac:chgData name="Paul Astle" userId="e7d3d11a-a38f-4880-a499-497e6159e966" providerId="ADAL" clId="{8D21D9CD-C6EA-437B-96E4-58387E9E4340}" dt="2024-08-30T15:14:46.787" v="3697" actId="478"/>
          <ac:spMkLst>
            <pc:docMk/>
            <pc:sldMk cId="4020123783" sldId="2147480695"/>
            <ac:spMk id="11" creationId="{8A08AE05-937C-D6DB-126D-A58C9018B99E}"/>
          </ac:spMkLst>
        </pc:spChg>
        <pc:grpChg chg="add del mod">
          <ac:chgData name="Paul Astle" userId="e7d3d11a-a38f-4880-a499-497e6159e966" providerId="ADAL" clId="{8D21D9CD-C6EA-437B-96E4-58387E9E4340}" dt="2024-08-30T11:55:47.880" v="2338" actId="478"/>
          <ac:grpSpMkLst>
            <pc:docMk/>
            <pc:sldMk cId="4020123783" sldId="2147480695"/>
            <ac:grpSpMk id="5" creationId="{1159DB05-C88E-BADD-A2EE-A1CB034530F6}"/>
          </ac:grpSpMkLst>
        </pc:grpChg>
        <pc:picChg chg="mod">
          <ac:chgData name="Paul Astle" userId="e7d3d11a-a38f-4880-a499-497e6159e966" providerId="ADAL" clId="{8D21D9CD-C6EA-437B-96E4-58387E9E4340}" dt="2024-08-30T11:55:39.135" v="2335"/>
          <ac:picMkLst>
            <pc:docMk/>
            <pc:sldMk cId="4020123783" sldId="2147480695"/>
            <ac:picMk id="6" creationId="{338003FA-F4CC-04E7-A94F-8E4198BD1379}"/>
          </ac:picMkLst>
        </pc:picChg>
        <pc:picChg chg="mod">
          <ac:chgData name="Paul Astle" userId="e7d3d11a-a38f-4880-a499-497e6159e966" providerId="ADAL" clId="{8D21D9CD-C6EA-437B-96E4-58387E9E4340}" dt="2024-08-30T11:55:39.135" v="2335"/>
          <ac:picMkLst>
            <pc:docMk/>
            <pc:sldMk cId="4020123783" sldId="2147480695"/>
            <ac:picMk id="7" creationId="{FE687CB1-FFF1-8E28-63E1-B4C5AB8D3F01}"/>
          </ac:picMkLst>
        </pc:picChg>
      </pc:sldChg>
      <pc:sldChg chg="addSp delSp modSp add mod modTransition modAnim">
        <pc:chgData name="Paul Astle" userId="e7d3d11a-a38f-4880-a499-497e6159e966" providerId="ADAL" clId="{8D21D9CD-C6EA-437B-96E4-58387E9E4340}" dt="2024-08-30T15:15:35.292" v="3700"/>
        <pc:sldMkLst>
          <pc:docMk/>
          <pc:sldMk cId="681008366" sldId="2147480696"/>
        </pc:sldMkLst>
        <pc:spChg chg="add mod">
          <ac:chgData name="Paul Astle" userId="e7d3d11a-a38f-4880-a499-497e6159e966" providerId="ADAL" clId="{8D21D9CD-C6EA-437B-96E4-58387E9E4340}" dt="2024-08-30T14:21:07.040" v="3162" actId="164"/>
          <ac:spMkLst>
            <pc:docMk/>
            <pc:sldMk cId="681008366" sldId="2147480696"/>
            <ac:spMk id="11" creationId="{22EA2976-DF9E-F7C7-DB71-4A66F5AA78CF}"/>
          </ac:spMkLst>
        </pc:spChg>
        <pc:spChg chg="mod">
          <ac:chgData name="Paul Astle" userId="e7d3d11a-a38f-4880-a499-497e6159e966" providerId="ADAL" clId="{8D21D9CD-C6EA-437B-96E4-58387E9E4340}" dt="2024-08-30T14:21:27.973" v="3167"/>
          <ac:spMkLst>
            <pc:docMk/>
            <pc:sldMk cId="681008366" sldId="2147480696"/>
            <ac:spMk id="17" creationId="{CCF5010A-B6E2-0A4D-1ABF-B350C475F13E}"/>
          </ac:spMkLst>
        </pc:spChg>
        <pc:spChg chg="mod">
          <ac:chgData name="Paul Astle" userId="e7d3d11a-a38f-4880-a499-497e6159e966" providerId="ADAL" clId="{8D21D9CD-C6EA-437B-96E4-58387E9E4340}" dt="2024-08-30T14:21:31.071" v="3169"/>
          <ac:spMkLst>
            <pc:docMk/>
            <pc:sldMk cId="681008366" sldId="2147480696"/>
            <ac:spMk id="22" creationId="{9EC21D5E-1827-DE1B-7501-0E1167B47133}"/>
          </ac:spMkLst>
        </pc:spChg>
        <pc:spChg chg="mod">
          <ac:chgData name="Paul Astle" userId="e7d3d11a-a38f-4880-a499-497e6159e966" providerId="ADAL" clId="{8D21D9CD-C6EA-437B-96E4-58387E9E4340}" dt="2024-08-30T14:25:21.792" v="3351"/>
          <ac:spMkLst>
            <pc:docMk/>
            <pc:sldMk cId="681008366" sldId="2147480696"/>
            <ac:spMk id="45" creationId="{C4E80ABE-9007-3A49-B0D6-DD8CF8BA7F1B}"/>
          </ac:spMkLst>
        </pc:spChg>
        <pc:spChg chg="add mod">
          <ac:chgData name="Paul Astle" userId="e7d3d11a-a38f-4880-a499-497e6159e966" providerId="ADAL" clId="{8D21D9CD-C6EA-437B-96E4-58387E9E4340}" dt="2024-08-30T14:54:53.033" v="3680" actId="164"/>
          <ac:spMkLst>
            <pc:docMk/>
            <pc:sldMk cId="681008366" sldId="2147480696"/>
            <ac:spMk id="103" creationId="{43B97B22-DFC3-FE3B-5A0B-BE0B46E9B874}"/>
          </ac:spMkLst>
        </pc:spChg>
        <pc:grpChg chg="mod">
          <ac:chgData name="Paul Astle" userId="e7d3d11a-a38f-4880-a499-497e6159e966" providerId="ADAL" clId="{8D21D9CD-C6EA-437B-96E4-58387E9E4340}" dt="2024-08-30T14:19:57.884" v="3157" actId="1076"/>
          <ac:grpSpMkLst>
            <pc:docMk/>
            <pc:sldMk cId="681008366" sldId="2147480696"/>
            <ac:grpSpMk id="4" creationId="{D76310D8-7ED2-71B0-F873-734C06D9C90F}"/>
          </ac:grpSpMkLst>
        </pc:grpChg>
        <pc:grpChg chg="add mod">
          <ac:chgData name="Paul Astle" userId="e7d3d11a-a38f-4880-a499-497e6159e966" providerId="ADAL" clId="{8D21D9CD-C6EA-437B-96E4-58387E9E4340}" dt="2024-08-30T14:54:53.033" v="3680" actId="164"/>
          <ac:grpSpMkLst>
            <pc:docMk/>
            <pc:sldMk cId="681008366" sldId="2147480696"/>
            <ac:grpSpMk id="12" creationId="{73D7C46B-6923-709A-779E-9E16BCEF0F48}"/>
          </ac:grpSpMkLst>
        </pc:grpChg>
        <pc:grpChg chg="add mod">
          <ac:chgData name="Paul Astle" userId="e7d3d11a-a38f-4880-a499-497e6159e966" providerId="ADAL" clId="{8D21D9CD-C6EA-437B-96E4-58387E9E4340}" dt="2024-08-30T14:21:17.968" v="3165" actId="1076"/>
          <ac:grpSpMkLst>
            <pc:docMk/>
            <pc:sldMk cId="681008366" sldId="2147480696"/>
            <ac:grpSpMk id="14" creationId="{A42650F5-00D0-9340-E518-8F866A0F07A8}"/>
          </ac:grpSpMkLst>
        </pc:grpChg>
        <pc:grpChg chg="add del mod">
          <ac:chgData name="Paul Astle" userId="e7d3d11a-a38f-4880-a499-497e6159e966" providerId="ADAL" clId="{8D21D9CD-C6EA-437B-96E4-58387E9E4340}" dt="2024-08-30T14:31:52.143" v="3472" actId="478"/>
          <ac:grpSpMkLst>
            <pc:docMk/>
            <pc:sldMk cId="681008366" sldId="2147480696"/>
            <ac:grpSpMk id="15" creationId="{967E6511-AFEB-1C79-EA21-9851302BE9F8}"/>
          </ac:grpSpMkLst>
        </pc:grpChg>
        <pc:grpChg chg="add mod">
          <ac:chgData name="Paul Astle" userId="e7d3d11a-a38f-4880-a499-497e6159e966" providerId="ADAL" clId="{8D21D9CD-C6EA-437B-96E4-58387E9E4340}" dt="2024-08-30T14:31:55.119" v="3473" actId="1076"/>
          <ac:grpSpMkLst>
            <pc:docMk/>
            <pc:sldMk cId="681008366" sldId="2147480696"/>
            <ac:grpSpMk id="18" creationId="{519BE161-DD7B-B6C9-4BE8-B9CCCB6CADE6}"/>
          </ac:grpSpMkLst>
        </pc:grpChg>
        <pc:grpChg chg="add mod">
          <ac:chgData name="Paul Astle" userId="e7d3d11a-a38f-4880-a499-497e6159e966" providerId="ADAL" clId="{8D21D9CD-C6EA-437B-96E4-58387E9E4340}" dt="2024-08-30T14:27:39.431" v="3449" actId="1076"/>
          <ac:grpSpMkLst>
            <pc:docMk/>
            <pc:sldMk cId="681008366" sldId="2147480696"/>
            <ac:grpSpMk id="43" creationId="{42C0F052-FCD0-DAE0-9815-2F02AD12973E}"/>
          </ac:grpSpMkLst>
        </pc:grpChg>
        <pc:grpChg chg="add mod">
          <ac:chgData name="Paul Astle" userId="e7d3d11a-a38f-4880-a499-497e6159e966" providerId="ADAL" clId="{8D21D9CD-C6EA-437B-96E4-58387E9E4340}" dt="2024-08-30T14:54:53.033" v="3680" actId="164"/>
          <ac:grpSpMkLst>
            <pc:docMk/>
            <pc:sldMk cId="681008366" sldId="2147480696"/>
            <ac:grpSpMk id="104" creationId="{A3E94922-2D69-D5E5-5B5F-AE059467112B}"/>
          </ac:grpSpMkLst>
        </pc:grpChg>
        <pc:picChg chg="add del mod ord replST">
          <ac:chgData name="Paul Astle" userId="e7d3d11a-a38f-4880-a499-497e6159e966" providerId="ADAL" clId="{8D21D9CD-C6EA-437B-96E4-58387E9E4340}" dt="2024-08-30T14:21:07.040" v="3162" actId="164"/>
          <ac:picMkLst>
            <pc:docMk/>
            <pc:sldMk cId="681008366" sldId="2147480696"/>
            <ac:picMk id="6" creationId="{377E55AC-9E6A-A4CB-8B77-BCB661040BDF}"/>
          </ac:picMkLst>
        </pc:picChg>
        <pc:picChg chg="add mod replST delST">
          <ac:chgData name="Paul Astle" userId="e7d3d11a-a38f-4880-a499-497e6159e966" providerId="ADAL" clId="{8D21D9CD-C6EA-437B-96E4-58387E9E4340}" dt="2024-08-30T14:17:40.464" v="3112"/>
          <ac:picMkLst>
            <pc:docMk/>
            <pc:sldMk cId="681008366" sldId="2147480696"/>
            <ac:picMk id="8" creationId="{F18623C8-8505-A90F-3332-0627924B89BC}"/>
          </ac:picMkLst>
        </pc:picChg>
        <pc:picChg chg="add mod ord replST">
          <ac:chgData name="Paul Astle" userId="e7d3d11a-a38f-4880-a499-497e6159e966" providerId="ADAL" clId="{8D21D9CD-C6EA-437B-96E4-58387E9E4340}" dt="2024-08-30T14:21:41.205" v="3171" actId="1076"/>
          <ac:picMkLst>
            <pc:docMk/>
            <pc:sldMk cId="681008366" sldId="2147480696"/>
            <ac:picMk id="10" creationId="{C06B97C2-786B-65FC-E5DE-6C4A1E97557B}"/>
          </ac:picMkLst>
        </pc:picChg>
        <pc:picChg chg="mod">
          <ac:chgData name="Paul Astle" userId="e7d3d11a-a38f-4880-a499-497e6159e966" providerId="ADAL" clId="{8D21D9CD-C6EA-437B-96E4-58387E9E4340}" dt="2024-08-30T14:21:27.973" v="3167"/>
          <ac:picMkLst>
            <pc:docMk/>
            <pc:sldMk cId="681008366" sldId="2147480696"/>
            <ac:picMk id="16" creationId="{8534E546-F1C7-2852-AEFD-355D624410BE}"/>
          </ac:picMkLst>
        </pc:picChg>
        <pc:picChg chg="mod">
          <ac:chgData name="Paul Astle" userId="e7d3d11a-a38f-4880-a499-497e6159e966" providerId="ADAL" clId="{8D21D9CD-C6EA-437B-96E4-58387E9E4340}" dt="2024-08-30T14:20:41.856" v="3160" actId="1076"/>
          <ac:picMkLst>
            <pc:docMk/>
            <pc:sldMk cId="681008366" sldId="2147480696"/>
            <ac:picMk id="19" creationId="{8169DA6C-1E6C-2E56-4B40-CCA28C7C2517}"/>
          </ac:picMkLst>
        </pc:picChg>
        <pc:picChg chg="mod">
          <ac:chgData name="Paul Astle" userId="e7d3d11a-a38f-4880-a499-497e6159e966" providerId="ADAL" clId="{8D21D9CD-C6EA-437B-96E4-58387E9E4340}" dt="2024-08-30T14:21:31.071" v="3169"/>
          <ac:picMkLst>
            <pc:docMk/>
            <pc:sldMk cId="681008366" sldId="2147480696"/>
            <ac:picMk id="20" creationId="{644B5D72-FBB6-B28E-97E6-A7889D39986E}"/>
          </ac:picMkLst>
        </pc:picChg>
        <pc:picChg chg="mod">
          <ac:chgData name="Paul Astle" userId="e7d3d11a-a38f-4880-a499-497e6159e966" providerId="ADAL" clId="{8D21D9CD-C6EA-437B-96E4-58387E9E4340}" dt="2024-08-30T14:19:45.945" v="3153" actId="164"/>
          <ac:picMkLst>
            <pc:docMk/>
            <pc:sldMk cId="681008366" sldId="2147480696"/>
            <ac:picMk id="21" creationId="{A2244B27-2892-D810-92C0-B417890C082B}"/>
          </ac:picMkLst>
        </pc:picChg>
        <pc:picChg chg="add mod ord replST">
          <ac:chgData name="Paul Astle" userId="e7d3d11a-a38f-4880-a499-497e6159e966" providerId="ADAL" clId="{8D21D9CD-C6EA-437B-96E4-58387E9E4340}" dt="2024-08-30T14:23:33.941" v="3213" actId="1076"/>
          <ac:picMkLst>
            <pc:docMk/>
            <pc:sldMk cId="681008366" sldId="2147480696"/>
            <ac:picMk id="24" creationId="{520BFC58-020B-73B5-DAF9-9ABDD09455C2}"/>
          </ac:picMkLst>
        </pc:picChg>
        <pc:picChg chg="mod">
          <ac:chgData name="Paul Astle" userId="e7d3d11a-a38f-4880-a499-497e6159e966" providerId="ADAL" clId="{8D21D9CD-C6EA-437B-96E4-58387E9E4340}" dt="2024-08-30T14:20:39.096" v="3159" actId="1076"/>
          <ac:picMkLst>
            <pc:docMk/>
            <pc:sldMk cId="681008366" sldId="2147480696"/>
            <ac:picMk id="26" creationId="{0AB7CF00-184B-4F29-3114-409E615A5529}"/>
          </ac:picMkLst>
        </pc:picChg>
        <pc:picChg chg="mod">
          <ac:chgData name="Paul Astle" userId="e7d3d11a-a38f-4880-a499-497e6159e966" providerId="ADAL" clId="{8D21D9CD-C6EA-437B-96E4-58387E9E4340}" dt="2024-08-30T14:33:22.593" v="3497" actId="1076"/>
          <ac:picMkLst>
            <pc:docMk/>
            <pc:sldMk cId="681008366" sldId="2147480696"/>
            <ac:picMk id="27" creationId="{2858020A-2B26-4623-B89D-F652A6F3CE52}"/>
          </ac:picMkLst>
        </pc:picChg>
        <pc:picChg chg="add mod ord replST">
          <ac:chgData name="Paul Astle" userId="e7d3d11a-a38f-4880-a499-497e6159e966" providerId="ADAL" clId="{8D21D9CD-C6EA-437B-96E4-58387E9E4340}" dt="2024-08-30T14:22:36.793" v="3211" actId="1076"/>
          <ac:picMkLst>
            <pc:docMk/>
            <pc:sldMk cId="681008366" sldId="2147480696"/>
            <ac:picMk id="30" creationId="{1B3E0617-BD03-4551-7FCF-4DDF37136F31}"/>
          </ac:picMkLst>
        </pc:picChg>
        <pc:picChg chg="add del mod ord replST">
          <ac:chgData name="Paul Astle" userId="e7d3d11a-a38f-4880-a499-497e6159e966" providerId="ADAL" clId="{8D21D9CD-C6EA-437B-96E4-58387E9E4340}" dt="2024-08-30T14:32:06.855" v="3476" actId="1076"/>
          <ac:picMkLst>
            <pc:docMk/>
            <pc:sldMk cId="681008366" sldId="2147480696"/>
            <ac:picMk id="33" creationId="{871067E9-A992-0507-5A6F-5F9C45ABD514}"/>
          </ac:picMkLst>
        </pc:picChg>
        <pc:picChg chg="add mod replST delST">
          <ac:chgData name="Paul Astle" userId="e7d3d11a-a38f-4880-a499-497e6159e966" providerId="ADAL" clId="{8D21D9CD-C6EA-437B-96E4-58387E9E4340}" dt="2024-08-30T14:23:59.655" v="3270"/>
          <ac:picMkLst>
            <pc:docMk/>
            <pc:sldMk cId="681008366" sldId="2147480696"/>
            <ac:picMk id="35" creationId="{57061D42-C34B-4834-6E6B-34DAE9A4563E}"/>
          </ac:picMkLst>
        </pc:picChg>
        <pc:picChg chg="add del mod ord replST">
          <ac:chgData name="Paul Astle" userId="e7d3d11a-a38f-4880-a499-497e6159e966" providerId="ADAL" clId="{8D21D9CD-C6EA-437B-96E4-58387E9E4340}" dt="2024-08-30T14:31:14.503" v="3462" actId="1076"/>
          <ac:picMkLst>
            <pc:docMk/>
            <pc:sldMk cId="681008366" sldId="2147480696"/>
            <ac:picMk id="38" creationId="{0CC07152-7DF3-9097-E94C-3AA6B396AC1F}"/>
          </ac:picMkLst>
        </pc:picChg>
        <pc:picChg chg="add mod replST delST">
          <ac:chgData name="Paul Astle" userId="e7d3d11a-a38f-4880-a499-497e6159e966" providerId="ADAL" clId="{8D21D9CD-C6EA-437B-96E4-58387E9E4340}" dt="2024-08-30T14:25:00.243" v="3327"/>
          <ac:picMkLst>
            <pc:docMk/>
            <pc:sldMk cId="681008366" sldId="2147480696"/>
            <ac:picMk id="40" creationId="{990B07C5-3A1D-63C4-025D-DE2F61DC745B}"/>
          </ac:picMkLst>
        </pc:picChg>
        <pc:picChg chg="add mod ord replST">
          <ac:chgData name="Paul Astle" userId="e7d3d11a-a38f-4880-a499-497e6159e966" providerId="ADAL" clId="{8D21D9CD-C6EA-437B-96E4-58387E9E4340}" dt="2024-08-30T14:32:08.215" v="3477" actId="1076"/>
          <ac:picMkLst>
            <pc:docMk/>
            <pc:sldMk cId="681008366" sldId="2147480696"/>
            <ac:picMk id="42" creationId="{C5E28704-74D8-3847-49E2-0603E0504329}"/>
          </ac:picMkLst>
        </pc:picChg>
        <pc:picChg chg="mod">
          <ac:chgData name="Paul Astle" userId="e7d3d11a-a38f-4880-a499-497e6159e966" providerId="ADAL" clId="{8D21D9CD-C6EA-437B-96E4-58387E9E4340}" dt="2024-08-30T14:25:21.792" v="3351"/>
          <ac:picMkLst>
            <pc:docMk/>
            <pc:sldMk cId="681008366" sldId="2147480696"/>
            <ac:picMk id="44" creationId="{D3EE4918-1A44-5CBA-8CC0-9CFCAC982BC0}"/>
          </ac:picMkLst>
        </pc:picChg>
        <pc:picChg chg="add mod ord replST delST">
          <ac:chgData name="Paul Astle" userId="e7d3d11a-a38f-4880-a499-497e6159e966" providerId="ADAL" clId="{8D21D9CD-C6EA-437B-96E4-58387E9E4340}" dt="2024-08-30T14:26:11.962" v="3403"/>
          <ac:picMkLst>
            <pc:docMk/>
            <pc:sldMk cId="681008366" sldId="2147480696"/>
            <ac:picMk id="49" creationId="{D822AC21-8291-6839-3BDB-3C8DBA9707CE}"/>
          </ac:picMkLst>
        </pc:picChg>
        <pc:picChg chg="mod">
          <ac:chgData name="Paul Astle" userId="e7d3d11a-a38f-4880-a499-497e6159e966" providerId="ADAL" clId="{8D21D9CD-C6EA-437B-96E4-58387E9E4340}" dt="2024-08-30T14:19:45.945" v="3153" actId="164"/>
          <ac:picMkLst>
            <pc:docMk/>
            <pc:sldMk cId="681008366" sldId="2147480696"/>
            <ac:picMk id="51" creationId="{60BB5CF8-C5CC-45F2-56B0-1A0638E5C463}"/>
          </ac:picMkLst>
        </pc:picChg>
        <pc:picChg chg="mod">
          <ac:chgData name="Paul Astle" userId="e7d3d11a-a38f-4880-a499-497e6159e966" providerId="ADAL" clId="{8D21D9CD-C6EA-437B-96E4-58387E9E4340}" dt="2024-08-30T14:19:45.945" v="3153" actId="164"/>
          <ac:picMkLst>
            <pc:docMk/>
            <pc:sldMk cId="681008366" sldId="2147480696"/>
            <ac:picMk id="52" creationId="{D61BFA93-8717-B2F4-A5CF-A8EDE8CF1005}"/>
          </ac:picMkLst>
        </pc:picChg>
        <pc:picChg chg="add mod ord replST delST">
          <ac:chgData name="Paul Astle" userId="e7d3d11a-a38f-4880-a499-497e6159e966" providerId="ADAL" clId="{8D21D9CD-C6EA-437B-96E4-58387E9E4340}" dt="2024-08-30T14:26:34.005" v="3426"/>
          <ac:picMkLst>
            <pc:docMk/>
            <pc:sldMk cId="681008366" sldId="2147480696"/>
            <ac:picMk id="53" creationId="{A83860BC-B3EE-F213-79ED-5695990D07E3}"/>
          </ac:picMkLst>
        </pc:picChg>
        <pc:picChg chg="add mod ord replST">
          <ac:chgData name="Paul Astle" userId="e7d3d11a-a38f-4880-a499-497e6159e966" providerId="ADAL" clId="{8D21D9CD-C6EA-437B-96E4-58387E9E4340}" dt="2024-08-30T14:31:12.760" v="3461" actId="1076"/>
          <ac:picMkLst>
            <pc:docMk/>
            <pc:sldMk cId="681008366" sldId="2147480696"/>
            <ac:picMk id="55" creationId="{9B783C86-FC0A-0132-AA4D-925BE6F88A93}"/>
          </ac:picMkLst>
        </pc:picChg>
        <pc:picChg chg="mod">
          <ac:chgData name="Paul Astle" userId="e7d3d11a-a38f-4880-a499-497e6159e966" providerId="ADAL" clId="{8D21D9CD-C6EA-437B-96E4-58387E9E4340}" dt="2024-08-30T14:20:46.705" v="3161" actId="1076"/>
          <ac:picMkLst>
            <pc:docMk/>
            <pc:sldMk cId="681008366" sldId="2147480696"/>
            <ac:picMk id="58" creationId="{1FEDCA4F-CE16-40FC-B815-631310FAFC6F}"/>
          </ac:picMkLst>
        </pc:picChg>
        <pc:picChg chg="add mod ord replST">
          <ac:chgData name="Paul Astle" userId="e7d3d11a-a38f-4880-a499-497e6159e966" providerId="ADAL" clId="{8D21D9CD-C6EA-437B-96E4-58387E9E4340}" dt="2024-08-30T14:54:53.033" v="3680" actId="164"/>
          <ac:picMkLst>
            <pc:docMk/>
            <pc:sldMk cId="681008366" sldId="2147480696"/>
            <ac:picMk id="102" creationId="{7EF7D0CD-EF24-67E7-2550-FFDD59E33E59}"/>
          </ac:picMkLst>
        </pc:picChg>
        <pc:cxnChg chg="mod">
          <ac:chgData name="Paul Astle" userId="e7d3d11a-a38f-4880-a499-497e6159e966" providerId="ADAL" clId="{8D21D9CD-C6EA-437B-96E4-58387E9E4340}" dt="2024-08-30T14:34:32.354" v="3510" actId="14100"/>
          <ac:cxnSpMkLst>
            <pc:docMk/>
            <pc:sldMk cId="681008366" sldId="2147480696"/>
            <ac:cxnSpMk id="29" creationId="{B2181D4B-E811-702D-14F5-0B0D98A3D161}"/>
          </ac:cxnSpMkLst>
        </pc:cxnChg>
        <pc:cxnChg chg="mod">
          <ac:chgData name="Paul Astle" userId="e7d3d11a-a38f-4880-a499-497e6159e966" providerId="ADAL" clId="{8D21D9CD-C6EA-437B-96E4-58387E9E4340}" dt="2024-08-30T14:34:20.936" v="3508" actId="14100"/>
          <ac:cxnSpMkLst>
            <pc:docMk/>
            <pc:sldMk cId="681008366" sldId="2147480696"/>
            <ac:cxnSpMk id="31" creationId="{3B2571BA-6D8C-5349-6094-BF53EE346E8E}"/>
          </ac:cxnSpMkLst>
        </pc:cxnChg>
        <pc:cxnChg chg="mod">
          <ac:chgData name="Paul Astle" userId="e7d3d11a-a38f-4880-a499-497e6159e966" providerId="ADAL" clId="{8D21D9CD-C6EA-437B-96E4-58387E9E4340}" dt="2024-08-30T14:33:52.742" v="3502" actId="14100"/>
          <ac:cxnSpMkLst>
            <pc:docMk/>
            <pc:sldMk cId="681008366" sldId="2147480696"/>
            <ac:cxnSpMk id="36" creationId="{772A733E-42EE-C680-C678-BC83E45C07F5}"/>
          </ac:cxnSpMkLst>
        </pc:cxnChg>
        <pc:cxnChg chg="mod">
          <ac:chgData name="Paul Astle" userId="e7d3d11a-a38f-4880-a499-497e6159e966" providerId="ADAL" clId="{8D21D9CD-C6EA-437B-96E4-58387E9E4340}" dt="2024-08-30T14:19:52.101" v="3156" actId="14100"/>
          <ac:cxnSpMkLst>
            <pc:docMk/>
            <pc:sldMk cId="681008366" sldId="2147480696"/>
            <ac:cxnSpMk id="48" creationId="{A4D7DC3B-6185-E7A9-C758-2470FD0FDDA8}"/>
          </ac:cxnSpMkLst>
        </pc:cxnChg>
        <pc:cxnChg chg="add mod">
          <ac:chgData name="Paul Astle" userId="e7d3d11a-a38f-4880-a499-497e6159e966" providerId="ADAL" clId="{8D21D9CD-C6EA-437B-96E4-58387E9E4340}" dt="2024-08-30T14:28:33.712" v="3455" actId="692"/>
          <ac:cxnSpMkLst>
            <pc:docMk/>
            <pc:sldMk cId="681008366" sldId="2147480696"/>
            <ac:cxnSpMk id="59" creationId="{6A63B6BC-0F2A-ABCE-7636-97EE4586E90A}"/>
          </ac:cxnSpMkLst>
        </pc:cxnChg>
        <pc:cxnChg chg="mod">
          <ac:chgData name="Paul Astle" userId="e7d3d11a-a38f-4880-a499-497e6159e966" providerId="ADAL" clId="{8D21D9CD-C6EA-437B-96E4-58387E9E4340}" dt="2024-08-30T14:34:37.088" v="3511" actId="14100"/>
          <ac:cxnSpMkLst>
            <pc:docMk/>
            <pc:sldMk cId="681008366" sldId="2147480696"/>
            <ac:cxnSpMk id="60" creationId="{B6C1CC03-6311-3989-24F5-CF177691E67F}"/>
          </ac:cxnSpMkLst>
        </pc:cxnChg>
        <pc:cxnChg chg="add mod">
          <ac:chgData name="Paul Astle" userId="e7d3d11a-a38f-4880-a499-497e6159e966" providerId="ADAL" clId="{8D21D9CD-C6EA-437B-96E4-58387E9E4340}" dt="2024-08-30T14:28:33.712" v="3455" actId="692"/>
          <ac:cxnSpMkLst>
            <pc:docMk/>
            <pc:sldMk cId="681008366" sldId="2147480696"/>
            <ac:cxnSpMk id="62" creationId="{E2850E38-2885-DB74-392F-51B1F25556C7}"/>
          </ac:cxnSpMkLst>
        </pc:cxnChg>
        <pc:cxnChg chg="add mod">
          <ac:chgData name="Paul Astle" userId="e7d3d11a-a38f-4880-a499-497e6159e966" providerId="ADAL" clId="{8D21D9CD-C6EA-437B-96E4-58387E9E4340}" dt="2024-08-30T14:31:24.703" v="3465" actId="14100"/>
          <ac:cxnSpMkLst>
            <pc:docMk/>
            <pc:sldMk cId="681008366" sldId="2147480696"/>
            <ac:cxnSpMk id="65" creationId="{BB18BD49-9447-9690-221C-D705F1609F44}"/>
          </ac:cxnSpMkLst>
        </pc:cxnChg>
        <pc:cxnChg chg="add mod">
          <ac:chgData name="Paul Astle" userId="e7d3d11a-a38f-4880-a499-497e6159e966" providerId="ADAL" clId="{8D21D9CD-C6EA-437B-96E4-58387E9E4340}" dt="2024-08-30T14:31:32.893" v="3468" actId="14100"/>
          <ac:cxnSpMkLst>
            <pc:docMk/>
            <pc:sldMk cId="681008366" sldId="2147480696"/>
            <ac:cxnSpMk id="67" creationId="{2CC7CE54-2A80-EEED-7A8C-DDE38B3D2712}"/>
          </ac:cxnSpMkLst>
        </pc:cxnChg>
        <pc:cxnChg chg="add mod">
          <ac:chgData name="Paul Astle" userId="e7d3d11a-a38f-4880-a499-497e6159e966" providerId="ADAL" clId="{8D21D9CD-C6EA-437B-96E4-58387E9E4340}" dt="2024-08-30T14:31:40.590" v="3471" actId="14100"/>
          <ac:cxnSpMkLst>
            <pc:docMk/>
            <pc:sldMk cId="681008366" sldId="2147480696"/>
            <ac:cxnSpMk id="70" creationId="{DBBE75CE-0CCC-4217-DBBC-18F79505A2CD}"/>
          </ac:cxnSpMkLst>
        </pc:cxnChg>
        <pc:cxnChg chg="add mod">
          <ac:chgData name="Paul Astle" userId="e7d3d11a-a38f-4880-a499-497e6159e966" providerId="ADAL" clId="{8D21D9CD-C6EA-437B-96E4-58387E9E4340}" dt="2024-08-30T14:32:58.529" v="3492" actId="14100"/>
          <ac:cxnSpMkLst>
            <pc:docMk/>
            <pc:sldMk cId="681008366" sldId="2147480696"/>
            <ac:cxnSpMk id="73" creationId="{049DD6E8-391A-6473-3440-64BF13DF09E4}"/>
          </ac:cxnSpMkLst>
        </pc:cxnChg>
        <pc:cxnChg chg="add mod">
          <ac:chgData name="Paul Astle" userId="e7d3d11a-a38f-4880-a499-497e6159e966" providerId="ADAL" clId="{8D21D9CD-C6EA-437B-96E4-58387E9E4340}" dt="2024-08-30T14:32:53.711" v="3491" actId="14100"/>
          <ac:cxnSpMkLst>
            <pc:docMk/>
            <pc:sldMk cId="681008366" sldId="2147480696"/>
            <ac:cxnSpMk id="74" creationId="{41E167AE-FF4F-6855-C1F8-4FF8CB4C167C}"/>
          </ac:cxnSpMkLst>
        </pc:cxnChg>
        <pc:cxnChg chg="add mod">
          <ac:chgData name="Paul Astle" userId="e7d3d11a-a38f-4880-a499-497e6159e966" providerId="ADAL" clId="{8D21D9CD-C6EA-437B-96E4-58387E9E4340}" dt="2024-08-30T14:33:06.751" v="3493" actId="14100"/>
          <ac:cxnSpMkLst>
            <pc:docMk/>
            <pc:sldMk cId="681008366" sldId="2147480696"/>
            <ac:cxnSpMk id="80" creationId="{7871A109-272B-E384-9FB3-A2796AE9DB65}"/>
          </ac:cxnSpMkLst>
        </pc:cxnChg>
        <pc:cxnChg chg="add mod">
          <ac:chgData name="Paul Astle" userId="e7d3d11a-a38f-4880-a499-497e6159e966" providerId="ADAL" clId="{8D21D9CD-C6EA-437B-96E4-58387E9E4340}" dt="2024-08-30T14:33:27.864" v="3498" actId="14100"/>
          <ac:cxnSpMkLst>
            <pc:docMk/>
            <pc:sldMk cId="681008366" sldId="2147480696"/>
            <ac:cxnSpMk id="86" creationId="{5D38D137-BAE5-B538-10FD-DA5CAE5A1EEA}"/>
          </ac:cxnSpMkLst>
        </pc:cxnChg>
        <pc:cxnChg chg="add mod">
          <ac:chgData name="Paul Astle" userId="e7d3d11a-a38f-4880-a499-497e6159e966" providerId="ADAL" clId="{8D21D9CD-C6EA-437B-96E4-58387E9E4340}" dt="2024-08-30T14:33:34.803" v="3501" actId="14100"/>
          <ac:cxnSpMkLst>
            <pc:docMk/>
            <pc:sldMk cId="681008366" sldId="2147480696"/>
            <ac:cxnSpMk id="88" creationId="{26358D3C-4724-FEE1-F9F0-2D8EF01F6FB5}"/>
          </ac:cxnSpMkLst>
        </pc:cxnChg>
      </pc:sldChg>
      <pc:sldChg chg="delSp modSp new del mod setBg chgLayout">
        <pc:chgData name="Paul Astle" userId="e7d3d11a-a38f-4880-a499-497e6159e966" providerId="ADAL" clId="{8D21D9CD-C6EA-437B-96E4-58387E9E4340}" dt="2024-08-30T12:07:49.725" v="2727" actId="47"/>
        <pc:sldMkLst>
          <pc:docMk/>
          <pc:sldMk cId="2222758087" sldId="2147480696"/>
        </pc:sldMkLst>
        <pc:spChg chg="del">
          <ac:chgData name="Paul Astle" userId="e7d3d11a-a38f-4880-a499-497e6159e966" providerId="ADAL" clId="{8D21D9CD-C6EA-437B-96E4-58387E9E4340}" dt="2024-08-30T12:06:18.125" v="2717" actId="700"/>
          <ac:spMkLst>
            <pc:docMk/>
            <pc:sldMk cId="2222758087" sldId="2147480696"/>
            <ac:spMk id="2" creationId="{7C98C3E6-F750-0EA2-93B1-70DB3558C310}"/>
          </ac:spMkLst>
        </pc:spChg>
        <pc:spChg chg="del">
          <ac:chgData name="Paul Astle" userId="e7d3d11a-a38f-4880-a499-497e6159e966" providerId="ADAL" clId="{8D21D9CD-C6EA-437B-96E4-58387E9E4340}" dt="2024-08-30T12:06:18.125" v="2717" actId="700"/>
          <ac:spMkLst>
            <pc:docMk/>
            <pc:sldMk cId="2222758087" sldId="2147480696"/>
            <ac:spMk id="3" creationId="{E1AC02CF-232A-5C17-D485-E9E2E7E11031}"/>
          </ac:spMkLst>
        </pc:spChg>
        <pc:spChg chg="mod ord">
          <ac:chgData name="Paul Astle" userId="e7d3d11a-a38f-4880-a499-497e6159e966" providerId="ADAL" clId="{8D21D9CD-C6EA-437B-96E4-58387E9E4340}" dt="2024-08-30T12:06:18.125" v="2717" actId="700"/>
          <ac:spMkLst>
            <pc:docMk/>
            <pc:sldMk cId="2222758087" sldId="2147480696"/>
            <ac:spMk id="4" creationId="{1534C70C-28D4-DA33-6300-24F72C6CCF86}"/>
          </ac:spMkLst>
        </pc:spChg>
      </pc:sldChg>
      <pc:sldChg chg="addSp delSp modSp new del mod chgLayout">
        <pc:chgData name="Paul Astle" userId="e7d3d11a-a38f-4880-a499-497e6159e966" providerId="ADAL" clId="{8D21D9CD-C6EA-437B-96E4-58387E9E4340}" dt="2024-08-30T12:07:56.049" v="2728" actId="47"/>
        <pc:sldMkLst>
          <pc:docMk/>
          <pc:sldMk cId="889844100" sldId="2147480697"/>
        </pc:sldMkLst>
        <pc:spChg chg="del mod ord">
          <ac:chgData name="Paul Astle" userId="e7d3d11a-a38f-4880-a499-497e6159e966" providerId="ADAL" clId="{8D21D9CD-C6EA-437B-96E4-58387E9E4340}" dt="2024-08-30T12:06:59.436" v="2720" actId="700"/>
          <ac:spMkLst>
            <pc:docMk/>
            <pc:sldMk cId="889844100" sldId="2147480697"/>
            <ac:spMk id="2" creationId="{4CC72A4D-B535-CA6D-7F13-02E5D99191CE}"/>
          </ac:spMkLst>
        </pc:spChg>
        <pc:spChg chg="del mod ord">
          <ac:chgData name="Paul Astle" userId="e7d3d11a-a38f-4880-a499-497e6159e966" providerId="ADAL" clId="{8D21D9CD-C6EA-437B-96E4-58387E9E4340}" dt="2024-08-30T12:06:59.436" v="2720" actId="700"/>
          <ac:spMkLst>
            <pc:docMk/>
            <pc:sldMk cId="889844100" sldId="2147480697"/>
            <ac:spMk id="3" creationId="{CE732400-ED57-5D6F-1BCB-A22DCB06243E}"/>
          </ac:spMkLst>
        </pc:spChg>
        <pc:spChg chg="mod ord">
          <ac:chgData name="Paul Astle" userId="e7d3d11a-a38f-4880-a499-497e6159e966" providerId="ADAL" clId="{8D21D9CD-C6EA-437B-96E4-58387E9E4340}" dt="2024-08-30T12:06:59.436" v="2720" actId="700"/>
          <ac:spMkLst>
            <pc:docMk/>
            <pc:sldMk cId="889844100" sldId="2147480697"/>
            <ac:spMk id="4" creationId="{0F1AA648-4303-F852-A3A9-49C4875F7E2D}"/>
          </ac:spMkLst>
        </pc:spChg>
        <pc:spChg chg="add mod ord">
          <ac:chgData name="Paul Astle" userId="e7d3d11a-a38f-4880-a499-497e6159e966" providerId="ADAL" clId="{8D21D9CD-C6EA-437B-96E4-58387E9E4340}" dt="2024-08-30T12:06:59.436" v="2720" actId="700"/>
          <ac:spMkLst>
            <pc:docMk/>
            <pc:sldMk cId="889844100" sldId="2147480697"/>
            <ac:spMk id="5" creationId="{0F7E2F42-84A0-97FD-8AC7-2385EE72466E}"/>
          </ac:spMkLst>
        </pc:spChg>
        <pc:spChg chg="add mod ord">
          <ac:chgData name="Paul Astle" userId="e7d3d11a-a38f-4880-a499-497e6159e966" providerId="ADAL" clId="{8D21D9CD-C6EA-437B-96E4-58387E9E4340}" dt="2024-08-30T12:06:59.436" v="2720" actId="700"/>
          <ac:spMkLst>
            <pc:docMk/>
            <pc:sldMk cId="889844100" sldId="2147480697"/>
            <ac:spMk id="6" creationId="{148679C9-53F7-D184-7709-C3B02C7796DB}"/>
          </ac:spMkLst>
        </pc:spChg>
        <pc:spChg chg="add mod ord">
          <ac:chgData name="Paul Astle" userId="e7d3d11a-a38f-4880-a499-497e6159e966" providerId="ADAL" clId="{8D21D9CD-C6EA-437B-96E4-58387E9E4340}" dt="2024-08-30T12:07:22.305" v="2724" actId="207"/>
          <ac:spMkLst>
            <pc:docMk/>
            <pc:sldMk cId="889844100" sldId="2147480697"/>
            <ac:spMk id="7" creationId="{C73E86FF-A391-75AF-EC69-70A86B9567CD}"/>
          </ac:spMkLst>
        </pc:spChg>
        <pc:spChg chg="add mod ord">
          <ac:chgData name="Paul Astle" userId="e7d3d11a-a38f-4880-a499-497e6159e966" providerId="ADAL" clId="{8D21D9CD-C6EA-437B-96E4-58387E9E4340}" dt="2024-08-30T12:06:59.436" v="2720" actId="700"/>
          <ac:spMkLst>
            <pc:docMk/>
            <pc:sldMk cId="889844100" sldId="2147480697"/>
            <ac:spMk id="8" creationId="{67622DBE-DD33-6F28-8AD9-EAA6F59D3FBD}"/>
          </ac:spMkLst>
        </pc:spChg>
        <pc:spChg chg="mod">
          <ac:chgData name="Paul Astle" userId="e7d3d11a-a38f-4880-a499-497e6159e966" providerId="ADAL" clId="{8D21D9CD-C6EA-437B-96E4-58387E9E4340}" dt="2024-08-30T12:07:17.184" v="2722"/>
          <ac:spMkLst>
            <pc:docMk/>
            <pc:sldMk cId="889844100" sldId="2147480697"/>
            <ac:spMk id="12" creationId="{5900BA31-580B-6D3E-8071-3B6208337B9C}"/>
          </ac:spMkLst>
        </pc:spChg>
        <pc:spChg chg="mod">
          <ac:chgData name="Paul Astle" userId="e7d3d11a-a38f-4880-a499-497e6159e966" providerId="ADAL" clId="{8D21D9CD-C6EA-437B-96E4-58387E9E4340}" dt="2024-08-30T12:07:17.184" v="2722"/>
          <ac:spMkLst>
            <pc:docMk/>
            <pc:sldMk cId="889844100" sldId="2147480697"/>
            <ac:spMk id="13" creationId="{1BA43894-087F-584E-3CE0-63CED803E449}"/>
          </ac:spMkLst>
        </pc:spChg>
        <pc:grpChg chg="add del mod">
          <ac:chgData name="Paul Astle" userId="e7d3d11a-a38f-4880-a499-497e6159e966" providerId="ADAL" clId="{8D21D9CD-C6EA-437B-96E4-58387E9E4340}" dt="2024-08-30T12:07:24.278" v="2725" actId="478"/>
          <ac:grpSpMkLst>
            <pc:docMk/>
            <pc:sldMk cId="889844100" sldId="2147480697"/>
            <ac:grpSpMk id="9" creationId="{E950C587-06BF-C88D-92DB-66454F5BA092}"/>
          </ac:grpSpMkLst>
        </pc:grpChg>
        <pc:picChg chg="mod">
          <ac:chgData name="Paul Astle" userId="e7d3d11a-a38f-4880-a499-497e6159e966" providerId="ADAL" clId="{8D21D9CD-C6EA-437B-96E4-58387E9E4340}" dt="2024-08-30T12:07:17.184" v="2722"/>
          <ac:picMkLst>
            <pc:docMk/>
            <pc:sldMk cId="889844100" sldId="2147480697"/>
            <ac:picMk id="10" creationId="{D70E35B2-DA5B-CE59-3FB2-32FA0D5C19AD}"/>
          </ac:picMkLst>
        </pc:picChg>
        <pc:picChg chg="mod">
          <ac:chgData name="Paul Astle" userId="e7d3d11a-a38f-4880-a499-497e6159e966" providerId="ADAL" clId="{8D21D9CD-C6EA-437B-96E4-58387E9E4340}" dt="2024-08-30T12:07:17.184" v="2722"/>
          <ac:picMkLst>
            <pc:docMk/>
            <pc:sldMk cId="889844100" sldId="2147480697"/>
            <ac:picMk id="11" creationId="{E68B1857-8B42-04DD-3811-26B1B738232E}"/>
          </ac:picMkLst>
        </pc:picChg>
      </pc:sldChg>
      <pc:sldChg chg="addSp delSp modSp add mod modTransition modAnim">
        <pc:chgData name="Paul Astle" userId="e7d3d11a-a38f-4880-a499-497e6159e966" providerId="ADAL" clId="{8D21D9CD-C6EA-437B-96E4-58387E9E4340}" dt="2024-08-30T14:56:14.919" v="3695"/>
        <pc:sldMkLst>
          <pc:docMk/>
          <pc:sldMk cId="2694867906" sldId="2147480697"/>
        </pc:sldMkLst>
        <pc:spChg chg="mod">
          <ac:chgData name="Paul Astle" userId="e7d3d11a-a38f-4880-a499-497e6159e966" providerId="ADAL" clId="{8D21D9CD-C6EA-437B-96E4-58387E9E4340}" dt="2024-08-30T14:41:23.155" v="3584" actId="207"/>
          <ac:spMkLst>
            <pc:docMk/>
            <pc:sldMk cId="2694867906" sldId="2147480697"/>
            <ac:spMk id="11" creationId="{22EA2976-DF9E-F7C7-DB71-4A66F5AA78CF}"/>
          </ac:spMkLst>
        </pc:spChg>
        <pc:spChg chg="mod">
          <ac:chgData name="Paul Astle" userId="e7d3d11a-a38f-4880-a499-497e6159e966" providerId="ADAL" clId="{8D21D9CD-C6EA-437B-96E4-58387E9E4340}" dt="2024-08-30T14:42:03.011" v="3592" actId="207"/>
          <ac:spMkLst>
            <pc:docMk/>
            <pc:sldMk cId="2694867906" sldId="2147480697"/>
            <ac:spMk id="22" creationId="{9EC21D5E-1827-DE1B-7501-0E1167B47133}"/>
          </ac:spMkLst>
        </pc:spChg>
        <pc:spChg chg="mod">
          <ac:chgData name="Paul Astle" userId="e7d3d11a-a38f-4880-a499-497e6159e966" providerId="ADAL" clId="{8D21D9CD-C6EA-437B-96E4-58387E9E4340}" dt="2024-08-30T14:45:00.293" v="3606"/>
          <ac:spMkLst>
            <pc:docMk/>
            <pc:sldMk cId="2694867906" sldId="2147480697"/>
            <ac:spMk id="32" creationId="{D6C16E0C-6397-5715-E0CA-897741510787}"/>
          </ac:spMkLst>
        </pc:spChg>
        <pc:spChg chg="mod">
          <ac:chgData name="Paul Astle" userId="e7d3d11a-a38f-4880-a499-497e6159e966" providerId="ADAL" clId="{8D21D9CD-C6EA-437B-96E4-58387E9E4340}" dt="2024-08-30T14:45:00.293" v="3606"/>
          <ac:spMkLst>
            <pc:docMk/>
            <pc:sldMk cId="2694867906" sldId="2147480697"/>
            <ac:spMk id="34" creationId="{4C01F8CE-778E-A9B1-65F7-C58C91A2D884}"/>
          </ac:spMkLst>
        </pc:spChg>
        <pc:spChg chg="mod">
          <ac:chgData name="Paul Astle" userId="e7d3d11a-a38f-4880-a499-497e6159e966" providerId="ADAL" clId="{8D21D9CD-C6EA-437B-96E4-58387E9E4340}" dt="2024-08-30T14:45:00.293" v="3606"/>
          <ac:spMkLst>
            <pc:docMk/>
            <pc:sldMk cId="2694867906" sldId="2147480697"/>
            <ac:spMk id="35" creationId="{CA6EE38C-6782-239B-E632-B34C1F41DD0E}"/>
          </ac:spMkLst>
        </pc:spChg>
        <pc:spChg chg="mod">
          <ac:chgData name="Paul Astle" userId="e7d3d11a-a38f-4880-a499-497e6159e966" providerId="ADAL" clId="{8D21D9CD-C6EA-437B-96E4-58387E9E4340}" dt="2024-08-30T14:45:00.293" v="3606"/>
          <ac:spMkLst>
            <pc:docMk/>
            <pc:sldMk cId="2694867906" sldId="2147480697"/>
            <ac:spMk id="37" creationId="{0E8C945D-8E7A-E0FA-A7EE-A7D2F236AA2F}"/>
          </ac:spMkLst>
        </pc:spChg>
        <pc:spChg chg="mod">
          <ac:chgData name="Paul Astle" userId="e7d3d11a-a38f-4880-a499-497e6159e966" providerId="ADAL" clId="{8D21D9CD-C6EA-437B-96E4-58387E9E4340}" dt="2024-08-30T14:43:56.198" v="3599" actId="207"/>
          <ac:spMkLst>
            <pc:docMk/>
            <pc:sldMk cId="2694867906" sldId="2147480697"/>
            <ac:spMk id="45" creationId="{C4E80ABE-9007-3A49-B0D6-DD8CF8BA7F1B}"/>
          </ac:spMkLst>
        </pc:spChg>
        <pc:spChg chg="mod">
          <ac:chgData name="Paul Astle" userId="e7d3d11a-a38f-4880-a499-497e6159e966" providerId="ADAL" clId="{8D21D9CD-C6EA-437B-96E4-58387E9E4340}" dt="2024-08-30T14:55:36.141" v="3686"/>
          <ac:spMkLst>
            <pc:docMk/>
            <pc:sldMk cId="2694867906" sldId="2147480697"/>
            <ac:spMk id="79" creationId="{C38F4708-6D97-B9EB-93A0-4EEC3D80F167}"/>
          </ac:spMkLst>
        </pc:spChg>
        <pc:grpChg chg="add mod">
          <ac:chgData name="Paul Astle" userId="e7d3d11a-a38f-4880-a499-497e6159e966" providerId="ADAL" clId="{8D21D9CD-C6EA-437B-96E4-58387E9E4340}" dt="2024-08-30T14:40:26.232" v="3577" actId="207"/>
          <ac:grpSpMkLst>
            <pc:docMk/>
            <pc:sldMk cId="2694867906" sldId="2147480697"/>
            <ac:grpSpMk id="5" creationId="{3F7772D7-F33C-CB9B-3CB2-5D860A8C6543}"/>
          </ac:grpSpMkLst>
        </pc:grpChg>
        <pc:grpChg chg="add mod">
          <ac:chgData name="Paul Astle" userId="e7d3d11a-a38f-4880-a499-497e6159e966" providerId="ADAL" clId="{8D21D9CD-C6EA-437B-96E4-58387E9E4340}" dt="2024-08-30T14:41:40.944" v="3586" actId="207"/>
          <ac:grpSpMkLst>
            <pc:docMk/>
            <pc:sldMk cId="2694867906" sldId="2147480697"/>
            <ac:grpSpMk id="7" creationId="{203A3AAD-6EDB-4C89-F300-2D5942928BD6}"/>
          </ac:grpSpMkLst>
        </pc:grpChg>
        <pc:grpChg chg="add mod">
          <ac:chgData name="Paul Astle" userId="e7d3d11a-a38f-4880-a499-497e6159e966" providerId="ADAL" clId="{8D21D9CD-C6EA-437B-96E4-58387E9E4340}" dt="2024-08-30T14:43:26.104" v="3593" actId="207"/>
          <ac:grpSpMkLst>
            <pc:docMk/>
            <pc:sldMk cId="2694867906" sldId="2147480697"/>
            <ac:grpSpMk id="8" creationId="{F84ECC97-BD3D-6318-625E-6F7766521E81}"/>
          </ac:grpSpMkLst>
        </pc:grpChg>
        <pc:grpChg chg="add mod">
          <ac:chgData name="Paul Astle" userId="e7d3d11a-a38f-4880-a499-497e6159e966" providerId="ADAL" clId="{8D21D9CD-C6EA-437B-96E4-58387E9E4340}" dt="2024-08-30T14:44:17.172" v="3601" actId="207"/>
          <ac:grpSpMkLst>
            <pc:docMk/>
            <pc:sldMk cId="2694867906" sldId="2147480697"/>
            <ac:grpSpMk id="9" creationId="{7472D574-CBCC-541D-67EE-1B9E9D27B320}"/>
          </ac:grpSpMkLst>
        </pc:grpChg>
        <pc:grpChg chg="del">
          <ac:chgData name="Paul Astle" userId="e7d3d11a-a38f-4880-a499-497e6159e966" providerId="ADAL" clId="{8D21D9CD-C6EA-437B-96E4-58387E9E4340}" dt="2024-08-30T14:55:30.051" v="3685" actId="478"/>
          <ac:grpSpMkLst>
            <pc:docMk/>
            <pc:sldMk cId="2694867906" sldId="2147480697"/>
            <ac:grpSpMk id="12" creationId="{73D7C46B-6923-709A-779E-9E16BCEF0F48}"/>
          </ac:grpSpMkLst>
        </pc:grpChg>
        <pc:grpChg chg="add mod">
          <ac:chgData name="Paul Astle" userId="e7d3d11a-a38f-4880-a499-497e6159e966" providerId="ADAL" clId="{8D21D9CD-C6EA-437B-96E4-58387E9E4340}" dt="2024-08-30T14:45:18.915" v="3608" actId="1076"/>
          <ac:grpSpMkLst>
            <pc:docMk/>
            <pc:sldMk cId="2694867906" sldId="2147480697"/>
            <ac:grpSpMk id="13" creationId="{635DBBC6-A45E-39C4-7028-F1B6B1D84E0F}"/>
          </ac:grpSpMkLst>
        </pc:grpChg>
        <pc:grpChg chg="mod">
          <ac:chgData name="Paul Astle" userId="e7d3d11a-a38f-4880-a499-497e6159e966" providerId="ADAL" clId="{8D21D9CD-C6EA-437B-96E4-58387E9E4340}" dt="2024-08-30T14:40:26.232" v="3577" actId="207"/>
          <ac:grpSpMkLst>
            <pc:docMk/>
            <pc:sldMk cId="2694867906" sldId="2147480697"/>
            <ac:grpSpMk id="14" creationId="{A42650F5-00D0-9340-E518-8F866A0F07A8}"/>
          </ac:grpSpMkLst>
        </pc:grpChg>
        <pc:grpChg chg="mod">
          <ac:chgData name="Paul Astle" userId="e7d3d11a-a38f-4880-a499-497e6159e966" providerId="ADAL" clId="{8D21D9CD-C6EA-437B-96E4-58387E9E4340}" dt="2024-08-30T14:41:40.944" v="3586" actId="207"/>
          <ac:grpSpMkLst>
            <pc:docMk/>
            <pc:sldMk cId="2694867906" sldId="2147480697"/>
            <ac:grpSpMk id="18" creationId="{519BE161-DD7B-B6C9-4BE8-B9CCCB6CADE6}"/>
          </ac:grpSpMkLst>
        </pc:grpChg>
        <pc:grpChg chg="mod">
          <ac:chgData name="Paul Astle" userId="e7d3d11a-a38f-4880-a499-497e6159e966" providerId="ADAL" clId="{8D21D9CD-C6EA-437B-96E4-58387E9E4340}" dt="2024-08-30T14:43:26.104" v="3593" actId="207"/>
          <ac:grpSpMkLst>
            <pc:docMk/>
            <pc:sldMk cId="2694867906" sldId="2147480697"/>
            <ac:grpSpMk id="43" creationId="{42C0F052-FCD0-DAE0-9815-2F02AD12973E}"/>
          </ac:grpSpMkLst>
        </pc:grpChg>
        <pc:grpChg chg="add mod">
          <ac:chgData name="Paul Astle" userId="e7d3d11a-a38f-4880-a499-497e6159e966" providerId="ADAL" clId="{8D21D9CD-C6EA-437B-96E4-58387E9E4340}" dt="2024-08-30T14:55:36.141" v="3686"/>
          <ac:grpSpMkLst>
            <pc:docMk/>
            <pc:sldMk cId="2694867906" sldId="2147480697"/>
            <ac:grpSpMk id="77" creationId="{CEC3121C-B574-DA2B-649B-FF2A6808E916}"/>
          </ac:grpSpMkLst>
        </pc:grpChg>
        <pc:grpChg chg="mod">
          <ac:chgData name="Paul Astle" userId="e7d3d11a-a38f-4880-a499-497e6159e966" providerId="ADAL" clId="{8D21D9CD-C6EA-437B-96E4-58387E9E4340}" dt="2024-08-30T14:55:36.141" v="3686"/>
          <ac:grpSpMkLst>
            <pc:docMk/>
            <pc:sldMk cId="2694867906" sldId="2147480697"/>
            <ac:grpSpMk id="78" creationId="{EF4B4C61-7EF8-BCB0-CC4C-972E989D17FD}"/>
          </ac:grpSpMkLst>
        </pc:grpChg>
        <pc:picChg chg="mod">
          <ac:chgData name="Paul Astle" userId="e7d3d11a-a38f-4880-a499-497e6159e966" providerId="ADAL" clId="{8D21D9CD-C6EA-437B-96E4-58387E9E4340}" dt="2024-08-30T14:40:32.144" v="3579" actId="692"/>
          <ac:picMkLst>
            <pc:docMk/>
            <pc:sldMk cId="2694867906" sldId="2147480697"/>
            <ac:picMk id="6" creationId="{377E55AC-9E6A-A4CB-8B77-BCB661040BDF}"/>
          </ac:picMkLst>
        </pc:picChg>
        <pc:picChg chg="mod">
          <ac:chgData name="Paul Astle" userId="e7d3d11a-a38f-4880-a499-497e6159e966" providerId="ADAL" clId="{8D21D9CD-C6EA-437B-96E4-58387E9E4340}" dt="2024-08-30T14:40:32.144" v="3579" actId="692"/>
          <ac:picMkLst>
            <pc:docMk/>
            <pc:sldMk cId="2694867906" sldId="2147480697"/>
            <ac:picMk id="10" creationId="{C06B97C2-786B-65FC-E5DE-6C4A1E97557B}"/>
          </ac:picMkLst>
        </pc:picChg>
        <pc:picChg chg="mod">
          <ac:chgData name="Paul Astle" userId="e7d3d11a-a38f-4880-a499-497e6159e966" providerId="ADAL" clId="{8D21D9CD-C6EA-437B-96E4-58387E9E4340}" dt="2024-08-30T14:41:46.381" v="3588" actId="692"/>
          <ac:picMkLst>
            <pc:docMk/>
            <pc:sldMk cId="2694867906" sldId="2147480697"/>
            <ac:picMk id="19" creationId="{8169DA6C-1E6C-2E56-4B40-CCA28C7C2517}"/>
          </ac:picMkLst>
        </pc:picChg>
        <pc:picChg chg="mod">
          <ac:chgData name="Paul Astle" userId="e7d3d11a-a38f-4880-a499-497e6159e966" providerId="ADAL" clId="{8D21D9CD-C6EA-437B-96E4-58387E9E4340}" dt="2024-08-30T14:41:46.381" v="3588" actId="692"/>
          <ac:picMkLst>
            <pc:docMk/>
            <pc:sldMk cId="2694867906" sldId="2147480697"/>
            <ac:picMk id="20" creationId="{644B5D72-FBB6-B28E-97E6-A7889D39986E}"/>
          </ac:picMkLst>
        </pc:picChg>
        <pc:picChg chg="mod">
          <ac:chgData name="Paul Astle" userId="e7d3d11a-a38f-4880-a499-497e6159e966" providerId="ADAL" clId="{8D21D9CD-C6EA-437B-96E4-58387E9E4340}" dt="2024-08-30T14:41:46.381" v="3588" actId="692"/>
          <ac:picMkLst>
            <pc:docMk/>
            <pc:sldMk cId="2694867906" sldId="2147480697"/>
            <ac:picMk id="24" creationId="{520BFC58-020B-73B5-DAF9-9ABDD09455C2}"/>
          </ac:picMkLst>
        </pc:picChg>
        <pc:picChg chg="mod">
          <ac:chgData name="Paul Astle" userId="e7d3d11a-a38f-4880-a499-497e6159e966" providerId="ADAL" clId="{8D21D9CD-C6EA-437B-96E4-58387E9E4340}" dt="2024-08-30T14:43:34.529" v="3595" actId="692"/>
          <ac:picMkLst>
            <pc:docMk/>
            <pc:sldMk cId="2694867906" sldId="2147480697"/>
            <ac:picMk id="26" creationId="{0AB7CF00-184B-4F29-3114-409E615A5529}"/>
          </ac:picMkLst>
        </pc:picChg>
        <pc:picChg chg="mod">
          <ac:chgData name="Paul Astle" userId="e7d3d11a-a38f-4880-a499-497e6159e966" providerId="ADAL" clId="{8D21D9CD-C6EA-437B-96E4-58387E9E4340}" dt="2024-08-30T14:44:22.395" v="3603" actId="692"/>
          <ac:picMkLst>
            <pc:docMk/>
            <pc:sldMk cId="2694867906" sldId="2147480697"/>
            <ac:picMk id="27" creationId="{2858020A-2B26-4623-B89D-F652A6F3CE52}"/>
          </ac:picMkLst>
        </pc:picChg>
        <pc:picChg chg="mod">
          <ac:chgData name="Paul Astle" userId="e7d3d11a-a38f-4880-a499-497e6159e966" providerId="ADAL" clId="{8D21D9CD-C6EA-437B-96E4-58387E9E4340}" dt="2024-08-30T14:41:46.381" v="3588" actId="692"/>
          <ac:picMkLst>
            <pc:docMk/>
            <pc:sldMk cId="2694867906" sldId="2147480697"/>
            <ac:picMk id="30" creationId="{1B3E0617-BD03-4551-7FCF-4DDF37136F31}"/>
          </ac:picMkLst>
        </pc:picChg>
        <pc:picChg chg="mod">
          <ac:chgData name="Paul Astle" userId="e7d3d11a-a38f-4880-a499-497e6159e966" providerId="ADAL" clId="{8D21D9CD-C6EA-437B-96E4-58387E9E4340}" dt="2024-08-30T14:43:34.529" v="3595" actId="692"/>
          <ac:picMkLst>
            <pc:docMk/>
            <pc:sldMk cId="2694867906" sldId="2147480697"/>
            <ac:picMk id="33" creationId="{871067E9-A992-0507-5A6F-5F9C45ABD514}"/>
          </ac:picMkLst>
        </pc:picChg>
        <pc:picChg chg="mod">
          <ac:chgData name="Paul Astle" userId="e7d3d11a-a38f-4880-a499-497e6159e966" providerId="ADAL" clId="{8D21D9CD-C6EA-437B-96E4-58387E9E4340}" dt="2024-08-30T14:44:22.395" v="3603" actId="692"/>
          <ac:picMkLst>
            <pc:docMk/>
            <pc:sldMk cId="2694867906" sldId="2147480697"/>
            <ac:picMk id="38" creationId="{0CC07152-7DF3-9097-E94C-3AA6B396AC1F}"/>
          </ac:picMkLst>
        </pc:picChg>
        <pc:picChg chg="mod">
          <ac:chgData name="Paul Astle" userId="e7d3d11a-a38f-4880-a499-497e6159e966" providerId="ADAL" clId="{8D21D9CD-C6EA-437B-96E4-58387E9E4340}" dt="2024-08-30T14:43:34.529" v="3595" actId="692"/>
          <ac:picMkLst>
            <pc:docMk/>
            <pc:sldMk cId="2694867906" sldId="2147480697"/>
            <ac:picMk id="42" creationId="{C5E28704-74D8-3847-49E2-0603E0504329}"/>
          </ac:picMkLst>
        </pc:picChg>
        <pc:picChg chg="mod">
          <ac:chgData name="Paul Astle" userId="e7d3d11a-a38f-4880-a499-497e6159e966" providerId="ADAL" clId="{8D21D9CD-C6EA-437B-96E4-58387E9E4340}" dt="2024-08-30T14:43:34.529" v="3595" actId="692"/>
          <ac:picMkLst>
            <pc:docMk/>
            <pc:sldMk cId="2694867906" sldId="2147480697"/>
            <ac:picMk id="44" creationId="{D3EE4918-1A44-5CBA-8CC0-9CFCAC982BC0}"/>
          </ac:picMkLst>
        </pc:picChg>
        <pc:picChg chg="mod">
          <ac:chgData name="Paul Astle" userId="e7d3d11a-a38f-4880-a499-497e6159e966" providerId="ADAL" clId="{8D21D9CD-C6EA-437B-96E4-58387E9E4340}" dt="2024-08-30T14:44:22.395" v="3603" actId="692"/>
          <ac:picMkLst>
            <pc:docMk/>
            <pc:sldMk cId="2694867906" sldId="2147480697"/>
            <ac:picMk id="55" creationId="{9B783C86-FC0A-0132-AA4D-925BE6F88A93}"/>
          </ac:picMkLst>
        </pc:picChg>
        <pc:picChg chg="mod">
          <ac:chgData name="Paul Astle" userId="e7d3d11a-a38f-4880-a499-497e6159e966" providerId="ADAL" clId="{8D21D9CD-C6EA-437B-96E4-58387E9E4340}" dt="2024-08-30T14:40:32.144" v="3579" actId="692"/>
          <ac:picMkLst>
            <pc:docMk/>
            <pc:sldMk cId="2694867906" sldId="2147480697"/>
            <ac:picMk id="58" creationId="{1FEDCA4F-CE16-40FC-B815-631310FAFC6F}"/>
          </ac:picMkLst>
        </pc:picChg>
        <pc:picChg chg="mod">
          <ac:chgData name="Paul Astle" userId="e7d3d11a-a38f-4880-a499-497e6159e966" providerId="ADAL" clId="{8D21D9CD-C6EA-437B-96E4-58387E9E4340}" dt="2024-08-30T14:55:36.141" v="3686"/>
          <ac:picMkLst>
            <pc:docMk/>
            <pc:sldMk cId="2694867906" sldId="2147480697"/>
            <ac:picMk id="81" creationId="{9A691B50-8A64-E233-2DEA-B648E001EA5D}"/>
          </ac:picMkLst>
        </pc:picChg>
        <pc:picChg chg="mod">
          <ac:chgData name="Paul Astle" userId="e7d3d11a-a38f-4880-a499-497e6159e966" providerId="ADAL" clId="{8D21D9CD-C6EA-437B-96E4-58387E9E4340}" dt="2024-08-30T14:55:36.141" v="3686"/>
          <ac:picMkLst>
            <pc:docMk/>
            <pc:sldMk cId="2694867906" sldId="2147480697"/>
            <ac:picMk id="82" creationId="{63AE4DE2-522D-7A04-2AE8-3FA93CDBD370}"/>
          </ac:picMkLst>
        </pc:picChg>
        <pc:picChg chg="mod">
          <ac:chgData name="Paul Astle" userId="e7d3d11a-a38f-4880-a499-497e6159e966" providerId="ADAL" clId="{8D21D9CD-C6EA-437B-96E4-58387E9E4340}" dt="2024-08-30T14:55:36.141" v="3686"/>
          <ac:picMkLst>
            <pc:docMk/>
            <pc:sldMk cId="2694867906" sldId="2147480697"/>
            <ac:picMk id="83" creationId="{35FDD2A9-4FBE-C55D-E8B7-8AB700F30E89}"/>
          </ac:picMkLst>
        </pc:picChg>
        <pc:picChg chg="mod">
          <ac:chgData name="Paul Astle" userId="e7d3d11a-a38f-4880-a499-497e6159e966" providerId="ADAL" clId="{8D21D9CD-C6EA-437B-96E4-58387E9E4340}" dt="2024-08-30T14:55:36.141" v="3686"/>
          <ac:picMkLst>
            <pc:docMk/>
            <pc:sldMk cId="2694867906" sldId="2147480697"/>
            <ac:picMk id="84" creationId="{0A77E299-1703-F7F5-2991-4DC996A14C60}"/>
          </ac:picMkLst>
        </pc:picChg>
        <pc:cxnChg chg="mod">
          <ac:chgData name="Paul Astle" userId="e7d3d11a-a38f-4880-a499-497e6159e966" providerId="ADAL" clId="{8D21D9CD-C6EA-437B-96E4-58387E9E4340}" dt="2024-08-30T14:45:00.293" v="3606"/>
          <ac:cxnSpMkLst>
            <pc:docMk/>
            <pc:sldMk cId="2694867906" sldId="2147480697"/>
            <ac:cxnSpMk id="15" creationId="{AA229DD9-B4AB-6383-A76A-162ED8EED05A}"/>
          </ac:cxnSpMkLst>
        </pc:cxnChg>
        <pc:cxnChg chg="mod">
          <ac:chgData name="Paul Astle" userId="e7d3d11a-a38f-4880-a499-497e6159e966" providerId="ADAL" clId="{8D21D9CD-C6EA-437B-96E4-58387E9E4340}" dt="2024-08-30T14:45:00.293" v="3606"/>
          <ac:cxnSpMkLst>
            <pc:docMk/>
            <pc:sldMk cId="2694867906" sldId="2147480697"/>
            <ac:cxnSpMk id="16" creationId="{2E9B9868-22F7-10B5-7EB4-D921CC45F0D3}"/>
          </ac:cxnSpMkLst>
        </pc:cxnChg>
        <pc:cxnChg chg="mod">
          <ac:chgData name="Paul Astle" userId="e7d3d11a-a38f-4880-a499-497e6159e966" providerId="ADAL" clId="{8D21D9CD-C6EA-437B-96E4-58387E9E4340}" dt="2024-08-30T14:45:00.293" v="3606"/>
          <ac:cxnSpMkLst>
            <pc:docMk/>
            <pc:sldMk cId="2694867906" sldId="2147480697"/>
            <ac:cxnSpMk id="17" creationId="{5E9BBD5C-D31B-7124-77E8-94F58569E9CA}"/>
          </ac:cxnSpMkLst>
        </pc:cxnChg>
        <pc:cxnChg chg="mod">
          <ac:chgData name="Paul Astle" userId="e7d3d11a-a38f-4880-a499-497e6159e966" providerId="ADAL" clId="{8D21D9CD-C6EA-437B-96E4-58387E9E4340}" dt="2024-08-30T14:45:00.293" v="3606"/>
          <ac:cxnSpMkLst>
            <pc:docMk/>
            <pc:sldMk cId="2694867906" sldId="2147480697"/>
            <ac:cxnSpMk id="23" creationId="{23DDDC29-D89D-2C88-7442-7118E8B51B95}"/>
          </ac:cxnSpMkLst>
        </pc:cxnChg>
        <pc:cxnChg chg="mod">
          <ac:chgData name="Paul Astle" userId="e7d3d11a-a38f-4880-a499-497e6159e966" providerId="ADAL" clId="{8D21D9CD-C6EA-437B-96E4-58387E9E4340}" dt="2024-08-30T14:45:00.293" v="3606"/>
          <ac:cxnSpMkLst>
            <pc:docMk/>
            <pc:sldMk cId="2694867906" sldId="2147480697"/>
            <ac:cxnSpMk id="28" creationId="{E4EF3CC8-FAC1-9F45-1EBB-A1E690747955}"/>
          </ac:cxnSpMkLst>
        </pc:cxnChg>
        <pc:cxnChg chg="mod">
          <ac:chgData name="Paul Astle" userId="e7d3d11a-a38f-4880-a499-497e6159e966" providerId="ADAL" clId="{8D21D9CD-C6EA-437B-96E4-58387E9E4340}" dt="2024-08-30T14:46:29.951" v="3616" actId="14100"/>
          <ac:cxnSpMkLst>
            <pc:docMk/>
            <pc:sldMk cId="2694867906" sldId="2147480697"/>
            <ac:cxnSpMk id="29" creationId="{B2181D4B-E811-702D-14F5-0B0D98A3D161}"/>
          </ac:cxnSpMkLst>
        </pc:cxnChg>
        <pc:cxnChg chg="mod">
          <ac:chgData name="Paul Astle" userId="e7d3d11a-a38f-4880-a499-497e6159e966" providerId="ADAL" clId="{8D21D9CD-C6EA-437B-96E4-58387E9E4340}" dt="2024-08-30T14:46:25.596" v="3615" actId="14100"/>
          <ac:cxnSpMkLst>
            <pc:docMk/>
            <pc:sldMk cId="2694867906" sldId="2147480697"/>
            <ac:cxnSpMk id="31" creationId="{3B2571BA-6D8C-5349-6094-BF53EE346E8E}"/>
          </ac:cxnSpMkLst>
        </pc:cxnChg>
        <pc:cxnChg chg="mod">
          <ac:chgData name="Paul Astle" userId="e7d3d11a-a38f-4880-a499-497e6159e966" providerId="ADAL" clId="{8D21D9CD-C6EA-437B-96E4-58387E9E4340}" dt="2024-08-30T14:46:41.572" v="3618" actId="14100"/>
          <ac:cxnSpMkLst>
            <pc:docMk/>
            <pc:sldMk cId="2694867906" sldId="2147480697"/>
            <ac:cxnSpMk id="36" creationId="{772A733E-42EE-C680-C678-BC83E45C07F5}"/>
          </ac:cxnSpMkLst>
        </pc:cxnChg>
        <pc:cxnChg chg="mod">
          <ac:chgData name="Paul Astle" userId="e7d3d11a-a38f-4880-a499-497e6159e966" providerId="ADAL" clId="{8D21D9CD-C6EA-437B-96E4-58387E9E4340}" dt="2024-08-30T14:45:00.293" v="3606"/>
          <ac:cxnSpMkLst>
            <pc:docMk/>
            <pc:sldMk cId="2694867906" sldId="2147480697"/>
            <ac:cxnSpMk id="39" creationId="{B7E5BBA7-F836-30BC-6FEB-56B0AF7CF584}"/>
          </ac:cxnSpMkLst>
        </pc:cxnChg>
        <pc:cxnChg chg="mod">
          <ac:chgData name="Paul Astle" userId="e7d3d11a-a38f-4880-a499-497e6159e966" providerId="ADAL" clId="{8D21D9CD-C6EA-437B-96E4-58387E9E4340}" dt="2024-08-30T14:45:00.293" v="3606"/>
          <ac:cxnSpMkLst>
            <pc:docMk/>
            <pc:sldMk cId="2694867906" sldId="2147480697"/>
            <ac:cxnSpMk id="40" creationId="{901CCC5B-A87E-C617-018F-C8283FEE530C}"/>
          </ac:cxnSpMkLst>
        </pc:cxnChg>
        <pc:cxnChg chg="mod">
          <ac:chgData name="Paul Astle" userId="e7d3d11a-a38f-4880-a499-497e6159e966" providerId="ADAL" clId="{8D21D9CD-C6EA-437B-96E4-58387E9E4340}" dt="2024-08-30T14:45:00.293" v="3606"/>
          <ac:cxnSpMkLst>
            <pc:docMk/>
            <pc:sldMk cId="2694867906" sldId="2147480697"/>
            <ac:cxnSpMk id="41" creationId="{8D9F5DEF-37BD-10F7-E6E3-251394058EF8}"/>
          </ac:cxnSpMkLst>
        </pc:cxnChg>
        <pc:cxnChg chg="mod">
          <ac:chgData name="Paul Astle" userId="e7d3d11a-a38f-4880-a499-497e6159e966" providerId="ADAL" clId="{8D21D9CD-C6EA-437B-96E4-58387E9E4340}" dt="2024-08-30T14:40:32.144" v="3579" actId="692"/>
          <ac:cxnSpMkLst>
            <pc:docMk/>
            <pc:sldMk cId="2694867906" sldId="2147480697"/>
            <ac:cxnSpMk id="59" creationId="{6A63B6BC-0F2A-ABCE-7636-97EE4586E90A}"/>
          </ac:cxnSpMkLst>
        </pc:cxnChg>
        <pc:cxnChg chg="mod">
          <ac:chgData name="Paul Astle" userId="e7d3d11a-a38f-4880-a499-497e6159e966" providerId="ADAL" clId="{8D21D9CD-C6EA-437B-96E4-58387E9E4340}" dt="2024-08-30T14:46:37.498" v="3617" actId="14100"/>
          <ac:cxnSpMkLst>
            <pc:docMk/>
            <pc:sldMk cId="2694867906" sldId="2147480697"/>
            <ac:cxnSpMk id="60" creationId="{B6C1CC03-6311-3989-24F5-CF177691E67F}"/>
          </ac:cxnSpMkLst>
        </pc:cxnChg>
        <pc:cxnChg chg="add mod">
          <ac:chgData name="Paul Astle" userId="e7d3d11a-a38f-4880-a499-497e6159e966" providerId="ADAL" clId="{8D21D9CD-C6EA-437B-96E4-58387E9E4340}" dt="2024-08-30T14:47:41.139" v="3640" actId="692"/>
          <ac:cxnSpMkLst>
            <pc:docMk/>
            <pc:sldMk cId="2694867906" sldId="2147480697"/>
            <ac:cxnSpMk id="61" creationId="{942ECF29-99D7-6B86-FA0A-22F8CCEBC62F}"/>
          </ac:cxnSpMkLst>
        </pc:cxnChg>
        <pc:cxnChg chg="mod">
          <ac:chgData name="Paul Astle" userId="e7d3d11a-a38f-4880-a499-497e6159e966" providerId="ADAL" clId="{8D21D9CD-C6EA-437B-96E4-58387E9E4340}" dt="2024-08-30T14:40:32.144" v="3579" actId="692"/>
          <ac:cxnSpMkLst>
            <pc:docMk/>
            <pc:sldMk cId="2694867906" sldId="2147480697"/>
            <ac:cxnSpMk id="62" creationId="{E2850E38-2885-DB74-392F-51B1F25556C7}"/>
          </ac:cxnSpMkLst>
        </pc:cxnChg>
        <pc:cxnChg chg="add mod">
          <ac:chgData name="Paul Astle" userId="e7d3d11a-a38f-4880-a499-497e6159e966" providerId="ADAL" clId="{8D21D9CD-C6EA-437B-96E4-58387E9E4340}" dt="2024-08-30T14:47:41.139" v="3640" actId="692"/>
          <ac:cxnSpMkLst>
            <pc:docMk/>
            <pc:sldMk cId="2694867906" sldId="2147480697"/>
            <ac:cxnSpMk id="64" creationId="{00EBDCF7-11B1-D253-007E-F09BA786A351}"/>
          </ac:cxnSpMkLst>
        </pc:cxnChg>
        <pc:cxnChg chg="mod">
          <ac:chgData name="Paul Astle" userId="e7d3d11a-a38f-4880-a499-497e6159e966" providerId="ADAL" clId="{8D21D9CD-C6EA-437B-96E4-58387E9E4340}" dt="2024-08-30T14:41:46.381" v="3588" actId="692"/>
          <ac:cxnSpMkLst>
            <pc:docMk/>
            <pc:sldMk cId="2694867906" sldId="2147480697"/>
            <ac:cxnSpMk id="65" creationId="{BB18BD49-9447-9690-221C-D705F1609F44}"/>
          </ac:cxnSpMkLst>
        </pc:cxnChg>
        <pc:cxnChg chg="add mod">
          <ac:chgData name="Paul Astle" userId="e7d3d11a-a38f-4880-a499-497e6159e966" providerId="ADAL" clId="{8D21D9CD-C6EA-437B-96E4-58387E9E4340}" dt="2024-08-30T14:47:41.139" v="3640" actId="692"/>
          <ac:cxnSpMkLst>
            <pc:docMk/>
            <pc:sldMk cId="2694867906" sldId="2147480697"/>
            <ac:cxnSpMk id="66" creationId="{29753843-A5DE-2FE9-FB55-244965CAA04A}"/>
          </ac:cxnSpMkLst>
        </pc:cxnChg>
        <pc:cxnChg chg="mod">
          <ac:chgData name="Paul Astle" userId="e7d3d11a-a38f-4880-a499-497e6159e966" providerId="ADAL" clId="{8D21D9CD-C6EA-437B-96E4-58387E9E4340}" dt="2024-08-30T14:41:46.381" v="3588" actId="692"/>
          <ac:cxnSpMkLst>
            <pc:docMk/>
            <pc:sldMk cId="2694867906" sldId="2147480697"/>
            <ac:cxnSpMk id="67" creationId="{2CC7CE54-2A80-EEED-7A8C-DDE38B3D2712}"/>
          </ac:cxnSpMkLst>
        </pc:cxnChg>
        <pc:cxnChg chg="add mod">
          <ac:chgData name="Paul Astle" userId="e7d3d11a-a38f-4880-a499-497e6159e966" providerId="ADAL" clId="{8D21D9CD-C6EA-437B-96E4-58387E9E4340}" dt="2024-08-30T14:47:41.139" v="3640" actId="692"/>
          <ac:cxnSpMkLst>
            <pc:docMk/>
            <pc:sldMk cId="2694867906" sldId="2147480697"/>
            <ac:cxnSpMk id="68" creationId="{D1789430-9FFE-E004-1099-806E3387A24E}"/>
          </ac:cxnSpMkLst>
        </pc:cxnChg>
        <pc:cxnChg chg="mod">
          <ac:chgData name="Paul Astle" userId="e7d3d11a-a38f-4880-a499-497e6159e966" providerId="ADAL" clId="{8D21D9CD-C6EA-437B-96E4-58387E9E4340}" dt="2024-08-30T14:41:46.381" v="3588" actId="692"/>
          <ac:cxnSpMkLst>
            <pc:docMk/>
            <pc:sldMk cId="2694867906" sldId="2147480697"/>
            <ac:cxnSpMk id="70" creationId="{DBBE75CE-0CCC-4217-DBBC-18F79505A2CD}"/>
          </ac:cxnSpMkLst>
        </pc:cxnChg>
        <pc:cxnChg chg="add mod">
          <ac:chgData name="Paul Astle" userId="e7d3d11a-a38f-4880-a499-497e6159e966" providerId="ADAL" clId="{8D21D9CD-C6EA-437B-96E4-58387E9E4340}" dt="2024-08-30T14:47:33.032" v="3637" actId="692"/>
          <ac:cxnSpMkLst>
            <pc:docMk/>
            <pc:sldMk cId="2694867906" sldId="2147480697"/>
            <ac:cxnSpMk id="71" creationId="{21D2B219-41F3-4BEE-884B-6FFC1B1D897C}"/>
          </ac:cxnSpMkLst>
        </pc:cxnChg>
        <pc:cxnChg chg="add mod">
          <ac:chgData name="Paul Astle" userId="e7d3d11a-a38f-4880-a499-497e6159e966" providerId="ADAL" clId="{8D21D9CD-C6EA-437B-96E4-58387E9E4340}" dt="2024-08-30T14:47:33.032" v="3637" actId="692"/>
          <ac:cxnSpMkLst>
            <pc:docMk/>
            <pc:sldMk cId="2694867906" sldId="2147480697"/>
            <ac:cxnSpMk id="72" creationId="{E1538969-389D-EBB5-BCC9-6B793BBA607F}"/>
          </ac:cxnSpMkLst>
        </pc:cxnChg>
        <pc:cxnChg chg="mod">
          <ac:chgData name="Paul Astle" userId="e7d3d11a-a38f-4880-a499-497e6159e966" providerId="ADAL" clId="{8D21D9CD-C6EA-437B-96E4-58387E9E4340}" dt="2024-08-30T14:43:34.529" v="3595" actId="692"/>
          <ac:cxnSpMkLst>
            <pc:docMk/>
            <pc:sldMk cId="2694867906" sldId="2147480697"/>
            <ac:cxnSpMk id="73" creationId="{049DD6E8-391A-6473-3440-64BF13DF09E4}"/>
          </ac:cxnSpMkLst>
        </pc:cxnChg>
        <pc:cxnChg chg="mod">
          <ac:chgData name="Paul Astle" userId="e7d3d11a-a38f-4880-a499-497e6159e966" providerId="ADAL" clId="{8D21D9CD-C6EA-437B-96E4-58387E9E4340}" dt="2024-08-30T14:43:34.529" v="3595" actId="692"/>
          <ac:cxnSpMkLst>
            <pc:docMk/>
            <pc:sldMk cId="2694867906" sldId="2147480697"/>
            <ac:cxnSpMk id="74" creationId="{41E167AE-FF4F-6855-C1F8-4FF8CB4C167C}"/>
          </ac:cxnSpMkLst>
        </pc:cxnChg>
        <pc:cxnChg chg="add mod">
          <ac:chgData name="Paul Astle" userId="e7d3d11a-a38f-4880-a499-497e6159e966" providerId="ADAL" clId="{8D21D9CD-C6EA-437B-96E4-58387E9E4340}" dt="2024-08-30T14:47:33.032" v="3637" actId="692"/>
          <ac:cxnSpMkLst>
            <pc:docMk/>
            <pc:sldMk cId="2694867906" sldId="2147480697"/>
            <ac:cxnSpMk id="75" creationId="{26AA4467-302B-6AC1-54E3-196D86DEFF09}"/>
          </ac:cxnSpMkLst>
        </pc:cxnChg>
        <pc:cxnChg chg="add mod">
          <ac:chgData name="Paul Astle" userId="e7d3d11a-a38f-4880-a499-497e6159e966" providerId="ADAL" clId="{8D21D9CD-C6EA-437B-96E4-58387E9E4340}" dt="2024-08-30T14:47:33.032" v="3637" actId="692"/>
          <ac:cxnSpMkLst>
            <pc:docMk/>
            <pc:sldMk cId="2694867906" sldId="2147480697"/>
            <ac:cxnSpMk id="76" creationId="{482CF1F9-A64D-A83B-BCBB-70A6DA97A191}"/>
          </ac:cxnSpMkLst>
        </pc:cxnChg>
        <pc:cxnChg chg="mod">
          <ac:chgData name="Paul Astle" userId="e7d3d11a-a38f-4880-a499-497e6159e966" providerId="ADAL" clId="{8D21D9CD-C6EA-437B-96E4-58387E9E4340}" dt="2024-08-30T14:43:34.529" v="3595" actId="692"/>
          <ac:cxnSpMkLst>
            <pc:docMk/>
            <pc:sldMk cId="2694867906" sldId="2147480697"/>
            <ac:cxnSpMk id="80" creationId="{7871A109-272B-E384-9FB3-A2796AE9DB65}"/>
          </ac:cxnSpMkLst>
        </pc:cxnChg>
        <pc:cxnChg chg="mod">
          <ac:chgData name="Paul Astle" userId="e7d3d11a-a38f-4880-a499-497e6159e966" providerId="ADAL" clId="{8D21D9CD-C6EA-437B-96E4-58387E9E4340}" dt="2024-08-30T14:44:22.395" v="3603" actId="692"/>
          <ac:cxnSpMkLst>
            <pc:docMk/>
            <pc:sldMk cId="2694867906" sldId="2147480697"/>
            <ac:cxnSpMk id="86" creationId="{5D38D137-BAE5-B538-10FD-DA5CAE5A1EEA}"/>
          </ac:cxnSpMkLst>
        </pc:cxnChg>
        <pc:cxnChg chg="mod">
          <ac:chgData name="Paul Astle" userId="e7d3d11a-a38f-4880-a499-497e6159e966" providerId="ADAL" clId="{8D21D9CD-C6EA-437B-96E4-58387E9E4340}" dt="2024-08-30T14:44:22.395" v="3603" actId="692"/>
          <ac:cxnSpMkLst>
            <pc:docMk/>
            <pc:sldMk cId="2694867906" sldId="2147480697"/>
            <ac:cxnSpMk id="88" creationId="{26358D3C-4724-FEE1-F9F0-2D8EF01F6FB5}"/>
          </ac:cxnSpMkLst>
        </pc:cxnChg>
      </pc:sldChg>
      <pc:sldChg chg="addSp delSp modSp add mod ord modTransition">
        <pc:chgData name="Paul Astle" userId="e7d3d11a-a38f-4880-a499-497e6159e966" providerId="ADAL" clId="{8D21D9CD-C6EA-437B-96E4-58387E9E4340}" dt="2024-08-30T14:56:14.919" v="3695"/>
        <pc:sldMkLst>
          <pc:docMk/>
          <pc:sldMk cId="1051060535" sldId="2147480698"/>
        </pc:sldMkLst>
        <pc:spChg chg="mod">
          <ac:chgData name="Paul Astle" userId="e7d3d11a-a38f-4880-a499-497e6159e966" providerId="ADAL" clId="{8D21D9CD-C6EA-437B-96E4-58387E9E4340}" dt="2024-08-30T14:55:06.855" v="3681"/>
          <ac:spMkLst>
            <pc:docMk/>
            <pc:sldMk cId="1051060535" sldId="2147480698"/>
            <ac:spMk id="50" creationId="{A921D9A4-E5CA-8324-3AE7-AFE7CC6CE1F5}"/>
          </ac:spMkLst>
        </pc:spChg>
        <pc:grpChg chg="del">
          <ac:chgData name="Paul Astle" userId="e7d3d11a-a38f-4880-a499-497e6159e966" providerId="ADAL" clId="{8D21D9CD-C6EA-437B-96E4-58387E9E4340}" dt="2024-08-30T14:55:16.263" v="3683" actId="478"/>
          <ac:grpSpMkLst>
            <pc:docMk/>
            <pc:sldMk cId="1051060535" sldId="2147480698"/>
            <ac:grpSpMk id="12" creationId="{73D7C46B-6923-709A-779E-9E16BCEF0F48}"/>
          </ac:grpSpMkLst>
        </pc:grpChg>
        <pc:grpChg chg="del">
          <ac:chgData name="Paul Astle" userId="e7d3d11a-a38f-4880-a499-497e6159e966" providerId="ADAL" clId="{8D21D9CD-C6EA-437B-96E4-58387E9E4340}" dt="2024-08-30T14:48:05.327" v="3643" actId="478"/>
          <ac:grpSpMkLst>
            <pc:docMk/>
            <pc:sldMk cId="1051060535" sldId="2147480698"/>
            <ac:grpSpMk id="13" creationId="{635DBBC6-A45E-39C4-7028-F1B6B1D84E0F}"/>
          </ac:grpSpMkLst>
        </pc:grpChg>
        <pc:grpChg chg="add mod">
          <ac:chgData name="Paul Astle" userId="e7d3d11a-a38f-4880-a499-497e6159e966" providerId="ADAL" clId="{8D21D9CD-C6EA-437B-96E4-58387E9E4340}" dt="2024-08-30T14:55:21.499" v="3684" actId="1076"/>
          <ac:grpSpMkLst>
            <pc:docMk/>
            <pc:sldMk cId="1051060535" sldId="2147480698"/>
            <ac:grpSpMk id="47" creationId="{E35D3ACA-46DF-1E06-2A51-3FC7B7F3DB8D}"/>
          </ac:grpSpMkLst>
        </pc:grpChg>
        <pc:grpChg chg="mod">
          <ac:chgData name="Paul Astle" userId="e7d3d11a-a38f-4880-a499-497e6159e966" providerId="ADAL" clId="{8D21D9CD-C6EA-437B-96E4-58387E9E4340}" dt="2024-08-30T14:55:06.855" v="3681"/>
          <ac:grpSpMkLst>
            <pc:docMk/>
            <pc:sldMk cId="1051060535" sldId="2147480698"/>
            <ac:grpSpMk id="49" creationId="{5BBCA314-12C2-0D1A-45C9-838B92CA56A9}"/>
          </ac:grpSpMkLst>
        </pc:grpChg>
        <pc:picChg chg="mod">
          <ac:chgData name="Paul Astle" userId="e7d3d11a-a38f-4880-a499-497e6159e966" providerId="ADAL" clId="{8D21D9CD-C6EA-437B-96E4-58387E9E4340}" dt="2024-08-30T14:55:06.855" v="3681"/>
          <ac:picMkLst>
            <pc:docMk/>
            <pc:sldMk cId="1051060535" sldId="2147480698"/>
            <ac:picMk id="53" creationId="{7A07BD7B-0336-D8B1-30EF-292A1BD728A5}"/>
          </ac:picMkLst>
        </pc:picChg>
        <pc:picChg chg="mod">
          <ac:chgData name="Paul Astle" userId="e7d3d11a-a38f-4880-a499-497e6159e966" providerId="ADAL" clId="{8D21D9CD-C6EA-437B-96E4-58387E9E4340}" dt="2024-08-30T14:55:06.855" v="3681"/>
          <ac:picMkLst>
            <pc:docMk/>
            <pc:sldMk cId="1051060535" sldId="2147480698"/>
            <ac:picMk id="54" creationId="{CDFD9E98-0462-8984-5662-3E253D23137D}"/>
          </ac:picMkLst>
        </pc:picChg>
        <pc:picChg chg="mod">
          <ac:chgData name="Paul Astle" userId="e7d3d11a-a38f-4880-a499-497e6159e966" providerId="ADAL" clId="{8D21D9CD-C6EA-437B-96E4-58387E9E4340}" dt="2024-08-30T14:55:06.855" v="3681"/>
          <ac:picMkLst>
            <pc:docMk/>
            <pc:sldMk cId="1051060535" sldId="2147480698"/>
            <ac:picMk id="57" creationId="{BADC7E4E-5406-190D-FE1B-A88BFE2BFA49}"/>
          </ac:picMkLst>
        </pc:picChg>
        <pc:picChg chg="mod">
          <ac:chgData name="Paul Astle" userId="e7d3d11a-a38f-4880-a499-497e6159e966" providerId="ADAL" clId="{8D21D9CD-C6EA-437B-96E4-58387E9E4340}" dt="2024-08-30T14:55:06.855" v="3681"/>
          <ac:picMkLst>
            <pc:docMk/>
            <pc:sldMk cId="1051060535" sldId="2147480698"/>
            <ac:picMk id="61" creationId="{A25FC6A9-9872-DBE8-4640-429FAC83FD3C}"/>
          </ac:picMkLst>
        </pc:picChg>
      </pc:sldChg>
      <pc:sldChg chg="addSp delSp modSp new mod modTransition">
        <pc:chgData name="Paul Astle" userId="e7d3d11a-a38f-4880-a499-497e6159e966" providerId="ADAL" clId="{8D21D9CD-C6EA-437B-96E4-58387E9E4340}" dt="2024-08-30T21:33:31.113" v="3942"/>
        <pc:sldMkLst>
          <pc:docMk/>
          <pc:sldMk cId="2100271150" sldId="2147480699"/>
        </pc:sldMkLst>
        <pc:spChg chg="add mod">
          <ac:chgData name="Paul Astle" userId="e7d3d11a-a38f-4880-a499-497e6159e966" providerId="ADAL" clId="{8D21D9CD-C6EA-437B-96E4-58387E9E4340}" dt="2024-08-30T21:15:30.744" v="3880" actId="1076"/>
          <ac:spMkLst>
            <pc:docMk/>
            <pc:sldMk cId="2100271150" sldId="2147480699"/>
            <ac:spMk id="5" creationId="{EF19D87D-7C20-765A-3C14-E9DD998CA60F}"/>
          </ac:spMkLst>
        </pc:spChg>
        <pc:spChg chg="add mod">
          <ac:chgData name="Paul Astle" userId="e7d3d11a-a38f-4880-a499-497e6159e966" providerId="ADAL" clId="{8D21D9CD-C6EA-437B-96E4-58387E9E4340}" dt="2024-08-30T21:15:03.557" v="3878" actId="1076"/>
          <ac:spMkLst>
            <pc:docMk/>
            <pc:sldMk cId="2100271150" sldId="2147480699"/>
            <ac:spMk id="8" creationId="{DAE97BAC-9984-AA54-9D8E-806548E0C237}"/>
          </ac:spMkLst>
        </pc:spChg>
        <pc:picChg chg="add mod modCrop">
          <ac:chgData name="Paul Astle" userId="e7d3d11a-a38f-4880-a499-497e6159e966" providerId="ADAL" clId="{8D21D9CD-C6EA-437B-96E4-58387E9E4340}" dt="2024-08-30T15:17:54.964" v="3706" actId="732"/>
          <ac:picMkLst>
            <pc:docMk/>
            <pc:sldMk cId="2100271150" sldId="2147480699"/>
            <ac:picMk id="4" creationId="{B978374D-5C9A-7935-E95C-9FB39859D228}"/>
          </ac:picMkLst>
        </pc:picChg>
        <pc:picChg chg="add del">
          <ac:chgData name="Paul Astle" userId="e7d3d11a-a38f-4880-a499-497e6159e966" providerId="ADAL" clId="{8D21D9CD-C6EA-437B-96E4-58387E9E4340}" dt="2024-08-30T15:31:56.801" v="3854" actId="22"/>
          <ac:picMkLst>
            <pc:docMk/>
            <pc:sldMk cId="2100271150" sldId="2147480699"/>
            <ac:picMk id="7" creationId="{25CADE7D-D013-0BA7-E419-77D7962650F1}"/>
          </ac:picMkLst>
        </pc:picChg>
      </pc:sldChg>
      <pc:sldMasterChg chg="delSldLayout">
        <pc:chgData name="Paul Astle" userId="e7d3d11a-a38f-4880-a499-497e6159e966" providerId="ADAL" clId="{8D21D9CD-C6EA-437B-96E4-58387E9E4340}" dt="2024-08-29T20:10:19.776" v="1393" actId="47"/>
        <pc:sldMasterMkLst>
          <pc:docMk/>
          <pc:sldMasterMk cId="180999990" sldId="2147483648"/>
        </pc:sldMasterMkLst>
        <pc:sldLayoutChg chg="del">
          <pc:chgData name="Paul Astle" userId="e7d3d11a-a38f-4880-a499-497e6159e966" providerId="ADAL" clId="{8D21D9CD-C6EA-437B-96E4-58387E9E4340}" dt="2024-08-29T20:10:19.776" v="1393" actId="47"/>
          <pc:sldLayoutMkLst>
            <pc:docMk/>
            <pc:sldMasterMk cId="180999990" sldId="2147483648"/>
            <pc:sldLayoutMk cId="3889097981" sldId="2147483777"/>
          </pc:sldLayoutMkLst>
        </pc:sldLayoutChg>
      </pc:sldMasterChg>
    </pc:docChg>
  </pc:docChgLst>
  <pc:docChgLst>
    <pc:chgData name="Andreas Sørensen" userId="9eb534fe-c0aa-4bc0-9975-c3800bc5cc37" providerId="ADAL" clId="{59523D37-4E8D-463F-A76D-E8E2171E9EFA}"/>
    <pc:docChg chg="undo custSel addSld delSld modSld delSection modSection">
      <pc:chgData name="Andreas Sørensen" userId="9eb534fe-c0aa-4bc0-9975-c3800bc5cc37" providerId="ADAL" clId="{59523D37-4E8D-463F-A76D-E8E2171E9EFA}" dt="2024-09-17T14:35:19.103" v="557" actId="47"/>
      <pc:docMkLst>
        <pc:docMk/>
      </pc:docMkLst>
      <pc:sldChg chg="del">
        <pc:chgData name="Andreas Sørensen" userId="9eb534fe-c0aa-4bc0-9975-c3800bc5cc37" providerId="ADAL" clId="{59523D37-4E8D-463F-A76D-E8E2171E9EFA}" dt="2024-09-17T07:37:35.892" v="531" actId="47"/>
        <pc:sldMkLst>
          <pc:docMk/>
          <pc:sldMk cId="2356264556" sldId="262"/>
        </pc:sldMkLst>
      </pc:sldChg>
      <pc:sldChg chg="del">
        <pc:chgData name="Andreas Sørensen" userId="9eb534fe-c0aa-4bc0-9975-c3800bc5cc37" providerId="ADAL" clId="{59523D37-4E8D-463F-A76D-E8E2171E9EFA}" dt="2024-09-17T07:22:00.602" v="418" actId="47"/>
        <pc:sldMkLst>
          <pc:docMk/>
          <pc:sldMk cId="2370865088" sldId="2146848162"/>
        </pc:sldMkLst>
      </pc:sldChg>
      <pc:sldChg chg="addSp delSp modSp mod modTransition">
        <pc:chgData name="Andreas Sørensen" userId="9eb534fe-c0aa-4bc0-9975-c3800bc5cc37" providerId="ADAL" clId="{59523D37-4E8D-463F-A76D-E8E2171E9EFA}" dt="2024-09-17T07:42:02.417" v="537"/>
        <pc:sldMkLst>
          <pc:docMk/>
          <pc:sldMk cId="3136551916" sldId="2147480661"/>
        </pc:sldMkLst>
        <pc:spChg chg="mod">
          <ac:chgData name="Andreas Sørensen" userId="9eb534fe-c0aa-4bc0-9975-c3800bc5cc37" providerId="ADAL" clId="{59523D37-4E8D-463F-A76D-E8E2171E9EFA}" dt="2024-09-17T06:53:24.366" v="53" actId="1076"/>
          <ac:spMkLst>
            <pc:docMk/>
            <pc:sldMk cId="3136551916" sldId="2147480661"/>
            <ac:spMk id="2" creationId="{61499A56-1C1D-3895-F399-D32AE57DEA00}"/>
          </ac:spMkLst>
        </pc:spChg>
        <pc:spChg chg="add del mod">
          <ac:chgData name="Andreas Sørensen" userId="9eb534fe-c0aa-4bc0-9975-c3800bc5cc37" providerId="ADAL" clId="{59523D37-4E8D-463F-A76D-E8E2171E9EFA}" dt="2024-09-17T06:53:10.764" v="45" actId="478"/>
          <ac:spMkLst>
            <pc:docMk/>
            <pc:sldMk cId="3136551916" sldId="2147480661"/>
            <ac:spMk id="5" creationId="{2D3CF817-FDCB-5F52-3FC9-BCDBB0F5BF93}"/>
          </ac:spMkLst>
        </pc:spChg>
        <pc:picChg chg="add mod">
          <ac:chgData name="Andreas Sørensen" userId="9eb534fe-c0aa-4bc0-9975-c3800bc5cc37" providerId="ADAL" clId="{59523D37-4E8D-463F-A76D-E8E2171E9EFA}" dt="2024-09-17T06:58:20.056" v="358" actId="1076"/>
          <ac:picMkLst>
            <pc:docMk/>
            <pc:sldMk cId="3136551916" sldId="2147480661"/>
            <ac:picMk id="7" creationId="{9A49B864-D4A4-C9B2-26B0-295AD7BB6392}"/>
          </ac:picMkLst>
        </pc:picChg>
        <pc:picChg chg="del">
          <ac:chgData name="Andreas Sørensen" userId="9eb534fe-c0aa-4bc0-9975-c3800bc5cc37" providerId="ADAL" clId="{59523D37-4E8D-463F-A76D-E8E2171E9EFA}" dt="2024-09-17T06:52:47.207" v="44" actId="478"/>
          <ac:picMkLst>
            <pc:docMk/>
            <pc:sldMk cId="3136551916" sldId="2147480661"/>
            <ac:picMk id="21" creationId="{CDC4BC47-8C4B-F7D6-0739-311DF4950C9C}"/>
          </ac:picMkLst>
        </pc:picChg>
      </pc:sldChg>
      <pc:sldChg chg="modSp mod modTransition">
        <pc:chgData name="Andreas Sørensen" userId="9eb534fe-c0aa-4bc0-9975-c3800bc5cc37" providerId="ADAL" clId="{59523D37-4E8D-463F-A76D-E8E2171E9EFA}" dt="2024-09-17T07:42:02.417" v="537"/>
        <pc:sldMkLst>
          <pc:docMk/>
          <pc:sldMk cId="3772919802" sldId="2147480662"/>
        </pc:sldMkLst>
        <pc:spChg chg="mod">
          <ac:chgData name="Andreas Sørensen" userId="9eb534fe-c0aa-4bc0-9975-c3800bc5cc37" providerId="ADAL" clId="{59523D37-4E8D-463F-A76D-E8E2171E9EFA}" dt="2024-09-17T06:59:29.444" v="359" actId="2711"/>
          <ac:spMkLst>
            <pc:docMk/>
            <pc:sldMk cId="3772919802" sldId="2147480662"/>
            <ac:spMk id="9" creationId="{D7917477-7549-A3A7-6B11-93B4844693FE}"/>
          </ac:spMkLst>
        </pc:spChg>
        <pc:cxnChg chg="mod">
          <ac:chgData name="Andreas Sørensen" userId="9eb534fe-c0aa-4bc0-9975-c3800bc5cc37" providerId="ADAL" clId="{59523D37-4E8D-463F-A76D-E8E2171E9EFA}" dt="2024-09-17T07:00:00.069" v="364" actId="14100"/>
          <ac:cxnSpMkLst>
            <pc:docMk/>
            <pc:sldMk cId="3772919802" sldId="2147480662"/>
            <ac:cxnSpMk id="11" creationId="{FAA0EC26-0E67-66B8-E80D-90CAF432B359}"/>
          </ac:cxnSpMkLst>
        </pc:cxnChg>
      </pc:sldChg>
      <pc:sldChg chg="modSp mod modTransition modNotesTx">
        <pc:chgData name="Andreas Sørensen" userId="9eb534fe-c0aa-4bc0-9975-c3800bc5cc37" providerId="ADAL" clId="{59523D37-4E8D-463F-A76D-E8E2171E9EFA}" dt="2024-09-17T14:20:13.715" v="540" actId="20577"/>
        <pc:sldMkLst>
          <pc:docMk/>
          <pc:sldMk cId="2160947083" sldId="2147480663"/>
        </pc:sldMkLst>
        <pc:spChg chg="mod">
          <ac:chgData name="Andreas Sørensen" userId="9eb534fe-c0aa-4bc0-9975-c3800bc5cc37" providerId="ADAL" clId="{59523D37-4E8D-463F-A76D-E8E2171E9EFA}" dt="2024-09-17T07:01:24.579" v="370" actId="1076"/>
          <ac:spMkLst>
            <pc:docMk/>
            <pc:sldMk cId="2160947083" sldId="2147480663"/>
            <ac:spMk id="6" creationId="{D4AEA326-56F0-46C3-A9CF-FA5981797A02}"/>
          </ac:spMkLst>
        </pc:spChg>
        <pc:picChg chg="mod">
          <ac:chgData name="Andreas Sørensen" userId="9eb534fe-c0aa-4bc0-9975-c3800bc5cc37" providerId="ADAL" clId="{59523D37-4E8D-463F-A76D-E8E2171E9EFA}" dt="2024-09-17T07:01:37.481" v="371" actId="1076"/>
          <ac:picMkLst>
            <pc:docMk/>
            <pc:sldMk cId="2160947083" sldId="2147480663"/>
            <ac:picMk id="23" creationId="{CC2DEB9D-6AB1-9EBF-FF17-525932B40A14}"/>
          </ac:picMkLst>
        </pc:picChg>
      </pc:sldChg>
      <pc:sldChg chg="delSp modSp mod modTransition modNotesTx">
        <pc:chgData name="Andreas Sørensen" userId="9eb534fe-c0aa-4bc0-9975-c3800bc5cc37" providerId="ADAL" clId="{59523D37-4E8D-463F-A76D-E8E2171E9EFA}" dt="2024-09-17T14:20:09.269" v="539" actId="20577"/>
        <pc:sldMkLst>
          <pc:docMk/>
          <pc:sldMk cId="851387023" sldId="2147480669"/>
        </pc:sldMkLst>
        <pc:spChg chg="del mod">
          <ac:chgData name="Andreas Sørensen" userId="9eb534fe-c0aa-4bc0-9975-c3800bc5cc37" providerId="ADAL" clId="{59523D37-4E8D-463F-A76D-E8E2171E9EFA}" dt="2024-09-17T07:39:57.362" v="536" actId="478"/>
          <ac:spMkLst>
            <pc:docMk/>
            <pc:sldMk cId="851387023" sldId="2147480669"/>
            <ac:spMk id="2" creationId="{CD01F6B8-B877-DB25-FF5A-B4893A5EC88C}"/>
          </ac:spMkLst>
        </pc:spChg>
        <pc:spChg chg="mod">
          <ac:chgData name="Andreas Sørensen" userId="9eb534fe-c0aa-4bc0-9975-c3800bc5cc37" providerId="ADAL" clId="{59523D37-4E8D-463F-A76D-E8E2171E9EFA}" dt="2024-09-17T07:00:56.651" v="367" actId="2711"/>
          <ac:spMkLst>
            <pc:docMk/>
            <pc:sldMk cId="851387023" sldId="2147480669"/>
            <ac:spMk id="15" creationId="{6436A686-FBF3-7A6F-AD23-F28CAE323AAE}"/>
          </ac:spMkLst>
        </pc:spChg>
      </pc:sldChg>
      <pc:sldChg chg="modSp mod modTransition modNotesTx">
        <pc:chgData name="Andreas Sørensen" userId="9eb534fe-c0aa-4bc0-9975-c3800bc5cc37" providerId="ADAL" clId="{59523D37-4E8D-463F-A76D-E8E2171E9EFA}" dt="2024-09-17T14:20:19.731" v="541" actId="20577"/>
        <pc:sldMkLst>
          <pc:docMk/>
          <pc:sldMk cId="3177045622" sldId="2147480671"/>
        </pc:sldMkLst>
        <pc:spChg chg="mod">
          <ac:chgData name="Andreas Sørensen" userId="9eb534fe-c0aa-4bc0-9975-c3800bc5cc37" providerId="ADAL" clId="{59523D37-4E8D-463F-A76D-E8E2171E9EFA}" dt="2024-09-17T07:17:06.791" v="379" actId="2711"/>
          <ac:spMkLst>
            <pc:docMk/>
            <pc:sldMk cId="3177045622" sldId="2147480671"/>
            <ac:spMk id="2" creationId="{189328DF-9ED4-2F13-7901-888BEEEAE48E}"/>
          </ac:spMkLst>
        </pc:spChg>
        <pc:spChg chg="mod">
          <ac:chgData name="Andreas Sørensen" userId="9eb534fe-c0aa-4bc0-9975-c3800bc5cc37" providerId="ADAL" clId="{59523D37-4E8D-463F-A76D-E8E2171E9EFA}" dt="2024-09-17T07:02:16.229" v="376" actId="2711"/>
          <ac:spMkLst>
            <pc:docMk/>
            <pc:sldMk cId="3177045622" sldId="2147480671"/>
            <ac:spMk id="3" creationId="{B8E13A34-F855-A8B5-E285-CC8BB0DED20C}"/>
          </ac:spMkLst>
        </pc:spChg>
        <pc:spChg chg="mod">
          <ac:chgData name="Andreas Sørensen" userId="9eb534fe-c0aa-4bc0-9975-c3800bc5cc37" providerId="ADAL" clId="{59523D37-4E8D-463F-A76D-E8E2171E9EFA}" dt="2024-09-17T07:18:11.367" v="390" actId="2711"/>
          <ac:spMkLst>
            <pc:docMk/>
            <pc:sldMk cId="3177045622" sldId="2147480671"/>
            <ac:spMk id="4" creationId="{9E53C6EE-0A7C-3704-72D7-6C1A5B118233}"/>
          </ac:spMkLst>
        </pc:spChg>
        <pc:spChg chg="mod">
          <ac:chgData name="Andreas Sørensen" userId="9eb534fe-c0aa-4bc0-9975-c3800bc5cc37" providerId="ADAL" clId="{59523D37-4E8D-463F-A76D-E8E2171E9EFA}" dt="2024-09-17T07:17:39.113" v="385" actId="2711"/>
          <ac:spMkLst>
            <pc:docMk/>
            <pc:sldMk cId="3177045622" sldId="2147480671"/>
            <ac:spMk id="12" creationId="{681E79EB-C12A-BFE3-02C5-A8BD3381FB0E}"/>
          </ac:spMkLst>
        </pc:spChg>
        <pc:spChg chg="mod">
          <ac:chgData name="Andreas Sørensen" userId="9eb534fe-c0aa-4bc0-9975-c3800bc5cc37" providerId="ADAL" clId="{59523D37-4E8D-463F-A76D-E8E2171E9EFA}" dt="2024-09-17T07:17:51.736" v="388" actId="2711"/>
          <ac:spMkLst>
            <pc:docMk/>
            <pc:sldMk cId="3177045622" sldId="2147480671"/>
            <ac:spMk id="13" creationId="{C949A09F-738D-D4D6-0749-72E2E2345A63}"/>
          </ac:spMkLst>
        </pc:spChg>
        <pc:spChg chg="mod">
          <ac:chgData name="Andreas Sørensen" userId="9eb534fe-c0aa-4bc0-9975-c3800bc5cc37" providerId="ADAL" clId="{59523D37-4E8D-463F-A76D-E8E2171E9EFA}" dt="2024-09-17T07:01:51.781" v="372" actId="2711"/>
          <ac:spMkLst>
            <pc:docMk/>
            <pc:sldMk cId="3177045622" sldId="2147480671"/>
            <ac:spMk id="37" creationId="{40786780-E29D-C1D4-0618-4DAB6C892900}"/>
          </ac:spMkLst>
        </pc:spChg>
        <pc:spChg chg="mod">
          <ac:chgData name="Andreas Sørensen" userId="9eb534fe-c0aa-4bc0-9975-c3800bc5cc37" providerId="ADAL" clId="{59523D37-4E8D-463F-A76D-E8E2171E9EFA}" dt="2024-09-17T07:17:18.232" v="382" actId="2711"/>
          <ac:spMkLst>
            <pc:docMk/>
            <pc:sldMk cId="3177045622" sldId="2147480671"/>
            <ac:spMk id="57" creationId="{E3B6EB5F-FFD4-20B1-DF25-A609E0B65F90}"/>
          </ac:spMkLst>
        </pc:spChg>
      </pc:sldChg>
      <pc:sldChg chg="modSp modTransition modNotesTx">
        <pc:chgData name="Andreas Sørensen" userId="9eb534fe-c0aa-4bc0-9975-c3800bc5cc37" providerId="ADAL" clId="{59523D37-4E8D-463F-A76D-E8E2171E9EFA}" dt="2024-09-17T14:20:06.683" v="538" actId="20577"/>
        <pc:sldMkLst>
          <pc:docMk/>
          <pc:sldMk cId="4174101951" sldId="2147480672"/>
        </pc:sldMkLst>
        <pc:picChg chg="mod">
          <ac:chgData name="Andreas Sørensen" userId="9eb534fe-c0aa-4bc0-9975-c3800bc5cc37" providerId="ADAL" clId="{59523D37-4E8D-463F-A76D-E8E2171E9EFA}" dt="2024-09-17T07:00:39.796" v="366" actId="14100"/>
          <ac:picMkLst>
            <pc:docMk/>
            <pc:sldMk cId="4174101951" sldId="2147480672"/>
            <ac:picMk id="3074" creationId="{B937B0B0-08CA-32B1-458E-F3089B0506A8}"/>
          </ac:picMkLst>
        </pc:picChg>
      </pc:sldChg>
      <pc:sldChg chg="modSp mod modTransition">
        <pc:chgData name="Andreas Sørensen" userId="9eb534fe-c0aa-4bc0-9975-c3800bc5cc37" providerId="ADAL" clId="{59523D37-4E8D-463F-A76D-E8E2171E9EFA}" dt="2024-09-17T07:42:02.417" v="537"/>
        <pc:sldMkLst>
          <pc:docMk/>
          <pc:sldMk cId="3654142485" sldId="2147480673"/>
        </pc:sldMkLst>
        <pc:spChg chg="mod">
          <ac:chgData name="Andreas Sørensen" userId="9eb534fe-c0aa-4bc0-9975-c3800bc5cc37" providerId="ADAL" clId="{59523D37-4E8D-463F-A76D-E8E2171E9EFA}" dt="2024-09-17T07:20:34.188" v="412" actId="1582"/>
          <ac:spMkLst>
            <pc:docMk/>
            <pc:sldMk cId="3654142485" sldId="2147480673"/>
            <ac:spMk id="5" creationId="{91CC6A9F-9BF4-AE32-A0DB-27060F08979A}"/>
          </ac:spMkLst>
        </pc:spChg>
        <pc:spChg chg="mod">
          <ac:chgData name="Andreas Sørensen" userId="9eb534fe-c0aa-4bc0-9975-c3800bc5cc37" providerId="ADAL" clId="{59523D37-4E8D-463F-A76D-E8E2171E9EFA}" dt="2024-09-17T07:20:06.622" v="406" actId="14100"/>
          <ac:spMkLst>
            <pc:docMk/>
            <pc:sldMk cId="3654142485" sldId="2147480673"/>
            <ac:spMk id="6" creationId="{1B4F9C33-12D3-1ECB-11B9-B8D91C72F96C}"/>
          </ac:spMkLst>
        </pc:spChg>
        <pc:spChg chg="mod">
          <ac:chgData name="Andreas Sørensen" userId="9eb534fe-c0aa-4bc0-9975-c3800bc5cc37" providerId="ADAL" clId="{59523D37-4E8D-463F-A76D-E8E2171E9EFA}" dt="2024-09-17T07:20:34.188" v="412" actId="1582"/>
          <ac:spMkLst>
            <pc:docMk/>
            <pc:sldMk cId="3654142485" sldId="2147480673"/>
            <ac:spMk id="9" creationId="{3E8E166C-2A24-3957-F62C-07F9A377F592}"/>
          </ac:spMkLst>
        </pc:spChg>
        <pc:spChg chg="mod">
          <ac:chgData name="Andreas Sørensen" userId="9eb534fe-c0aa-4bc0-9975-c3800bc5cc37" providerId="ADAL" clId="{59523D37-4E8D-463F-A76D-E8E2171E9EFA}" dt="2024-09-17T07:20:16.641" v="410" actId="1076"/>
          <ac:spMkLst>
            <pc:docMk/>
            <pc:sldMk cId="3654142485" sldId="2147480673"/>
            <ac:spMk id="10" creationId="{808C52C9-1986-19FB-56A5-E12A3A3BAD6D}"/>
          </ac:spMkLst>
        </pc:spChg>
        <pc:cxnChg chg="mod">
          <ac:chgData name="Andreas Sørensen" userId="9eb534fe-c0aa-4bc0-9975-c3800bc5cc37" providerId="ADAL" clId="{59523D37-4E8D-463F-A76D-E8E2171E9EFA}" dt="2024-09-17T07:20:38.482" v="413" actId="1582"/>
          <ac:cxnSpMkLst>
            <pc:docMk/>
            <pc:sldMk cId="3654142485" sldId="2147480673"/>
            <ac:cxnSpMk id="8" creationId="{527A720E-AEE2-53BE-7909-66BF738B1C62}"/>
          </ac:cxnSpMkLst>
        </pc:cxnChg>
        <pc:cxnChg chg="mod">
          <ac:chgData name="Andreas Sørensen" userId="9eb534fe-c0aa-4bc0-9975-c3800bc5cc37" providerId="ADAL" clId="{59523D37-4E8D-463F-A76D-E8E2171E9EFA}" dt="2024-09-17T07:20:24.676" v="411" actId="1582"/>
          <ac:cxnSpMkLst>
            <pc:docMk/>
            <pc:sldMk cId="3654142485" sldId="2147480673"/>
            <ac:cxnSpMk id="11" creationId="{63C6C2F3-81B6-4962-418D-3690E6E34E19}"/>
          </ac:cxnSpMkLst>
        </pc:cxnChg>
      </pc:sldChg>
      <pc:sldChg chg="del">
        <pc:chgData name="Andreas Sørensen" userId="9eb534fe-c0aa-4bc0-9975-c3800bc5cc37" providerId="ADAL" clId="{59523D37-4E8D-463F-A76D-E8E2171E9EFA}" dt="2024-09-17T07:21:46.213" v="415" actId="47"/>
        <pc:sldMkLst>
          <pc:docMk/>
          <pc:sldMk cId="1714013703" sldId="2147480675"/>
        </pc:sldMkLst>
      </pc:sldChg>
      <pc:sldChg chg="del">
        <pc:chgData name="Andreas Sørensen" userId="9eb534fe-c0aa-4bc0-9975-c3800bc5cc37" providerId="ADAL" clId="{59523D37-4E8D-463F-A76D-E8E2171E9EFA}" dt="2024-09-17T07:21:45.396" v="414" actId="47"/>
        <pc:sldMkLst>
          <pc:docMk/>
          <pc:sldMk cId="3801368965" sldId="2147480676"/>
        </pc:sldMkLst>
      </pc:sldChg>
      <pc:sldChg chg="del">
        <pc:chgData name="Andreas Sørensen" userId="9eb534fe-c0aa-4bc0-9975-c3800bc5cc37" providerId="ADAL" clId="{59523D37-4E8D-463F-A76D-E8E2171E9EFA}" dt="2024-09-17T07:21:55.915" v="417" actId="47"/>
        <pc:sldMkLst>
          <pc:docMk/>
          <pc:sldMk cId="2657433642" sldId="2147480678"/>
        </pc:sldMkLst>
      </pc:sldChg>
      <pc:sldChg chg="modSp mod modTransition">
        <pc:chgData name="Andreas Sørensen" userId="9eb534fe-c0aa-4bc0-9975-c3800bc5cc37" providerId="ADAL" clId="{59523D37-4E8D-463F-A76D-E8E2171E9EFA}" dt="2024-09-17T07:42:02.417" v="537"/>
        <pc:sldMkLst>
          <pc:docMk/>
          <pc:sldMk cId="3356451402" sldId="2147480679"/>
        </pc:sldMkLst>
        <pc:spChg chg="mod">
          <ac:chgData name="Andreas Sørensen" userId="9eb534fe-c0aa-4bc0-9975-c3800bc5cc37" providerId="ADAL" clId="{59523D37-4E8D-463F-A76D-E8E2171E9EFA}" dt="2024-09-17T07:36:25.956" v="524" actId="20577"/>
          <ac:spMkLst>
            <pc:docMk/>
            <pc:sldMk cId="3356451402" sldId="2147480679"/>
            <ac:spMk id="2" creationId="{441FAD2B-62C0-DE80-7453-F0B3C5F9318D}"/>
          </ac:spMkLst>
        </pc:spChg>
      </pc:sldChg>
      <pc:sldChg chg="modSp mod modTransition">
        <pc:chgData name="Andreas Sørensen" userId="9eb534fe-c0aa-4bc0-9975-c3800bc5cc37" providerId="ADAL" clId="{59523D37-4E8D-463F-A76D-E8E2171E9EFA}" dt="2024-09-17T07:42:02.417" v="537"/>
        <pc:sldMkLst>
          <pc:docMk/>
          <pc:sldMk cId="2019523628" sldId="2147480684"/>
        </pc:sldMkLst>
        <pc:picChg chg="mod">
          <ac:chgData name="Andreas Sørensen" userId="9eb534fe-c0aa-4bc0-9975-c3800bc5cc37" providerId="ADAL" clId="{59523D37-4E8D-463F-A76D-E8E2171E9EFA}" dt="2024-09-17T07:36:57.421" v="525" actId="14100"/>
          <ac:picMkLst>
            <pc:docMk/>
            <pc:sldMk cId="2019523628" sldId="2147480684"/>
            <ac:picMk id="6" creationId="{F3886894-C975-3C01-C849-54C6DA4B6288}"/>
          </ac:picMkLst>
        </pc:picChg>
      </pc:sldChg>
      <pc:sldChg chg="modTransition">
        <pc:chgData name="Andreas Sørensen" userId="9eb534fe-c0aa-4bc0-9975-c3800bc5cc37" providerId="ADAL" clId="{59523D37-4E8D-463F-A76D-E8E2171E9EFA}" dt="2024-09-17T07:42:02.417" v="537"/>
        <pc:sldMkLst>
          <pc:docMk/>
          <pc:sldMk cId="893225310" sldId="2147480686"/>
        </pc:sldMkLst>
      </pc:sldChg>
      <pc:sldChg chg="del modTransition">
        <pc:chgData name="Andreas Sørensen" userId="9eb534fe-c0aa-4bc0-9975-c3800bc5cc37" providerId="ADAL" clId="{59523D37-4E8D-463F-A76D-E8E2171E9EFA}" dt="2024-09-17T14:35:19.103" v="557" actId="47"/>
        <pc:sldMkLst>
          <pc:docMk/>
          <pc:sldMk cId="3151478275" sldId="2147480687"/>
        </pc:sldMkLst>
      </pc:sldChg>
      <pc:sldChg chg="addSp modSp mod modTransition">
        <pc:chgData name="Andreas Sørensen" userId="9eb534fe-c0aa-4bc0-9975-c3800bc5cc37" providerId="ADAL" clId="{59523D37-4E8D-463F-A76D-E8E2171E9EFA}" dt="2024-09-17T07:42:02.417" v="537"/>
        <pc:sldMkLst>
          <pc:docMk/>
          <pc:sldMk cId="2928244026" sldId="2147480690"/>
        </pc:sldMkLst>
        <pc:spChg chg="add mod ord">
          <ac:chgData name="Andreas Sørensen" userId="9eb534fe-c0aa-4bc0-9975-c3800bc5cc37" providerId="ADAL" clId="{59523D37-4E8D-463F-A76D-E8E2171E9EFA}" dt="2024-09-17T06:56:30.219" v="295" actId="207"/>
          <ac:spMkLst>
            <pc:docMk/>
            <pc:sldMk cId="2928244026" sldId="2147480690"/>
            <ac:spMk id="2" creationId="{39A37E09-5AC8-C1A9-77C9-5B10D5619715}"/>
          </ac:spMkLst>
        </pc:spChg>
        <pc:spChg chg="mod">
          <ac:chgData name="Andreas Sørensen" userId="9eb534fe-c0aa-4bc0-9975-c3800bc5cc37" providerId="ADAL" clId="{59523D37-4E8D-463F-A76D-E8E2171E9EFA}" dt="2024-09-17T06:56:42.294" v="297" actId="947"/>
          <ac:spMkLst>
            <pc:docMk/>
            <pc:sldMk cId="2928244026" sldId="2147480690"/>
            <ac:spMk id="10" creationId="{41213B6B-E369-5ADB-5C41-55D01647F15D}"/>
          </ac:spMkLst>
        </pc:spChg>
        <pc:spChg chg="mod">
          <ac:chgData name="Andreas Sørensen" userId="9eb534fe-c0aa-4bc0-9975-c3800bc5cc37" providerId="ADAL" clId="{59523D37-4E8D-463F-A76D-E8E2171E9EFA}" dt="2024-09-17T06:56:53.450" v="298" actId="2711"/>
          <ac:spMkLst>
            <pc:docMk/>
            <pc:sldMk cId="2928244026" sldId="2147480690"/>
            <ac:spMk id="11" creationId="{E4AA67F4-E2B9-7D02-8D51-84EE3C0B9B5E}"/>
          </ac:spMkLst>
        </pc:spChg>
        <pc:spChg chg="mod">
          <ac:chgData name="Andreas Sørensen" userId="9eb534fe-c0aa-4bc0-9975-c3800bc5cc37" providerId="ADAL" clId="{59523D37-4E8D-463F-A76D-E8E2171E9EFA}" dt="2024-09-17T06:54:33.785" v="89" actId="1076"/>
          <ac:spMkLst>
            <pc:docMk/>
            <pc:sldMk cId="2928244026" sldId="2147480690"/>
            <ac:spMk id="12" creationId="{2A1E081A-B944-047F-813D-25AF49158A85}"/>
          </ac:spMkLst>
        </pc:spChg>
        <pc:picChg chg="ord">
          <ac:chgData name="Andreas Sørensen" userId="9eb534fe-c0aa-4bc0-9975-c3800bc5cc37" providerId="ADAL" clId="{59523D37-4E8D-463F-A76D-E8E2171E9EFA}" dt="2024-09-17T06:55:40.065" v="224" actId="167"/>
          <ac:picMkLst>
            <pc:docMk/>
            <pc:sldMk cId="2928244026" sldId="2147480690"/>
            <ac:picMk id="9" creationId="{6F3F8604-7223-D477-368C-E933BA6450CC}"/>
          </ac:picMkLst>
        </pc:picChg>
      </pc:sldChg>
      <pc:sldChg chg="modSp mod modTransition">
        <pc:chgData name="Andreas Sørensen" userId="9eb534fe-c0aa-4bc0-9975-c3800bc5cc37" providerId="ADAL" clId="{59523D37-4E8D-463F-A76D-E8E2171E9EFA}" dt="2024-09-17T07:42:02.417" v="537"/>
        <pc:sldMkLst>
          <pc:docMk/>
          <pc:sldMk cId="4020123783" sldId="2147480695"/>
        </pc:sldMkLst>
        <pc:spChg chg="mod">
          <ac:chgData name="Andreas Sørensen" userId="9eb534fe-c0aa-4bc0-9975-c3800bc5cc37" providerId="ADAL" clId="{59523D37-4E8D-463F-A76D-E8E2171E9EFA}" dt="2024-09-17T07:22:08.207" v="420" actId="2711"/>
          <ac:spMkLst>
            <pc:docMk/>
            <pc:sldMk cId="4020123783" sldId="2147480695"/>
            <ac:spMk id="2" creationId="{21A78541-4C0B-34B0-DAF3-5EB808152478}"/>
          </ac:spMkLst>
        </pc:spChg>
        <pc:spChg chg="mod">
          <ac:chgData name="Andreas Sørensen" userId="9eb534fe-c0aa-4bc0-9975-c3800bc5cc37" providerId="ADAL" clId="{59523D37-4E8D-463F-A76D-E8E2171E9EFA}" dt="2024-09-17T07:27:34.151" v="523" actId="14100"/>
          <ac:spMkLst>
            <pc:docMk/>
            <pc:sldMk cId="4020123783" sldId="2147480695"/>
            <ac:spMk id="3" creationId="{D0FD2527-9424-2B6C-1BDF-14284EADA7FD}"/>
          </ac:spMkLst>
        </pc:spChg>
      </pc:sldChg>
      <pc:sldChg chg="modSp mod modTransition">
        <pc:chgData name="Andreas Sørensen" userId="9eb534fe-c0aa-4bc0-9975-c3800bc5cc37" providerId="ADAL" clId="{59523D37-4E8D-463F-A76D-E8E2171E9EFA}" dt="2024-09-17T07:42:02.417" v="537"/>
        <pc:sldMkLst>
          <pc:docMk/>
          <pc:sldMk cId="681008366" sldId="2147480696"/>
        </pc:sldMkLst>
        <pc:spChg chg="mod">
          <ac:chgData name="Andreas Sørensen" userId="9eb534fe-c0aa-4bc0-9975-c3800bc5cc37" providerId="ADAL" clId="{59523D37-4E8D-463F-A76D-E8E2171E9EFA}" dt="2024-09-17T07:01:11.107" v="369" actId="1076"/>
          <ac:spMkLst>
            <pc:docMk/>
            <pc:sldMk cId="681008366" sldId="2147480696"/>
            <ac:spMk id="2" creationId="{CC3B338C-25F9-EBA8-A9ED-5FB25570A8C0}"/>
          </ac:spMkLst>
        </pc:spChg>
      </pc:sldChg>
      <pc:sldChg chg="addSp delSp modSp mod modTransition">
        <pc:chgData name="Andreas Sørensen" userId="9eb534fe-c0aa-4bc0-9975-c3800bc5cc37" providerId="ADAL" clId="{59523D37-4E8D-463F-A76D-E8E2171E9EFA}" dt="2024-09-17T07:42:02.417" v="537"/>
        <pc:sldMkLst>
          <pc:docMk/>
          <pc:sldMk cId="2694867906" sldId="2147480697"/>
        </pc:sldMkLst>
        <pc:spChg chg="del">
          <ac:chgData name="Andreas Sørensen" userId="9eb534fe-c0aa-4bc0-9975-c3800bc5cc37" providerId="ADAL" clId="{59523D37-4E8D-463F-A76D-E8E2171E9EFA}" dt="2024-09-17T07:18:42.136" v="394" actId="478"/>
          <ac:spMkLst>
            <pc:docMk/>
            <pc:sldMk cId="2694867906" sldId="2147480697"/>
            <ac:spMk id="2" creationId="{CC3B338C-25F9-EBA8-A9ED-5FB25570A8C0}"/>
          </ac:spMkLst>
        </pc:spChg>
        <pc:spChg chg="add del mod">
          <ac:chgData name="Andreas Sørensen" userId="9eb534fe-c0aa-4bc0-9975-c3800bc5cc37" providerId="ADAL" clId="{59523D37-4E8D-463F-A76D-E8E2171E9EFA}" dt="2024-09-17T07:18:47.503" v="396" actId="478"/>
          <ac:spMkLst>
            <pc:docMk/>
            <pc:sldMk cId="2694867906" sldId="2147480697"/>
            <ac:spMk id="21" creationId="{53F48AE9-A883-95D1-2FBA-2B205C03853D}"/>
          </ac:spMkLst>
        </pc:spChg>
        <pc:spChg chg="mod">
          <ac:chgData name="Andreas Sørensen" userId="9eb534fe-c0aa-4bc0-9975-c3800bc5cc37" providerId="ADAL" clId="{59523D37-4E8D-463F-A76D-E8E2171E9EFA}" dt="2024-09-17T07:18:53.284" v="397" actId="2711"/>
          <ac:spMkLst>
            <pc:docMk/>
            <pc:sldMk cId="2694867906" sldId="2147480697"/>
            <ac:spMk id="32" creationId="{D6C16E0C-6397-5715-E0CA-897741510787}"/>
          </ac:spMkLst>
        </pc:spChg>
        <pc:spChg chg="mod">
          <ac:chgData name="Andreas Sørensen" userId="9eb534fe-c0aa-4bc0-9975-c3800bc5cc37" providerId="ADAL" clId="{59523D37-4E8D-463F-A76D-E8E2171E9EFA}" dt="2024-09-17T07:18:58.461" v="398" actId="2711"/>
          <ac:spMkLst>
            <pc:docMk/>
            <pc:sldMk cId="2694867906" sldId="2147480697"/>
            <ac:spMk id="34" creationId="{4C01F8CE-778E-A9B1-65F7-C58C91A2D884}"/>
          </ac:spMkLst>
        </pc:spChg>
        <pc:spChg chg="mod">
          <ac:chgData name="Andreas Sørensen" userId="9eb534fe-c0aa-4bc0-9975-c3800bc5cc37" providerId="ADAL" clId="{59523D37-4E8D-463F-A76D-E8E2171E9EFA}" dt="2024-09-17T07:18:58.461" v="398" actId="2711"/>
          <ac:spMkLst>
            <pc:docMk/>
            <pc:sldMk cId="2694867906" sldId="2147480697"/>
            <ac:spMk id="35" creationId="{CA6EE38C-6782-239B-E632-B34C1F41DD0E}"/>
          </ac:spMkLst>
        </pc:spChg>
        <pc:spChg chg="mod">
          <ac:chgData name="Andreas Sørensen" userId="9eb534fe-c0aa-4bc0-9975-c3800bc5cc37" providerId="ADAL" clId="{59523D37-4E8D-463F-A76D-E8E2171E9EFA}" dt="2024-09-17T07:18:58.461" v="398" actId="2711"/>
          <ac:spMkLst>
            <pc:docMk/>
            <pc:sldMk cId="2694867906" sldId="2147480697"/>
            <ac:spMk id="37" creationId="{0E8C945D-8E7A-E0FA-A7EE-A7D2F236AA2F}"/>
          </ac:spMkLst>
        </pc:spChg>
        <pc:spChg chg="add mod">
          <ac:chgData name="Andreas Sørensen" userId="9eb534fe-c0aa-4bc0-9975-c3800bc5cc37" providerId="ADAL" clId="{59523D37-4E8D-463F-A76D-E8E2171E9EFA}" dt="2024-09-17T07:18:45.731" v="395"/>
          <ac:spMkLst>
            <pc:docMk/>
            <pc:sldMk cId="2694867906" sldId="2147480697"/>
            <ac:spMk id="47" creationId="{98E46BE2-37C7-2613-896C-8A4ED0384DA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1" creationId="{DA3414AC-3357-8F4C-B109-3264FC9D1E5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2" creationId="{FB7E5ABC-2156-2A53-EF2C-767D64044D9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3" creationId="{CB68A98F-85BB-B66A-6302-984EFDC3E8E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4" creationId="{4F03A3F1-80C7-523B-F125-B23D0191801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7" creationId="{ED0E2E1D-A641-2FD4-D881-406768F9705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63" creationId="{0FF9CFE7-02FA-4C35-9B29-24B1342886B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69" creationId="{B323BD1F-D218-AE0F-B5A1-30762C64B7A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85" creationId="{8551D255-9E8E-32F6-B224-929AA722C96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87" creationId="{FA04A7C4-395F-4140-B8BB-CE1B6B46509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89" creationId="{CAD8D66E-0C42-0FAB-B536-FF04C1FED5B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90" creationId="{398EBEBC-9269-9EA7-E79D-F7AB1BFAD79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91" creationId="{93B9E84F-A733-DF3B-4B8B-C67A02FD714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92" creationId="{55DA9B41-E1FF-89EB-61E9-9B52615D0FB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93" creationId="{DF726085-8CBF-888E-401C-305924BA6E3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94" creationId="{1764A917-63A9-4412-8E64-6B0D82C782F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95" creationId="{1025B6B0-5231-F1A8-023E-1BB6B3BC884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96" creationId="{CF224C17-F1E0-AC57-955C-DBE4513DA54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97" creationId="{30FFA424-0227-A537-A388-79ADC9DD5A1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98" creationId="{7DA19CDA-2856-C4C8-FB44-4215A56DE77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99" creationId="{652920CD-D908-9599-ADD4-44D4DD065CB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00" creationId="{34CCCB1A-9C24-3155-F85E-DC8B86C1E6E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01" creationId="{C605642D-59E5-0508-CB91-9E03B4EA2EC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02" creationId="{A844DEC6-94A8-7E7C-987E-513D5D94788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03" creationId="{5E690429-6425-A2E5-B0C7-68BF1389EC0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04" creationId="{C863EA74-A8A7-DB0B-6B49-4AF36FE2A42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05" creationId="{21FEBEDC-C115-8969-97AB-98D92FF3DD2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06" creationId="{9F443724-ABA7-9A7D-E8D8-3F71DEC20D6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07" creationId="{34EA2169-14EB-F0C4-1BC6-9FAAEAABD86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08" creationId="{E1E4CCA4-08CB-0792-92FC-CF0E3F15446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09" creationId="{E22A9814-F416-B8E2-069E-7CBCF783015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10" creationId="{FBE7D6A9-9597-1894-516B-9D5CCCF2613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11" creationId="{0C35D61D-D67B-A3A6-158B-651CC73878D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12" creationId="{4C6F9873-56F7-44F4-CAE3-7BA639EBB14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13" creationId="{86087CFE-6587-298E-E34C-B42857FEEA6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14" creationId="{A707BE2E-6533-98C3-3D52-C83B56AD6D2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15" creationId="{1D0CD8F0-03D5-31DC-F10C-28AD1C06E0E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16" creationId="{FC12B606-C50C-C4C5-6039-13E8B760E06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17" creationId="{BE3320BC-A1D5-4358-06FA-3EBBD767039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18" creationId="{494DEEC6-BB0B-726A-0E21-878A7B056B7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19" creationId="{CA7BE897-D17B-83E9-7A31-ED0C040E110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20" creationId="{E829F7DA-3003-CA71-62D2-82C5A2D3087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21" creationId="{AEE66534-9C6E-F1AF-EBC6-AC4AA50FD50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22" creationId="{EAF8E214-85EB-59E6-2D06-5AA51B21295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23" creationId="{81C78E12-55B6-F416-C2C7-0C35821B077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24" creationId="{93A5D940-D4A0-6B72-3958-1FC32ED7E1F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25" creationId="{1D901504-F5C3-217D-B696-32C53B33D1A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26" creationId="{DFAE7904-29F2-26A4-3AE9-59C6DC8B574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27" creationId="{129B7763-B384-B3A6-50EF-4E3A1D3063D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28" creationId="{E7467ED1-B40D-EB38-D6F8-0A31C90E8A2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29" creationId="{EDBB0FAB-8B71-9971-F269-EC3D60465E5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30" creationId="{23B92742-FC94-B625-3B88-1A82842DC00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31" creationId="{D488F11D-EED3-942B-27FC-A477097F052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32" creationId="{8AC1B3EF-00AB-042A-001E-C9125A82716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33" creationId="{25A5AB4E-AC49-6282-0D33-9CDCED55A23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34" creationId="{AAC3E7D2-3916-0623-5065-51D6A086CF3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35" creationId="{D79C65A8-9572-CD5A-59A8-F374A2E4AC8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36" creationId="{A978E7CA-1944-C73D-15CD-58685BFF309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37" creationId="{CC96B258-7715-8DEA-BC5D-E4096605D24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38" creationId="{F021CA3A-1294-7EE2-0163-C798B31FEB9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39" creationId="{50C9F733-380F-D2E9-4433-A1C36711301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40" creationId="{913A4C83-D346-86A1-AB1F-3F132941E1D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41" creationId="{9465C893-567F-534E-A1DA-C9CB1033B8F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42" creationId="{F6C6CF15-3015-74E0-C3AC-FF6F2630547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43" creationId="{6EC21640-410B-ADB5-B4FE-D680A750D5B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44" creationId="{42813658-D149-DA9B-A940-E822D92EF92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45" creationId="{027B74DB-F6C9-2EA4-0097-6CFB7C639B4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46" creationId="{39315AC8-8072-A557-4591-DFD8F1A13BC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47" creationId="{2DAF9AA7-0BDD-DD53-E234-396B588B0E0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48" creationId="{623C242B-89D4-E378-F61C-8CEB8D3DFC5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49" creationId="{F88D4C8B-2EB9-D084-7B9B-126C9EF099D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50" creationId="{904C1C0E-4D73-CC70-8689-4C7F0BCE99D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51" creationId="{955BCCB2-945C-518E-13CF-E0500064B83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52" creationId="{4FE637E1-D272-BC6A-F552-F93EE6CA79F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53" creationId="{3604D25E-E5A5-2561-55C3-6594134ED25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54" creationId="{23838D71-BB51-0534-2CA4-7449B86CEC9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55" creationId="{F5FFE610-72AC-D0DB-2674-BAFDE6E0FE4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56" creationId="{673171A7-19B6-A2A5-CA90-7464318D8A9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57" creationId="{9A5FFBA2-ACC1-8396-C202-2A9B812E421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58" creationId="{0872CEE5-01C6-D869-D9A8-51CE4A49F0E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59" creationId="{0A7DE399-4DD9-A743-9564-4487E4BBE04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60" creationId="{6A1738FB-1DE2-2229-9DD7-D844703C359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61" creationId="{403B66CC-EE94-1413-2BA5-87D1BF637CB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62" creationId="{16360DB9-91C6-0CF0-A76F-97B728FD22C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63" creationId="{D58363A0-B10A-532F-6FFD-905AA6D420D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64" creationId="{06778A1D-35D3-3C5E-27C1-86FD2754019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65" creationId="{D79E0194-BCC6-7649-110A-8272C4A4987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66" creationId="{1323EDAD-ABC5-1043-7DE2-09F9F123490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67" creationId="{835BA424-81C9-4C62-ABB5-6A6D04937A9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68" creationId="{A71795F8-EFAD-8323-1114-66A3FEEC4D1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69" creationId="{43F37679-8E94-FBE7-19A3-D1E65E91021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70" creationId="{9489A363-9BF6-E727-8AF0-743B3A3F820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71" creationId="{0CED917D-50F7-1710-4CB5-D18ACF9F24C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72" creationId="{8569E033-D279-81F0-BE17-FFC5822A7D0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73" creationId="{0189F09D-7F8C-29EE-204D-1A009AB19FE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74" creationId="{AAF53676-AA48-7B22-02CC-E7F7169AD64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75" creationId="{FA7A7846-36F5-F4C0-0C3F-4B2AE192C25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76" creationId="{0B6A8BB5-A19F-9C68-4B50-7CF4BD0AC14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77" creationId="{7EC9404E-FD2C-B1A6-F6B6-92F6E40AACE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78" creationId="{18070508-187A-A970-3F7C-5B2E566D5B3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79" creationId="{A187085D-02FB-7595-5A90-D7FDE625DCB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80" creationId="{7CEEC9B8-4472-E665-8B93-D636A197B1B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81" creationId="{774470AB-EE60-F62D-0DBD-51CB95F2436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82" creationId="{BA07C4C1-61F4-2733-F07A-1BB9BBBEC41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83" creationId="{B160B15B-46F3-23D2-B93A-41999410A21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84" creationId="{5860AD14-3DF1-1718-EA90-9F6CA96528B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85" creationId="{5556D74A-AC81-1DA5-E2DC-7933FE58578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86" creationId="{085BD006-4CD2-0737-2C7E-6E8AB7E77D3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87" creationId="{E38B450F-3221-5485-E438-D6884B7AACF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88" creationId="{3681931D-0C7B-36FB-44FB-7A7377AA0DF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89" creationId="{AC002180-6AA0-2371-DDAA-5F3DE261FDE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90" creationId="{AA5877BB-4583-B552-2892-8781E38B838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91" creationId="{B1182EB5-1A2B-5BDF-91B2-A3458A4292E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92" creationId="{5AFF282C-B80D-3301-B6A2-DCC6E290943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93" creationId="{A4EEE958-F522-AFA2-A8F4-7D7E8241F4A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94" creationId="{A50BBE69-FFC4-927F-3190-95B7CC951D1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95" creationId="{F7772085-A630-1578-8BC0-BC4546D82A1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96" creationId="{5D31A6B3-1EB5-A907-075A-062C21D717D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97" creationId="{61A07B80-53F4-0AB8-2731-BB2695F9FE7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98" creationId="{582CE766-65BF-6B4A-85EF-C8E74741297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199" creationId="{50038475-A141-2BF8-3609-8FB058576EB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00" creationId="{1E00F876-D086-7F46-06D9-01BCA725315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01" creationId="{97CCBD32-9605-5E23-2CE8-B38E4D30011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02" creationId="{5105D8FC-A559-C733-968E-4D12B6FBDEB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03" creationId="{4B26C357-F723-AB22-4D7E-26FA8D30FD0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04" creationId="{B6FD5B10-197A-A328-0F04-DD6A9D65ADD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05" creationId="{B4621B1D-65D5-56F6-B33D-67D9140FE56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06" creationId="{37BCE460-C5AD-7975-741C-AA6B91DAE1E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07" creationId="{9B6A840F-C761-ADD1-6B66-3FD7BA1A31D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08" creationId="{AF1DD6BB-4512-769B-F294-D14992BA351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09" creationId="{5303617D-37D7-D1E1-4E29-5AE0BA2E410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10" creationId="{B8C07172-B3C8-2B68-2A0A-4C1C5550A51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11" creationId="{2A4A658A-0ACB-2680-61C8-D8F02EFF41B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12" creationId="{711EF99E-DFAA-875C-10F8-A18C0ACE41E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13" creationId="{8F6D5FC5-0D4D-01EB-9EA5-33552AF2242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14" creationId="{0B52B1BE-F65B-B61C-5911-34AB005144C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15" creationId="{72AFBB11-A773-DCFB-B792-C5AE85B7E53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16" creationId="{BB43B95E-8B7C-BC2D-02E0-3A48271ECCE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17" creationId="{1DB18959-1AC5-8B7D-FA58-B3B7D996E28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18" creationId="{E999B625-F770-22C1-6A3E-3431E2D3E9C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19" creationId="{D3C853A3-6618-B012-4826-2666C069BB1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20" creationId="{5761A9F8-AEB3-4A5F-8A7C-68D85DDA4DB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21" creationId="{EC747CB8-C143-CCB0-F9AD-F50726BC397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22" creationId="{6A0D7999-5380-5587-83DB-155B3EDC919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23" creationId="{5128D435-8EBF-7334-C1DD-4B82990D12F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24" creationId="{AAA06118-1191-90A9-B34B-F944318D8BD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25" creationId="{71A935B0-B83A-B8C5-B8CC-395311228A5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26" creationId="{70BFE859-6CC4-2ABD-EF91-3CECE7BA240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27" creationId="{1C29A78B-E69B-6543-A91A-488ACFD8FBC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28" creationId="{3FE83C70-94AA-7178-E21A-E5DE77E6EC7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29" creationId="{2104D789-33EB-BEC5-AC56-A611A9FD9A5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30" creationId="{52E0B504-85FE-3A26-EC64-C660A87DB8F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31" creationId="{7DFDFFC9-FFED-2E75-2D7A-CDBD98AD26E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32" creationId="{D8630D2C-5D94-04A5-1773-B21F2F80285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33" creationId="{42BAF60B-1D55-A6EB-7A3B-A3AED11AAEB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34" creationId="{CF1069BA-55B4-F06B-D368-6843FC78736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35" creationId="{5C885C70-C770-9C20-1486-CCBDBE36730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36" creationId="{9A421373-8F0F-D3DB-D121-70202064898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37" creationId="{3A140B07-8163-F0EA-1FD1-BE10DAA3D9D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38" creationId="{E218590C-4756-E76B-F088-35C8310C6C4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39" creationId="{E47D2422-58FF-AE6A-BCFF-5AE4065505A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40" creationId="{F62194FF-40C8-B71C-40DE-96E4F7ADAAE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41" creationId="{A4ED22E1-66A1-A448-8D70-1D60D4EB0F7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42" creationId="{65A0E50C-879F-4346-0845-B95A00855EF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43" creationId="{431104A5-14DC-4DCC-2138-0BEDD3E9943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44" creationId="{5D8EE1CB-C91B-6E65-6784-73671623968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45" creationId="{D4465E8C-035F-1A8D-B5D0-DE7B8856C63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46" creationId="{F7233860-2753-3C78-879A-1C5F2A8A35F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47" creationId="{61BA97BA-FE35-D2B1-0C6E-4C8A68050FD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48" creationId="{6A3F1B00-729E-587F-6ED6-02D4940DA1B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49" creationId="{22EC2F2F-03B7-C0B0-309F-7E79021EB96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50" creationId="{BA5FF720-9A04-920A-373E-20F0FDC07E1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51" creationId="{F5FF4961-CC55-71F7-5497-C13B7AD1C8D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52" creationId="{FE591857-0FB9-1550-9332-F11E088C9A9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53" creationId="{A9B0896E-A41E-A389-CA65-C65AF9C1361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54" creationId="{D38F3FA9-619A-F774-464D-39D82253B4F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55" creationId="{ED8C8A9F-6384-ACAC-2041-05244A902FC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56" creationId="{1C55FDEE-8583-04ED-4DBB-852534F0D37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57" creationId="{0FF20860-621C-A746-DA35-72AEB678392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58" creationId="{A949A34B-FE59-33F8-CE85-2D2FB2595A9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59" creationId="{8DE24F5E-F220-4E50-1E55-FE4E582DAE3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60" creationId="{E4FE26AC-5188-1708-3544-4BF0EA6CA12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61" creationId="{0975942F-5DE0-EF11-5F05-55582ADCB7C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62" creationId="{17298F8F-8E2D-1D23-5AF8-67D984E6FD2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63" creationId="{D84D521F-0B49-95FB-5AD0-F996015E4CA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64" creationId="{22689FD6-E743-EEE9-393D-131DE4BE2CB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65" creationId="{F45856F1-0B3B-4709-CE01-AEF0601DA9F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66" creationId="{7614A56C-7135-603C-6162-13737119F24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67" creationId="{D8A3F2A7-2E7A-5B2B-8BCA-242167A73E2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68" creationId="{204424B1-6507-EA08-4B49-9DCF041242A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69" creationId="{E5FF0C73-36B5-088D-39E4-B8B6D3CD76F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70" creationId="{1F292646-F785-E4F0-9857-37EB3776FC1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71" creationId="{E352CF4B-492E-D36A-F090-F56A64A5864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72" creationId="{84CB34AE-B2AC-1592-0932-C3EA89E1429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73" creationId="{1C06C0A4-2ABB-34DA-4CFC-12B9C475C99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74" creationId="{6730DD81-B43B-913B-544A-64528CC4321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75" creationId="{33EF4B10-2819-3847-E989-FB039EA77C2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76" creationId="{554FA6A0-2401-F608-FD2E-54F2F2FF8FF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77" creationId="{1812FBEC-D222-2331-71BE-6E245292EAE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78" creationId="{2C7E80FC-6498-1B1D-980F-6C74E7658A6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79" creationId="{191CF953-5289-BD2A-ECC1-35C00DCFDEE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80" creationId="{9606CF72-78F6-D9FF-83F9-E40396667A8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81" creationId="{25402C72-34BC-3673-EB2D-1123C86B2BF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82" creationId="{7CDCE9B8-9658-EF4B-DE4D-D7B9A5FD8E0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83" creationId="{3574E6B3-3FF0-557C-66E9-3AEAA41DE8D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84" creationId="{57E18765-F772-C261-35D5-7C826F3B6DC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85" creationId="{F6A2C4B4-10D6-D025-7890-40E98F48C47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86" creationId="{30B172FC-D039-15F0-EFFE-9FF21B726E9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87" creationId="{1194E263-0D9A-7608-0304-F4D432DC51C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88" creationId="{94A8C574-0771-979F-FD82-5F5BF1CBED7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89" creationId="{30C70AA4-0AB5-71AA-8700-C930324049C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90" creationId="{FCB6A010-A582-8C96-8E68-7F8B03D99C1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91" creationId="{85DBE89C-9CCF-461A-A6A6-53AB731C748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92" creationId="{BDD67E9E-C23C-67B5-5940-105A2839D57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93" creationId="{970FD7D7-A91F-033D-F199-D16E8B52468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94" creationId="{532A693E-BDA0-E7F6-1391-69E65F74AE1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95" creationId="{16E9AFEE-53EB-0C71-2D3D-785FD36E81E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96" creationId="{ACF8E666-F8A8-BCC0-1825-6C5326853DD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97" creationId="{41A982D7-9481-082F-1035-C9EFD231FF7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98" creationId="{EE6F0EBF-AB76-685B-0651-89FE5FBF8D7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299" creationId="{C943DE33-D23C-80B6-5C22-2023AE84DD2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00" creationId="{A2A545F8-5188-E8FD-EC12-E6334BA9E4F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01" creationId="{F9D0822B-0167-9179-D2BF-89800C8403E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02" creationId="{DB4B6F7E-2B47-9571-5FEE-EA82E1A1E54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03" creationId="{8B4739E0-9BFA-0FCD-E387-07CD9BA1BD2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04" creationId="{266E7828-CB26-DED0-49C3-FBBB8CC7D05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05" creationId="{84B4CB6D-AF66-83C8-325E-10C5012CF86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06" creationId="{FF8C5733-D2A1-5E61-FC0F-BF2A05685F4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07" creationId="{ED024C79-EE55-7EFC-41E8-8B6E87EF8C5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08" creationId="{12B7EC2D-1C8E-B491-7A7B-762E80C6B13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09" creationId="{3B6DB41E-517C-08A2-05EE-4F422ACA471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10" creationId="{287326A6-1BB4-0352-E4DE-9CBE641F9C2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11" creationId="{10A7130F-8DBF-D5BB-534E-D354F00E03C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12" creationId="{E2FFD782-DC28-CDC3-7B50-4CBDBA8293A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13" creationId="{85218E2D-F1AF-DD94-2A1C-C8777889D55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14" creationId="{9DC03C23-D2A3-23EC-7BE4-52A8E01FA36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15" creationId="{3DA19F2D-50AF-847E-1E06-9982C0361AF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16" creationId="{308923FA-6537-02D4-84BB-71FC64BD305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17" creationId="{3F7021EE-C7B5-E92C-E290-39CE74251A6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18" creationId="{751083DD-A599-CAF4-3C0D-F0726A63D45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19" creationId="{CA4F4E0C-6460-2CA4-21A8-3EC847136DA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20" creationId="{13F8F69F-A607-8C3C-4229-50D7D27A310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21" creationId="{0EE275B8-8C5E-94FF-F6CF-8205781FDAD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22" creationId="{791C427E-5899-957B-E608-8856CE55B07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23" creationId="{8115D036-4956-EDF7-1F0B-1742BFCD35D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24" creationId="{4B5F2AA7-2F23-80BC-F85F-E573C3AA0E8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25" creationId="{973083AB-FF0A-C1E5-2343-9468F95D7AA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26" creationId="{B8576D38-8CD0-A316-49C7-19F2C0D2B31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27" creationId="{3D7DEC3E-45EA-448E-F1F1-811CA5BDD5D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28" creationId="{D0DF542F-619F-BEEA-D118-75ED7F93FB1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29" creationId="{D55B9452-D242-BAD1-29FE-6592378C79F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30" creationId="{8060D503-4143-85BC-FE84-E9DA0A066EA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31" creationId="{21DF4DE7-FFE7-9CD7-E092-53B0E33D286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32" creationId="{61FC298B-DB3D-1D60-B764-68C52961114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33" creationId="{DBC4E07F-0F2D-918D-48A0-44F6349921C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34" creationId="{C2BC6381-FE10-BEAA-23E6-1B8F81940DB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35" creationId="{0F7A5B32-C2FD-601A-D27C-1C0C559B134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36" creationId="{A303ECA5-171B-9B32-F8F7-B2CBC66D4CA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37" creationId="{03A796E8-FD08-5A28-542B-E8641484DDB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38" creationId="{CAD2A9E2-69E1-3ECD-FA33-A5BCDD83A99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39" creationId="{65EA80B6-35F9-9973-902C-C830A48641A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40" creationId="{94AEEF3C-35C4-CBF2-98BD-243472F832C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41" creationId="{3D9BFE2C-0372-AF28-8190-2D788FF4F6A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42" creationId="{DD1AC806-2145-967B-6FD6-5F22E1B10F9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43" creationId="{C3A0B2EB-6143-CE8E-3D48-7C3186F9399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44" creationId="{1FD5284C-1EE8-6F23-7605-1420D36F82D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45" creationId="{7B985FDF-F8C3-105E-A09C-043FD73A4D7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46" creationId="{A169A5C7-53A6-EAB7-438F-F7D34C1D4C1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47" creationId="{6FB1509F-9FF6-F635-B563-60898537BC5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48" creationId="{3D596AC2-8423-C152-CD20-E1B811A7F5E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49" creationId="{657CF944-3681-6F5C-5E87-E407D18D6AA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50" creationId="{485129EE-792E-63D0-3783-EBEE6E8CA6B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51" creationId="{951862F4-5E88-BB2E-C856-C5615A5FFB6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52" creationId="{8220BD8E-2E3A-0D9D-224D-A126050FB67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53" creationId="{5440C9E3-17C4-4769-5B4B-756897DBEE5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54" creationId="{14EC8FAB-893C-E82A-5BA6-F1771925674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55" creationId="{B80EC6DC-3A5B-5CA3-8C80-6244D6BD89A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56" creationId="{985798E9-143C-12A5-94AF-4B051468C50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57" creationId="{24193D10-6BAC-7329-8623-5C92ED11994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58" creationId="{A4ADD898-6A6E-A3AB-2548-81EED108AA5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59" creationId="{87099490-59AB-E321-1045-0B3CFF7ABBD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60" creationId="{D4EA8AA0-E109-358D-645D-1A9ABBF6EB7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61" creationId="{7FFA04BF-E72E-1BD4-52A9-2172927E341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62" creationId="{A11976E4-23EB-AAEA-D8EC-F259D4153FB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63" creationId="{6CE147B6-97E9-2522-60F9-AAEF4BB3496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64" creationId="{CCA70276-35D3-900D-A7FD-DD88362F454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65" creationId="{4EB31EE6-A288-9694-74EB-D681313A7F7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66" creationId="{B9050C32-D5B6-C282-7C88-6524F29ADFA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67" creationId="{0713ADFC-A9A1-C27E-017E-E758961D46C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68" creationId="{6F64EF14-150F-BB6A-5613-7CE1856C47C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69" creationId="{4E587D99-6A41-6E06-6EFA-09CD8F38749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70" creationId="{5FE50166-B236-718C-D300-04406E3AA67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71" creationId="{49D230FC-5BA9-669E-0FA6-85586608431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72" creationId="{64BC2595-4960-0B62-1886-0E7970B9382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73" creationId="{FA0B1836-8ED5-379A-85C3-6953A06CCCD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74" creationId="{97542804-2364-C2FF-FD96-04A57FCF3FD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75" creationId="{8BEAB810-CD2C-1174-83E8-5C88BBB99DB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76" creationId="{980C4B43-8CA7-C188-04B8-F36983E44B0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77" creationId="{E0DE4BB3-CEBE-1F9C-5C1B-225C84399BD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78" creationId="{6BBB1970-8071-1416-C501-CDBA22E1045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79" creationId="{EF913C94-0FE1-DCF1-046C-85E9C01575C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80" creationId="{6EDDA6BD-CC5D-23AB-2A54-61AA59A4779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81" creationId="{2E84D955-812D-43AE-B862-19941C1BB0E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82" creationId="{49931460-E326-0AEC-7B71-58C47F2F8D4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83" creationId="{C75B4051-E8F9-85F8-639A-DB8DC55931E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84" creationId="{FBE30CB8-C3A4-E409-82C6-F53C4617FAB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85" creationId="{9B447168-37E2-C2FC-F7FB-395993390FD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86" creationId="{B838EFFF-FB44-1113-91B3-AFEB3420B81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87" creationId="{7D94469D-5E68-09AC-E1C6-C3262A435EB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88" creationId="{886C7689-D366-C45D-1F45-7CD82970D56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89" creationId="{AC210977-193F-6007-985C-0C53A532362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90" creationId="{7D7E6AE7-439D-67F2-1416-508627DAA7A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91" creationId="{67DB1729-4D02-B0C5-34D1-2F39C27984D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92" creationId="{C0105FE0-B4B0-EB35-F660-D0C17B5914D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93" creationId="{284F29B8-A510-24B9-021C-948B1A32A7B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94" creationId="{B10EFDDD-D19E-0846-2C8C-16994F20A4E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95" creationId="{E1DDF6F4-E05D-F925-5199-EF91C7C8B21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96" creationId="{90F6E62D-BBB9-529E-9308-DE425EC457E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97" creationId="{B334557A-0073-36AB-B5DF-4FE693ADADF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98" creationId="{0969319B-0893-98C0-D904-F9DCFBBD041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399" creationId="{59C25164-EC71-8B3A-1DE6-35E208C8F78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00" creationId="{6C92C1C1-9FF8-99CF-C8FC-D7FB04CCE47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01" creationId="{EC987D98-F0D5-67B7-AEDE-257755982DA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02" creationId="{30D086A5-2DF5-3D93-CB5B-D4F87B01D54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03" creationId="{AEA4D55A-20CD-23B1-8B08-2A42A560E9D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04" creationId="{7E73BE95-FF88-692A-B9DD-89B2B18F173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05" creationId="{EDACB517-0D19-7BCC-8255-AAAA3C0A1F5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06" creationId="{C01797F1-5EAE-9459-7A2B-5AC23CB5D34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07" creationId="{37BDD8F3-780E-F0A4-4113-4CDCF653BD7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08" creationId="{D4570479-D081-FEF7-40AC-B6C91BFE301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09" creationId="{BADA2563-FC42-4540-4E5F-182530282F7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10" creationId="{B60B3840-53EE-054D-BF71-0DEF803EBD4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11" creationId="{CC40F785-1BC7-AA4E-54B4-28DB15DF62C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12" creationId="{8F1E3031-CBA7-8A89-AA91-C6BECE9DDED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13" creationId="{3A4E098B-FCDC-094B-6F03-C6B718ECDEE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14" creationId="{79B4B21F-7E28-45B0-D242-C244E090DD9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15" creationId="{741BFA6B-BEBB-29E0-8D83-E2B1AE16EC4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16" creationId="{38A35678-EAC3-D848-0588-B8465D71D8B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17" creationId="{3E41F7C8-E37F-F4D3-01F7-1157C977450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18" creationId="{97CD0A7C-7A40-BBE5-8B85-651B7CC358D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19" creationId="{33772C4D-DD98-6980-9723-BC3D93EECE8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20" creationId="{8BE95C38-CD78-10D4-EA6F-AF19A3B1039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21" creationId="{49F5096F-A19D-E382-E348-BBE98AB8F49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22" creationId="{62227778-B6BD-B7A0-83EF-07CA3F8FE71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23" creationId="{69D83861-EC62-62D2-2E52-CE1D1D6B9ED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24" creationId="{2BD3B6B8-999E-DEC5-86D0-63542A2663E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25" creationId="{1FD4B5E1-AECA-24F0-04F0-6BB23B05BE5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26" creationId="{D784426E-FD08-7ED7-09A1-A8F91631778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27" creationId="{A0074973-BE2F-E7ED-F295-1E4B848C845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28" creationId="{76FBEF75-8481-F4A5-BA24-3872DD395B2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29" creationId="{F8AABC47-CD20-D4E0-3A27-3F857C898C3E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30" creationId="{55FB6CAD-CA5B-F6FF-8F4E-41CDD8EFC7E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31" creationId="{D240CB59-5762-B467-0949-3F0B7B6B912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32" creationId="{5DCE12B9-B640-0C05-EC4E-06D4848D790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33" creationId="{BA761CDF-7686-3383-DE36-A24A6E9704D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34" creationId="{87979067-8123-6F4A-378F-AE9640E79B3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35" creationId="{48F974DF-20A5-8718-5034-2F33BFAC212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36" creationId="{760FD86C-7BF5-73F9-0818-DEF0A2EB50B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37" creationId="{0E3F6E8D-F2C6-613D-0F59-B6C69471704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38" creationId="{694A7800-ADFA-B148-00D3-D5997B1C917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39" creationId="{13E12F4F-D5EA-683C-A1D7-8B00EF01F4F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40" creationId="{95369EA8-6840-FFA9-87C3-23EB488DE5A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41" creationId="{124143C7-C45B-8AD8-EF19-D3B12E28DE6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42" creationId="{FFB062EE-A2BA-9BD4-1712-DFB0A67208E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43" creationId="{6F45D638-F2FF-4E85-93FB-0E4489C2083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44" creationId="{A0086B6B-AAF8-01CE-5F46-47BDE00D477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45" creationId="{03AD44AB-83EA-A356-2882-7A66461D51E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46" creationId="{8432183D-B325-F343-21D8-E3A3DC106F4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47" creationId="{8B0D0EC7-7997-6045-76F1-FE058A190C0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48" creationId="{4ACA3EF7-577B-0EF2-AAE3-07EC329DAD7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49" creationId="{3BD7DEC2-4610-73B3-FC3E-23AC5D52D19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50" creationId="{CD4E6472-8813-A99C-B8C8-57B4F6B7770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51" creationId="{B8FA5F2C-81DC-41BB-703A-635DD34B53B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52" creationId="{C0A89337-130F-1DA7-DC65-F05D34E28BE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53" creationId="{70A765D5-5619-223F-CF4D-8AB25D6C2D8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54" creationId="{C99BD41E-87C3-C789-E7A0-8B95DDE05F2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55" creationId="{E6D845DB-7F3D-4D14-41F1-AD7D1DCE913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56" creationId="{1191094B-6318-85CF-C32E-C68D8AE4C58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57" creationId="{43395F0A-345C-0100-1E14-4CAE7E67CF3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58" creationId="{EC81C806-DA8B-9E9A-44FA-3F00A23FB24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59" creationId="{DDB79CB6-9AEE-5AE5-DE0F-51A5A0A8FAF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60" creationId="{625D2027-699F-5E1B-577C-68C02723615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61" creationId="{7DBE8FE6-C045-DA41-8D6B-EE63D61A771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62" creationId="{1D839C20-AA1A-49C1-1C47-6F94920CA7B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63" creationId="{27108F0F-2940-7716-B394-482A4F17940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64" creationId="{82AC9111-A61C-543D-FE43-84A2C02EADC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65" creationId="{A72E2A16-CC2A-342C-EB13-25B835D36F0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66" creationId="{AB02286E-6FB2-343C-01EB-208C9C75EDE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67" creationId="{738134B1-50A9-C46F-8E03-8F35B02613B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68" creationId="{C332FB55-DB7E-179E-54B7-9927274BA57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69" creationId="{E0127EEE-D199-1991-6962-615F567D108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70" creationId="{768453A1-F3A7-30D8-C7D1-5EB06AD0125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71" creationId="{8B1255CD-4C6C-F8F3-8F66-920515862EC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72" creationId="{006A207F-0B58-6864-193F-4E736A42A65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73" creationId="{A518C212-348E-13FF-4BF9-DC97170A59A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74" creationId="{0CEA2F5E-5270-80EA-6570-B8A0C5CFF5B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75" creationId="{AAD61D2E-5CD7-F8B1-8B20-12C5C3454B1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76" creationId="{9C70235F-2EF8-B136-C5C1-F8AD6036684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77" creationId="{0188C908-F149-F2B8-E5CD-2549DB95F99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78" creationId="{FD457D42-A681-30B8-92A2-58B7D62BA7C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79" creationId="{3F853543-7827-FBF4-5AF7-0266E738B77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80" creationId="{752CAA8F-D5A8-D9C8-AE15-0F5FEB1F369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81" creationId="{406AFF55-7E51-E307-D93E-A61EB69F3DA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82" creationId="{9523240B-F05F-608A-8F91-A76D5B8A0CB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83" creationId="{FF55528F-7864-6F51-5773-31FB3955C99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84" creationId="{A2FBD2A1-EE09-4199-8E3A-9F8BA11DF7C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85" creationId="{BB6634E1-C1D7-F6FD-A323-D843AA9FCCF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86" creationId="{5B13BE66-8A68-0303-92C8-AB9F1BCF5AC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87" creationId="{ED808F93-E545-F78C-B86E-A29081ACD03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88" creationId="{80A7EDFC-95B3-0FB5-C821-40FAB85C400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89" creationId="{DE27AFB4-0C65-9B49-AAF4-27D48BC9B3C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90" creationId="{C6745BDB-6E26-61BB-1AD0-B2D69E5F8EE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91" creationId="{DED35E1A-9062-5D61-FAEF-A6FE0B496E9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92" creationId="{46ED192E-6E24-5C21-F2BA-C3B684FCE74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93" creationId="{9A51586E-208C-BFBF-1480-04C54935034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94" creationId="{8FB0B0A0-8CDD-B818-BEEE-38BF1042581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95" creationId="{86547EA4-DA97-5D23-65F8-39C92DECDFF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96" creationId="{55919396-F7E5-3565-BD26-9B79143CF19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97" creationId="{F5EB7B61-4EC9-751C-5C43-E9EEA7D52DE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98" creationId="{01CD6A6B-0F28-799E-0A11-52BA546D4337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499" creationId="{B86564EB-1AC3-51BA-7978-37539186DEC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00" creationId="{740CAD71-50FD-3A30-BD94-9EF45AFC10E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01" creationId="{EE6F07E4-AF37-B9B3-E4F2-4E2764AEB37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02" creationId="{F7F9FDD8-5DF1-474F-7B98-C7A0F9E161B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03" creationId="{B77BEC86-5389-D409-68A2-165381524458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04" creationId="{C6C8B00D-7C10-E280-3C43-BF9E6C4B7C2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05" creationId="{77CF7912-2E55-CE56-2CC6-2AE622549AD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06" creationId="{CD048694-0890-4A05-4789-3F1924ED2FC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07" creationId="{A26153A7-D348-ED70-AF02-22773D05FD7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08" creationId="{D3FE6679-6F4F-FEA0-ABBB-42005810B42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09" creationId="{14404668-F5FC-9926-60D1-F19B756F4F0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10" creationId="{C3D9881D-24FD-60C1-D1F1-B47D9F848A9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11" creationId="{28FED5C0-25E0-B796-64AC-65DB29BFF941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12" creationId="{7DA9ABBD-00FA-1681-CC86-3C424C98B05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13" creationId="{DCE4C0EE-E52D-2A6D-60B5-35B9A676E31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14" creationId="{FF8C465A-4100-E900-DC53-A2CDC3E8EE0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15" creationId="{256C1AC7-85B6-11A0-FBB6-C00F734CCD9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16" creationId="{8A3B6796-58D4-DC5A-CB89-5B0C9AE2D482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17" creationId="{9BDB13F8-A151-6C1E-BA33-69FD142EAFF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18" creationId="{10010A8B-EEAE-DAF7-D977-92C84B844CF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19" creationId="{C33703E3-A9BA-6237-1E23-ABF152E1EB6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20" creationId="{A433305C-79FD-54C8-F40B-B36444035EC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21" creationId="{4A9C5D7E-7C1F-B653-D362-4221F6B7810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22" creationId="{B18690C4-66DA-E280-4461-147FCC938D9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23" creationId="{C93BAC61-A70A-11D4-AF09-E1B994193BC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24" creationId="{C7D1BC1D-D7C6-76E9-FCA7-8128B23C3144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25" creationId="{505BA704-9940-F379-BB9F-B4B92034D74C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26" creationId="{3AFAAF4D-BB04-458F-5812-51FA4DF612B5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27" creationId="{AF412E5A-2947-E06A-8323-2D1AE11D0FE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28" creationId="{B4191326-D812-834D-77DA-490C42CE1943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29" creationId="{0C0A7B8E-9848-4045-2272-3637F2C32E8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30" creationId="{AA18E65E-B2CD-8824-9827-9A29B943519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31" creationId="{5EE16C18-A399-7CA0-B809-89135B8E3D09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32" creationId="{9B2EF009-543F-02EE-3C4D-4414724C10CA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33" creationId="{C1AF5FB3-98A2-A23D-0C53-C9EBBD01AF4B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34" creationId="{7C90820E-8EAD-A218-891E-C2131BDE280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35" creationId="{1FB07365-097B-3642-6FCC-AD49C00F4F1F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36" creationId="{B0981FCE-10DC-555E-ADB9-5701E2A8FBAD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37" creationId="{C4C78D3E-93FE-6616-2D8E-60C6DE751176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38" creationId="{5A877812-5B1B-6E31-EEB7-5BA22078E050}"/>
          </ac:spMkLst>
        </pc:spChg>
        <pc:spChg chg="mod">
          <ac:chgData name="Andreas Sørensen" userId="9eb534fe-c0aa-4bc0-9975-c3800bc5cc37" providerId="ADAL" clId="{59523D37-4E8D-463F-A76D-E8E2171E9EFA}" dt="2024-09-17T07:25:28.893" v="519"/>
          <ac:spMkLst>
            <pc:docMk/>
            <pc:sldMk cId="2694867906" sldId="2147480697"/>
            <ac:spMk id="539" creationId="{CF0CF6D3-1300-D0E3-A28D-326FE5FDACD4}"/>
          </ac:spMkLst>
        </pc:spChg>
        <pc:grpChg chg="add mod ord">
          <ac:chgData name="Andreas Sørensen" userId="9eb534fe-c0aa-4bc0-9975-c3800bc5cc37" providerId="ADAL" clId="{59523D37-4E8D-463F-A76D-E8E2171E9EFA}" dt="2024-09-17T07:25:30.954" v="520" actId="167"/>
          <ac:grpSpMkLst>
            <pc:docMk/>
            <pc:sldMk cId="2694867906" sldId="2147480697"/>
            <ac:grpSpMk id="49" creationId="{B817F6F5-0F2F-6C41-3925-C98806A27A3D}"/>
          </ac:grpSpMkLst>
        </pc:grpChg>
        <pc:grpChg chg="mod">
          <ac:chgData name="Andreas Sørensen" userId="9eb534fe-c0aa-4bc0-9975-c3800bc5cc37" providerId="ADAL" clId="{59523D37-4E8D-463F-A76D-E8E2171E9EFA}" dt="2024-09-17T07:25:28.893" v="519"/>
          <ac:grpSpMkLst>
            <pc:docMk/>
            <pc:sldMk cId="2694867906" sldId="2147480697"/>
            <ac:grpSpMk id="50" creationId="{1331616E-31A4-8611-8E77-61B99B85D0CC}"/>
          </ac:grpSpMkLst>
        </pc:grpChg>
      </pc:sldChg>
      <pc:sldChg chg="addSp delSp modSp mod modTransition">
        <pc:chgData name="Andreas Sørensen" userId="9eb534fe-c0aa-4bc0-9975-c3800bc5cc37" providerId="ADAL" clId="{59523D37-4E8D-463F-A76D-E8E2171E9EFA}" dt="2024-09-17T07:42:02.417" v="537"/>
        <pc:sldMkLst>
          <pc:docMk/>
          <pc:sldMk cId="1051060535" sldId="2147480698"/>
        </pc:sldMkLst>
        <pc:spChg chg="del">
          <ac:chgData name="Andreas Sørensen" userId="9eb534fe-c0aa-4bc0-9975-c3800bc5cc37" providerId="ADAL" clId="{59523D37-4E8D-463F-A76D-E8E2171E9EFA}" dt="2024-09-17T07:18:32.306" v="391" actId="478"/>
          <ac:spMkLst>
            <pc:docMk/>
            <pc:sldMk cId="1051060535" sldId="2147480698"/>
            <ac:spMk id="2" creationId="{CC3B338C-25F9-EBA8-A9ED-5FB25570A8C0}"/>
          </ac:spMkLst>
        </pc:spChg>
        <pc:spChg chg="add del mod">
          <ac:chgData name="Andreas Sørensen" userId="9eb534fe-c0aa-4bc0-9975-c3800bc5cc37" providerId="ADAL" clId="{59523D37-4E8D-463F-A76D-E8E2171E9EFA}" dt="2024-09-17T07:18:38.646" v="393" actId="478"/>
          <ac:spMkLst>
            <pc:docMk/>
            <pc:sldMk cId="1051060535" sldId="2147480698"/>
            <ac:spMk id="13" creationId="{793C1E83-EED5-3650-803D-7552B098DD81}"/>
          </ac:spMkLst>
        </pc:spChg>
        <pc:spChg chg="add mod">
          <ac:chgData name="Andreas Sørensen" userId="9eb534fe-c0aa-4bc0-9975-c3800bc5cc37" providerId="ADAL" clId="{59523D37-4E8D-463F-A76D-E8E2171E9EFA}" dt="2024-09-17T07:18:36.958" v="392"/>
          <ac:spMkLst>
            <pc:docMk/>
            <pc:sldMk cId="1051060535" sldId="2147480698"/>
            <ac:spMk id="15" creationId="{13CB1EF0-AFAE-7D42-BE5A-C701430549B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7" creationId="{AA1DB1FC-5A70-C45C-9E79-D96749A2726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1" creationId="{20A14ED0-0CF8-9931-D4B6-178A45A0A53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3" creationId="{B28ED14C-F22C-36D3-143F-5E9EC4222FC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8" creationId="{7B69295E-F2A1-5CCE-DAA2-1FF4A77E4C4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2" creationId="{3445D167-BA73-9A14-0ECD-59B8F4FCC61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4" creationId="{D31CC92A-6F73-3583-A461-5042360844F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5" creationId="{16D0C185-6EBA-2368-37F4-DA0ECE97200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7" creationId="{EB954CDD-B8BC-5108-EA92-C95C991F237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9" creationId="{331C4ED4-ECB3-341A-427C-9883E2F030A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0" creationId="{40683AC9-8857-823A-CF23-E7B51FF26C4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1" creationId="{82BE6020-E16C-0A86-C982-5AC46E07317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1" creationId="{C290BAAC-1E58-6721-8505-8650B800771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2" creationId="{2D53137C-DBF1-9519-4468-AD778850704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63" creationId="{05EEF8C4-6EE9-E4DB-3EB6-989BEB7BAF5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64" creationId="{456116ED-10AD-29E0-FB18-C5712A8DE0A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66" creationId="{47D82BFE-3751-40A7-A57B-2533CCACF07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68" creationId="{FADA4C0D-0128-96BB-3B7E-980BE9ED8E6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69" creationId="{083E8549-922F-649D-205D-70696DCEC9F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71" creationId="{E835C802-5176-6639-E6A7-6C1968B6B7B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72" creationId="{8DB4FFA2-56EF-5906-46BD-25D8C0EDF72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75" creationId="{12578CAF-A7FE-D6C3-68CA-838B5D77F5F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76" creationId="{52BCFB3C-AC0C-A7E6-BE2A-371A3B161B6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77" creationId="{054B8CBF-32AF-2391-E8AF-B3C877F50AC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78" creationId="{D5180D08-FEE5-41DB-F26A-8BDB3D28650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79" creationId="{42BAB352-18CE-A72B-280A-D2506812D5A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81" creationId="{1F7AFBD7-95D7-61C0-2A3D-395AAEE8E9B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82" creationId="{33AF7D9D-4A0E-6A36-9270-70EDDBACB82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83" creationId="{7512710C-4D6D-C1CC-DF16-291337BC71C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84" creationId="{5B68897C-D94D-070C-2846-546247DC3ED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85" creationId="{34E72C69-25AF-7740-F714-F3BE7911C8B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87" creationId="{E0CD4CC2-F03C-0C98-EF98-8242105F3FC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89" creationId="{92CAFD36-15C8-F87D-7FB8-C514BC2A41C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90" creationId="{615C287D-E85E-6D1D-FFE2-1F59FCA1CFD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91" creationId="{D84DB5FF-F343-9BEF-D2E9-8A7E366E5AE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92" creationId="{5BCB01B2-7AD7-8FDF-EE54-1E51C67455F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93" creationId="{B6BDB8C9-0610-847E-FCF4-9F2F059B6F1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94" creationId="{6B72F357-07D0-93A9-7648-EF6CF9C766B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95" creationId="{D97177F2-B6A1-E64A-96A8-7A16B35337D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96" creationId="{461471B1-145F-AF0A-B61F-ADCA21CEDED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97" creationId="{8A970E37-8DB5-C4A4-D1C1-899BFECCC6A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98" creationId="{C5D5F8F0-8650-3BCA-7B1A-B308D2E61D4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99" creationId="{A3C417CF-E3E3-9454-6600-AE1F31DCD3A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00" creationId="{51880673-4A8B-ED28-E7D4-3C686B82C9F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01" creationId="{287DB76D-F769-FB34-3ECA-376C81E4915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02" creationId="{753B2543-4A33-86DB-F0A0-94741B3E4DD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03" creationId="{973A4C03-26F5-2548-A97E-238E22E4FFB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04" creationId="{8E110F9E-294D-0B52-5934-B9B8DDD13CF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05" creationId="{E06B3B14-A481-55A0-30BD-847F48B002D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06" creationId="{3ED8BF40-3ED1-646F-7038-A7A08BC55E1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07" creationId="{79ACEE19-086D-CD8D-9B12-06B42CDC7EF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08" creationId="{6652F0EA-1FF8-DBB5-8DD6-8EAEC2B2C7F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09" creationId="{C272B0B5-BED5-CAEF-37D5-56B881099E6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10" creationId="{105546A8-B62E-B026-410E-0899C6BD4B3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11" creationId="{29B98EF3-3850-475E-0F56-D6F956EBCE2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12" creationId="{3497254C-B9E7-01D8-8C76-E442B90A445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13" creationId="{94049131-4AC7-88C0-7258-4FB50B30100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14" creationId="{75B39A67-E94A-56F3-19F2-F7E8B016F71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15" creationId="{EFEE1CFB-AA0B-CD02-E909-1118FAD65EE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16" creationId="{F9A3366C-136B-8A9E-D722-F05E2025880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17" creationId="{3AB4FE4A-F723-CE38-1AF2-1A673EC4DC6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18" creationId="{3B439557-B1E6-CC43-7F9F-B21A7FF4F0F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19" creationId="{D49E587C-2A01-592F-F9F6-DEEC12B3355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20" creationId="{70BFE9BA-C668-898B-03BE-97A63C60699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21" creationId="{8D20203A-DD48-C828-1685-61CEF1BABC1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22" creationId="{1C242339-BB31-F711-F069-3C872AC3C7F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23" creationId="{C17AD239-8D3B-89DB-6C99-DDE41911EE5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24" creationId="{15F2618E-7C99-9D4A-891B-9074B0545A6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25" creationId="{EAFD89DA-1513-420B-BD85-CEE34DC4F2F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26" creationId="{90EA20BE-AD35-19DA-C5BD-9584E952EE3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27" creationId="{BCF9DEF0-CEF8-BCB2-2FC0-89CE17DA367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28" creationId="{224B1FE9-998C-2FD9-3094-508CC2C9A3A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29" creationId="{2AC824E3-879E-17F4-1F0E-A845F40BE80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30" creationId="{6A31E804-D787-06DE-A2A5-BFBB06C17C1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31" creationId="{CE892CE3-0754-7323-AE98-1F96D59D3BF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32" creationId="{9C234BA1-7977-8643-A4E5-F3B5E169BC9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33" creationId="{B314AAB9-587E-3A37-C3D0-73D822A9395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34" creationId="{DF35F682-EB72-DBCB-2161-49C90D316B1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35" creationId="{A3337A1F-44C3-D408-372C-21C4CE28B82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36" creationId="{514118E8-8677-47A3-3238-24681E31050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37" creationId="{944B8922-C130-A577-3599-DC7B5F76B6F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38" creationId="{488FF7FA-0EE9-30A2-BC11-E0AD687F599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39" creationId="{2BF1B628-8A83-3A30-0AAD-8C4A5AE169E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40" creationId="{171E87E0-A2FA-8F43-1EAB-87599932039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41" creationId="{1D70C151-D9C4-E8A1-2BB0-4B34DC6AC6B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42" creationId="{8AB0B359-60F5-271E-A629-DF8D84D41DD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43" creationId="{755B1496-2C2C-E90B-42F0-CB96F81D607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44" creationId="{98D59186-D980-6A80-3A2E-067EC502A8C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45" creationId="{B3047459-C314-41AB-41F5-28BFFDEEC56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46" creationId="{6983E4BC-D728-2FBA-69C3-F5BF967C7B6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47" creationId="{38FCED4E-D269-7494-6D20-1FD1208CBC7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48" creationId="{6CA50A33-05D1-F29B-E3CB-7F8AC935923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49" creationId="{F8CE926B-29A8-AC83-FBF1-7EF079FBFF0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50" creationId="{A29DD6CE-1CD2-4D15-17CE-35463BD9F0C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51" creationId="{60C7EED2-559D-930A-CC78-179497E8FD3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52" creationId="{1C9DAB46-C077-E939-E60A-ADDEF1CC364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53" creationId="{CEA525B2-171F-6116-592E-3AB3ECE4450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54" creationId="{4B822878-1E60-1BB6-1811-9AA0CB7743F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55" creationId="{1687C2D4-9B5F-06CE-5C1D-B1160598751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56" creationId="{7CEF4254-6835-F9B3-FB03-230EC3650CB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57" creationId="{D3F6716A-7482-5E82-0F6C-5ADC374DE1E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58" creationId="{5FB74752-6DAA-0B50-FC1B-5EDE80D94BB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59" creationId="{6C7487AD-0710-312F-5E86-63DDF135855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60" creationId="{227C041F-7013-DE23-AD92-04ACB0F1F44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61" creationId="{C8417142-C8F2-9BC4-EC5D-FB62868573E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62" creationId="{25C7D3DF-8BEE-3A6C-C20C-44D4638AAC2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63" creationId="{7390A040-595D-0F12-691E-8D1539B1177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64" creationId="{3B719171-144E-5AB8-2ABE-47058D12359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65" creationId="{02142537-A4CF-34DF-7240-2A46F60BA90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66" creationId="{DAB826F4-D135-FAA5-43FF-250402D68AD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67" creationId="{ED3C981C-4E63-1641-2421-45A0941F724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68" creationId="{10F7E6E3-E0BF-7570-DBDC-FD5D8667FD4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69" creationId="{BB53BA1B-93B7-03C4-C244-7C599922F5B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70" creationId="{E2CAE113-6D88-3548-5746-CCEAFDDDFCB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71" creationId="{1410E739-3801-9C7D-B4DF-E596DB0FB9F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72" creationId="{CC3724A4-79C2-4BA0-FA08-B0BF3851A08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73" creationId="{B85DFFD6-E78B-7C9B-FB46-F0B19D64F74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74" creationId="{B976B882-130C-DC8A-2667-C0B8E804AB7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75" creationId="{9774C9CC-6722-19F6-E795-F265104E6B9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76" creationId="{11A97B2B-0569-9AE3-5745-B2EFAC12EA2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77" creationId="{93D00348-93C5-A94C-F4A0-C6222AEFF03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78" creationId="{7F832F9E-A481-310D-72BC-81A1244A044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79" creationId="{6AF8F00A-D8C3-3507-7A67-7256EE6A775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80" creationId="{DC19A3F5-DDED-1CAC-4C1A-FE4A4B96E35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81" creationId="{E7E1C63B-6DBF-7062-8365-C6C30DD6684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82" creationId="{E65FE830-BE40-5207-689E-8AC524F236B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83" creationId="{5F8E028D-26C4-83C0-599D-BFA535D8EBC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84" creationId="{41A6DECE-2C8C-91C2-CEB5-6D614AEF2C7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85" creationId="{7472EB45-0C42-3CCC-8177-2C5077241A7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86" creationId="{3A2AA8BB-BAF6-4107-C9DA-624733D99DD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87" creationId="{0F3DA333-D79D-35CF-21F8-274CC5982DB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88" creationId="{43A89ECF-68B6-6804-C79C-525BDB705FB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89" creationId="{CF74FD7F-7824-2A4D-7321-E50B60CE464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90" creationId="{8613D3AA-EBDC-5DA4-4208-7BB400DA527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91" creationId="{699C2BF5-A8D6-A713-9AD5-34FFD44A32E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92" creationId="{8C0435BC-6DEB-CB41-D5F9-08A1608DEFB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93" creationId="{F4AA1A6F-FFAF-1EA8-3070-D8F3BCA2B42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94" creationId="{8929AA18-126E-B19D-A958-3D784BAE057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95" creationId="{0F3E5721-DFC1-CBD9-48AF-39786BC39A5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96" creationId="{04CA3DF0-AB8B-6A1F-E22A-7CBFAFF3F43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97" creationId="{F3F8B868-F4A0-7C4F-BED9-5677F0850AC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98" creationId="{969D026A-E2CC-D2E5-3C8A-78082A8D7DA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199" creationId="{0622555A-9249-07A8-7FBA-843ED60DA50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00" creationId="{A46AF30A-5212-97A0-ABB9-070E6ADDD0A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01" creationId="{04DA84A8-69B8-7378-AC55-2A3CCC78D41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02" creationId="{ACC8F9EF-0D38-68F2-07C9-CE3FA84A350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03" creationId="{60378E52-CE17-D500-D4FF-19D26CD3976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04" creationId="{5B4481ED-FE8E-EA2C-79E7-9ADEBCFD2F2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05" creationId="{74BC5278-7833-E263-FDCD-D8C68CEA585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06" creationId="{27F1D254-1427-A9C1-F590-55E4492F934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07" creationId="{967806AC-C64D-EEB9-5D8F-27C7B75FF0F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08" creationId="{38E09F33-F3F0-A898-2676-58EDD57DD84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09" creationId="{23C093D2-AA0C-18CC-BF4D-004207B7726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10" creationId="{8C892628-009E-D2F8-2E3A-453AA798451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11" creationId="{DE09984C-6B80-A568-C5F4-E576E90C881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12" creationId="{BCCECC7F-F975-DB95-B08F-03E07811F86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13" creationId="{29333515-644A-4DEF-447E-35757BACFC6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14" creationId="{C3400C11-DB35-AA72-C4C0-7FF6498A80E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15" creationId="{0C728E16-A4CC-B914-6AAF-C1A094FC6FC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16" creationId="{23E5EA8D-3B50-3ABA-CB27-F7EFAAA780C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17" creationId="{1A3D2EF2-63A1-5962-D537-8F4733655A4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18" creationId="{BB4AE559-4DD4-7884-D7C4-311E290DCBD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19" creationId="{56A58EEE-4EC6-2CF5-8465-F72902AC96E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20" creationId="{33F8855F-D469-75DD-428C-3A7D71E643E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21" creationId="{A18895FD-707F-A796-5908-915D23E98CF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22" creationId="{CA720BE8-0093-B925-3623-D6265CE7835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23" creationId="{CB346C52-1C42-BAEA-79F6-DB9D2E9D2C3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24" creationId="{D247D122-A90C-4FEB-B571-580DEEFF789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25" creationId="{BA50A5D0-D8BB-6FEF-4E05-8284E3B9044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26" creationId="{6D7C4278-618B-C5EC-28B0-6198D0ABF6A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27" creationId="{0BC775C6-E370-3ACA-E853-0220BFEF802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28" creationId="{E5485752-1164-3C16-265B-9D0929B568A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29" creationId="{6D6F6450-DBA9-500C-93D1-6E35A13E993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30" creationId="{91F2C78C-8EF8-624F-0A5D-9B05F1C5B29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31" creationId="{E2C76194-01DC-16A6-4296-4C131174FE7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32" creationId="{1F9193D3-439C-4802-815B-E91CFBB0AFE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33" creationId="{08604592-3297-BB42-BAC2-5293D0379FA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34" creationId="{0CE16C34-4346-3FF8-9906-2F7C8621603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35" creationId="{F794E91C-1B0A-9A16-DBB2-AD7FE619A27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36" creationId="{FDDC62F4-68A5-6A9E-AC05-98841F6FCBF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37" creationId="{4A60255F-BE57-CE73-E7CE-D727CBDA1B0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38" creationId="{A0F3C6A7-D166-663A-99C1-D543055C617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39" creationId="{98478C23-22CE-76A2-9FBF-DD73AD4D137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40" creationId="{A059F974-800F-6AF9-F1DA-9EF82887D81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41" creationId="{66B04D09-D559-2E06-A3D3-DC3A31AE3DF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42" creationId="{FC95CA84-5129-F49A-085A-5BFF20B198A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43" creationId="{333D1C6C-99C3-210E-2512-065B86B7FEA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44" creationId="{DABA01C7-2664-35EB-34B3-C93FEBD9D57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45" creationId="{6EE2EC81-E3C3-4338-ADA0-7F5A865769A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46" creationId="{3B700950-9AAE-AB33-3DF2-AE91B942635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47" creationId="{9257B833-C549-D074-92F2-9316E5962E3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48" creationId="{0553C4C6-6368-C5B4-A21B-857C5EEA884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49" creationId="{87F88AC3-404F-B557-6B0A-137BCB52B81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50" creationId="{A3AFF852-5C76-2A73-9F4C-B4BF2347727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51" creationId="{03F106CD-02CD-E17C-F695-1482D5EF12E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52" creationId="{99DE1894-67E8-E54E-1D0C-6C4356FB5AD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53" creationId="{9CAE9F54-DBED-6BC9-4438-4669499D7FC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54" creationId="{840B88A5-F187-5A25-D35B-F013C5EDE97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55" creationId="{B0FEC754-F4D0-C253-DEE4-1F8E4305DEA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56" creationId="{301E5B7A-B799-7B00-8589-0B8F65F0A89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57" creationId="{F53AC973-F58D-5088-B26C-4F91D7B8236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58" creationId="{7B977E2C-1C66-8242-5091-D6880EB8BB0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59" creationId="{2EB203ED-92A7-5BBC-B8E0-B12D967B2B5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60" creationId="{6F4A7371-1574-C1A7-9241-8537684445F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61" creationId="{BD36D866-E9A4-98BD-C931-3997C1A1D94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62" creationId="{63FD3914-FA51-40B0-B982-F8C03419F8C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63" creationId="{0BDACF8D-B8E7-9FD7-3416-0DBA9E5C85F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64" creationId="{69C26FCB-2F5C-5C92-148C-5337CF120DB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65" creationId="{CB435741-3632-E3C0-7AC3-7E51722C0C4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66" creationId="{D3A94881-099E-026C-CEB9-BDD7075E60F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67" creationId="{81293A4A-A033-79EB-2B4A-DFC2736A87C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68" creationId="{795B10ED-B145-39F6-9822-778AE941882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69" creationId="{BE0D0799-205B-7C80-4780-BD099EF5081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70" creationId="{31AE509C-67F3-5312-D18C-58497479C15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71" creationId="{321BF77E-7890-4A98-209A-FDE60A1338F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72" creationId="{6D91A53E-444B-4810-8AD5-382528BBB10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73" creationId="{D7CF396A-0FF5-EBDB-2F69-260A40E2DAC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74" creationId="{2B1D8310-C629-444E-2EA1-05A370A431D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75" creationId="{16D00C3B-701E-1A79-D978-E249E28F3C0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76" creationId="{6AB94BE5-004B-5F6C-09E0-8A93276756F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77" creationId="{A84D364E-3116-68AB-90F9-E9729C50475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78" creationId="{309A3447-36A3-EF9A-5E11-009783D4F9B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79" creationId="{6B761871-349C-E209-627B-C3890FBDB6E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80" creationId="{434E8174-CC3D-A9BF-02A8-9A711EBFCA6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81" creationId="{9AE7EA20-4F8B-71FC-5CA2-857F7D97DED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82" creationId="{BEE659AD-F671-CF02-EF7C-83617C6AB52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83" creationId="{9AEE62E9-8113-2DE2-1B93-B3754D71716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84" creationId="{3081F434-44BC-5DC8-7D7C-D172CAB717A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85" creationId="{C0BA8F1E-0BCF-3476-6F72-A90AC8E703D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86" creationId="{E0950ABE-7B79-4001-F747-2DEC68B6956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87" creationId="{31F42BEA-A3E0-A406-5D2D-AFF657DB50A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88" creationId="{6358DFD3-B263-09BF-5FFD-89E4D9F4B5C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89" creationId="{120AA5A6-B51D-E3C4-74EA-4ECC28EDD09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90" creationId="{7DE8DE57-951B-B192-437A-E4B2D8D64D0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91" creationId="{3EA72C14-7A90-9DC4-42D8-5D8A3FD39D6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92" creationId="{69F9E3CE-1A37-F614-2689-E7B79E79F56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93" creationId="{11C2AC71-FE93-F895-6EF0-EC416B9795A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94" creationId="{0868BEE8-C8CB-B3BC-686C-5435AA2DEEF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95" creationId="{8C0821B3-99CB-8FE6-BC45-4654EEAAE20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96" creationId="{1090AE24-2D85-B2B7-F6CD-7F5264DB7D6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97" creationId="{091CE0BB-0AE2-38B0-9963-2D632190CB3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98" creationId="{01E4CB48-F8EB-FFFE-92C2-435AD16A043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299" creationId="{8B821863-EA17-E875-8D95-C3FB44C87B5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00" creationId="{6BE58004-5BCC-E870-0708-13859C12108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01" creationId="{E832AC8F-FA53-036A-89B3-B0E63B5DFF7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02" creationId="{E4721A73-E67D-E68D-AE47-0824B57F957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03" creationId="{B4AD4966-362D-4D2A-CDE6-65537327D3C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04" creationId="{F3D3CAC9-DB7E-E1EA-D63E-93684BCCBDB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05" creationId="{C33E87CA-2974-2C1E-93DE-8D6BB145145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06" creationId="{3748EA36-0B17-84BB-710C-ED39191BFA3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07" creationId="{122A7AC4-9C4D-7A0D-78B4-DDD86F09D0E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08" creationId="{0D2AA3F8-B2BC-25E8-216A-BC92C4962FC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09" creationId="{04FEA735-0233-DA4A-E062-2CFA8337947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10" creationId="{6082FC83-3973-3DCD-1AE0-4D2C3BC1EB6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11" creationId="{1346658C-A420-878B-98EA-74D5B032F03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12" creationId="{80B4FC43-9263-CDEC-A964-618C3F61BD5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13" creationId="{0F325E80-36A4-8AFB-CACB-6DADCE15F67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14" creationId="{AF81AB5C-9E45-95C0-BB22-B10198C9EC0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15" creationId="{DDCD79FE-1761-4076-516D-EF0CC8DADB3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16" creationId="{A0C2BECA-F2F3-8DD2-9D48-124D6C1999D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17" creationId="{8179B745-C5D0-0F75-8158-D1E0261598D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18" creationId="{C062BC88-CB25-867A-C98A-BEC78F11B97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19" creationId="{77E65E6D-965F-A868-16D5-80D9A444F26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20" creationId="{9DB459D7-3A83-71F4-4CB6-E8174D9C039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21" creationId="{3E3DE00B-D606-6981-6BCE-0A609449399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22" creationId="{51844549-1EFC-DB0B-29FD-EBE2AEDBF09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23" creationId="{8C879D75-48F0-AEF2-948F-910BD00A13E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24" creationId="{0DE7C1CD-D74F-9EE6-65D2-DC3BFFFEB87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25" creationId="{03807D6C-22C7-89B0-9D81-5B2EC82E805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26" creationId="{311FA25C-64CB-3373-FD03-2268CE95360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27" creationId="{EECADA45-75CD-5A4E-27EA-66D25CDBB8E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28" creationId="{A34C9B0D-8580-11FA-23D8-013C5758B01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29" creationId="{C4EEF634-00AC-333D-F4D6-959FB1A53D4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30" creationId="{2FCA4FED-1B69-23D3-C50A-6F97CF3D928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31" creationId="{63952508-24AC-3FBB-7BFE-D4BEDB5FCE2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32" creationId="{7D6F5FEF-4855-5696-23E3-3A1E0CC0C5D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33" creationId="{5B91A6D4-C498-B175-7DF4-0F792244D47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34" creationId="{1C7C481F-9E32-3F87-50C3-C305176F9BE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35" creationId="{D25F6445-23CF-E332-F9ED-F84B4E873AF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36" creationId="{6471AD91-D8B1-32EF-35D2-7B59106B81D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37" creationId="{263264E5-8DAF-C1E3-C23A-3C8D3E29C99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38" creationId="{941FB53A-4F38-D505-4DF1-36C8BA7C068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39" creationId="{A867DFEF-34A6-B8A1-AA40-50A6C83DB3D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40" creationId="{AF9A3828-72E8-D86F-5ED9-2A0E8030073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41" creationId="{0874C0B8-AD35-D735-912A-15C837DC6B2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42" creationId="{8B337890-3371-7CE2-E595-0E08F79141E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43" creationId="{DA9FB8E6-0555-E2BE-A1FD-06A44B7070A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44" creationId="{A5DACAEC-4E95-E39E-EC72-A6808B6B548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45" creationId="{02B246E9-7E91-EE81-8CB0-F423AA0C93C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46" creationId="{496FC6C9-3735-7ABB-6462-A7D1AB37B16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47" creationId="{FE02EDD2-4023-AC94-3AB0-89FAF700B0B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48" creationId="{ACC644BB-4ECE-5EB4-0E3E-7479B953ACD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49" creationId="{4F24BEB5-224C-DC73-E88F-D45D691D1C3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50" creationId="{2AF7F68D-7606-26A3-1C7E-348C91FD9EA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51" creationId="{7AE73951-0218-A770-E820-B82E3A427FB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52" creationId="{2B2CE4B7-D6D3-BA98-939B-E3291F16314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53" creationId="{F9D15C6F-0866-CED3-2E98-5E2F2F6DA37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54" creationId="{B2BAB919-895A-2779-4F56-45D0C78AD73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55" creationId="{D9999FBE-23DC-4BE1-4405-17F89DFD950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56" creationId="{080305E2-074C-B90E-38EC-A6A92EC90E0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57" creationId="{47B1DA5E-D208-A024-EA0E-CF24C39BC38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58" creationId="{8A598B43-56B9-57B0-5CBF-FC288C36F2F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59" creationId="{0E23463C-18F2-6F07-8AEB-0913C4F6642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60" creationId="{E47DFFC0-B81B-5090-8D7E-54402C3B069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61" creationId="{BC985EC6-48E5-D7AC-4124-BE01D1DB809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62" creationId="{8F87929A-4BB4-4AB2-6CD4-C508090FEEC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63" creationId="{1B06B8CF-7FB6-7742-E1FA-195D8E74530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64" creationId="{3C778FA3-7C35-0F0F-5BCE-1E3B64159CA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65" creationId="{E01D6489-1FCD-6E9C-81B2-92772EECB27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66" creationId="{F7353BDB-2EC2-CBEA-412D-85F6F400C6D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67" creationId="{2AA120B1-AE0E-D2D8-552E-0C4F6FD232D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68" creationId="{864BAC79-43F7-5C5F-FAC6-3A028FF2423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69" creationId="{14AC962E-6499-8D7B-F0A3-592458868FE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70" creationId="{D07A081F-7664-E5ED-FC09-66920E188ED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71" creationId="{D0A28757-EEC6-2630-814D-E6C5D7D62A2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72" creationId="{9CA818AB-38B5-C83C-7B19-94302B41C43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73" creationId="{77A854EF-545B-D74E-24C3-A010E6083EA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74" creationId="{EE46EB5F-628E-9D9D-864E-040CADDF03C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75" creationId="{205211A5-A4B9-514D-0B5D-D421D072456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76" creationId="{EC9D9537-A145-1F7B-4C10-CE06D94813F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77" creationId="{70B3A43C-9765-9FBA-2E52-B85705DA001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78" creationId="{F27D6FF4-74E9-C13C-5610-FB522FF9F2D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79" creationId="{23E43DF7-5D30-518B-4F9A-FCC4460DEF3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80" creationId="{114B6BC8-4BF0-FD31-C858-FAB18D2C5EC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81" creationId="{9DA4DBF7-09B8-899F-5D44-9FA92B0E5E7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82" creationId="{235157F0-F56F-069A-D87B-D40B1034DD1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83" creationId="{45E8DE49-D665-0435-8659-F6080953A1D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84" creationId="{E8A68488-6DBF-0290-1884-67EABFC8EC8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85" creationId="{D3426735-38CB-FDFC-FAD9-20AA0FF80A8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86" creationId="{4C63B790-4BF8-1907-66C7-BB2B2302683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87" creationId="{3AA6F806-0961-86EA-9F28-BC251EE65CF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88" creationId="{AD62DF4E-850A-7746-6D78-FE1B6125A41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89" creationId="{BF8CD76E-80F1-C4C8-ACB0-01C5A968D20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90" creationId="{289DC278-E00D-E4FE-4792-CE06D07D92A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91" creationId="{4C0218F7-1869-79F8-4884-2DD4674828D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92" creationId="{E09A5191-E351-0C94-A92C-2374891642A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93" creationId="{B1F79F41-B99B-27F6-9899-FAC792FFCA7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94" creationId="{E6D7521B-5071-306A-38F5-9BDCE0FCE7F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95" creationId="{49AE2848-07B6-1EED-F7AD-D31938061DD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96" creationId="{AEC0D5D6-E37B-72A9-DA9D-547E26E232F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97" creationId="{79EDDFD4-4A88-0518-52E8-C3502C76BB7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98" creationId="{259B3D97-19B3-5C22-E779-C37F851DC8C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399" creationId="{390C13E9-3329-2D5C-502D-91A9EBBA37A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00" creationId="{3A2B690E-8A06-64AC-86A6-302EB8F484E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01" creationId="{7CB940CA-9066-D811-1205-4C2E0563395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02" creationId="{8BC848C4-D67D-8352-61FC-E6171EE8A90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03" creationId="{4BD60026-BBF7-A5DC-D5D2-B51BB7AE630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04" creationId="{B225A587-4D4E-C801-472C-0A0A397F2F4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05" creationId="{AA38045A-A467-7021-9954-9B624EB7139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06" creationId="{0872AFC4-A02E-3E88-78E3-A428C9B7775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07" creationId="{25930D7A-08A0-AE7A-5D19-0182DDC3595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08" creationId="{68B25B3C-F4F5-F67D-E242-B4CEB032204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09" creationId="{E2B8573B-908D-E083-D815-A1BAA2236EC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10" creationId="{C72514CC-AAF3-1CEB-0075-F7A11A1BF6D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11" creationId="{4E44C727-1A10-75C9-7BF4-0D3153C587F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12" creationId="{8315295B-2AF5-2144-AB45-F0BFC7961C0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13" creationId="{E51830C1-E905-60F1-F9BB-B890451A6F3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14" creationId="{8CC30360-A95A-7A4E-C344-2CFB3DB091A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15" creationId="{63BDAEB0-58EE-1C9F-9EFA-71372818E5E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16" creationId="{7E1518B9-700A-5B93-6475-D5A3AEC4B38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17" creationId="{7F0F4ADE-88A0-DCFD-79B1-E4BB5EABB89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18" creationId="{F1AC4EA3-2C02-5057-0EB8-B3FD098F0C1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19" creationId="{2048B80A-D5D8-BA2E-D519-3058F4F8803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20" creationId="{7B85DD7C-D67C-5987-3F75-131D9EEEB9B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21" creationId="{2F3FE128-FE1F-627E-C63D-CE75C898E4F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22" creationId="{057384FA-2AA4-3CD3-5813-32A408953C1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23" creationId="{F117914F-0A99-0801-235B-D6EF035F584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24" creationId="{83F19E0E-61DA-7B76-AF63-CBC5C7CC6C1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25" creationId="{2E8A38EA-6838-9A52-62D4-7368273F864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26" creationId="{6AF8B153-32BE-6C4B-D662-703E8F07E6E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27" creationId="{D6A20E20-4688-2F28-DF30-1488B5EFCAA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28" creationId="{687269B7-503F-837F-7312-0FCD2FB7137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29" creationId="{B3D32BCE-621F-1910-CE81-FB48FDF9A25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30" creationId="{359DBF93-5A5C-BE3D-8E9E-BEDB7E4B327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31" creationId="{D0EE9032-9EA3-0E9B-DCC0-37319E36D8A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32" creationId="{46C1AF8A-B073-9BA9-0FB8-9C090F00293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33" creationId="{37B44017-85F0-23E0-42CE-448C5F078C4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34" creationId="{BB55007F-23C0-5B8F-CAEB-BE234186298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35" creationId="{7363CA0F-4E27-E376-AF08-DBCAD157E9C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36" creationId="{37C59B58-0D25-36B0-0930-EA2C7672C04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37" creationId="{8E80618C-A3E3-0CE3-C2A4-03F79D184D2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38" creationId="{AF9E586D-0AA0-5950-DAF5-F344EF8E015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39" creationId="{C9D2ADA5-CB76-C5A9-5D39-7925F9D96D9B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40" creationId="{D4D2CB48-7E12-D582-AA4F-16D8E8D400C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41" creationId="{9A646E93-4C5D-E916-BA24-7075A31AC55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42" creationId="{731DD553-B11E-8986-3E9A-92F5BD25130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43" creationId="{55925D9D-1F61-9D76-E6B3-40B9A156BC6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44" creationId="{25E8F7B6-CDAD-BAAD-494B-897A101546F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45" creationId="{E5532082-9155-FEC9-E698-209DFEEAF7F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46" creationId="{36324588-BDCB-A415-D374-5BB1715CF44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47" creationId="{C262BDD3-4E30-F93E-A5F0-68D56F8E309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48" creationId="{7FB8ADD2-591B-8EEE-33CC-15236C44F6A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49" creationId="{78ED241D-5F0B-5DD4-E5DB-E94929486AC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50" creationId="{7BAA4873-B804-7773-2766-9FDD38EE8C2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51" creationId="{ADEACC1E-546E-35C5-A44A-2BF5F9EDF5E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52" creationId="{8F6EEAB0-45DF-CD0D-5DAB-0BBE5FA6C3F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53" creationId="{3DF96407-6564-A1A8-F647-EC97DF62406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54" creationId="{07B99C46-E236-60CA-018E-1019907C1FA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55" creationId="{AD1BB405-B385-56B0-D0DB-3F64C3B72F9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56" creationId="{1C81B367-7AD4-2FF8-AC99-54DB7F1AE52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57" creationId="{81C82DA0-9AB3-357E-E56E-0158D999FB0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58" creationId="{8A6B2747-A3DC-308B-6F06-8E431D4934B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59" creationId="{8792357E-1BC0-9ED1-3189-9EFDE22274D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60" creationId="{4AC5905C-671C-01C1-EC37-1DB4D04F86E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61" creationId="{99234D1B-56C5-4B47-04FF-EDF13DC3D82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62" creationId="{9B349532-167B-8CCE-3957-374CC8947A3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63" creationId="{CDDD373E-CFC9-4291-175F-E2B5B2A5F10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64" creationId="{C3511EF7-EBAD-AFC2-5AEC-3C3F9CD2B28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65" creationId="{3D879993-DBE8-B5C2-475C-9A575C8EBBB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66" creationId="{723598B1-1130-6281-334B-388AB3E9EBE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67" creationId="{5A21287F-EF4A-9988-BC22-A5A72B4AB6E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68" creationId="{BDF4FC8D-E93D-8DF9-A661-90599A959C3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69" creationId="{AB595932-4ABD-D956-F229-FFF84FB8AD2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70" creationId="{49561F08-AFB8-272A-2FE2-55DB41D222F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71" creationId="{3AAD2EC4-B585-AE3C-7F96-E7B42176AD5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72" creationId="{B42B1B46-3026-0CF5-2294-B6C865805F8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73" creationId="{7B2D203E-BED8-B9C4-670B-F5071825586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74" creationId="{64EB8924-EBCD-A397-D36D-F868FD8810B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75" creationId="{9222D64A-CC6D-32C1-F937-9288F812D97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76" creationId="{C09B836F-EC90-7CBF-6B70-2377AE5530B9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77" creationId="{BF9CFC0E-8190-22FE-FE5C-9C92ED3B3F9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78" creationId="{ED1F3727-9442-3E20-136A-94267CB58D6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79" creationId="{42C9E9A5-2EFD-96B0-ACEF-874DBC3B7DF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80" creationId="{9A402BFB-5741-AC15-B611-47782D56136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81" creationId="{CF582C20-9CBE-113F-CAC1-1DC22D03B73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82" creationId="{7E8D176D-99AF-1884-30E2-5CE1360AB80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83" creationId="{7E314759-D733-CBA0-A5B5-7710EC97BAC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84" creationId="{A3077DBD-C365-D9D8-A7CE-F34D1F9DD4C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85" creationId="{C87BEF35-131D-0B87-CB7E-A9FC90B043D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86" creationId="{25087EB1-815D-6C65-752B-C6560EBB432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87" creationId="{4F309D31-E45B-19DB-4EAC-2080AD649C08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88" creationId="{C18F6886-AD7B-961D-E7D8-2A24579483F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89" creationId="{36A968B7-9072-A39C-04DE-0DED7738517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90" creationId="{5829700F-86B2-754C-76B8-CCE3D6F3D60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91" creationId="{0A389716-2611-4C94-D0D6-5655A308A1C5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92" creationId="{512A4082-8701-598F-0A37-0E8A2B6A3E5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93" creationId="{5B4B4CE8-9D90-1F5B-F54D-A87F05693B6D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94" creationId="{E9AC2F39-47C3-8F66-B332-09C44925BCC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95" creationId="{FC92C718-88E1-570E-8F34-6631727234DE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96" creationId="{128758A2-6FDF-5CDA-4E12-90E5268FC29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97" creationId="{FE1D61E5-7427-277D-2271-28CC2C517AF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98" creationId="{5D3012FE-DDFB-5ACA-1DD2-765E9E8B2DBF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499" creationId="{CE2B27C4-DD0D-C478-B2E7-DE340E72DBF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00" creationId="{457F6A28-8440-DECC-1EC6-086A00EA6FD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01" creationId="{08A520C8-C635-D52B-D931-BB76E4E1C88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02" creationId="{FE12D4BA-D3A2-8D41-1F0E-F2C0CDA4C9A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03" creationId="{94788E7D-B041-58A2-3C98-B26E8C3E2A9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04" creationId="{1526B1A7-ED10-74C8-F2B9-95C2E7346BD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05" creationId="{D552D221-67D0-337A-C41C-F91979E87666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06" creationId="{27FFAABE-511D-56D0-6DD9-9A62A162C442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07" creationId="{1C7E0658-FE13-A8CC-C2F9-309C5C4F68B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08" creationId="{6F88BF3D-6B14-8CD0-D217-E46EE38389E1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09" creationId="{F6CB6E3F-6921-8898-6480-3FFA3EA2727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10" creationId="{E7F85298-126B-1065-9346-30A3817EAE03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11" creationId="{84E679B0-7D57-FBEA-9A1D-083202764444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12" creationId="{B8A74277-8CD0-DE0A-AC7C-D6D0CFD0FACA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13" creationId="{84B408E3-C1D7-CB6B-CB35-86C9FC1B8637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14" creationId="{44B6EAA2-FCED-DB5A-B704-46B9F8B8B670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15" creationId="{18A447BC-1F30-94A4-789F-42C7973706DC}"/>
          </ac:spMkLst>
        </pc:spChg>
        <pc:spChg chg="mod">
          <ac:chgData name="Andreas Sørensen" userId="9eb534fe-c0aa-4bc0-9975-c3800bc5cc37" providerId="ADAL" clId="{59523D37-4E8D-463F-A76D-E8E2171E9EFA}" dt="2024-09-17T07:23:20.863" v="427" actId="207"/>
          <ac:spMkLst>
            <pc:docMk/>
            <pc:sldMk cId="1051060535" sldId="2147480698"/>
            <ac:spMk id="516" creationId="{16B1F53B-71B8-A9C2-5A93-D181023694E9}"/>
          </ac:spMkLst>
        </pc:spChg>
        <pc:spChg chg="add mod ord">
          <ac:chgData name="Andreas Sørensen" userId="9eb534fe-c0aa-4bc0-9975-c3800bc5cc37" providerId="ADAL" clId="{59523D37-4E8D-463F-A76D-E8E2171E9EFA}" dt="2024-09-17T07:25:24.066" v="518" actId="207"/>
          <ac:spMkLst>
            <pc:docMk/>
            <pc:sldMk cId="1051060535" sldId="2147480698"/>
            <ac:spMk id="517" creationId="{3102A5B5-9B34-8F4F-DE9A-DDBAE1C3C424}"/>
          </ac:spMkLst>
        </pc:spChg>
        <pc:grpChg chg="add mod ord">
          <ac:chgData name="Andreas Sørensen" userId="9eb534fe-c0aa-4bc0-9975-c3800bc5cc37" providerId="ADAL" clId="{59523D37-4E8D-463F-A76D-E8E2171E9EFA}" dt="2024-09-17T07:25:01.351" v="487" actId="164"/>
          <ac:grpSpMkLst>
            <pc:docMk/>
            <pc:sldMk cId="1051060535" sldId="2147480698"/>
            <ac:grpSpMk id="16" creationId="{CDEA4E49-81D1-6DB5-2294-3B05FA537E94}"/>
          </ac:grpSpMkLst>
        </pc:grpChg>
        <pc:grpChg chg="add mod">
          <ac:chgData name="Andreas Sørensen" userId="9eb534fe-c0aa-4bc0-9975-c3800bc5cc37" providerId="ADAL" clId="{59523D37-4E8D-463F-A76D-E8E2171E9EFA}" dt="2024-09-17T07:25:01.351" v="487" actId="164"/>
          <ac:grpSpMkLst>
            <pc:docMk/>
            <pc:sldMk cId="1051060535" sldId="2147480698"/>
            <ac:grpSpMk id="518" creationId="{F787EAAF-F71E-7673-8C4A-3F9FAE8E9B82}"/>
          </ac:grpSpMkLst>
        </pc:grpChg>
      </pc:sldChg>
      <pc:sldChg chg="modSp mod modTransition">
        <pc:chgData name="Andreas Sørensen" userId="9eb534fe-c0aa-4bc0-9975-c3800bc5cc37" providerId="ADAL" clId="{59523D37-4E8D-463F-A76D-E8E2171E9EFA}" dt="2024-09-17T07:42:02.417" v="537"/>
        <pc:sldMkLst>
          <pc:docMk/>
          <pc:sldMk cId="2100271150" sldId="2147480699"/>
        </pc:sldMkLst>
        <pc:spChg chg="mod">
          <ac:chgData name="Andreas Sørensen" userId="9eb534fe-c0aa-4bc0-9975-c3800bc5cc37" providerId="ADAL" clId="{59523D37-4E8D-463F-A76D-E8E2171E9EFA}" dt="2024-09-17T07:19:36.126" v="401" actId="20577"/>
          <ac:spMkLst>
            <pc:docMk/>
            <pc:sldMk cId="2100271150" sldId="2147480699"/>
            <ac:spMk id="5" creationId="{EF19D87D-7C20-765A-3C14-E9DD998CA60F}"/>
          </ac:spMkLst>
        </pc:spChg>
        <pc:spChg chg="mod">
          <ac:chgData name="Andreas Sørensen" userId="9eb534fe-c0aa-4bc0-9975-c3800bc5cc37" providerId="ADAL" clId="{59523D37-4E8D-463F-A76D-E8E2171E9EFA}" dt="2024-09-17T07:19:28.872" v="399" actId="2711"/>
          <ac:spMkLst>
            <pc:docMk/>
            <pc:sldMk cId="2100271150" sldId="2147480699"/>
            <ac:spMk id="8" creationId="{DAE97BAC-9984-AA54-9D8E-806548E0C237}"/>
          </ac:spMkLst>
        </pc:spChg>
      </pc:sldChg>
      <pc:sldChg chg="addSp modSp add mod modTransition">
        <pc:chgData name="Andreas Sørensen" userId="9eb534fe-c0aa-4bc0-9975-c3800bc5cc37" providerId="ADAL" clId="{59523D37-4E8D-463F-A76D-E8E2171E9EFA}" dt="2024-09-17T07:42:02.417" v="537"/>
        <pc:sldMkLst>
          <pc:docMk/>
          <pc:sldMk cId="635546069" sldId="2147480700"/>
        </pc:sldMkLst>
        <pc:picChg chg="add mod modCrop">
          <ac:chgData name="Andreas Sørensen" userId="9eb534fe-c0aa-4bc0-9975-c3800bc5cc37" providerId="ADAL" clId="{59523D37-4E8D-463F-A76D-E8E2171E9EFA}" dt="2024-09-17T07:38:02.122" v="534" actId="1076"/>
          <ac:picMkLst>
            <pc:docMk/>
            <pc:sldMk cId="635546069" sldId="2147480700"/>
            <ac:picMk id="3" creationId="{B1388002-DB29-2B43-989B-7CD26AE0DACE}"/>
          </ac:picMkLst>
        </pc:picChg>
        <pc:picChg chg="mod modCrop">
          <ac:chgData name="Andreas Sørensen" userId="9eb534fe-c0aa-4bc0-9975-c3800bc5cc37" providerId="ADAL" clId="{59523D37-4E8D-463F-A76D-E8E2171E9EFA}" dt="2024-09-17T07:37:50.666" v="532" actId="732"/>
          <ac:picMkLst>
            <pc:docMk/>
            <pc:sldMk cId="635546069" sldId="2147480700"/>
            <ac:picMk id="6" creationId="{F3886894-C975-3C01-C849-54C6DA4B6288}"/>
          </ac:picMkLst>
        </pc:picChg>
      </pc:sldChg>
      <pc:sldChg chg="addSp delSp modSp add mod delAnim">
        <pc:chgData name="Andreas Sørensen" userId="9eb534fe-c0aa-4bc0-9975-c3800bc5cc37" providerId="ADAL" clId="{59523D37-4E8D-463F-A76D-E8E2171E9EFA}" dt="2024-09-17T14:34:04.505" v="556" actId="478"/>
        <pc:sldMkLst>
          <pc:docMk/>
          <pc:sldMk cId="832134525" sldId="2147480701"/>
        </pc:sldMkLst>
        <pc:spChg chg="del">
          <ac:chgData name="Andreas Sørensen" userId="9eb534fe-c0aa-4bc0-9975-c3800bc5cc37" providerId="ADAL" clId="{59523D37-4E8D-463F-A76D-E8E2171E9EFA}" dt="2024-09-17T14:34:04.505" v="556" actId="478"/>
          <ac:spMkLst>
            <pc:docMk/>
            <pc:sldMk cId="832134525" sldId="2147480701"/>
            <ac:spMk id="5" creationId="{91CC6A9F-9BF4-AE32-A0DB-27060F08979A}"/>
          </ac:spMkLst>
        </pc:spChg>
        <pc:spChg chg="del">
          <ac:chgData name="Andreas Sørensen" userId="9eb534fe-c0aa-4bc0-9975-c3800bc5cc37" providerId="ADAL" clId="{59523D37-4E8D-463F-A76D-E8E2171E9EFA}" dt="2024-09-17T14:34:03.310" v="554" actId="478"/>
          <ac:spMkLst>
            <pc:docMk/>
            <pc:sldMk cId="832134525" sldId="2147480701"/>
            <ac:spMk id="6" creationId="{1B4F9C33-12D3-1ECB-11B9-B8D91C72F96C}"/>
          </ac:spMkLst>
        </pc:spChg>
        <pc:spChg chg="del">
          <ac:chgData name="Andreas Sørensen" userId="9eb534fe-c0aa-4bc0-9975-c3800bc5cc37" providerId="ADAL" clId="{59523D37-4E8D-463F-A76D-E8E2171E9EFA}" dt="2024-09-17T14:33:59.367" v="551" actId="478"/>
          <ac:spMkLst>
            <pc:docMk/>
            <pc:sldMk cId="832134525" sldId="2147480701"/>
            <ac:spMk id="9" creationId="{3E8E166C-2A24-3957-F62C-07F9A377F592}"/>
          </ac:spMkLst>
        </pc:spChg>
        <pc:spChg chg="del">
          <ac:chgData name="Andreas Sørensen" userId="9eb534fe-c0aa-4bc0-9975-c3800bc5cc37" providerId="ADAL" clId="{59523D37-4E8D-463F-A76D-E8E2171E9EFA}" dt="2024-09-17T14:34:01.127" v="552" actId="478"/>
          <ac:spMkLst>
            <pc:docMk/>
            <pc:sldMk cId="832134525" sldId="2147480701"/>
            <ac:spMk id="10" creationId="{808C52C9-1986-19FB-56A5-E12A3A3BAD6D}"/>
          </ac:spMkLst>
        </pc:spChg>
        <pc:picChg chg="del">
          <ac:chgData name="Andreas Sørensen" userId="9eb534fe-c0aa-4bc0-9975-c3800bc5cc37" providerId="ADAL" clId="{59523D37-4E8D-463F-A76D-E8E2171E9EFA}" dt="2024-09-17T14:33:54.166" v="550" actId="478"/>
          <ac:picMkLst>
            <pc:docMk/>
            <pc:sldMk cId="832134525" sldId="2147480701"/>
            <ac:picMk id="4" creationId="{D52F631D-F805-869C-03FA-A13DA24B3D71}"/>
          </ac:picMkLst>
        </pc:picChg>
        <pc:picChg chg="add mod ord">
          <ac:chgData name="Andreas Sørensen" userId="9eb534fe-c0aa-4bc0-9975-c3800bc5cc37" providerId="ADAL" clId="{59523D37-4E8D-463F-A76D-E8E2171E9EFA}" dt="2024-09-17T14:33:52.231" v="549" actId="167"/>
          <ac:picMkLst>
            <pc:docMk/>
            <pc:sldMk cId="832134525" sldId="2147480701"/>
            <ac:picMk id="7" creationId="{6D753B77-5E35-8D39-AD69-B0F8F82DD811}"/>
          </ac:picMkLst>
        </pc:picChg>
        <pc:cxnChg chg="del">
          <ac:chgData name="Andreas Sørensen" userId="9eb534fe-c0aa-4bc0-9975-c3800bc5cc37" providerId="ADAL" clId="{59523D37-4E8D-463F-A76D-E8E2171E9EFA}" dt="2024-09-17T14:34:03.982" v="555" actId="478"/>
          <ac:cxnSpMkLst>
            <pc:docMk/>
            <pc:sldMk cId="832134525" sldId="2147480701"/>
            <ac:cxnSpMk id="8" creationId="{527A720E-AEE2-53BE-7909-66BF738B1C62}"/>
          </ac:cxnSpMkLst>
        </pc:cxnChg>
        <pc:cxnChg chg="del">
          <ac:chgData name="Andreas Sørensen" userId="9eb534fe-c0aa-4bc0-9975-c3800bc5cc37" providerId="ADAL" clId="{59523D37-4E8D-463F-A76D-E8E2171E9EFA}" dt="2024-09-17T14:34:01.757" v="553" actId="478"/>
          <ac:cxnSpMkLst>
            <pc:docMk/>
            <pc:sldMk cId="832134525" sldId="2147480701"/>
            <ac:cxnSpMk id="11" creationId="{63C6C2F3-81B6-4962-418D-3690E6E34E19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0113317218623912"/>
          <c:y val="5.9205451817696368E-2"/>
          <c:w val="0.41544274529524444"/>
          <c:h val="0.8815890963646072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ta</c:v>
                </c:pt>
              </c:strCache>
            </c:strRef>
          </c:tx>
          <c:spPr>
            <a:solidFill>
              <a:srgbClr val="66C4F6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E2D0D13-50E6-4734-AFF6-10A9C7B49623}" type="CELLRANGE">
                      <a:rPr lang="en-US" dirty="0"/>
                      <a:pPr/>
                      <a:t>[CELLRANGE]</a:t>
                    </a:fld>
                    <a:endParaRPr lang="da-DK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C77B-45AD-845A-D0B5F92929B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CE7FAED9-50FF-4537-9AA2-510116146AA2}" type="CELLRANGE">
                      <a:rPr lang="en-US"/>
                      <a:pPr/>
                      <a:t>[CELLRANGE]</a:t>
                    </a:fld>
                    <a:endParaRPr lang="da-DK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C77B-45AD-845A-D0B5F92929B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DB3C06F2-70BA-4FB7-9736-4E9186BB337C}" type="CELLRANGE">
                      <a:rPr lang="da-DK"/>
                      <a:pPr/>
                      <a:t>[CELLRANGE]</a:t>
                    </a:fld>
                    <a:endParaRPr lang="da-DK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C77B-45AD-845A-D0B5F92929B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1EB6E4D-9E3B-4E76-BFA8-1B7EB4D41787}" type="CELLRANGE">
                      <a:rPr lang="da-DK"/>
                      <a:pPr/>
                      <a:t>[CELLRANGE]</a:t>
                    </a:fld>
                    <a:endParaRPr lang="da-DK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C77B-45AD-845A-D0B5F92929B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7254E79D-42EF-42E0-BC62-4E42AFF82090}" type="CELLRANGE">
                      <a:rPr lang="da-DK"/>
                      <a:pPr/>
                      <a:t>[CELLRANGE]</a:t>
                    </a:fld>
                    <a:endParaRPr lang="da-DK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C77B-45AD-845A-D0B5F92929B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63DC8788-8552-4CFD-9D0F-FB7279F8A832}" type="CELLRANGE">
                      <a:rPr lang="da-DK"/>
                      <a:pPr/>
                      <a:t>[CELLRANGE]</a:t>
                    </a:fld>
                    <a:endParaRPr lang="da-DK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C77B-45AD-845A-D0B5F92929BD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F0D6731A-5B93-4F3E-8509-67B960E88C50}" type="CELLRANGE">
                      <a:rPr lang="da-DK"/>
                      <a:pPr/>
                      <a:t>[CELLRANGE]</a:t>
                    </a:fld>
                    <a:endParaRPr lang="da-DK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C77B-45AD-845A-D0B5F92929BD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00A9D477-5D82-47B9-ACEE-D3251D0F3CFB}" type="CELLRANGE">
                      <a:rPr lang="da-DK"/>
                      <a:pPr/>
                      <a:t>[CELLRANGE]</a:t>
                    </a:fld>
                    <a:endParaRPr lang="da-DK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C77B-45AD-845A-D0B5F92929BD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CFA8FA45-0E4B-4CED-83CC-6CA3C284F76F}" type="CELLRANGE">
                      <a:rPr lang="da-DK"/>
                      <a:pPr/>
                      <a:t>[CELLRANGE]</a:t>
                    </a:fld>
                    <a:endParaRPr lang="da-DK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C77B-45AD-845A-D0B5F92929BD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68DBC07-7AF1-4EAC-AB81-589D26F2A953}" type="CELLRANGE">
                      <a:rPr lang="da-DK"/>
                      <a:pPr/>
                      <a:t>[CELLRANGE]</a:t>
                    </a:fld>
                    <a:endParaRPr lang="da-DK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3D8E-4C52-BD5F-5D81503FDB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rgbClr val="273943"/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Denmark</c:v>
                </c:pt>
                <c:pt idx="1">
                  <c:v>Finland</c:v>
                </c:pt>
                <c:pt idx="2">
                  <c:v>Americas</c:v>
                </c:pt>
                <c:pt idx="3">
                  <c:v>India</c:v>
                </c:pt>
                <c:pt idx="4">
                  <c:v>Sweden</c:v>
                </c:pt>
                <c:pt idx="5">
                  <c:v>Norway</c:v>
                </c:pt>
                <c:pt idx="6">
                  <c:v>United Kingdom</c:v>
                </c:pt>
                <c:pt idx="7">
                  <c:v>Germany</c:v>
                </c:pt>
                <c:pt idx="8">
                  <c:v>CEMEA</c:v>
                </c:pt>
                <c:pt idx="9">
                  <c:v>APAC</c:v>
                </c:pt>
              </c:strCache>
            </c:strRef>
          </c:cat>
          <c:val>
            <c:numRef>
              <c:f>Sheet1!$B$2:$B$11</c:f>
              <c:numCache>
                <c:formatCode>#,##0</c:formatCode>
                <c:ptCount val="10"/>
                <c:pt idx="0">
                  <c:v>4374</c:v>
                </c:pt>
                <c:pt idx="1">
                  <c:v>2520</c:v>
                </c:pt>
                <c:pt idx="2">
                  <c:v>2154</c:v>
                </c:pt>
                <c:pt idx="3">
                  <c:v>1939</c:v>
                </c:pt>
                <c:pt idx="4">
                  <c:v>1834</c:v>
                </c:pt>
                <c:pt idx="5">
                  <c:v>1632</c:v>
                </c:pt>
                <c:pt idx="6">
                  <c:v>1599</c:v>
                </c:pt>
                <c:pt idx="7">
                  <c:v>1054</c:v>
                </c:pt>
                <c:pt idx="8">
                  <c:v>741</c:v>
                </c:pt>
                <c:pt idx="9">
                  <c:v>45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B$2:$B$12</c15:f>
                <c15:dlblRangeCache>
                  <c:ptCount val="11"/>
                  <c:pt idx="0">
                    <c:v>4,374</c:v>
                  </c:pt>
                  <c:pt idx="1">
                    <c:v>2,520</c:v>
                  </c:pt>
                  <c:pt idx="2">
                    <c:v>2,154</c:v>
                  </c:pt>
                  <c:pt idx="3">
                    <c:v>1,939</c:v>
                  </c:pt>
                  <c:pt idx="4">
                    <c:v>1,834</c:v>
                  </c:pt>
                  <c:pt idx="5">
                    <c:v>1,632</c:v>
                  </c:pt>
                  <c:pt idx="6">
                    <c:v>1,599</c:v>
                  </c:pt>
                  <c:pt idx="7">
                    <c:v>1,054</c:v>
                  </c:pt>
                  <c:pt idx="8">
                    <c:v>741</c:v>
                  </c:pt>
                  <c:pt idx="9">
                    <c:v>454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9-C77B-45AD-845A-D0B5F92929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140787832"/>
        <c:axId val="2140794312"/>
      </c:barChart>
      <c:catAx>
        <c:axId val="214078783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273943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2140794312"/>
        <c:crosses val="autoZero"/>
        <c:auto val="1"/>
        <c:lblAlgn val="ctr"/>
        <c:lblOffset val="100"/>
        <c:noMultiLvlLbl val="0"/>
      </c:catAx>
      <c:valAx>
        <c:axId val="2140794312"/>
        <c:scaling>
          <c:orientation val="minMax"/>
        </c:scaling>
        <c:delete val="0"/>
        <c:axPos val="t"/>
        <c:numFmt formatCode="#,##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rgbClr val="273943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2140787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rgbClr val="273943"/>
          </a:solidFill>
        </a:defRPr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61ADCD-0986-466F-BCF4-F140374402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AD45B1-DDA3-4823-B57F-398ED6D7CE5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42B987-EC31-4746-B4E6-062CD7AA3A1A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3B3C53-DC75-4A5C-81E7-5D7CB96E12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BF6EE6-6533-46A0-A8FB-DBC252423243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1B013-C79C-4BAB-9591-CE1E1BF2A9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838611-CB23-4A11-B466-01829FB3E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1D025B-ACD2-45C1-B156-1DDB470CE319}" type="slidenum">
              <a:rPr lang="en-GB" smtClean="0"/>
              <a:t>‹#›</a:t>
            </a:fld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F8BE06-C1AD-4FF4-9212-678516BAB9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410225-CB48-4A2A-9739-463AD2DBC3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25BBF7-0B0C-48D4-ABAA-EF360EF241C5}" type="datetime1">
              <a:rPr lang="en-GB" smtClean="0"/>
              <a:t>17/09/2024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668863D3-1D0C-412C-99BB-873840116A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5E44B7E2-ED93-42BE-81A6-FE398D91C1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691570-C65F-4C66-9CB2-8798BF7E897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/>
              <a:t>3</a:t>
            </a:fld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67315C92-B580-466F-B1F8-2C1483048788}" type="datetime1">
              <a:rPr lang="en-GB"/>
              <a:t>17/09/2024</a:t>
            </a:fld>
            <a:endParaRPr lang="en-GB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40027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6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17/09/2024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41306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7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17/09/2024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55475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8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17/09/2024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5096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9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17/09/2024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66294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1D025B-ACD2-45C1-B156-1DDB470CE319}" type="slidenum">
              <a:rPr lang="en-GB" smtClean="0"/>
              <a:t>11</a:t>
            </a:fld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D325BBF7-0B0C-48D4-ABAA-EF360EF241C5}" type="datetime1">
              <a:rPr lang="en-GB" smtClean="0"/>
              <a:t>17/09/2024</a:t>
            </a:fld>
            <a:endParaRPr lang="en-GB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47796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0.png"/><Relationship Id="rId10" Type="http://schemas.openxmlformats.org/officeDocument/2006/relationships/image" Target="../media/image16.png"/><Relationship Id="rId4" Type="http://schemas.openxmlformats.org/officeDocument/2006/relationships/image" Target="../media/image9.png"/><Relationship Id="rId9" Type="http://schemas.openxmlformats.org/officeDocument/2006/relationships/image" Target="../media/image15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903C8B-6A03-40C4-AD50-AACDEC5FDA0C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5DCE21D-C322-4B21-A60A-71E6E2C54D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200" y="0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245058 h 6861600"/>
              <a:gd name="connsiteX5" fmla="*/ 1 w 12193200"/>
              <a:gd name="connsiteY5" fmla="*/ 2245058 h 6861600"/>
              <a:gd name="connsiteX6" fmla="*/ 1 w 12193200"/>
              <a:gd name="connsiteY6" fmla="*/ 3378783 h 6861600"/>
              <a:gd name="connsiteX7" fmla="*/ 3519949 w 12193200"/>
              <a:gd name="connsiteY7" fmla="*/ 3378783 h 6861600"/>
              <a:gd name="connsiteX8" fmla="*/ 3519949 w 12193200"/>
              <a:gd name="connsiteY8" fmla="*/ 2245058 h 6861600"/>
              <a:gd name="connsiteX9" fmla="*/ 6275387 w 12193200"/>
              <a:gd name="connsiteY9" fmla="*/ 224505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245058"/>
                </a:lnTo>
                <a:lnTo>
                  <a:pt x="1" y="2245058"/>
                </a:lnTo>
                <a:lnTo>
                  <a:pt x="1" y="3378783"/>
                </a:lnTo>
                <a:lnTo>
                  <a:pt x="3519949" y="3378783"/>
                </a:lnTo>
                <a:lnTo>
                  <a:pt x="3519949" y="2245058"/>
                </a:lnTo>
                <a:lnTo>
                  <a:pt x="6275387" y="224505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358842"/>
            <a:ext cx="5094915" cy="151200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  <a:endParaRPr lang="en-GB"/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F3BE45C-E4DE-42B7-B25F-83E216F00A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64292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1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CC7FD-8EF4-43FC-BAB3-47E907F17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8F052-B495-40BE-9682-094846479C8E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C6AF5-5886-488E-94AF-540306D52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05638-6A02-4F90-BE63-DA3C1ABD6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18371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B33E8C-77AA-45CF-BAED-72698ECB867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4799" y="1829496"/>
            <a:ext cx="55584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C9864-BFD0-4574-B370-8DFD1BF6363B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077399-E20C-4E2D-ABA6-E98BC4B14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7015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D1FB72-4098-4689-9361-6F1734C49467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3583349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3" y="1829496"/>
            <a:ext cx="752948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41A0D-1A7D-4418-872D-0A573109AE3D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24427-B940-40D0-B905-8D8D27971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9157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5F7E35-11CE-4F15-B222-DEDB33EE33A5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247063" y="1829496"/>
            <a:ext cx="3586135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999" y="1829496"/>
            <a:ext cx="75240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30481-804D-4542-835F-93D05E69FE5F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B64688-EF18-4F0E-8937-7DCB334BA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4044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82D290-910D-44B1-91A3-31A92E9BCB8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4799" y="1829496"/>
            <a:ext cx="5558400" cy="4294800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E84024-A9C5-4508-AFCD-8D104EF764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BF43399-B145-4BBC-AF2A-C9EC8B4305A6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B2F8F-9F9B-42D4-A558-CAD2544BFE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5FB-27BA-4F64-94C0-20040B8BCF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37FCD8-5A4A-4089-A17B-F334A5974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6481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3352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2" y="1829496"/>
            <a:ext cx="3582987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47063" y="1829496"/>
            <a:ext cx="358457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74F0F3-9842-478D-99B7-277D0E19CEC9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CB6F92-9067-4F04-94D8-F7763241F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475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191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83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C11E749-AE1E-4399-8F9B-3CD1A336BEF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237599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3B4BAF-2B92-4850-839C-D15349852EB5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EBD53E-C155-468A-BF38-271FB0741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1030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E9F99B-72CE-4388-A07E-16E4FCA34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984BEEF-AC3D-4E0F-9E5A-7B1D1E9410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8383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32555A-FE40-40E8-A71D-91AFA7E97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7991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3477BD4-C018-4A4A-A1E7-1BDA53EDD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7599" y="3883843"/>
            <a:ext cx="2595600" cy="2240732"/>
          </a:xfrm>
        </p:spPr>
        <p:txBody>
          <a:bodyPr/>
          <a:lstStyle/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8D1B62-08BD-49AB-8756-078500D817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9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7E426B3-007C-4DCD-B395-04C274D484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91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826721D-67F8-4284-AA9F-4B3CCE1F525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783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1DEFE19-EE06-43A9-A968-EE248DB75F7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37599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B5352C5-81EC-4100-8EF4-0409291AC406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7A819-D59E-4FB0-B4D8-4B50F3690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716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4F6F59-6CB3-4166-9CD8-0F5BCD967261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4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E1FB56-AB97-4B01-A917-7353F3799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9" cy="93825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2620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CEA19-5171-4127-A28C-C6D875C2D7D4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6963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B42BF88-9EAB-4FF1-8C7D-3D1A57D94546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6F7659C-7B1E-49FB-B560-86891DD563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780908 h 6861600"/>
              <a:gd name="connsiteX5" fmla="*/ 1 w 12193200"/>
              <a:gd name="connsiteY5" fmla="*/ 2780908 h 6861600"/>
              <a:gd name="connsiteX6" fmla="*/ 1 w 12193200"/>
              <a:gd name="connsiteY6" fmla="*/ 3934964 h 6861600"/>
              <a:gd name="connsiteX7" fmla="*/ 3519949 w 12193200"/>
              <a:gd name="connsiteY7" fmla="*/ 3934964 h 6861600"/>
              <a:gd name="connsiteX8" fmla="*/ 3519949 w 12193200"/>
              <a:gd name="connsiteY8" fmla="*/ 2780908 h 6861600"/>
              <a:gd name="connsiteX9" fmla="*/ 6275387 w 12193200"/>
              <a:gd name="connsiteY9" fmla="*/ 278090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780908"/>
                </a:lnTo>
                <a:lnTo>
                  <a:pt x="1" y="2780908"/>
                </a:lnTo>
                <a:lnTo>
                  <a:pt x="1" y="3934964"/>
                </a:lnTo>
                <a:lnTo>
                  <a:pt x="3519949" y="3934964"/>
                </a:lnTo>
                <a:lnTo>
                  <a:pt x="3519949" y="2780908"/>
                </a:lnTo>
                <a:lnTo>
                  <a:pt x="6275387" y="278090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338370"/>
            <a:ext cx="5094000" cy="1723004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7742" y="2163337"/>
            <a:ext cx="5094000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  <a:endParaRPr lang="en-GB"/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BE643BFE-CC71-4C45-A510-41469C9CD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20508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286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4162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8067982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000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1999" y="1829496"/>
            <a:ext cx="3589198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51198" y="1829496"/>
            <a:ext cx="3582001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AB6B10-3B1D-4A83-ABAF-2B5A7A4DE6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67BCEC0-92C2-4FF9-A782-344903368E13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0EB1FC-C5EB-4C51-82E0-EA7BDC127E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3EF062-88CB-43A8-9F24-FA8FE9948D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Lav dynamik">
            <a:extLst>
              <a:ext uri="{FF2B5EF4-FFF2-40B4-BE49-F238E27FC236}">
                <a16:creationId xmlns:a16="http://schemas.microsoft.com/office/drawing/2014/main" id="{1107FA97-AB49-4F73-B2DC-C8F68A25BF4B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3665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D1594-E68D-46B5-98E0-BADEBF2D8E2F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2322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47831-B728-45B5-9E64-16620CFD5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A58E6-12DB-4BF0-8165-AE5E60E9367A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B497-E060-4BFF-B186-5D99D377E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DF8674-639A-429C-8B67-B36876945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Lav dynamik">
            <a:extLst>
              <a:ext uri="{FF2B5EF4-FFF2-40B4-BE49-F238E27FC236}">
                <a16:creationId xmlns:a16="http://schemas.microsoft.com/office/drawing/2014/main" id="{25BA861B-AC5B-40E5-BBC1-791F84A5A56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3307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04988D6-6DD0-4C39-8AE1-A7E25B5D1BF4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005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C7F6929-E9B5-46A3-B5E9-6150C85426CE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7528571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B50B2CC-7292-40E5-983B-8C9FE3719D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6A8F7E-A651-41D6-98A1-26DD4B538840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62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9FA29BE-106E-4609-97DE-EDE0B0C087F7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4C8BD0-DD5C-4489-9629-555B91865A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829496"/>
            <a:ext cx="7525224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4620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EFAF684-C611-4113-B7D5-C3E527F22C4F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7527600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EF9E6FF-7726-40A8-94EA-A29CB944A47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80825-6800-4756-8533-D472E6030F49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830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756EBC4B-94DD-497B-89B0-BFABB76B7F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4B04AE4-03BB-4174-AD21-7567A4C959F4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278ED99F-3EB8-45AB-B54D-DDBD71FB06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C42D2E8-535A-4E76-941E-2AB83D872A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000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2737" cy="144000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5920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6000"/>
          </a:xfrm>
        </p:spPr>
        <p:txBody>
          <a:bodyPr/>
          <a:lstStyle/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7DB29-13FA-4B09-A099-DDC9A2370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A46E679-721E-4A44-A034-B3833441D488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3E84-2C35-47EE-9E5D-0C16556B1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A470A-F824-4C76-B4D6-585485AA2D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0505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8">
          <p15:clr>
            <a:srgbClr val="FBAE40"/>
          </p15:clr>
        </p15:guide>
        <p15:guide id="2" pos="248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D06D66A-00D9-479B-9856-27577BF36107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1AB11E3-DCD9-468D-AF31-A1154B6373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1 h 6861600"/>
              <a:gd name="connsiteX5" fmla="*/ 5915025 w 12193200"/>
              <a:gd name="connsiteY5" fmla="*/ 6858001 h 6861600"/>
              <a:gd name="connsiteX6" fmla="*/ 5915025 w 12193200"/>
              <a:gd name="connsiteY6" fmla="*/ 4077093 h 6861600"/>
              <a:gd name="connsiteX7" fmla="*/ 3519949 w 12193200"/>
              <a:gd name="connsiteY7" fmla="*/ 4077093 h 6861600"/>
              <a:gd name="connsiteX8" fmla="*/ 3519949 w 12193200"/>
              <a:gd name="connsiteY8" fmla="*/ 2975066 h 6861600"/>
              <a:gd name="connsiteX9" fmla="*/ 1 w 12193200"/>
              <a:gd name="connsiteY9" fmla="*/ 2975066 h 6861600"/>
              <a:gd name="connsiteX10" fmla="*/ 1 w 12193200"/>
              <a:gd name="connsiteY10" fmla="*/ 4077093 h 6861600"/>
              <a:gd name="connsiteX11" fmla="*/ 0 w 12193200"/>
              <a:gd name="connsiteY11" fmla="*/ 4077093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5915025" y="6858001"/>
                </a:lnTo>
                <a:lnTo>
                  <a:pt x="5915025" y="4077093"/>
                </a:lnTo>
                <a:lnTo>
                  <a:pt x="3519949" y="4077093"/>
                </a:lnTo>
                <a:lnTo>
                  <a:pt x="3519949" y="2975066"/>
                </a:lnTo>
                <a:lnTo>
                  <a:pt x="1" y="2975066"/>
                </a:lnTo>
                <a:lnTo>
                  <a:pt x="1" y="4077093"/>
                </a:lnTo>
                <a:lnTo>
                  <a:pt x="0" y="4077093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4472085"/>
            <a:ext cx="4734000" cy="117624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  <a:endParaRPr lang="en-GB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4561A69-5067-410B-91C5-BE4B74B22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860800"/>
            <a:ext cx="4734000" cy="544705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  <a:endParaRPr lang="en-GB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B01D38AB-220F-4FC4-8219-927BC28D8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361634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6716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B362E88C-9EAD-4C11-BE6B-5CB3B41E802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6C1ADEE-7B52-423A-9878-0398FEFAF71F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42646B51-B8EC-41E6-905C-2EA91C894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0800" y="0"/>
            <a:ext cx="69012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4573774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4573774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1043"/>
            <a:ext cx="3588036" cy="221755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556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1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284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9755" y="654051"/>
            <a:ext cx="6531741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9755" y="3352800"/>
            <a:ext cx="6531741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54FEB-C389-4653-B226-8CADC584E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D627AC-F023-4E38-BBE2-8CC6A4B15F9B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3BFA0-A0B2-46DF-BB77-1FCE2156E1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89755" y="6438798"/>
            <a:ext cx="493024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52393-FFA4-4674-9424-10C04085B8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8981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0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image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35C0182F-ADAB-42FE-8E3F-6E031EAC24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91AE312-9C38-4B88-A1BD-03872F0FCB4A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1B428ADB-22C2-4C2B-9198-91AE2BA16A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01198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7354"/>
            <a:ext cx="5198435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Lav dynamik">
            <a:extLst>
              <a:ext uri="{FF2B5EF4-FFF2-40B4-BE49-F238E27FC236}">
                <a16:creationId xmlns:a16="http://schemas.microsoft.com/office/drawing/2014/main" id="{1A0DCCFC-0F80-4FEA-BB6A-651AF6A10A44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51567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FEDDE2A4-F6B9-48F4-9D70-713FCBC801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50802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50802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8D1D58-AB37-4343-ADE9-EEBE954DF792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7920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8225" y="654051"/>
            <a:ext cx="4563272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58225" y="3352800"/>
            <a:ext cx="4563272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3407EFD-739B-433D-AABC-B74FC5DD659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6184172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03372A-7FA0-487B-AC8F-173641FF6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93368-26E3-4532-8FD8-7B783022E688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5200209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04AFF32-2AA2-423E-A356-4B61B59F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54F492D0-8979-441C-B481-C115B7F6449C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3085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-1" y="0"/>
            <a:ext cx="4303713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FF4A83-F11D-4BA4-ACA2-28A4736CF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E3A26-CACC-472F-999E-6CEDC51DAFFB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F72C8-12DE-429B-98AC-66256B00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6" y="6438798"/>
            <a:ext cx="5558003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F8271F6-50AB-44A1-9998-6F78F158F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6D075D77-F3B6-4EB5-9E52-AB5745AED53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1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4093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8399" y="654050"/>
            <a:ext cx="6184800" cy="2349449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48399" y="3352800"/>
            <a:ext cx="6184800" cy="2772697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9341C1-1ACE-4D5F-954C-E2A9E304D5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3212C7-A548-4370-9C24-272889F12011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03AEF-76B9-47EF-ADA3-08AB46B868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48399" y="6438798"/>
            <a:ext cx="4571601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036FE6-E32E-4510-9DFD-1E15852327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9627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0BD52F-5F30-4092-B6BD-BC68EBA80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3CB94-5BA6-4B5C-8025-21D6F4E52D5E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3160CC-677A-4E30-9B6F-4DD30FA62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BF8DDD7-7966-45A0-AD48-A99BD1B4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A4A15578-12D5-4CA3-AE58-36E6DB03E8B8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9807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D73515-F0A6-4B30-A688-5D4CF44B9186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61225" y="6367354"/>
            <a:ext cx="2957513" cy="215444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6435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AE0849-ADA5-4C35-BD3D-32AEC0275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065B1-CCC8-4072-99B6-C71232109F4F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B1FEE-9EFB-4823-A0D2-ECFD3E90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4A6979C-ADCB-4300-A9EA-07138DC93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B1EEDA58-6175-4232-A50D-8C1F8D8DDEA6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3077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D3E1E10-4E6B-4C9C-B68B-DC96BC56ABFC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392B3FA-4A45-49A0-A3FB-2000E37DA9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2 h 6861600"/>
              <a:gd name="connsiteX5" fmla="*/ 5762624 w 12193200"/>
              <a:gd name="connsiteY5" fmla="*/ 6858002 h 6861600"/>
              <a:gd name="connsiteX6" fmla="*/ 5762624 w 12193200"/>
              <a:gd name="connsiteY6" fmla="*/ 6858001 h 6861600"/>
              <a:gd name="connsiteX7" fmla="*/ 5915025 w 12193200"/>
              <a:gd name="connsiteY7" fmla="*/ 6858001 h 6861600"/>
              <a:gd name="connsiteX8" fmla="*/ 5915025 w 12193200"/>
              <a:gd name="connsiteY8" fmla="*/ 4501189 h 6861600"/>
              <a:gd name="connsiteX9" fmla="*/ 5762624 w 12193200"/>
              <a:gd name="connsiteY9" fmla="*/ 4501189 h 6861600"/>
              <a:gd name="connsiteX10" fmla="*/ 5762624 w 12193200"/>
              <a:gd name="connsiteY10" fmla="*/ 4495802 h 6861600"/>
              <a:gd name="connsiteX11" fmla="*/ 3519949 w 12193200"/>
              <a:gd name="connsiteY11" fmla="*/ 4495802 h 6861600"/>
              <a:gd name="connsiteX12" fmla="*/ 3519949 w 12193200"/>
              <a:gd name="connsiteY12" fmla="*/ 3355681 h 6861600"/>
              <a:gd name="connsiteX13" fmla="*/ 1 w 12193200"/>
              <a:gd name="connsiteY13" fmla="*/ 3355681 h 6861600"/>
              <a:gd name="connsiteX14" fmla="*/ 1 w 12193200"/>
              <a:gd name="connsiteY14" fmla="*/ 3362327 h 6861600"/>
              <a:gd name="connsiteX15" fmla="*/ 0 w 12193200"/>
              <a:gd name="connsiteY15" fmla="*/ 3362327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2"/>
                </a:lnTo>
                <a:lnTo>
                  <a:pt x="5762624" y="6858002"/>
                </a:lnTo>
                <a:lnTo>
                  <a:pt x="5762624" y="6858001"/>
                </a:lnTo>
                <a:lnTo>
                  <a:pt x="5915025" y="6858001"/>
                </a:lnTo>
                <a:lnTo>
                  <a:pt x="5915025" y="4501189"/>
                </a:lnTo>
                <a:lnTo>
                  <a:pt x="5762624" y="4501189"/>
                </a:lnTo>
                <a:lnTo>
                  <a:pt x="5762624" y="4495802"/>
                </a:lnTo>
                <a:lnTo>
                  <a:pt x="3519949" y="4495802"/>
                </a:lnTo>
                <a:lnTo>
                  <a:pt x="3519949" y="3355681"/>
                </a:lnTo>
                <a:lnTo>
                  <a:pt x="1" y="3355681"/>
                </a:lnTo>
                <a:lnTo>
                  <a:pt x="1" y="3362327"/>
                </a:lnTo>
                <a:lnTo>
                  <a:pt x="0" y="3362327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7200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4822763"/>
            <a:ext cx="4734551" cy="929108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Headline</a:t>
            </a:r>
            <a:endParaRPr lang="en-GB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1" y="5860800"/>
            <a:ext cx="4734551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  <a:endParaRPr lang="en-GB"/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DA2544AE-9170-440D-A7DE-3D8825007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777917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3210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C0216E3-463B-4CB8-BE43-497F498BEEEE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53288" y="6367354"/>
            <a:ext cx="2965450" cy="2154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92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1"/>
            <a:ext cx="7170004" cy="5470245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text </a:t>
            </a:r>
            <a:br>
              <a:rPr lang="en-GB" noProof="0" dirty="0"/>
            </a:br>
            <a:r>
              <a:rPr lang="en-GB" noProof="0" dirty="0"/>
              <a:t>Enter &amp; TAB for next text level</a:t>
            </a:r>
            <a:br>
              <a:rPr lang="en-GB" noProof="0" dirty="0"/>
            </a:br>
            <a:r>
              <a:rPr lang="en-GB" noProof="0" dirty="0"/>
              <a:t>SHIFT+TAB to go back in levels</a:t>
            </a:r>
            <a:endParaRPr lang="en-GB" dirty="0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33C9E-6521-4DF1-93A8-375CEAEC2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E3078-35F5-4450-8DDB-1711F663AF0B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023F77A-3C54-4C93-BB36-E29AEE7A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7" y="6438798"/>
            <a:ext cx="5558003" cy="144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E16FDD-BBE2-4F3D-ADDA-ED4FA9CE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F6A1A2FD-ED95-4DEE-9A2C-FB659D867A09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accent2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732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B1DFE0D9-0BA4-4026-8A37-2B9467024CB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7CEE0B2-D606-4C87-BD16-18AC95AF549F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B99F8788-0F5A-48AA-8CA3-6BDF988C91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4D05E2D1-BF97-4F56-A04F-48768FE3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AB09C097-1BD9-4120-AB83-44067D1B149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3ADEAA8-6B38-44C6-9245-01A3512C10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74764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5B1503-1805-4DC5-AF6E-FDE48DB177B4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Lav dynamik">
            <a:extLst>
              <a:ext uri="{FF2B5EF4-FFF2-40B4-BE49-F238E27FC236}">
                <a16:creationId xmlns:a16="http://schemas.microsoft.com/office/drawing/2014/main" id="{01B40D1A-C761-49C0-BCA5-BA2972BD1B0E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bg2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0811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4941B2-5F7F-4165-B2DE-D010B7A4A5F5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D556956A-96D6-4D98-8C29-19A32FDF3B33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4401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373EE1C-D19B-4EA0-9A15-DED1DEE449B9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0224D57B-23DE-43CD-A5E3-B1FD72D6C8DA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accent2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9031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7C5422F3-5F2C-463F-A5A3-46F0157D82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466C188-1D45-4F08-8DB4-23F6002C2B91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98C6F70D-EDED-4332-A39E-FEB7023695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67103C1-9540-4364-BCE9-15A87F0781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Background">
            <a:extLst>
              <a:ext uri="{FF2B5EF4-FFF2-40B4-BE49-F238E27FC236}">
                <a16:creationId xmlns:a16="http://schemas.microsoft.com/office/drawing/2014/main" id="{A870D1C3-7E2E-4C71-B669-3496D73E1AB6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37409C-206B-454B-8F34-A6BF4D2A9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Breaker text</a:t>
            </a:r>
            <a:endParaRPr lang="en-GB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AC92615-713B-4965-8112-B0AF203E30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 dirty="0"/>
              <a:t>Click to add sub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604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add tit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C8F4-6B6A-48C1-B023-792B6BA54AED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07839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2F7A9-B0D3-418A-9805-E4833A53A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47F8E-8C20-40E4-A53C-3DA358D8C9A7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05BC24-963D-470F-A870-C18B9237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38358-50F7-4700-A532-2128C5051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48526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E8C12B2-0AE5-428E-985F-E18D4DA17AC7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654050"/>
            <a:ext cx="11471638" cy="938213"/>
          </a:xfrm>
        </p:spPr>
        <p:txBody>
          <a:bodyPr anchor="t" anchorCtr="0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  <a:endParaRPr lang="en-GB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419BB8-DA67-44EC-8B75-16DF8EF14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  <a:endParaRPr lang="en-GB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45963F1-9B5A-42FF-AF44-D9A92C9240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64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25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5259D24-E6A6-4D69-90CB-83073E8387B2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  <a:endParaRPr lang="en-GB"/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F1CD8122-E16A-4EEC-B42A-6AF75D6661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29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5753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A2083184-4833-48EE-B693-FB3137B41B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0217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dirty="0"/>
              <a:t>Mark placeholder to insert image using the Insert tab – Pictures or from Templafy</a:t>
            </a:r>
            <a:endParaRPr lang="en-GB"/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93B5AFB1-79EB-42DA-8C67-9C34BAE10A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 noProof="0" dirty="0"/>
              <a:t>Click to add </a:t>
            </a:r>
            <a:r>
              <a:rPr lang="en-GB" dirty="0"/>
              <a:t>Thank you!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rgbClr val="333333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add Name Last name</a:t>
            </a:r>
            <a:br>
              <a:rPr lang="en-GB" dirty="0"/>
            </a:br>
            <a:r>
              <a:rPr lang="en-GB" dirty="0"/>
              <a:t>Job title, Department</a:t>
            </a:r>
            <a:br>
              <a:rPr lang="en-GB" dirty="0"/>
            </a:br>
            <a:r>
              <a:rPr lang="en-GB" dirty="0"/>
              <a:t>e-ma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6477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A6F26645-C2A2-4B76-9EB3-5D9CA57B224A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0DC3440-E1C8-49D9-9C24-C57CA0F0CB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137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F25BA43C-8502-4266-A056-72866794E701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 err="1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9CD149-890D-40C4-A7EE-82FC4C58D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40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D69AAB-5376-40EF-9BC8-527076D40F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5420" y="4613272"/>
            <a:ext cx="995748" cy="2065891"/>
          </a:xfrm>
          <a:prstGeom prst="rect">
            <a:avLst/>
          </a:prstGeom>
        </p:spPr>
      </p:pic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938540"/>
            <a:ext cx="2880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PICTURES</a:t>
            </a:r>
            <a:br>
              <a:rPr lang="en-GB" sz="9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corporate picture from Templafy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mplafy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or 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 </a:t>
            </a:r>
            <a:r>
              <a:rPr lang="en-GB" altLang="da-DK" sz="900" b="0" i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icture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endParaRPr lang="en-GB"/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 picture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change size or focus of the picture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 down while dragging the corners of the pictur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delete the picture and insert a new one, the picture may lie in front of the text or graphic. If this happens, select the picture, right-click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end to Back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sz="16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View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Alt + F9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or quick view of guides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ac: </a:t>
            </a:r>
            <a:r>
              <a:rPr lang="en-GB" sz="900" b="0" i="0" dirty="0">
                <a:solidFill>
                  <a:srgbClr val="333333"/>
                </a:solidFill>
                <a:effectLst/>
                <a:latin typeface="Verdana"/>
              </a:rPr>
              <a:t>⌘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+ option + ctrl + G</a:t>
            </a:r>
            <a:endParaRPr lang="en-GB"/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09816" y="118743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51578" y="31485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647" y="938540"/>
            <a:ext cx="2880000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&amp; FOOTER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o this at the very end to apply the changes on all slides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and Footer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(write the desired text, click date or page number from or to)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 to All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f only used on one slide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PY/PASTE CONTENT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When copying old content to your new presentation, 2 options are available: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Best practice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extbox)</a:t>
            </a:r>
            <a:endParaRPr lang="en-GB" altLang="da-DK" sz="900" b="1" i="0" u="sng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SLIDE ELEMENTS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 element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58776" y="244128"/>
            <a:ext cx="112902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rgbClr val="333333"/>
                </a:solidFill>
                <a:latin typeface="+mj-lt"/>
                <a:cs typeface="Verdana" panose="020B0604030504040204" pitchFamily="34" charset="0"/>
              </a:rPr>
              <a:t>TIPS &amp; TRICKS - YOUR USER GUIDE</a:t>
            </a:r>
            <a:endParaRPr lang="en-GB"/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75883" y="149385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5B220B3-5DAB-45AB-9B6A-9B7C36B5A57F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901" t="45142" r="62601" b="9046"/>
          <a:stretch/>
        </p:blipFill>
        <p:spPr>
          <a:xfrm>
            <a:off x="7210077" y="243016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5883" y="46324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5267" y="938540"/>
            <a:ext cx="2880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XT STYLES</a:t>
            </a:r>
            <a:endParaRPr lang="en-GB" altLang="da-DK" sz="16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ENTER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then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switch from one level to the next level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-TAB</a:t>
            </a:r>
            <a:endParaRPr lang="en-GB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lternatively, </a:t>
            </a: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crease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ecrease 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list level can be used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slide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</a:t>
            </a: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formatting of the slide placeholders to their default settings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LAYOUTS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the menu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New Slide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ome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hange layout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Click on the arrow next to </a:t>
            </a:r>
            <a:r>
              <a:rPr lang="en-GB" sz="900" b="1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Layout </a:t>
            </a:r>
            <a:r>
              <a:rPr lang="en-GB" sz="900" dirty="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to view a dropdown menu of possible slide layouts</a:t>
            </a:r>
            <a:endParaRPr lang="en-GB"/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lor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ustom Color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change color.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sz="900" dirty="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83906" y="428798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83906" y="347098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86604" y="273783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83906" y="2026540"/>
            <a:ext cx="457143" cy="25714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2B52D7-9EB4-432D-A8C5-A0DAE58EF038}"/>
              </a:ext>
            </a:extLst>
          </p:cNvPr>
          <p:cNvCxnSpPr>
            <a:cxnSpLocks/>
          </p:cNvCxnSpPr>
          <p:nvPr userDrawn="1"/>
        </p:nvCxnSpPr>
        <p:spPr>
          <a:xfrm>
            <a:off x="2757565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5E9322B-F814-45C1-A30F-1BB8D0604356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9B075D-C775-447D-A3A2-2DDBE502A24E}"/>
              </a:ext>
            </a:extLst>
          </p:cNvPr>
          <p:cNvCxnSpPr>
            <a:cxnSpLocks/>
          </p:cNvCxnSpPr>
          <p:nvPr userDrawn="1"/>
        </p:nvCxnSpPr>
        <p:spPr>
          <a:xfrm>
            <a:off x="2757565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27D424-46E2-4CE8-9A03-0D53792EDAE5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4368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58775" y="656823"/>
            <a:ext cx="1147286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000" b="0" noProof="0" dirty="0">
                <a:solidFill>
                  <a:schemeClr val="tx1"/>
                </a:solidFill>
              </a:rPr>
              <a:t>If you see any </a:t>
            </a:r>
            <a:r>
              <a:rPr lang="en-GB" sz="4000" b="1" i="1" noProof="0" dirty="0">
                <a:solidFill>
                  <a:schemeClr val="tx1"/>
                </a:solidFill>
              </a:rPr>
              <a:t>layouts after this </a:t>
            </a:r>
            <a:r>
              <a:rPr lang="en-GB" sz="4000" b="0" i="0" noProof="0" dirty="0">
                <a:solidFill>
                  <a:schemeClr val="tx1"/>
                </a:solidFill>
              </a:rPr>
              <a:t>one</a:t>
            </a:r>
            <a:r>
              <a:rPr lang="en-GB" sz="4000" b="1" i="1" noProof="0" dirty="0">
                <a:solidFill>
                  <a:schemeClr val="tx1"/>
                </a:solidFill>
              </a:rPr>
              <a:t>,</a:t>
            </a:r>
            <a:br>
              <a:rPr lang="en-GB" sz="4000" b="0" i="0" noProof="0" dirty="0">
                <a:solidFill>
                  <a:schemeClr val="tx1"/>
                </a:solidFill>
              </a:rPr>
            </a:br>
            <a:r>
              <a:rPr lang="en-GB" sz="4000" b="0" noProof="0" dirty="0">
                <a:solidFill>
                  <a:schemeClr val="tx1"/>
                </a:solidFill>
              </a:rPr>
              <a:t>do not use them. These layouts </a:t>
            </a:r>
            <a:r>
              <a:rPr lang="en-GB" sz="4000" b="1" i="1" u="none" noProof="0" dirty="0">
                <a:solidFill>
                  <a:schemeClr val="tx1"/>
                </a:solidFill>
              </a:rPr>
              <a:t>are not </a:t>
            </a:r>
            <a:r>
              <a:rPr lang="en-GB" sz="4000" b="0" noProof="0" dirty="0">
                <a:solidFill>
                  <a:schemeClr val="tx1"/>
                </a:solidFill>
              </a:rPr>
              <a:t>part of our corporate template.</a:t>
            </a:r>
            <a:endParaRPr lang="en-GB" sz="2400" b="0" noProof="0" dirty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tx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745012"/>
            <a:ext cx="101523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500" b="1" i="1" noProof="0" dirty="0">
                <a:solidFill>
                  <a:schemeClr val="tx1"/>
                </a:solidFill>
              </a:rPr>
              <a:t>Do not use </a:t>
            </a:r>
            <a:endParaRPr lang="en-GB" sz="2000" b="1" i="1" dirty="0">
              <a:solidFill>
                <a:schemeClr val="tx1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58775" y="5186455"/>
            <a:ext cx="1147286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 dirty="0">
                <a:solidFill>
                  <a:schemeClr val="tx1"/>
                </a:solidFill>
              </a:rPr>
              <a:t>Due to PowerPoint’s standard Copy/Paste functionality extra undesirable layouts can appear.</a:t>
            </a:r>
            <a:endParaRPr lang="en-GB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 dirty="0">
                <a:solidFill>
                  <a:schemeClr val="tx1"/>
                </a:solidFill>
              </a:rPr>
              <a:t>Also notice: Layouts after this might contain potential confidential information.</a:t>
            </a:r>
            <a:endParaRPr lang="en-GB"/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6357EC7-0D53-4A60-9E41-D75A47B48389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9834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ackground">
            <a:extLst>
              <a:ext uri="{FF2B5EF4-FFF2-40B4-BE49-F238E27FC236}">
                <a16:creationId xmlns:a16="http://schemas.microsoft.com/office/drawing/2014/main" id="{7DAF96C4-4EAB-0764-6BA7-E6DE58E1087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>
              <a:solidFill>
                <a:schemeClr val="bg1"/>
              </a:solidFill>
            </a:endParaRPr>
          </a:p>
        </p:txBody>
      </p:sp>
      <p:sp>
        <p:nvSpPr>
          <p:cNvPr id="3" name="Line">
            <a:extLst>
              <a:ext uri="{FF2B5EF4-FFF2-40B4-BE49-F238E27FC236}">
                <a16:creationId xmlns:a16="http://schemas.microsoft.com/office/drawing/2014/main" id="{7D18FC6B-F884-1EBD-E8FA-6C12FFAE0EE6}"/>
              </a:ext>
            </a:extLst>
          </p:cNvPr>
          <p:cNvSpPr/>
          <p:nvPr userDrawn="1"/>
        </p:nvSpPr>
        <p:spPr>
          <a:xfrm>
            <a:off x="417600" y="419735"/>
            <a:ext cx="11355387" cy="108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4" name="Logo - Henning Larsen">
            <a:extLst>
              <a:ext uri="{FF2B5EF4-FFF2-40B4-BE49-F238E27FC236}">
                <a16:creationId xmlns:a16="http://schemas.microsoft.com/office/drawing/2014/main" id="{AD9B2E5D-7B7D-2B69-1697-DFC37A9A14C7}"/>
              </a:ext>
            </a:extLst>
          </p:cNvPr>
          <p:cNvSpPr/>
          <p:nvPr userDrawn="1"/>
        </p:nvSpPr>
        <p:spPr>
          <a:xfrm>
            <a:off x="10812463" y="6142080"/>
            <a:ext cx="959962" cy="306243"/>
          </a:xfrm>
          <a:custGeom>
            <a:avLst/>
            <a:gdLst>
              <a:gd name="connsiteX0" fmla="*/ 167173 w 959962"/>
              <a:gd name="connsiteY0" fmla="*/ 260542 h 306243"/>
              <a:gd name="connsiteX1" fmla="*/ 148787 w 959962"/>
              <a:gd name="connsiteY1" fmla="*/ 263431 h 306243"/>
              <a:gd name="connsiteX2" fmla="*/ 137756 w 959962"/>
              <a:gd name="connsiteY2" fmla="*/ 274199 h 306243"/>
              <a:gd name="connsiteX3" fmla="*/ 149313 w 959962"/>
              <a:gd name="connsiteY3" fmla="*/ 284180 h 306243"/>
              <a:gd name="connsiteX4" fmla="*/ 167173 w 959962"/>
              <a:gd name="connsiteY4" fmla="*/ 264744 h 306243"/>
              <a:gd name="connsiteX5" fmla="*/ 676176 w 959962"/>
              <a:gd name="connsiteY5" fmla="*/ 239006 h 306243"/>
              <a:gd name="connsiteX6" fmla="*/ 818004 w 959962"/>
              <a:gd name="connsiteY6" fmla="*/ 239006 h 306243"/>
              <a:gd name="connsiteX7" fmla="*/ 959831 w 959962"/>
              <a:gd name="connsiteY7" fmla="*/ 239006 h 306243"/>
              <a:gd name="connsiteX8" fmla="*/ 959831 w 959962"/>
              <a:gd name="connsiteY8" fmla="*/ 264089 h 306243"/>
              <a:gd name="connsiteX9" fmla="*/ 818004 w 959962"/>
              <a:gd name="connsiteY9" fmla="*/ 264089 h 306243"/>
              <a:gd name="connsiteX10" fmla="*/ 676176 w 959962"/>
              <a:gd name="connsiteY10" fmla="*/ 264089 h 306243"/>
              <a:gd name="connsiteX11" fmla="*/ 279453 w 959962"/>
              <a:gd name="connsiteY11" fmla="*/ 235053 h 306243"/>
              <a:gd name="connsiteX12" fmla="*/ 279584 w 959962"/>
              <a:gd name="connsiteY12" fmla="*/ 235065 h 306243"/>
              <a:gd name="connsiteX13" fmla="*/ 279453 w 959962"/>
              <a:gd name="connsiteY13" fmla="*/ 235065 h 306243"/>
              <a:gd name="connsiteX14" fmla="*/ 438878 w 959962"/>
              <a:gd name="connsiteY14" fmla="*/ 226399 h 306243"/>
              <a:gd name="connsiteX15" fmla="*/ 419442 w 959962"/>
              <a:gd name="connsiteY15" fmla="*/ 242814 h 306243"/>
              <a:gd name="connsiteX16" fmla="*/ 458444 w 959962"/>
              <a:gd name="connsiteY16" fmla="*/ 242814 h 306243"/>
              <a:gd name="connsiteX17" fmla="*/ 438878 w 959962"/>
              <a:gd name="connsiteY17" fmla="*/ 226399 h 306243"/>
              <a:gd name="connsiteX18" fmla="*/ 271574 w 959962"/>
              <a:gd name="connsiteY18" fmla="*/ 204730 h 306243"/>
              <a:gd name="connsiteX19" fmla="*/ 279453 w 959962"/>
              <a:gd name="connsiteY19" fmla="*/ 205649 h 306243"/>
              <a:gd name="connsiteX20" fmla="*/ 279453 w 959962"/>
              <a:gd name="connsiteY20" fmla="*/ 235053 h 306243"/>
              <a:gd name="connsiteX21" fmla="*/ 270129 w 959962"/>
              <a:gd name="connsiteY21" fmla="*/ 234146 h 306243"/>
              <a:gd name="connsiteX22" fmla="*/ 247410 w 959962"/>
              <a:gd name="connsiteY22" fmla="*/ 260541 h 306243"/>
              <a:gd name="connsiteX23" fmla="*/ 247410 w 959962"/>
              <a:gd name="connsiteY23" fmla="*/ 303089 h 306243"/>
              <a:gd name="connsiteX24" fmla="*/ 217600 w 959962"/>
              <a:gd name="connsiteY24" fmla="*/ 303089 h 306243"/>
              <a:gd name="connsiteX25" fmla="*/ 217600 w 959962"/>
              <a:gd name="connsiteY25" fmla="*/ 205649 h 306243"/>
              <a:gd name="connsiteX26" fmla="*/ 246360 w 959962"/>
              <a:gd name="connsiteY26" fmla="*/ 205649 h 306243"/>
              <a:gd name="connsiteX27" fmla="*/ 246360 w 959962"/>
              <a:gd name="connsiteY27" fmla="*/ 218781 h 306243"/>
              <a:gd name="connsiteX28" fmla="*/ 271574 w 959962"/>
              <a:gd name="connsiteY28" fmla="*/ 204730 h 306243"/>
              <a:gd name="connsiteX29" fmla="*/ 563109 w 959962"/>
              <a:gd name="connsiteY29" fmla="*/ 203154 h 306243"/>
              <a:gd name="connsiteX30" fmla="*/ 598565 w 959962"/>
              <a:gd name="connsiteY30" fmla="*/ 241894 h 306243"/>
              <a:gd name="connsiteX31" fmla="*/ 598565 w 959962"/>
              <a:gd name="connsiteY31" fmla="*/ 303089 h 306243"/>
              <a:gd name="connsiteX32" fmla="*/ 568755 w 959962"/>
              <a:gd name="connsiteY32" fmla="*/ 303089 h 306243"/>
              <a:gd name="connsiteX33" fmla="*/ 568755 w 959962"/>
              <a:gd name="connsiteY33" fmla="*/ 247015 h 306243"/>
              <a:gd name="connsiteX34" fmla="*/ 552865 w 959962"/>
              <a:gd name="connsiteY34" fmla="*/ 230207 h 306243"/>
              <a:gd name="connsiteX35" fmla="*/ 536844 w 959962"/>
              <a:gd name="connsiteY35" fmla="*/ 247278 h 306243"/>
              <a:gd name="connsiteX36" fmla="*/ 536844 w 959962"/>
              <a:gd name="connsiteY36" fmla="*/ 303089 h 306243"/>
              <a:gd name="connsiteX37" fmla="*/ 507165 w 959962"/>
              <a:gd name="connsiteY37" fmla="*/ 303089 h 306243"/>
              <a:gd name="connsiteX38" fmla="*/ 507165 w 959962"/>
              <a:gd name="connsiteY38" fmla="*/ 205649 h 306243"/>
              <a:gd name="connsiteX39" fmla="*/ 535925 w 959962"/>
              <a:gd name="connsiteY39" fmla="*/ 205649 h 306243"/>
              <a:gd name="connsiteX40" fmla="*/ 535925 w 959962"/>
              <a:gd name="connsiteY40" fmla="*/ 216811 h 306243"/>
              <a:gd name="connsiteX41" fmla="*/ 563109 w 959962"/>
              <a:gd name="connsiteY41" fmla="*/ 203154 h 306243"/>
              <a:gd name="connsiteX42" fmla="*/ 334081 w 959962"/>
              <a:gd name="connsiteY42" fmla="*/ 203023 h 306243"/>
              <a:gd name="connsiteX43" fmla="*/ 373083 w 959962"/>
              <a:gd name="connsiteY43" fmla="*/ 232044 h 306243"/>
              <a:gd name="connsiteX44" fmla="*/ 348396 w 959962"/>
              <a:gd name="connsiteY44" fmla="*/ 236510 h 306243"/>
              <a:gd name="connsiteX45" fmla="*/ 334476 w 959962"/>
              <a:gd name="connsiteY45" fmla="*/ 224559 h 306243"/>
              <a:gd name="connsiteX46" fmla="*/ 323839 w 959962"/>
              <a:gd name="connsiteY46" fmla="*/ 232964 h 306243"/>
              <a:gd name="connsiteX47" fmla="*/ 331455 w 959962"/>
              <a:gd name="connsiteY47" fmla="*/ 240188 h 306243"/>
              <a:gd name="connsiteX48" fmla="*/ 344456 w 959962"/>
              <a:gd name="connsiteY48" fmla="*/ 242682 h 306243"/>
              <a:gd name="connsiteX49" fmla="*/ 374397 w 959962"/>
              <a:gd name="connsiteY49" fmla="*/ 273281 h 306243"/>
              <a:gd name="connsiteX50" fmla="*/ 335657 w 959962"/>
              <a:gd name="connsiteY50" fmla="*/ 306243 h 306243"/>
              <a:gd name="connsiteX51" fmla="*/ 294554 w 959962"/>
              <a:gd name="connsiteY51" fmla="*/ 275644 h 306243"/>
              <a:gd name="connsiteX52" fmla="*/ 319768 w 959962"/>
              <a:gd name="connsiteY52" fmla="*/ 271179 h 306243"/>
              <a:gd name="connsiteX53" fmla="*/ 319768 w 959962"/>
              <a:gd name="connsiteY53" fmla="*/ 271047 h 306243"/>
              <a:gd name="connsiteX54" fmla="*/ 335001 w 959962"/>
              <a:gd name="connsiteY54" fmla="*/ 284179 h 306243"/>
              <a:gd name="connsiteX55" fmla="*/ 346426 w 959962"/>
              <a:gd name="connsiteY55" fmla="*/ 275776 h 306243"/>
              <a:gd name="connsiteX56" fmla="*/ 336839 w 959962"/>
              <a:gd name="connsiteY56" fmla="*/ 267764 h 306243"/>
              <a:gd name="connsiteX57" fmla="*/ 325677 w 959962"/>
              <a:gd name="connsiteY57" fmla="*/ 265270 h 306243"/>
              <a:gd name="connsiteX58" fmla="*/ 296655 w 959962"/>
              <a:gd name="connsiteY58" fmla="*/ 235329 h 306243"/>
              <a:gd name="connsiteX59" fmla="*/ 334081 w 959962"/>
              <a:gd name="connsiteY59" fmla="*/ 203023 h 306243"/>
              <a:gd name="connsiteX60" fmla="*/ 438483 w 959962"/>
              <a:gd name="connsiteY60" fmla="*/ 202892 h 306243"/>
              <a:gd name="connsiteX61" fmla="*/ 487336 w 959962"/>
              <a:gd name="connsiteY61" fmla="*/ 252794 h 306243"/>
              <a:gd name="connsiteX62" fmla="*/ 486810 w 959962"/>
              <a:gd name="connsiteY62" fmla="*/ 261988 h 306243"/>
              <a:gd name="connsiteX63" fmla="*/ 419048 w 959962"/>
              <a:gd name="connsiteY63" fmla="*/ 261988 h 306243"/>
              <a:gd name="connsiteX64" fmla="*/ 441242 w 959962"/>
              <a:gd name="connsiteY64" fmla="*/ 280766 h 306243"/>
              <a:gd name="connsiteX65" fmla="*/ 460809 w 959962"/>
              <a:gd name="connsiteY65" fmla="*/ 268028 h 306243"/>
              <a:gd name="connsiteX66" fmla="*/ 485761 w 959962"/>
              <a:gd name="connsiteY66" fmla="*/ 275120 h 306243"/>
              <a:gd name="connsiteX67" fmla="*/ 485497 w 959962"/>
              <a:gd name="connsiteY67" fmla="*/ 275120 h 306243"/>
              <a:gd name="connsiteX68" fmla="*/ 440584 w 959962"/>
              <a:gd name="connsiteY68" fmla="*/ 306112 h 306243"/>
              <a:gd name="connsiteX69" fmla="*/ 389895 w 959962"/>
              <a:gd name="connsiteY69" fmla="*/ 254239 h 306243"/>
              <a:gd name="connsiteX70" fmla="*/ 438483 w 959962"/>
              <a:gd name="connsiteY70" fmla="*/ 202892 h 306243"/>
              <a:gd name="connsiteX71" fmla="*/ 153121 w 959962"/>
              <a:gd name="connsiteY71" fmla="*/ 202760 h 306243"/>
              <a:gd name="connsiteX72" fmla="*/ 196194 w 959962"/>
              <a:gd name="connsiteY72" fmla="*/ 240317 h 306243"/>
              <a:gd name="connsiteX73" fmla="*/ 196194 w 959962"/>
              <a:gd name="connsiteY73" fmla="*/ 287988 h 306243"/>
              <a:gd name="connsiteX74" fmla="*/ 197376 w 959962"/>
              <a:gd name="connsiteY74" fmla="*/ 303090 h 306243"/>
              <a:gd name="connsiteX75" fmla="*/ 170586 w 959962"/>
              <a:gd name="connsiteY75" fmla="*/ 303090 h 306243"/>
              <a:gd name="connsiteX76" fmla="*/ 169668 w 959962"/>
              <a:gd name="connsiteY76" fmla="*/ 292059 h 306243"/>
              <a:gd name="connsiteX77" fmla="*/ 142221 w 959962"/>
              <a:gd name="connsiteY77" fmla="*/ 305716 h 306243"/>
              <a:gd name="connsiteX78" fmla="*/ 108471 w 959962"/>
              <a:gd name="connsiteY78" fmla="*/ 276169 h 306243"/>
              <a:gd name="connsiteX79" fmla="*/ 137231 w 959962"/>
              <a:gd name="connsiteY79" fmla="*/ 246753 h 306243"/>
              <a:gd name="connsiteX80" fmla="*/ 137231 w 959962"/>
              <a:gd name="connsiteY80" fmla="*/ 246884 h 306243"/>
              <a:gd name="connsiteX81" fmla="*/ 160211 w 959962"/>
              <a:gd name="connsiteY81" fmla="*/ 243338 h 306243"/>
              <a:gd name="connsiteX82" fmla="*/ 167303 w 959962"/>
              <a:gd name="connsiteY82" fmla="*/ 236641 h 306243"/>
              <a:gd name="connsiteX83" fmla="*/ 152990 w 959962"/>
              <a:gd name="connsiteY83" fmla="*/ 226003 h 306243"/>
              <a:gd name="connsiteX84" fmla="*/ 136311 w 959962"/>
              <a:gd name="connsiteY84" fmla="*/ 240317 h 306243"/>
              <a:gd name="connsiteX85" fmla="*/ 110441 w 959962"/>
              <a:gd name="connsiteY85" fmla="*/ 235066 h 306243"/>
              <a:gd name="connsiteX86" fmla="*/ 153121 w 959962"/>
              <a:gd name="connsiteY86" fmla="*/ 202760 h 306243"/>
              <a:gd name="connsiteX87" fmla="*/ 0 w 959962"/>
              <a:gd name="connsiteY87" fmla="*/ 164152 h 306243"/>
              <a:gd name="connsiteX88" fmla="*/ 30992 w 959962"/>
              <a:gd name="connsiteY88" fmla="*/ 164152 h 306243"/>
              <a:gd name="connsiteX89" fmla="*/ 30992 w 959962"/>
              <a:gd name="connsiteY89" fmla="*/ 273542 h 306243"/>
              <a:gd name="connsiteX90" fmla="*/ 91006 w 959962"/>
              <a:gd name="connsiteY90" fmla="*/ 273542 h 306243"/>
              <a:gd name="connsiteX91" fmla="*/ 91006 w 959962"/>
              <a:gd name="connsiteY91" fmla="*/ 303091 h 306243"/>
              <a:gd name="connsiteX92" fmla="*/ 0 w 959962"/>
              <a:gd name="connsiteY92" fmla="*/ 303091 h 306243"/>
              <a:gd name="connsiteX93" fmla="*/ 885371 w 959962"/>
              <a:gd name="connsiteY93" fmla="*/ 144585 h 306243"/>
              <a:gd name="connsiteX94" fmla="*/ 885502 w 959962"/>
              <a:gd name="connsiteY94" fmla="*/ 144716 h 306243"/>
              <a:gd name="connsiteX95" fmla="*/ 885458 w 959962"/>
              <a:gd name="connsiteY95" fmla="*/ 144729 h 306243"/>
              <a:gd name="connsiteX96" fmla="*/ 779000 w 959962"/>
              <a:gd name="connsiteY96" fmla="*/ 144585 h 306243"/>
              <a:gd name="connsiteX97" fmla="*/ 779133 w 959962"/>
              <a:gd name="connsiteY97" fmla="*/ 144585 h 306243"/>
              <a:gd name="connsiteX98" fmla="*/ 779000 w 959962"/>
              <a:gd name="connsiteY98" fmla="*/ 144716 h 306243"/>
              <a:gd name="connsiteX99" fmla="*/ 614323 w 959962"/>
              <a:gd name="connsiteY99" fmla="*/ 144585 h 306243"/>
              <a:gd name="connsiteX100" fmla="*/ 614456 w 959962"/>
              <a:gd name="connsiteY100" fmla="*/ 144585 h 306243"/>
              <a:gd name="connsiteX101" fmla="*/ 614323 w 959962"/>
              <a:gd name="connsiteY101" fmla="*/ 144716 h 306243"/>
              <a:gd name="connsiteX102" fmla="*/ 501254 w 959962"/>
              <a:gd name="connsiteY102" fmla="*/ 144585 h 306243"/>
              <a:gd name="connsiteX103" fmla="*/ 501387 w 959962"/>
              <a:gd name="connsiteY103" fmla="*/ 144585 h 306243"/>
              <a:gd name="connsiteX104" fmla="*/ 501254 w 959962"/>
              <a:gd name="connsiteY104" fmla="*/ 144716 h 306243"/>
              <a:gd name="connsiteX105" fmla="*/ 909929 w 959962"/>
              <a:gd name="connsiteY105" fmla="*/ 71569 h 306243"/>
              <a:gd name="connsiteX106" fmla="*/ 888917 w 959962"/>
              <a:gd name="connsiteY106" fmla="*/ 93107 h 306243"/>
              <a:gd name="connsiteX107" fmla="*/ 909929 w 959962"/>
              <a:gd name="connsiteY107" fmla="*/ 114642 h 306243"/>
              <a:gd name="connsiteX108" fmla="*/ 930677 w 959962"/>
              <a:gd name="connsiteY108" fmla="*/ 93107 h 306243"/>
              <a:gd name="connsiteX109" fmla="*/ 909929 w 959962"/>
              <a:gd name="connsiteY109" fmla="*/ 71569 h 306243"/>
              <a:gd name="connsiteX110" fmla="*/ 403289 w 959962"/>
              <a:gd name="connsiteY110" fmla="*/ 67893 h 306243"/>
              <a:gd name="connsiteX111" fmla="*/ 383853 w 959962"/>
              <a:gd name="connsiteY111" fmla="*/ 84307 h 306243"/>
              <a:gd name="connsiteX112" fmla="*/ 422857 w 959962"/>
              <a:gd name="connsiteY112" fmla="*/ 84307 h 306243"/>
              <a:gd name="connsiteX113" fmla="*/ 403289 w 959962"/>
              <a:gd name="connsiteY113" fmla="*/ 67893 h 306243"/>
              <a:gd name="connsiteX114" fmla="*/ 697843 w 959962"/>
              <a:gd name="connsiteY114" fmla="*/ 47276 h 306243"/>
              <a:gd name="connsiteX115" fmla="*/ 727653 w 959962"/>
              <a:gd name="connsiteY115" fmla="*/ 47276 h 306243"/>
              <a:gd name="connsiteX116" fmla="*/ 727653 w 959962"/>
              <a:gd name="connsiteY116" fmla="*/ 144717 h 306243"/>
              <a:gd name="connsiteX117" fmla="*/ 697843 w 959962"/>
              <a:gd name="connsiteY117" fmla="*/ 144717 h 306243"/>
              <a:gd name="connsiteX118" fmla="*/ 697843 w 959962"/>
              <a:gd name="connsiteY118" fmla="*/ 144585 h 306243"/>
              <a:gd name="connsiteX119" fmla="*/ 904544 w 959962"/>
              <a:gd name="connsiteY119" fmla="*/ 45568 h 306243"/>
              <a:gd name="connsiteX120" fmla="*/ 931597 w 959962"/>
              <a:gd name="connsiteY120" fmla="*/ 57780 h 306243"/>
              <a:gd name="connsiteX121" fmla="*/ 931597 w 959962"/>
              <a:gd name="connsiteY121" fmla="*/ 47406 h 306243"/>
              <a:gd name="connsiteX122" fmla="*/ 959962 w 959962"/>
              <a:gd name="connsiteY122" fmla="*/ 47406 h 306243"/>
              <a:gd name="connsiteX123" fmla="*/ 959962 w 959962"/>
              <a:gd name="connsiteY123" fmla="*/ 134605 h 306243"/>
              <a:gd name="connsiteX124" fmla="*/ 907826 w 959962"/>
              <a:gd name="connsiteY124" fmla="*/ 186870 h 306243"/>
              <a:gd name="connsiteX125" fmla="*/ 859238 w 959962"/>
              <a:gd name="connsiteY125" fmla="*/ 152201 h 306243"/>
              <a:gd name="connsiteX126" fmla="*/ 885458 w 959962"/>
              <a:gd name="connsiteY126" fmla="*/ 144729 h 306243"/>
              <a:gd name="connsiteX127" fmla="*/ 892429 w 959962"/>
              <a:gd name="connsiteY127" fmla="*/ 156272 h 306243"/>
              <a:gd name="connsiteX128" fmla="*/ 906383 w 959962"/>
              <a:gd name="connsiteY128" fmla="*/ 160869 h 306243"/>
              <a:gd name="connsiteX129" fmla="*/ 930546 w 959962"/>
              <a:gd name="connsiteY129" fmla="*/ 136048 h 306243"/>
              <a:gd name="connsiteX130" fmla="*/ 930546 w 959962"/>
              <a:gd name="connsiteY130" fmla="*/ 129614 h 306243"/>
              <a:gd name="connsiteX131" fmla="*/ 904544 w 959962"/>
              <a:gd name="connsiteY131" fmla="*/ 140645 h 306243"/>
              <a:gd name="connsiteX132" fmla="*/ 859238 w 959962"/>
              <a:gd name="connsiteY132" fmla="*/ 93238 h 306243"/>
              <a:gd name="connsiteX133" fmla="*/ 904544 w 959962"/>
              <a:gd name="connsiteY133" fmla="*/ 45568 h 306243"/>
              <a:gd name="connsiteX134" fmla="*/ 805265 w 959962"/>
              <a:gd name="connsiteY134" fmla="*/ 44780 h 306243"/>
              <a:gd name="connsiteX135" fmla="*/ 840722 w 959962"/>
              <a:gd name="connsiteY135" fmla="*/ 83520 h 306243"/>
              <a:gd name="connsiteX136" fmla="*/ 840722 w 959962"/>
              <a:gd name="connsiteY136" fmla="*/ 144716 h 306243"/>
              <a:gd name="connsiteX137" fmla="*/ 810912 w 959962"/>
              <a:gd name="connsiteY137" fmla="*/ 144716 h 306243"/>
              <a:gd name="connsiteX138" fmla="*/ 810912 w 959962"/>
              <a:gd name="connsiteY138" fmla="*/ 88642 h 306243"/>
              <a:gd name="connsiteX139" fmla="*/ 795022 w 959962"/>
              <a:gd name="connsiteY139" fmla="*/ 71831 h 306243"/>
              <a:gd name="connsiteX140" fmla="*/ 779000 w 959962"/>
              <a:gd name="connsiteY140" fmla="*/ 88904 h 306243"/>
              <a:gd name="connsiteX141" fmla="*/ 779000 w 959962"/>
              <a:gd name="connsiteY141" fmla="*/ 144585 h 306243"/>
              <a:gd name="connsiteX142" fmla="*/ 749322 w 959962"/>
              <a:gd name="connsiteY142" fmla="*/ 144585 h 306243"/>
              <a:gd name="connsiteX143" fmla="*/ 749322 w 959962"/>
              <a:gd name="connsiteY143" fmla="*/ 47275 h 306243"/>
              <a:gd name="connsiteX144" fmla="*/ 778082 w 959962"/>
              <a:gd name="connsiteY144" fmla="*/ 47275 h 306243"/>
              <a:gd name="connsiteX145" fmla="*/ 778082 w 959962"/>
              <a:gd name="connsiteY145" fmla="*/ 58437 h 306243"/>
              <a:gd name="connsiteX146" fmla="*/ 805265 w 959962"/>
              <a:gd name="connsiteY146" fmla="*/ 44780 h 306243"/>
              <a:gd name="connsiteX147" fmla="*/ 640588 w 959962"/>
              <a:gd name="connsiteY147" fmla="*/ 44780 h 306243"/>
              <a:gd name="connsiteX148" fmla="*/ 676045 w 959962"/>
              <a:gd name="connsiteY148" fmla="*/ 83520 h 306243"/>
              <a:gd name="connsiteX149" fmla="*/ 676045 w 959962"/>
              <a:gd name="connsiteY149" fmla="*/ 144716 h 306243"/>
              <a:gd name="connsiteX150" fmla="*/ 646235 w 959962"/>
              <a:gd name="connsiteY150" fmla="*/ 144716 h 306243"/>
              <a:gd name="connsiteX151" fmla="*/ 646235 w 959962"/>
              <a:gd name="connsiteY151" fmla="*/ 88642 h 306243"/>
              <a:gd name="connsiteX152" fmla="*/ 630345 w 959962"/>
              <a:gd name="connsiteY152" fmla="*/ 71831 h 306243"/>
              <a:gd name="connsiteX153" fmla="*/ 614323 w 959962"/>
              <a:gd name="connsiteY153" fmla="*/ 88904 h 306243"/>
              <a:gd name="connsiteX154" fmla="*/ 614323 w 959962"/>
              <a:gd name="connsiteY154" fmla="*/ 144585 h 306243"/>
              <a:gd name="connsiteX155" fmla="*/ 584645 w 959962"/>
              <a:gd name="connsiteY155" fmla="*/ 144585 h 306243"/>
              <a:gd name="connsiteX156" fmla="*/ 584645 w 959962"/>
              <a:gd name="connsiteY156" fmla="*/ 47275 h 306243"/>
              <a:gd name="connsiteX157" fmla="*/ 613405 w 959962"/>
              <a:gd name="connsiteY157" fmla="*/ 47275 h 306243"/>
              <a:gd name="connsiteX158" fmla="*/ 613405 w 959962"/>
              <a:gd name="connsiteY158" fmla="*/ 58437 h 306243"/>
              <a:gd name="connsiteX159" fmla="*/ 640588 w 959962"/>
              <a:gd name="connsiteY159" fmla="*/ 44780 h 306243"/>
              <a:gd name="connsiteX160" fmla="*/ 527519 w 959962"/>
              <a:gd name="connsiteY160" fmla="*/ 44780 h 306243"/>
              <a:gd name="connsiteX161" fmla="*/ 562976 w 959962"/>
              <a:gd name="connsiteY161" fmla="*/ 83520 h 306243"/>
              <a:gd name="connsiteX162" fmla="*/ 562976 w 959962"/>
              <a:gd name="connsiteY162" fmla="*/ 144716 h 306243"/>
              <a:gd name="connsiteX163" fmla="*/ 533166 w 959962"/>
              <a:gd name="connsiteY163" fmla="*/ 144716 h 306243"/>
              <a:gd name="connsiteX164" fmla="*/ 533166 w 959962"/>
              <a:gd name="connsiteY164" fmla="*/ 88642 h 306243"/>
              <a:gd name="connsiteX165" fmla="*/ 517276 w 959962"/>
              <a:gd name="connsiteY165" fmla="*/ 71831 h 306243"/>
              <a:gd name="connsiteX166" fmla="*/ 501254 w 959962"/>
              <a:gd name="connsiteY166" fmla="*/ 88904 h 306243"/>
              <a:gd name="connsiteX167" fmla="*/ 501254 w 959962"/>
              <a:gd name="connsiteY167" fmla="*/ 144585 h 306243"/>
              <a:gd name="connsiteX168" fmla="*/ 471576 w 959962"/>
              <a:gd name="connsiteY168" fmla="*/ 144585 h 306243"/>
              <a:gd name="connsiteX169" fmla="*/ 471576 w 959962"/>
              <a:gd name="connsiteY169" fmla="*/ 47275 h 306243"/>
              <a:gd name="connsiteX170" fmla="*/ 500336 w 959962"/>
              <a:gd name="connsiteY170" fmla="*/ 47275 h 306243"/>
              <a:gd name="connsiteX171" fmla="*/ 500336 w 959962"/>
              <a:gd name="connsiteY171" fmla="*/ 58437 h 306243"/>
              <a:gd name="connsiteX172" fmla="*/ 527519 w 959962"/>
              <a:gd name="connsiteY172" fmla="*/ 44780 h 306243"/>
              <a:gd name="connsiteX173" fmla="*/ 402896 w 959962"/>
              <a:gd name="connsiteY173" fmla="*/ 44386 h 306243"/>
              <a:gd name="connsiteX174" fmla="*/ 451747 w 959962"/>
              <a:gd name="connsiteY174" fmla="*/ 94288 h 306243"/>
              <a:gd name="connsiteX175" fmla="*/ 451222 w 959962"/>
              <a:gd name="connsiteY175" fmla="*/ 103481 h 306243"/>
              <a:gd name="connsiteX176" fmla="*/ 383460 w 959962"/>
              <a:gd name="connsiteY176" fmla="*/ 103481 h 306243"/>
              <a:gd name="connsiteX177" fmla="*/ 405653 w 959962"/>
              <a:gd name="connsiteY177" fmla="*/ 122259 h 306243"/>
              <a:gd name="connsiteX178" fmla="*/ 425220 w 959962"/>
              <a:gd name="connsiteY178" fmla="*/ 109521 h 306243"/>
              <a:gd name="connsiteX179" fmla="*/ 450170 w 959962"/>
              <a:gd name="connsiteY179" fmla="*/ 116613 h 306243"/>
              <a:gd name="connsiteX180" fmla="*/ 449908 w 959962"/>
              <a:gd name="connsiteY180" fmla="*/ 116613 h 306243"/>
              <a:gd name="connsiteX181" fmla="*/ 404997 w 959962"/>
              <a:gd name="connsiteY181" fmla="*/ 147605 h 306243"/>
              <a:gd name="connsiteX182" fmla="*/ 354306 w 959962"/>
              <a:gd name="connsiteY182" fmla="*/ 95733 h 306243"/>
              <a:gd name="connsiteX183" fmla="*/ 402896 w 959962"/>
              <a:gd name="connsiteY183" fmla="*/ 44386 h 306243"/>
              <a:gd name="connsiteX184" fmla="*/ 217731 w 959962"/>
              <a:gd name="connsiteY184" fmla="*/ 5646 h 306243"/>
              <a:gd name="connsiteX185" fmla="*/ 248723 w 959962"/>
              <a:gd name="connsiteY185" fmla="*/ 5646 h 306243"/>
              <a:gd name="connsiteX186" fmla="*/ 248723 w 959962"/>
              <a:gd name="connsiteY186" fmla="*/ 60145 h 306243"/>
              <a:gd name="connsiteX187" fmla="*/ 304141 w 959962"/>
              <a:gd name="connsiteY187" fmla="*/ 60145 h 306243"/>
              <a:gd name="connsiteX188" fmla="*/ 304141 w 959962"/>
              <a:gd name="connsiteY188" fmla="*/ 5646 h 306243"/>
              <a:gd name="connsiteX189" fmla="*/ 335264 w 959962"/>
              <a:gd name="connsiteY189" fmla="*/ 5646 h 306243"/>
              <a:gd name="connsiteX190" fmla="*/ 335264 w 959962"/>
              <a:gd name="connsiteY190" fmla="*/ 144585 h 306243"/>
              <a:gd name="connsiteX191" fmla="*/ 304141 w 959962"/>
              <a:gd name="connsiteY191" fmla="*/ 144585 h 306243"/>
              <a:gd name="connsiteX192" fmla="*/ 304141 w 959962"/>
              <a:gd name="connsiteY192" fmla="*/ 89298 h 306243"/>
              <a:gd name="connsiteX193" fmla="*/ 248723 w 959962"/>
              <a:gd name="connsiteY193" fmla="*/ 89298 h 306243"/>
              <a:gd name="connsiteX194" fmla="*/ 248723 w 959962"/>
              <a:gd name="connsiteY194" fmla="*/ 144585 h 306243"/>
              <a:gd name="connsiteX195" fmla="*/ 217731 w 959962"/>
              <a:gd name="connsiteY195" fmla="*/ 144585 h 306243"/>
              <a:gd name="connsiteX196" fmla="*/ 712552 w 959962"/>
              <a:gd name="connsiteY196" fmla="*/ 0 h 306243"/>
              <a:gd name="connsiteX197" fmla="*/ 730148 w 959962"/>
              <a:gd name="connsiteY197" fmla="*/ 17465 h 306243"/>
              <a:gd name="connsiteX198" fmla="*/ 712552 w 959962"/>
              <a:gd name="connsiteY198" fmla="*/ 34932 h 306243"/>
              <a:gd name="connsiteX199" fmla="*/ 695348 w 959962"/>
              <a:gd name="connsiteY199" fmla="*/ 17465 h 306243"/>
              <a:gd name="connsiteX200" fmla="*/ 712552 w 959962"/>
              <a:gd name="connsiteY200" fmla="*/ 0 h 306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</a:cxnLst>
            <a:rect l="l" t="t" r="r" b="b"/>
            <a:pathLst>
              <a:path w="959962" h="306243">
                <a:moveTo>
                  <a:pt x="167173" y="260542"/>
                </a:moveTo>
                <a:lnTo>
                  <a:pt x="148787" y="263431"/>
                </a:lnTo>
                <a:cubicBezTo>
                  <a:pt x="142484" y="264350"/>
                  <a:pt x="137756" y="267370"/>
                  <a:pt x="137756" y="274199"/>
                </a:cubicBezTo>
                <a:cubicBezTo>
                  <a:pt x="137756" y="279321"/>
                  <a:pt x="141039" y="284180"/>
                  <a:pt x="149313" y="284180"/>
                </a:cubicBezTo>
                <a:cubicBezTo>
                  <a:pt x="158110" y="284180"/>
                  <a:pt x="167173" y="279846"/>
                  <a:pt x="167173" y="264744"/>
                </a:cubicBezTo>
                <a:close/>
                <a:moveTo>
                  <a:pt x="676176" y="239006"/>
                </a:moveTo>
                <a:lnTo>
                  <a:pt x="818004" y="239006"/>
                </a:lnTo>
                <a:lnTo>
                  <a:pt x="959831" y="239006"/>
                </a:lnTo>
                <a:lnTo>
                  <a:pt x="959831" y="264089"/>
                </a:lnTo>
                <a:lnTo>
                  <a:pt x="818004" y="264089"/>
                </a:lnTo>
                <a:lnTo>
                  <a:pt x="676176" y="264089"/>
                </a:lnTo>
                <a:close/>
                <a:moveTo>
                  <a:pt x="279453" y="235053"/>
                </a:moveTo>
                <a:lnTo>
                  <a:pt x="279584" y="235065"/>
                </a:lnTo>
                <a:lnTo>
                  <a:pt x="279453" y="235065"/>
                </a:lnTo>
                <a:close/>
                <a:moveTo>
                  <a:pt x="438878" y="226399"/>
                </a:moveTo>
                <a:cubicBezTo>
                  <a:pt x="426403" y="226399"/>
                  <a:pt x="420098" y="235590"/>
                  <a:pt x="419442" y="242814"/>
                </a:cubicBezTo>
                <a:lnTo>
                  <a:pt x="458444" y="242814"/>
                </a:lnTo>
                <a:cubicBezTo>
                  <a:pt x="458051" y="235329"/>
                  <a:pt x="452929" y="226399"/>
                  <a:pt x="438878" y="226399"/>
                </a:cubicBezTo>
                <a:close/>
                <a:moveTo>
                  <a:pt x="271574" y="204730"/>
                </a:moveTo>
                <a:cubicBezTo>
                  <a:pt x="274462" y="204730"/>
                  <a:pt x="277483" y="205124"/>
                  <a:pt x="279453" y="205649"/>
                </a:cubicBezTo>
                <a:lnTo>
                  <a:pt x="279453" y="235053"/>
                </a:lnTo>
                <a:lnTo>
                  <a:pt x="270129" y="234146"/>
                </a:lnTo>
                <a:cubicBezTo>
                  <a:pt x="258178" y="234146"/>
                  <a:pt x="247410" y="241238"/>
                  <a:pt x="247410" y="260541"/>
                </a:cubicBezTo>
                <a:lnTo>
                  <a:pt x="247410" y="303089"/>
                </a:lnTo>
                <a:lnTo>
                  <a:pt x="217600" y="303089"/>
                </a:lnTo>
                <a:lnTo>
                  <a:pt x="217600" y="205649"/>
                </a:lnTo>
                <a:lnTo>
                  <a:pt x="246360" y="205649"/>
                </a:lnTo>
                <a:lnTo>
                  <a:pt x="246360" y="218781"/>
                </a:lnTo>
                <a:cubicBezTo>
                  <a:pt x="251482" y="207750"/>
                  <a:pt x="263825" y="204730"/>
                  <a:pt x="271574" y="204730"/>
                </a:cubicBezTo>
                <a:close/>
                <a:moveTo>
                  <a:pt x="563109" y="203154"/>
                </a:moveTo>
                <a:cubicBezTo>
                  <a:pt x="587534" y="203154"/>
                  <a:pt x="598565" y="220619"/>
                  <a:pt x="598565" y="241894"/>
                </a:cubicBezTo>
                <a:lnTo>
                  <a:pt x="598565" y="303089"/>
                </a:lnTo>
                <a:lnTo>
                  <a:pt x="568755" y="303089"/>
                </a:lnTo>
                <a:lnTo>
                  <a:pt x="568755" y="247015"/>
                </a:lnTo>
                <a:cubicBezTo>
                  <a:pt x="568755" y="237428"/>
                  <a:pt x="563633" y="230207"/>
                  <a:pt x="552865" y="230207"/>
                </a:cubicBezTo>
                <a:cubicBezTo>
                  <a:pt x="543016" y="230207"/>
                  <a:pt x="536844" y="237428"/>
                  <a:pt x="536844" y="247278"/>
                </a:cubicBezTo>
                <a:lnTo>
                  <a:pt x="536844" y="303089"/>
                </a:lnTo>
                <a:lnTo>
                  <a:pt x="507165" y="303089"/>
                </a:lnTo>
                <a:lnTo>
                  <a:pt x="507165" y="205649"/>
                </a:lnTo>
                <a:lnTo>
                  <a:pt x="535925" y="205649"/>
                </a:lnTo>
                <a:lnTo>
                  <a:pt x="535925" y="216811"/>
                </a:lnTo>
                <a:cubicBezTo>
                  <a:pt x="541178" y="207619"/>
                  <a:pt x="553128" y="203154"/>
                  <a:pt x="563109" y="203154"/>
                </a:cubicBezTo>
                <a:close/>
                <a:moveTo>
                  <a:pt x="334081" y="203023"/>
                </a:moveTo>
                <a:cubicBezTo>
                  <a:pt x="362316" y="203023"/>
                  <a:pt x="372033" y="220619"/>
                  <a:pt x="373083" y="232044"/>
                </a:cubicBezTo>
                <a:lnTo>
                  <a:pt x="348396" y="236510"/>
                </a:lnTo>
                <a:cubicBezTo>
                  <a:pt x="347608" y="230076"/>
                  <a:pt x="343537" y="224559"/>
                  <a:pt x="334476" y="224559"/>
                </a:cubicBezTo>
                <a:cubicBezTo>
                  <a:pt x="328829" y="224559"/>
                  <a:pt x="323839" y="227842"/>
                  <a:pt x="323839" y="232964"/>
                </a:cubicBezTo>
                <a:cubicBezTo>
                  <a:pt x="323839" y="237035"/>
                  <a:pt x="327122" y="239399"/>
                  <a:pt x="331455" y="240188"/>
                </a:cubicBezTo>
                <a:lnTo>
                  <a:pt x="344456" y="242682"/>
                </a:lnTo>
                <a:cubicBezTo>
                  <a:pt x="364680" y="246753"/>
                  <a:pt x="374397" y="258966"/>
                  <a:pt x="374397" y="273281"/>
                </a:cubicBezTo>
                <a:cubicBezTo>
                  <a:pt x="374397" y="289959"/>
                  <a:pt x="361660" y="306243"/>
                  <a:pt x="335657" y="306243"/>
                </a:cubicBezTo>
                <a:cubicBezTo>
                  <a:pt x="305060" y="306243"/>
                  <a:pt x="295341" y="286413"/>
                  <a:pt x="294554" y="275644"/>
                </a:cubicBezTo>
                <a:lnTo>
                  <a:pt x="319768" y="271179"/>
                </a:lnTo>
                <a:lnTo>
                  <a:pt x="319768" y="271047"/>
                </a:lnTo>
                <a:cubicBezTo>
                  <a:pt x="320162" y="277745"/>
                  <a:pt x="324890" y="284179"/>
                  <a:pt x="335001" y="284179"/>
                </a:cubicBezTo>
                <a:cubicBezTo>
                  <a:pt x="342618" y="284179"/>
                  <a:pt x="346426" y="280109"/>
                  <a:pt x="346426" y="275776"/>
                </a:cubicBezTo>
                <a:cubicBezTo>
                  <a:pt x="346426" y="272230"/>
                  <a:pt x="344062" y="269340"/>
                  <a:pt x="336839" y="267764"/>
                </a:cubicBezTo>
                <a:lnTo>
                  <a:pt x="325677" y="265270"/>
                </a:lnTo>
                <a:cubicBezTo>
                  <a:pt x="304929" y="260805"/>
                  <a:pt x="296655" y="248985"/>
                  <a:pt x="296655" y="235329"/>
                </a:cubicBezTo>
                <a:cubicBezTo>
                  <a:pt x="296655" y="217467"/>
                  <a:pt x="312283" y="203023"/>
                  <a:pt x="334081" y="203023"/>
                </a:cubicBezTo>
                <a:close/>
                <a:moveTo>
                  <a:pt x="438483" y="202892"/>
                </a:moveTo>
                <a:cubicBezTo>
                  <a:pt x="468688" y="202892"/>
                  <a:pt x="487336" y="221540"/>
                  <a:pt x="487336" y="252794"/>
                </a:cubicBezTo>
                <a:cubicBezTo>
                  <a:pt x="487336" y="256866"/>
                  <a:pt x="486942" y="261462"/>
                  <a:pt x="486810" y="261988"/>
                </a:cubicBezTo>
                <a:lnTo>
                  <a:pt x="419048" y="261988"/>
                </a:lnTo>
                <a:cubicBezTo>
                  <a:pt x="419574" y="273019"/>
                  <a:pt x="429686" y="280766"/>
                  <a:pt x="441242" y="280766"/>
                </a:cubicBezTo>
                <a:cubicBezTo>
                  <a:pt x="452010" y="280766"/>
                  <a:pt x="458051" y="275645"/>
                  <a:pt x="460809" y="268028"/>
                </a:cubicBezTo>
                <a:lnTo>
                  <a:pt x="485761" y="275120"/>
                </a:lnTo>
                <a:lnTo>
                  <a:pt x="485497" y="275120"/>
                </a:lnTo>
                <a:cubicBezTo>
                  <a:pt x="480770" y="291928"/>
                  <a:pt x="465273" y="306112"/>
                  <a:pt x="440584" y="306112"/>
                </a:cubicBezTo>
                <a:cubicBezTo>
                  <a:pt x="413795" y="306112"/>
                  <a:pt x="389895" y="286938"/>
                  <a:pt x="389895" y="254239"/>
                </a:cubicBezTo>
                <a:cubicBezTo>
                  <a:pt x="389895" y="221540"/>
                  <a:pt x="413270" y="202892"/>
                  <a:pt x="438483" y="202892"/>
                </a:cubicBezTo>
                <a:close/>
                <a:moveTo>
                  <a:pt x="153121" y="202760"/>
                </a:moveTo>
                <a:cubicBezTo>
                  <a:pt x="184638" y="202760"/>
                  <a:pt x="196194" y="220358"/>
                  <a:pt x="196194" y="240317"/>
                </a:cubicBezTo>
                <a:lnTo>
                  <a:pt x="196194" y="287988"/>
                </a:lnTo>
                <a:cubicBezTo>
                  <a:pt x="196194" y="295605"/>
                  <a:pt x="197114" y="302039"/>
                  <a:pt x="197376" y="303090"/>
                </a:cubicBezTo>
                <a:lnTo>
                  <a:pt x="170586" y="303090"/>
                </a:lnTo>
                <a:cubicBezTo>
                  <a:pt x="170324" y="302303"/>
                  <a:pt x="169668" y="298757"/>
                  <a:pt x="169668" y="292059"/>
                </a:cubicBezTo>
                <a:cubicBezTo>
                  <a:pt x="164546" y="300332"/>
                  <a:pt x="155222" y="305716"/>
                  <a:pt x="142221" y="305716"/>
                </a:cubicBezTo>
                <a:cubicBezTo>
                  <a:pt x="120815" y="305716"/>
                  <a:pt x="108471" y="291665"/>
                  <a:pt x="108471" y="276169"/>
                </a:cubicBezTo>
                <a:cubicBezTo>
                  <a:pt x="108471" y="258966"/>
                  <a:pt x="121209" y="249116"/>
                  <a:pt x="137231" y="246753"/>
                </a:cubicBezTo>
                <a:lnTo>
                  <a:pt x="137231" y="246884"/>
                </a:lnTo>
                <a:lnTo>
                  <a:pt x="160211" y="243338"/>
                </a:lnTo>
                <a:cubicBezTo>
                  <a:pt x="165466" y="242551"/>
                  <a:pt x="167303" y="240056"/>
                  <a:pt x="167303" y="236641"/>
                </a:cubicBezTo>
                <a:cubicBezTo>
                  <a:pt x="167303" y="230994"/>
                  <a:pt x="162445" y="226003"/>
                  <a:pt x="152990" y="226003"/>
                </a:cubicBezTo>
                <a:cubicBezTo>
                  <a:pt x="142615" y="226003"/>
                  <a:pt x="136968" y="233095"/>
                  <a:pt x="136311" y="240317"/>
                </a:cubicBezTo>
                <a:lnTo>
                  <a:pt x="110441" y="235066"/>
                </a:lnTo>
                <a:cubicBezTo>
                  <a:pt x="111623" y="221145"/>
                  <a:pt x="124492" y="202760"/>
                  <a:pt x="153121" y="202760"/>
                </a:cubicBezTo>
                <a:close/>
                <a:moveTo>
                  <a:pt x="0" y="164152"/>
                </a:moveTo>
                <a:lnTo>
                  <a:pt x="30992" y="164152"/>
                </a:lnTo>
                <a:lnTo>
                  <a:pt x="30992" y="273542"/>
                </a:lnTo>
                <a:lnTo>
                  <a:pt x="91006" y="273542"/>
                </a:lnTo>
                <a:lnTo>
                  <a:pt x="91006" y="303091"/>
                </a:lnTo>
                <a:lnTo>
                  <a:pt x="0" y="303091"/>
                </a:lnTo>
                <a:close/>
                <a:moveTo>
                  <a:pt x="885371" y="144585"/>
                </a:moveTo>
                <a:lnTo>
                  <a:pt x="885502" y="144716"/>
                </a:lnTo>
                <a:lnTo>
                  <a:pt x="885458" y="144729"/>
                </a:lnTo>
                <a:close/>
                <a:moveTo>
                  <a:pt x="779000" y="144585"/>
                </a:moveTo>
                <a:lnTo>
                  <a:pt x="779133" y="144585"/>
                </a:lnTo>
                <a:lnTo>
                  <a:pt x="779000" y="144716"/>
                </a:lnTo>
                <a:close/>
                <a:moveTo>
                  <a:pt x="614323" y="144585"/>
                </a:moveTo>
                <a:lnTo>
                  <a:pt x="614456" y="144585"/>
                </a:lnTo>
                <a:lnTo>
                  <a:pt x="614323" y="144716"/>
                </a:lnTo>
                <a:close/>
                <a:moveTo>
                  <a:pt x="501254" y="144585"/>
                </a:moveTo>
                <a:lnTo>
                  <a:pt x="501387" y="144585"/>
                </a:lnTo>
                <a:lnTo>
                  <a:pt x="501254" y="144716"/>
                </a:lnTo>
                <a:close/>
                <a:moveTo>
                  <a:pt x="909929" y="71569"/>
                </a:moveTo>
                <a:cubicBezTo>
                  <a:pt x="898766" y="71569"/>
                  <a:pt x="888917" y="79842"/>
                  <a:pt x="888917" y="93107"/>
                </a:cubicBezTo>
                <a:cubicBezTo>
                  <a:pt x="888917" y="106370"/>
                  <a:pt x="897978" y="114642"/>
                  <a:pt x="909929" y="114642"/>
                </a:cubicBezTo>
                <a:cubicBezTo>
                  <a:pt x="921878" y="114642"/>
                  <a:pt x="930677" y="106370"/>
                  <a:pt x="930677" y="93107"/>
                </a:cubicBezTo>
                <a:cubicBezTo>
                  <a:pt x="930677" y="79842"/>
                  <a:pt x="921091" y="71569"/>
                  <a:pt x="909929" y="71569"/>
                </a:cubicBezTo>
                <a:close/>
                <a:moveTo>
                  <a:pt x="403289" y="67893"/>
                </a:moveTo>
                <a:cubicBezTo>
                  <a:pt x="390814" y="67893"/>
                  <a:pt x="384511" y="77084"/>
                  <a:pt x="383853" y="84307"/>
                </a:cubicBezTo>
                <a:lnTo>
                  <a:pt x="422857" y="84307"/>
                </a:lnTo>
                <a:cubicBezTo>
                  <a:pt x="422462" y="76823"/>
                  <a:pt x="417340" y="67893"/>
                  <a:pt x="403289" y="67893"/>
                </a:cubicBezTo>
                <a:close/>
                <a:moveTo>
                  <a:pt x="697843" y="47276"/>
                </a:moveTo>
                <a:lnTo>
                  <a:pt x="727653" y="47276"/>
                </a:lnTo>
                <a:lnTo>
                  <a:pt x="727653" y="144717"/>
                </a:lnTo>
                <a:lnTo>
                  <a:pt x="697843" y="144717"/>
                </a:lnTo>
                <a:lnTo>
                  <a:pt x="697843" y="144585"/>
                </a:lnTo>
                <a:close/>
                <a:moveTo>
                  <a:pt x="904544" y="45568"/>
                </a:moveTo>
                <a:cubicBezTo>
                  <a:pt x="920433" y="45568"/>
                  <a:pt x="928839" y="52660"/>
                  <a:pt x="931597" y="57780"/>
                </a:cubicBezTo>
                <a:lnTo>
                  <a:pt x="931597" y="47406"/>
                </a:lnTo>
                <a:lnTo>
                  <a:pt x="959962" y="47406"/>
                </a:lnTo>
                <a:lnTo>
                  <a:pt x="959962" y="134605"/>
                </a:lnTo>
                <a:cubicBezTo>
                  <a:pt x="959962" y="162576"/>
                  <a:pt x="944335" y="186870"/>
                  <a:pt x="907826" y="186870"/>
                </a:cubicBezTo>
                <a:cubicBezTo>
                  <a:pt x="879855" y="186870"/>
                  <a:pt x="861995" y="169667"/>
                  <a:pt x="859238" y="152201"/>
                </a:cubicBezTo>
                <a:lnTo>
                  <a:pt x="885458" y="144729"/>
                </a:lnTo>
                <a:lnTo>
                  <a:pt x="892429" y="156272"/>
                </a:lnTo>
                <a:cubicBezTo>
                  <a:pt x="896041" y="159162"/>
                  <a:pt x="900801" y="160869"/>
                  <a:pt x="906383" y="160869"/>
                </a:cubicBezTo>
                <a:cubicBezTo>
                  <a:pt x="921222" y="160869"/>
                  <a:pt x="930546" y="153646"/>
                  <a:pt x="930546" y="136048"/>
                </a:cubicBezTo>
                <a:lnTo>
                  <a:pt x="930546" y="129614"/>
                </a:lnTo>
                <a:cubicBezTo>
                  <a:pt x="927000" y="134867"/>
                  <a:pt x="918596" y="140645"/>
                  <a:pt x="904544" y="140645"/>
                </a:cubicBezTo>
                <a:cubicBezTo>
                  <a:pt x="878674" y="140645"/>
                  <a:pt x="859238" y="120290"/>
                  <a:pt x="859238" y="93238"/>
                </a:cubicBezTo>
                <a:cubicBezTo>
                  <a:pt x="859238" y="66185"/>
                  <a:pt x="877885" y="45568"/>
                  <a:pt x="904544" y="45568"/>
                </a:cubicBezTo>
                <a:close/>
                <a:moveTo>
                  <a:pt x="805265" y="44780"/>
                </a:moveTo>
                <a:cubicBezTo>
                  <a:pt x="829822" y="44780"/>
                  <a:pt x="840722" y="62245"/>
                  <a:pt x="840722" y="83520"/>
                </a:cubicBezTo>
                <a:lnTo>
                  <a:pt x="840722" y="144716"/>
                </a:lnTo>
                <a:lnTo>
                  <a:pt x="810912" y="144716"/>
                </a:lnTo>
                <a:lnTo>
                  <a:pt x="810912" y="88642"/>
                </a:lnTo>
                <a:cubicBezTo>
                  <a:pt x="810912" y="79055"/>
                  <a:pt x="805790" y="71831"/>
                  <a:pt x="795022" y="71831"/>
                </a:cubicBezTo>
                <a:cubicBezTo>
                  <a:pt x="785173" y="71831"/>
                  <a:pt x="779000" y="79055"/>
                  <a:pt x="779000" y="88904"/>
                </a:cubicBezTo>
                <a:lnTo>
                  <a:pt x="779000" y="144585"/>
                </a:lnTo>
                <a:lnTo>
                  <a:pt x="749322" y="144585"/>
                </a:lnTo>
                <a:lnTo>
                  <a:pt x="749322" y="47275"/>
                </a:lnTo>
                <a:lnTo>
                  <a:pt x="778082" y="47275"/>
                </a:lnTo>
                <a:lnTo>
                  <a:pt x="778082" y="58437"/>
                </a:lnTo>
                <a:cubicBezTo>
                  <a:pt x="783335" y="49244"/>
                  <a:pt x="795286" y="44780"/>
                  <a:pt x="805265" y="44780"/>
                </a:cubicBezTo>
                <a:close/>
                <a:moveTo>
                  <a:pt x="640588" y="44780"/>
                </a:moveTo>
                <a:cubicBezTo>
                  <a:pt x="665145" y="44780"/>
                  <a:pt x="676045" y="62245"/>
                  <a:pt x="676045" y="83520"/>
                </a:cubicBezTo>
                <a:lnTo>
                  <a:pt x="676045" y="144716"/>
                </a:lnTo>
                <a:lnTo>
                  <a:pt x="646235" y="144716"/>
                </a:lnTo>
                <a:lnTo>
                  <a:pt x="646235" y="88642"/>
                </a:lnTo>
                <a:cubicBezTo>
                  <a:pt x="646235" y="79055"/>
                  <a:pt x="641113" y="71831"/>
                  <a:pt x="630345" y="71831"/>
                </a:cubicBezTo>
                <a:cubicBezTo>
                  <a:pt x="620496" y="71831"/>
                  <a:pt x="614323" y="79055"/>
                  <a:pt x="614323" y="88904"/>
                </a:cubicBezTo>
                <a:lnTo>
                  <a:pt x="614323" y="144585"/>
                </a:lnTo>
                <a:lnTo>
                  <a:pt x="584645" y="144585"/>
                </a:lnTo>
                <a:lnTo>
                  <a:pt x="584645" y="47275"/>
                </a:lnTo>
                <a:lnTo>
                  <a:pt x="613405" y="47275"/>
                </a:lnTo>
                <a:lnTo>
                  <a:pt x="613405" y="58437"/>
                </a:lnTo>
                <a:cubicBezTo>
                  <a:pt x="618658" y="49244"/>
                  <a:pt x="630609" y="44780"/>
                  <a:pt x="640588" y="44780"/>
                </a:cubicBezTo>
                <a:close/>
                <a:moveTo>
                  <a:pt x="527519" y="44780"/>
                </a:moveTo>
                <a:cubicBezTo>
                  <a:pt x="551945" y="44780"/>
                  <a:pt x="562976" y="62245"/>
                  <a:pt x="562976" y="83520"/>
                </a:cubicBezTo>
                <a:lnTo>
                  <a:pt x="562976" y="144716"/>
                </a:lnTo>
                <a:lnTo>
                  <a:pt x="533166" y="144716"/>
                </a:lnTo>
                <a:lnTo>
                  <a:pt x="533166" y="88642"/>
                </a:lnTo>
                <a:cubicBezTo>
                  <a:pt x="533166" y="79055"/>
                  <a:pt x="528044" y="71831"/>
                  <a:pt x="517276" y="71831"/>
                </a:cubicBezTo>
                <a:cubicBezTo>
                  <a:pt x="507427" y="71831"/>
                  <a:pt x="501254" y="79055"/>
                  <a:pt x="501254" y="88904"/>
                </a:cubicBezTo>
                <a:lnTo>
                  <a:pt x="501254" y="144585"/>
                </a:lnTo>
                <a:lnTo>
                  <a:pt x="471576" y="144585"/>
                </a:lnTo>
                <a:lnTo>
                  <a:pt x="471576" y="47275"/>
                </a:lnTo>
                <a:lnTo>
                  <a:pt x="500336" y="47275"/>
                </a:lnTo>
                <a:lnTo>
                  <a:pt x="500336" y="58437"/>
                </a:lnTo>
                <a:cubicBezTo>
                  <a:pt x="505589" y="49244"/>
                  <a:pt x="517540" y="44780"/>
                  <a:pt x="527519" y="44780"/>
                </a:cubicBezTo>
                <a:close/>
                <a:moveTo>
                  <a:pt x="402896" y="44386"/>
                </a:moveTo>
                <a:cubicBezTo>
                  <a:pt x="433099" y="44386"/>
                  <a:pt x="451747" y="63034"/>
                  <a:pt x="451747" y="94288"/>
                </a:cubicBezTo>
                <a:cubicBezTo>
                  <a:pt x="451747" y="98359"/>
                  <a:pt x="451353" y="102956"/>
                  <a:pt x="451222" y="103481"/>
                </a:cubicBezTo>
                <a:lnTo>
                  <a:pt x="383460" y="103481"/>
                </a:lnTo>
                <a:cubicBezTo>
                  <a:pt x="383985" y="114512"/>
                  <a:pt x="394097" y="122259"/>
                  <a:pt x="405653" y="122259"/>
                </a:cubicBezTo>
                <a:cubicBezTo>
                  <a:pt x="416421" y="122259"/>
                  <a:pt x="422462" y="117139"/>
                  <a:pt x="425220" y="109521"/>
                </a:cubicBezTo>
                <a:lnTo>
                  <a:pt x="450170" y="116613"/>
                </a:lnTo>
                <a:lnTo>
                  <a:pt x="449908" y="116613"/>
                </a:lnTo>
                <a:cubicBezTo>
                  <a:pt x="445181" y="133421"/>
                  <a:pt x="429685" y="147605"/>
                  <a:pt x="404997" y="147605"/>
                </a:cubicBezTo>
                <a:cubicBezTo>
                  <a:pt x="378206" y="147605"/>
                  <a:pt x="354306" y="128432"/>
                  <a:pt x="354306" y="95733"/>
                </a:cubicBezTo>
                <a:cubicBezTo>
                  <a:pt x="354306" y="63034"/>
                  <a:pt x="377682" y="44386"/>
                  <a:pt x="402896" y="44386"/>
                </a:cubicBezTo>
                <a:close/>
                <a:moveTo>
                  <a:pt x="217731" y="5646"/>
                </a:moveTo>
                <a:lnTo>
                  <a:pt x="248723" y="5646"/>
                </a:lnTo>
                <a:lnTo>
                  <a:pt x="248723" y="60145"/>
                </a:lnTo>
                <a:lnTo>
                  <a:pt x="304141" y="60145"/>
                </a:lnTo>
                <a:lnTo>
                  <a:pt x="304141" y="5646"/>
                </a:lnTo>
                <a:lnTo>
                  <a:pt x="335264" y="5646"/>
                </a:lnTo>
                <a:lnTo>
                  <a:pt x="335264" y="144585"/>
                </a:lnTo>
                <a:lnTo>
                  <a:pt x="304141" y="144585"/>
                </a:lnTo>
                <a:lnTo>
                  <a:pt x="304141" y="89298"/>
                </a:lnTo>
                <a:lnTo>
                  <a:pt x="248723" y="89298"/>
                </a:lnTo>
                <a:lnTo>
                  <a:pt x="248723" y="144585"/>
                </a:lnTo>
                <a:lnTo>
                  <a:pt x="217731" y="144585"/>
                </a:lnTo>
                <a:close/>
                <a:moveTo>
                  <a:pt x="712552" y="0"/>
                </a:moveTo>
                <a:cubicBezTo>
                  <a:pt x="722400" y="0"/>
                  <a:pt x="730148" y="7879"/>
                  <a:pt x="730148" y="17465"/>
                </a:cubicBezTo>
                <a:cubicBezTo>
                  <a:pt x="730148" y="27053"/>
                  <a:pt x="722269" y="34932"/>
                  <a:pt x="712552" y="34932"/>
                </a:cubicBezTo>
                <a:cubicBezTo>
                  <a:pt x="702833" y="34932"/>
                  <a:pt x="695348" y="27053"/>
                  <a:pt x="695348" y="17465"/>
                </a:cubicBezTo>
                <a:cubicBezTo>
                  <a:pt x="695348" y="7879"/>
                  <a:pt x="703227" y="0"/>
                  <a:pt x="712552" y="0"/>
                </a:cubicBezTo>
                <a:close/>
              </a:path>
            </a:pathLst>
          </a:custGeom>
          <a:solidFill>
            <a:schemeClr val="tx1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7513" y="3556000"/>
            <a:ext cx="6519862" cy="2882900"/>
          </a:xfrm>
        </p:spPr>
        <p:txBody>
          <a:bodyPr anchor="b"/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add title</a:t>
            </a:r>
            <a:br>
              <a:rPr lang="en-GB" dirty="0"/>
            </a:br>
            <a:r>
              <a:rPr lang="en-GB" dirty="0"/>
              <a:t>(max 3 lines)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0CFB65-35F2-DBA9-6DA7-9DEBD8DEEA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7513" y="549274"/>
            <a:ext cx="193357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Name Surname</a:t>
            </a:r>
            <a:br>
              <a:rPr lang="en-US" dirty="0"/>
            </a:br>
            <a:r>
              <a:rPr lang="en-GB" dirty="0"/>
              <a:t>Title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B4DBC4B-7E16-45D0-B72A-99EBDFD16699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10090800" y="549275"/>
            <a:ext cx="1681200" cy="162000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7A4F13A-1802-4C89-967E-F3E93B628E9D}" type="datetime4">
              <a:rPr lang="en-GB" smtClean="0"/>
              <a:t>17 September 20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490305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ubtitle 2">
            <a:extLst>
              <a:ext uri="{FF2B5EF4-FFF2-40B4-BE49-F238E27FC236}">
                <a16:creationId xmlns:a16="http://schemas.microsoft.com/office/drawing/2014/main" id="{7DD462CF-EC49-377A-66A2-9C02A5F1362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7513" y="549275"/>
            <a:ext cx="2649537" cy="162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0">
                <a:latin typeface="+mj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000" b="0">
                <a:latin typeface="+mj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latin typeface="+mj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latin typeface="+mj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latin typeface="+mj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latin typeface="+mj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latin typeface="+mj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latin typeface="+mj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>
                <a:latin typeface="+mj-lt"/>
              </a:defRPr>
            </a:lvl9pPr>
          </a:lstStyle>
          <a:p>
            <a:r>
              <a:rPr lang="en-GB" dirty="0"/>
              <a:t>Click to add section title</a:t>
            </a:r>
            <a:endParaRPr lang="en-GB"/>
          </a:p>
        </p:txBody>
      </p:sp>
      <p:sp>
        <p:nvSpPr>
          <p:cNvPr id="23" name="Title 22">
            <a:extLst>
              <a:ext uri="{FF2B5EF4-FFF2-40B4-BE49-F238E27FC236}">
                <a16:creationId xmlns:a16="http://schemas.microsoft.com/office/drawing/2014/main" id="{973AB63B-E96A-7F30-6721-4B4B8E47F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13" y="960438"/>
            <a:ext cx="2649537" cy="731562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485AA6-92EE-46D3-8826-CF357E1A45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06113" y="808145"/>
            <a:ext cx="957262" cy="4584748"/>
          </a:xfrm>
        </p:spPr>
        <p:txBody>
          <a:bodyPr tIns="0" bIns="0"/>
          <a:lstStyle>
            <a:lvl1pPr marL="0" indent="0" algn="r">
              <a:lnSpc>
                <a:spcPts val="425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>
                <a:solidFill>
                  <a:srgbClr val="7A6F67"/>
                </a:solidFill>
                <a:latin typeface="+mn-lt"/>
              </a:defRPr>
            </a:lvl1pPr>
            <a:lvl2pPr marL="0" indent="0" algn="r">
              <a:lnSpc>
                <a:spcPts val="425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>
                <a:solidFill>
                  <a:srgbClr val="7A6F67"/>
                </a:solidFill>
                <a:latin typeface="+mn-lt"/>
              </a:defRPr>
            </a:lvl2pPr>
            <a:lvl3pPr marL="0" indent="0" algn="r">
              <a:lnSpc>
                <a:spcPts val="425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>
                <a:solidFill>
                  <a:srgbClr val="7A6F67"/>
                </a:solidFill>
                <a:latin typeface="+mn-lt"/>
              </a:defRPr>
            </a:lvl3pPr>
            <a:lvl4pPr algn="r">
              <a:lnSpc>
                <a:spcPts val="425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>
                <a:solidFill>
                  <a:srgbClr val="7A6F67"/>
                </a:solidFill>
                <a:latin typeface="+mn-lt"/>
              </a:defRPr>
            </a:lvl4pPr>
            <a:lvl5pPr algn="r">
              <a:lnSpc>
                <a:spcPts val="425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>
                <a:solidFill>
                  <a:srgbClr val="7A6F67"/>
                </a:solidFill>
                <a:latin typeface="+mn-lt"/>
              </a:defRPr>
            </a:lvl5pPr>
            <a:lvl6pPr marL="0" indent="0" algn="r">
              <a:lnSpc>
                <a:spcPts val="425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>
                <a:solidFill>
                  <a:srgbClr val="7A6F67"/>
                </a:solidFill>
                <a:latin typeface="+mn-lt"/>
              </a:defRPr>
            </a:lvl6pPr>
            <a:lvl7pPr algn="r">
              <a:lnSpc>
                <a:spcPts val="4250"/>
              </a:lnSpc>
              <a:spcBef>
                <a:spcPts val="0"/>
              </a:spcBef>
              <a:spcAft>
                <a:spcPts val="0"/>
              </a:spcAft>
              <a:defRPr sz="2800" b="0">
                <a:solidFill>
                  <a:srgbClr val="7A6F67"/>
                </a:solidFill>
                <a:latin typeface="+mn-lt"/>
              </a:defRPr>
            </a:lvl7pPr>
            <a:lvl8pPr marL="180000" indent="-180000" algn="r">
              <a:lnSpc>
                <a:spcPts val="425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="0">
                <a:solidFill>
                  <a:srgbClr val="7A6F67"/>
                </a:solidFill>
                <a:latin typeface="+mn-lt"/>
              </a:defRPr>
            </a:lvl8pPr>
            <a:lvl9pPr algn="r">
              <a:lnSpc>
                <a:spcPts val="43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rgbClr val="7A6F67"/>
                </a:solidFill>
                <a:latin typeface="+mn-lt"/>
              </a:defRPr>
            </a:lvl9pPr>
          </a:lstStyle>
          <a:p>
            <a:pPr lvl="0"/>
            <a:r>
              <a:rPr lang="en-GB" dirty="0"/>
              <a:t>01</a:t>
            </a:r>
            <a:endParaRPr lang="en-GB"/>
          </a:p>
          <a:p>
            <a:pPr lvl="1"/>
            <a:r>
              <a:rPr lang="en-GB" dirty="0"/>
              <a:t>02</a:t>
            </a:r>
            <a:endParaRPr lang="en-GB"/>
          </a:p>
          <a:p>
            <a:pPr lvl="2"/>
            <a:r>
              <a:rPr lang="en-GB" dirty="0"/>
              <a:t>03</a:t>
            </a:r>
            <a:endParaRPr lang="en-GB"/>
          </a:p>
          <a:p>
            <a:pPr lvl="3"/>
            <a:r>
              <a:rPr lang="en-GB" dirty="0"/>
              <a:t>04</a:t>
            </a:r>
            <a:endParaRPr lang="en-GB"/>
          </a:p>
          <a:p>
            <a:pPr lvl="4"/>
            <a:r>
              <a:rPr lang="en-GB" dirty="0"/>
              <a:t>05</a:t>
            </a:r>
            <a:endParaRPr lang="en-GB"/>
          </a:p>
          <a:p>
            <a:pPr lvl="5"/>
            <a:r>
              <a:rPr lang="en-GB" dirty="0"/>
              <a:t>06</a:t>
            </a:r>
            <a:endParaRPr lang="en-GB"/>
          </a:p>
          <a:p>
            <a:pPr lvl="6"/>
            <a:r>
              <a:rPr lang="en-GB" dirty="0"/>
              <a:t>07</a:t>
            </a:r>
            <a:endParaRPr lang="en-GB"/>
          </a:p>
          <a:p>
            <a:pPr lvl="7"/>
            <a:r>
              <a:rPr lang="en-GB" dirty="0"/>
              <a:t>08</a:t>
            </a:r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033045" y="808145"/>
            <a:ext cx="6057105" cy="4569778"/>
          </a:xfrm>
        </p:spPr>
        <p:txBody>
          <a:bodyPr tIns="0"/>
          <a:lstStyle>
            <a:lvl1pPr marL="0" indent="0">
              <a:lnSpc>
                <a:spcPts val="425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/>
            </a:lvl1pPr>
            <a:lvl2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0"/>
            </a:lvl2pPr>
            <a:lvl3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0"/>
            </a:lvl3pPr>
            <a:lvl4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0"/>
            </a:lvl4pPr>
            <a:lvl5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0"/>
            </a:lvl5pPr>
            <a:lvl6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0"/>
            </a:lvl6pPr>
            <a:lvl7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0"/>
            </a:lvl7pPr>
            <a:lvl8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0"/>
            </a:lvl8pPr>
            <a:lvl9pPr marL="0" indent="0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4000" b="0"/>
            </a:lvl9pPr>
          </a:lstStyle>
          <a:p>
            <a:pPr lvl="0"/>
            <a:r>
              <a:rPr lang="en-GB" noProof="0" dirty="0"/>
              <a:t>Click to add agenda poin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22620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layou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2">
            <a:extLst>
              <a:ext uri="{FF2B5EF4-FFF2-40B4-BE49-F238E27FC236}">
                <a16:creationId xmlns:a16="http://schemas.microsoft.com/office/drawing/2014/main" id="{74D34E7C-0F46-FE35-E6F2-978763DAC7F4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17513" y="549275"/>
            <a:ext cx="2649537" cy="162000"/>
          </a:xfrm>
          <a:effectLst/>
        </p:spPr>
        <p:txBody>
          <a:bodyPr vert="horz" wrap="square" anchor="t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000" b="0" i="0" u="none" strike="noStrike">
                <a:solidFill>
                  <a:schemeClr val="tx1">
                    <a:lumMod val="100000"/>
                  </a:schemeClr>
                </a:solidFill>
                <a:latin typeface="CircularXX Offc" panose="020B0504010101010104" pitchFamily="34" charset="0"/>
              </a:defRPr>
            </a:lvl1pPr>
            <a:lvl2pPr marL="0" indent="0" algn="l">
              <a:spcAft>
                <a:spcPts val="0"/>
              </a:spcAft>
              <a:buFont typeface="Arial" panose="020B0604020202020204" pitchFamily="34" charset="0"/>
              <a:buNone/>
              <a:defRPr sz="1000" b="0" i="0" u="none" strike="noStrike">
                <a:solidFill>
                  <a:schemeClr val="tx1">
                    <a:lumMod val="100000"/>
                  </a:schemeClr>
                </a:solidFill>
                <a:latin typeface="CircularXX Offc" panose="020B0504010101010104" pitchFamily="34" charset="0"/>
              </a:defRPr>
            </a:lvl2pPr>
            <a:lvl3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000" b="0" i="0" u="none" strike="noStrike">
                <a:solidFill>
                  <a:schemeClr val="tx1">
                    <a:lumMod val="100000"/>
                  </a:schemeClr>
                </a:solidFill>
                <a:latin typeface="CircularXX Offc" panose="020B0504010101010104" pitchFamily="34" charset="0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 i="0" u="none" strike="noStrike">
                <a:solidFill>
                  <a:schemeClr val="tx1">
                    <a:lumMod val="100000"/>
                  </a:schemeClr>
                </a:solidFill>
                <a:latin typeface="CircularXX Offc" panose="020B0504010101010104" pitchFamily="34" charset="0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 i="0" u="none" strike="noStrike">
                <a:solidFill>
                  <a:schemeClr val="tx1">
                    <a:lumMod val="100000"/>
                  </a:schemeClr>
                </a:solidFill>
                <a:latin typeface="CircularXX Offc" panose="020B0504010101010104" pitchFamily="34" charset="0"/>
              </a:defRPr>
            </a:lvl5pPr>
            <a:lvl6pPr marL="0" indent="0" algn="l">
              <a:spcAft>
                <a:spcPts val="0"/>
              </a:spcAft>
              <a:buFont typeface="Arial" panose="020B0604020202020204" pitchFamily="34" charset="0"/>
              <a:buChar char="​"/>
              <a:defRPr sz="1000" b="0" i="0" u="none" strike="noStrike">
                <a:solidFill>
                  <a:schemeClr val="tx1">
                    <a:lumMod val="100000"/>
                  </a:schemeClr>
                </a:solidFill>
                <a:latin typeface="CircularXX Offc" panose="020B0504010101010104" pitchFamily="34" charset="0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 i="0" u="none" strike="noStrike">
                <a:solidFill>
                  <a:schemeClr val="tx1">
                    <a:lumMod val="100000"/>
                  </a:schemeClr>
                </a:solidFill>
                <a:latin typeface="CircularXX Offc" panose="020B0504010101010104" pitchFamily="34" charset="0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 i="0" u="none" strike="noStrike">
                <a:solidFill>
                  <a:schemeClr val="tx1">
                    <a:lumMod val="100000"/>
                  </a:schemeClr>
                </a:solidFill>
                <a:latin typeface="CircularXX Offc" panose="020B0504010101010104" pitchFamily="34" charset="0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000" b="0" i="0" u="none" strike="noStrike">
                <a:solidFill>
                  <a:schemeClr val="tx1">
                    <a:lumMod val="100000"/>
                  </a:schemeClr>
                </a:solidFill>
                <a:latin typeface="CircularXX Offc" panose="020B0504010101010104" pitchFamily="34" charset="0"/>
              </a:defRPr>
            </a:lvl9pPr>
          </a:lstStyle>
          <a:p>
            <a:pPr lvl="0"/>
            <a:r>
              <a:rPr lang="en-GB" dirty="0"/>
              <a:t>Click to add section tit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7513" y="2006791"/>
            <a:ext cx="4578671" cy="3632400"/>
          </a:xfrm>
        </p:spPr>
        <p:txBody>
          <a:bodyPr vert="horz" wrap="square" anchor="t">
            <a:noAutofit/>
          </a:bodyPr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  <a:lvl6pPr algn="l">
              <a:defRPr/>
            </a:lvl6pPr>
            <a:lvl7pPr algn="l">
              <a:defRPr/>
            </a:lvl7pPr>
            <a:lvl8pPr algn="l">
              <a:defRPr/>
            </a:lvl8pPr>
            <a:lvl9pPr algn="l">
              <a:defRPr/>
            </a:lvl9pPr>
          </a:lstStyle>
          <a:p>
            <a:pPr lvl="0"/>
            <a:r>
              <a:rPr lang="en-GB" noProof="0" dirty="0"/>
              <a:t>Click to add text                                                     Press ENTER then TAB to view next text style                                                   Press SHIFT+TAB to view previous text style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 level</a:t>
            </a:r>
            <a:endParaRPr lang="en-GB"/>
          </a:p>
          <a:p>
            <a:pPr lvl="6"/>
            <a:r>
              <a:rPr lang="en-GB" noProof="0" dirty="0"/>
              <a:t>7 level</a:t>
            </a:r>
            <a:endParaRPr lang="en-GB"/>
          </a:p>
          <a:p>
            <a:pPr lvl="7"/>
            <a:r>
              <a:rPr lang="en-GB" noProof="0" dirty="0"/>
              <a:t>8 level</a:t>
            </a:r>
            <a:endParaRPr lang="en-GB"/>
          </a:p>
          <a:p>
            <a:pPr lvl="8"/>
            <a:r>
              <a:rPr lang="en-GB" noProof="0" dirty="0"/>
              <a:t>9 level</a:t>
            </a:r>
            <a:endParaRPr lang="en-GB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6EF999E5-AAB7-2447-AD55-B94BA7215B8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21412" y="960438"/>
            <a:ext cx="5551487" cy="4678753"/>
          </a:xfrm>
          <a:solidFill>
            <a:schemeClr val="bg1">
              <a:lumMod val="95000"/>
            </a:schemeClr>
          </a:solidFill>
        </p:spPr>
        <p:txBody>
          <a:bodyPr lIns="144000" tIns="108000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/>
            </a:lvl1pPr>
          </a:lstStyle>
          <a:p>
            <a:r>
              <a:rPr lang="en-GB" dirty="0"/>
              <a:t>Click icon to add picture from your computer or click on frame and insert picture via Templafy Images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19615DD-A0B1-34CA-327D-F6724E8F49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13" y="960438"/>
            <a:ext cx="4584700" cy="731562"/>
          </a:xfrm>
        </p:spPr>
        <p:txBody>
          <a:bodyPr/>
          <a:lstStyle/>
          <a:p>
            <a:r>
              <a:rPr lang="en-GB" dirty="0"/>
              <a:t>Click to add title</a:t>
            </a:r>
            <a:br>
              <a:rPr lang="en-GB" dirty="0"/>
            </a:br>
            <a:r>
              <a:rPr lang="en-GB" dirty="0"/>
              <a:t>(max 2 lines)</a:t>
            </a:r>
          </a:p>
        </p:txBody>
      </p:sp>
    </p:spTree>
    <p:extLst>
      <p:ext uri="{BB962C8B-B14F-4D97-AF65-F5344CB8AC3E}">
        <p14:creationId xmlns:p14="http://schemas.microsoft.com/office/powerpoint/2010/main" val="8507695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286251" y="1493850"/>
            <a:ext cx="2901950" cy="494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PICTURES</a:t>
            </a:r>
            <a:br>
              <a:rPr lang="en-GB" sz="9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en-GB" altLang="da-DK" sz="9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en-GB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utton to view Templafy pane on right side of the screen, if it is not already there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elect picture placeholder by clicking on the frame (at the edge)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en-GB" altLang="da-DK" sz="900" b="0" i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en-GB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in the Templafy pane</a:t>
            </a:r>
            <a:br>
              <a:rPr lang="en-GB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baseline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sert picture from other location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sert 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o browse for picture</a:t>
            </a:r>
            <a:endParaRPr lang="en-GB"/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rop picture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endParaRPr lang="en-GB" altLang="da-DK" sz="9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sz="1600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 altLang="da-DK" sz="9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en-GB" sz="900" b="0" i="0" dirty="0">
                <a:solidFill>
                  <a:srgbClr val="000000"/>
                </a:solidFill>
                <a:effectLst/>
                <a:latin typeface="+mn-lt"/>
              </a:rPr>
              <a:t>⌘ 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en-GB"/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3A5D5234-21E3-4579-AE5E-A650C0CF9F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65680" y="1942016"/>
            <a:ext cx="305786" cy="365851"/>
          </a:xfrm>
          <a:prstGeom prst="rect">
            <a:avLst/>
          </a:prstGeom>
        </p:spPr>
      </p:pic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7442" y="4026953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156575" y="1493851"/>
            <a:ext cx="2901951" cy="494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EADER &amp; FOOTER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Do this at the very end to apply the changes 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n all slides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eader &amp; Footer 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ab 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(write the desired text, click date or Slide 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number from or to)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o selected slide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OPY/PASTE CONTENT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When copying old content to your new presentation, 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 options are available: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en-GB" altLang="da-DK" sz="900" b="1" i="0" u="sng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When presentation is done, open an empty presentation (press Ctrl+N). Copy all slides from presentation, paste them into empty one. This will ensure that there are no extra layouts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sert predefined slides and elements 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using the Templafy pane. Choose 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rom the 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buttons in the Templafy pane on the 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right side of the screen</a:t>
            </a:r>
            <a:endParaRPr lang="en-GB" altLang="da-DK" sz="900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>
            <a:spLocks/>
          </p:cNvSpPr>
          <p:nvPr userDrawn="1"/>
        </p:nvSpPr>
        <p:spPr>
          <a:xfrm>
            <a:off x="417513" y="935999"/>
            <a:ext cx="6770687" cy="7560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/>
          <a:p>
            <a:pPr algn="l">
              <a:lnSpc>
                <a:spcPct val="83000"/>
              </a:lnSpc>
            </a:pPr>
            <a:r>
              <a:rPr lang="en-GB" sz="2800" b="0" i="0" u="none" strike="noStrike" noProof="1">
                <a:solidFill>
                  <a:schemeClr val="tx1">
                    <a:lumMod val="100000"/>
                  </a:schemeClr>
                </a:solidFill>
                <a:latin typeface="CircularXX Offc" panose="020B0504010101010104" pitchFamily="34" charset="0"/>
                <a:cs typeface="Arial" panose="020B0604020202020204" pitchFamily="34" charset="0"/>
              </a:rPr>
              <a:t>YOUR USER GUIDE</a:t>
            </a:r>
            <a:endParaRPr lang="en-GB"/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24800" y="2116483"/>
            <a:ext cx="378293" cy="543366"/>
          </a:xfrm>
          <a:prstGeom prst="rect">
            <a:avLst/>
          </a:prstGeom>
        </p:spPr>
      </p:pic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901" t="45142" r="62601" b="9046"/>
          <a:stretch/>
        </p:blipFill>
        <p:spPr>
          <a:xfrm>
            <a:off x="7347971" y="3309842"/>
            <a:ext cx="341204" cy="321707"/>
          </a:xfrm>
          <a:prstGeom prst="rect">
            <a:avLst/>
          </a:prstGeom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17516" y="1493850"/>
            <a:ext cx="2901947" cy="4649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EXT STYLES</a:t>
            </a:r>
            <a:endParaRPr lang="en-GB" altLang="da-DK" sz="16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ENTER </a:t>
            </a:r>
            <a:r>
              <a:rPr lang="en-GB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nd</a:t>
            </a:r>
            <a:r>
              <a:rPr lang="en-GB" altLang="da-DK" sz="900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AB</a:t>
            </a:r>
            <a:r>
              <a:rPr lang="en-GB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en-GB" sz="900" b="1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en-GB" sz="900" b="1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br>
              <a:rPr lang="en-GB" sz="900" baseline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endParaRPr lang="en-GB" sz="900" baseline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en-GB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Use bullet button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Delete bullet for regular text.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on the bullet button to reaply the correct bullet again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6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endParaRPr lang="en-GB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br>
              <a:rPr lang="en-GB" altLang="da-DK" sz="900" b="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en-GB" altLang="da-DK" sz="900" b="0" noProof="1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 noProof="1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en-GB" sz="900" b="1" noProof="1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 </a:t>
            </a:r>
            <a:r>
              <a:rPr lang="en-GB" sz="900" noProof="1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  <a:br>
              <a:rPr lang="en-GB" sz="900" noProof="0" dirty="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endParaRPr lang="en-GB" sz="900" noProof="0" dirty="0">
              <a:solidFill>
                <a:srgbClr val="000000"/>
              </a:solidFill>
              <a:latin typeface="+mn-lt"/>
              <a:ea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en-GB" altLang="da-DK" sz="90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tab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Reset</a:t>
            </a:r>
            <a:r>
              <a:rPr lang="en-GB" altLang="da-DK" sz="900" noProof="1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 menu to reset position, size and formatting of the slide placeholders to their default settings</a:t>
            </a:r>
            <a:endParaRPr lang="en-GB" sz="900" dirty="0">
              <a:solidFill>
                <a:srgbClr val="000000"/>
              </a:solidFill>
              <a:latin typeface="+mn-lt"/>
              <a:ea typeface="Arial" panose="020B0604020202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393763" y="4859226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393763" y="4004907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396461" y="5758523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393763" y="2499649"/>
            <a:ext cx="457143" cy="25714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92A5FDF-69DC-4DD2-BFF8-3478E75DBB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50000" t="50000" b="4554"/>
          <a:stretch/>
        </p:blipFill>
        <p:spPr>
          <a:xfrm>
            <a:off x="7299819" y="2694597"/>
            <a:ext cx="437508" cy="36585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D428E528-3C21-43A5-9A1F-5FC8A3BB1E92}"/>
              </a:ext>
            </a:extLst>
          </p:cNvPr>
          <p:cNvGrpSpPr/>
          <p:nvPr userDrawn="1"/>
        </p:nvGrpSpPr>
        <p:grpSpPr>
          <a:xfrm>
            <a:off x="10645790" y="5739037"/>
            <a:ext cx="991746" cy="384654"/>
            <a:chOff x="10992821" y="4404000"/>
            <a:chExt cx="1588357" cy="616052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44E7E5B-C2F8-47A1-8626-A6E32640159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/>
            <a:srcRect l="1" t="29690" r="1315"/>
            <a:stretch/>
          </p:blipFill>
          <p:spPr>
            <a:xfrm>
              <a:off x="10992821" y="4404000"/>
              <a:ext cx="1588357" cy="616052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5065702C-2099-41C8-904A-A3616CD11CA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/>
            <a:srcRect l="21641" t="72894" r="72046" b="1834"/>
            <a:stretch/>
          </p:blipFill>
          <p:spPr>
            <a:xfrm>
              <a:off x="12479578" y="4785230"/>
              <a:ext cx="101600" cy="221441"/>
            </a:xfrm>
            <a:prstGeom prst="rect">
              <a:avLst/>
            </a:prstGeom>
          </p:spPr>
        </p:pic>
      </p:grpSp>
      <p:pic>
        <p:nvPicPr>
          <p:cNvPr id="34" name="Picture 2">
            <a:extLst>
              <a:ext uri="{FF2B5EF4-FFF2-40B4-BE49-F238E27FC236}">
                <a16:creationId xmlns:a16="http://schemas.microsoft.com/office/drawing/2014/main" id="{23C2B142-78D9-4D1A-A62B-85445D78273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393763" y="3209517"/>
            <a:ext cx="257143" cy="28571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D1B6CE1-64F3-2BC5-4331-2FCC2827ED41}"/>
              </a:ext>
            </a:extLst>
          </p:cNvPr>
          <p:cNvSpPr txBox="1">
            <a:spLocks/>
          </p:cNvSpPr>
          <p:nvPr userDrawn="1"/>
        </p:nvSpPr>
        <p:spPr>
          <a:xfrm>
            <a:off x="417515" y="522000"/>
            <a:ext cx="2649537" cy="153888"/>
          </a:xfrm>
          <a:prstGeom prst="rect">
            <a:avLst/>
          </a:prstGeom>
          <a:noFill/>
          <a:effectLst/>
        </p:spPr>
        <p:txBody>
          <a:bodyPr vert="horz" wrap="square" lIns="0" tIns="0" rIns="0" bIns="0" anchor="t">
            <a:noAutofit/>
          </a:bodyPr>
          <a:lstStyle/>
          <a:p>
            <a:pPr algn="l"/>
            <a:r>
              <a:rPr lang="en-GB" sz="1000" b="0" i="0" u="none" strike="noStrike" noProof="1">
                <a:solidFill>
                  <a:schemeClr val="tx1">
                    <a:lumMod val="100000"/>
                  </a:schemeClr>
                </a:solidFill>
                <a:latin typeface="CircularXX Offc" panose="020B0504010101010104" pitchFamily="34" charset="0"/>
                <a:cs typeface="Arial" panose="020B0604020202020204" pitchFamily="34" charset="0"/>
              </a:rPr>
              <a:t>TIPS &amp; TRICKS</a:t>
            </a:r>
            <a:endParaRPr lang="en-GB" sz="1000" b="0" i="0" u="none" strike="noStrike" dirty="0">
              <a:solidFill>
                <a:schemeClr val="tx1">
                  <a:lumMod val="100000"/>
                </a:schemeClr>
              </a:solidFill>
              <a:latin typeface="CircularXX Offc" panose="020B05040101010101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72878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ED15FA-6EE8-4B82-A537-F53ACAF84CA4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 dirty="0"/>
              <a:t>Mark placeholder to insert image </a:t>
            </a:r>
            <a:r>
              <a:rPr lang="en-GB" dirty="0"/>
              <a:t>using the Insert tab – Pictures or from Templafy</a:t>
            </a:r>
            <a:endParaRPr lang="en-GB"/>
          </a:p>
          <a:p>
            <a:endParaRPr lang="en-GB" dirty="0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E32549A6-0448-4926-86D9-B6AD75A15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658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 dirty="0"/>
              <a:t>.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3518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6B010D-12BA-4529-B692-206652452F2C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49"/>
            <a:ext cx="10485800" cy="804214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 dirty="0"/>
              <a:t>Headlin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 dirty="0"/>
              <a:t>Subtitle</a:t>
            </a:r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 dirty="0"/>
              <a:t>Headline</a:t>
            </a:r>
            <a:endParaRPr lang="en-GB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BE5E2E4-C4EA-470A-9EED-5F0C8AEF39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00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817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/>
            </a:lvl1pPr>
          </a:lstStyle>
          <a:p>
            <a:r>
              <a:rPr lang="en-GB" noProof="0" dirty="0"/>
              <a:t>Click to add Agenda title</a:t>
            </a:r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E5059-8FC8-469D-AF5C-AED221334502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7025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78ACD53B-260B-4FF0-BE81-47ED68F9F4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Click to add Agenda title</a:t>
            </a:r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 dirty="0"/>
              <a:t>Click to add agenda point</a:t>
            </a:r>
            <a:endParaRPr lang="en-GB"/>
          </a:p>
          <a:p>
            <a:pPr lvl="1"/>
            <a:r>
              <a:rPr lang="en-GB" noProof="0" dirty="0"/>
              <a:t>Second level</a:t>
            </a:r>
            <a:endParaRPr lang="en-GB"/>
          </a:p>
          <a:p>
            <a:pPr lvl="2"/>
            <a:r>
              <a:rPr lang="en-GB" noProof="0" dirty="0"/>
              <a:t>Third level</a:t>
            </a:r>
            <a:endParaRPr lang="en-GB"/>
          </a:p>
          <a:p>
            <a:pPr lvl="3"/>
            <a:r>
              <a:rPr lang="en-GB" noProof="0" dirty="0"/>
              <a:t>Fourth level</a:t>
            </a:r>
            <a:endParaRPr lang="en-GB"/>
          </a:p>
          <a:p>
            <a:pPr lvl="4"/>
            <a:r>
              <a:rPr lang="en-GB" noProof="0" dirty="0"/>
              <a:t>Fifth level</a:t>
            </a:r>
            <a:endParaRPr lang="en-GB"/>
          </a:p>
          <a:p>
            <a:pPr lvl="5"/>
            <a:r>
              <a:rPr lang="en-GB" noProof="0" dirty="0"/>
              <a:t>6</a:t>
            </a:r>
            <a:endParaRPr lang="en-GB"/>
          </a:p>
          <a:p>
            <a:pPr lvl="6"/>
            <a:r>
              <a:rPr lang="en-GB" noProof="0" dirty="0"/>
              <a:t>7</a:t>
            </a:r>
            <a:endParaRPr lang="en-GB"/>
          </a:p>
          <a:p>
            <a:pPr lvl="7"/>
            <a:r>
              <a:rPr lang="en-GB" noProof="0" dirty="0"/>
              <a:t>8</a:t>
            </a:r>
            <a:endParaRPr lang="en-GB"/>
          </a:p>
          <a:p>
            <a:pPr lvl="8"/>
            <a:r>
              <a:rPr lang="en-GB" noProof="0" dirty="0"/>
              <a:t>9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A79E5A-EC3D-4F9C-8449-9968B8A873CD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Lav dynamik">
            <a:extLst>
              <a:ext uri="{FF2B5EF4-FFF2-40B4-BE49-F238E27FC236}">
                <a16:creationId xmlns:a16="http://schemas.microsoft.com/office/drawing/2014/main" id="{BCDDD54F-FD08-428B-BC60-617D3FA993D5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Rambol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12712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15561ECF-7D46-418C-8729-C8ECF83A13E2}"/>
              </a:ext>
            </a:extLst>
          </p:cNvPr>
          <p:cNvGrpSpPr/>
          <p:nvPr userDrawn="1"/>
        </p:nvGrpSpPr>
        <p:grpSpPr>
          <a:xfrm>
            <a:off x="358775" y="652461"/>
            <a:ext cx="11473225" cy="5911853"/>
            <a:chOff x="358775" y="652461"/>
            <a:chExt cx="11473225" cy="591185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9F99D4-F67E-4434-8A77-73CFD8194BE7}"/>
                </a:ext>
              </a:extLst>
            </p:cNvPr>
            <p:cNvSpPr/>
            <p:nvPr userDrawn="1"/>
          </p:nvSpPr>
          <p:spPr>
            <a:xfrm>
              <a:off x="98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2247C1-8999-4428-B39C-99101426123D}"/>
                </a:ext>
              </a:extLst>
            </p:cNvPr>
            <p:cNvSpPr/>
            <p:nvPr userDrawn="1"/>
          </p:nvSpPr>
          <p:spPr>
            <a:xfrm>
              <a:off x="360000" y="652462"/>
              <a:ext cx="11472000" cy="5911851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125219-FD9A-41B2-B1E3-EAB13584C8B0}"/>
                </a:ext>
              </a:extLst>
            </p:cNvPr>
            <p:cNvSpPr/>
            <p:nvPr userDrawn="1"/>
          </p:nvSpPr>
          <p:spPr>
            <a:xfrm>
              <a:off x="358775" y="1828800"/>
              <a:ext cx="11472863" cy="4735514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6D790-5B35-4F06-B6DB-EC1E2EB169A5}"/>
                </a:ext>
              </a:extLst>
            </p:cNvPr>
            <p:cNvSpPr/>
            <p:nvPr userDrawn="1"/>
          </p:nvSpPr>
          <p:spPr>
            <a:xfrm>
              <a:off x="197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CB2FC5-A2F6-4A4F-84AA-43534FE975BF}"/>
                </a:ext>
              </a:extLst>
            </p:cNvPr>
            <p:cNvSpPr/>
            <p:nvPr userDrawn="1"/>
          </p:nvSpPr>
          <p:spPr>
            <a:xfrm>
              <a:off x="295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5EB2D0-7A80-405D-B665-12F8D4CC5F63}"/>
                </a:ext>
              </a:extLst>
            </p:cNvPr>
            <p:cNvSpPr/>
            <p:nvPr userDrawn="1"/>
          </p:nvSpPr>
          <p:spPr>
            <a:xfrm>
              <a:off x="394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2768B5-D959-48CB-BDED-4EAD8F5FF0AD}"/>
                </a:ext>
              </a:extLst>
            </p:cNvPr>
            <p:cNvSpPr/>
            <p:nvPr userDrawn="1"/>
          </p:nvSpPr>
          <p:spPr>
            <a:xfrm>
              <a:off x="493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E85FF8-3F3E-4005-8518-F5A205F1651A}"/>
                </a:ext>
              </a:extLst>
            </p:cNvPr>
            <p:cNvSpPr/>
            <p:nvPr userDrawn="1"/>
          </p:nvSpPr>
          <p:spPr>
            <a:xfrm>
              <a:off x="591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39F7EBC-85F9-49AF-A359-590F00976AFB}"/>
                </a:ext>
              </a:extLst>
            </p:cNvPr>
            <p:cNvSpPr/>
            <p:nvPr userDrawn="1"/>
          </p:nvSpPr>
          <p:spPr>
            <a:xfrm>
              <a:off x="690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F1FA3E-E852-433E-9D2C-2852FFC2D8B6}"/>
                </a:ext>
              </a:extLst>
            </p:cNvPr>
            <p:cNvSpPr/>
            <p:nvPr userDrawn="1"/>
          </p:nvSpPr>
          <p:spPr>
            <a:xfrm>
              <a:off x="788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443D88-E494-49A4-9054-8E60E8F2A85E}"/>
                </a:ext>
              </a:extLst>
            </p:cNvPr>
            <p:cNvSpPr/>
            <p:nvPr userDrawn="1"/>
          </p:nvSpPr>
          <p:spPr>
            <a:xfrm>
              <a:off x="887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3D840B-83FD-46BD-BEA5-2505FBE2EFF8}"/>
                </a:ext>
              </a:extLst>
            </p:cNvPr>
            <p:cNvSpPr/>
            <p:nvPr userDrawn="1"/>
          </p:nvSpPr>
          <p:spPr>
            <a:xfrm>
              <a:off x="986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ABC8FB8-5C7D-4EA0-B3F8-180CCCB2B78F}"/>
                </a:ext>
              </a:extLst>
            </p:cNvPr>
            <p:cNvSpPr/>
            <p:nvPr userDrawn="1"/>
          </p:nvSpPr>
          <p:spPr>
            <a:xfrm>
              <a:off x="1084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6E85EE-3577-48A9-A89C-EA48B414776F}"/>
                </a:ext>
              </a:extLst>
            </p:cNvPr>
            <p:cNvSpPr/>
            <p:nvPr userDrawn="1"/>
          </p:nvSpPr>
          <p:spPr>
            <a:xfrm>
              <a:off x="358775" y="6124575"/>
              <a:ext cx="11473200" cy="439739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dirty="0" err="1"/>
            </a:p>
          </p:txBody>
        </p:sp>
      </p:grpSp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 dirty="0">
                <a:solidFill>
                  <a:schemeClr val="tx2"/>
                </a:solidFill>
              </a:rPr>
              <a:t>Ramboll</a:t>
            </a:r>
            <a:endParaRPr lang="en-GB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Level 1 (Enter+TAB for next text level, SHIFT+TAB to go back in levels)</a:t>
            </a:r>
            <a:endParaRPr lang="en-GB"/>
          </a:p>
          <a:p>
            <a:pPr lvl="1"/>
            <a:r>
              <a:rPr lang="en-GB" noProof="0" dirty="0"/>
              <a:t>Level 2</a:t>
            </a:r>
            <a:endParaRPr lang="en-GB"/>
          </a:p>
          <a:p>
            <a:pPr lvl="2"/>
            <a:r>
              <a:rPr lang="en-GB" noProof="0" dirty="0"/>
              <a:t>Level 3</a:t>
            </a:r>
            <a:endParaRPr lang="en-GB"/>
          </a:p>
          <a:p>
            <a:pPr lvl="3"/>
            <a:r>
              <a:rPr lang="en-GB" noProof="0" dirty="0"/>
              <a:t>Level 4</a:t>
            </a:r>
            <a:endParaRPr lang="en-GB"/>
          </a:p>
          <a:p>
            <a:pPr lvl="4"/>
            <a:r>
              <a:rPr lang="en-GB" noProof="0" dirty="0"/>
              <a:t>Level 5</a:t>
            </a:r>
            <a:endParaRPr lang="en-GB"/>
          </a:p>
          <a:p>
            <a:pPr lvl="5"/>
            <a:r>
              <a:rPr lang="en-GB" noProof="0" dirty="0"/>
              <a:t>Level 6</a:t>
            </a:r>
            <a:endParaRPr lang="en-GB"/>
          </a:p>
          <a:p>
            <a:pPr lvl="6"/>
            <a:r>
              <a:rPr lang="en-GB" noProof="0" dirty="0"/>
              <a:t>Level 7</a:t>
            </a:r>
            <a:endParaRPr lang="en-GB"/>
          </a:p>
          <a:p>
            <a:pPr lvl="7"/>
            <a:r>
              <a:rPr lang="en-GB" noProof="0" dirty="0"/>
              <a:t>Level 8</a:t>
            </a:r>
            <a:endParaRPr lang="en-GB"/>
          </a:p>
          <a:p>
            <a:pPr lvl="8"/>
            <a:r>
              <a:rPr lang="en-GB" noProof="0" dirty="0"/>
              <a:t>Level 9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D7C7A626-396F-47CE-9599-33B16A849820}" type="datetime1">
              <a:rPr lang="en-GB" smtClean="0"/>
              <a:t>17/09/2024</a:t>
            </a:fld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  <p:sldLayoutId id="2147483773" r:id="rId56"/>
    <p:sldLayoutId id="2147483774" r:id="rId57"/>
    <p:sldLayoutId id="2147483775" r:id="rId58"/>
    <p:sldLayoutId id="2147483776" r:id="rId59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 userDrawn="1">
          <p15:clr>
            <a:srgbClr val="A4A3A4"/>
          </p15:clr>
        </p15:guide>
        <p15:guide id="2" pos="847" userDrawn="1">
          <p15:clr>
            <a:srgbClr val="A4A3A4"/>
          </p15:clr>
        </p15:guide>
        <p15:guide id="3" orient="horz" pos="410" userDrawn="1">
          <p15:clr>
            <a:srgbClr val="F26B43"/>
          </p15:clr>
        </p15:guide>
        <p15:guide id="4" orient="horz" pos="4135" userDrawn="1">
          <p15:clr>
            <a:srgbClr val="A4A3A4"/>
          </p15:clr>
        </p15:guide>
        <p15:guide id="5" pos="226" userDrawn="1">
          <p15:clr>
            <a:srgbClr val="F26B43"/>
          </p15:clr>
        </p15:guide>
        <p15:guide id="6" pos="7453" userDrawn="1">
          <p15:clr>
            <a:srgbClr val="F26B43"/>
          </p15:clr>
        </p15:guide>
        <p15:guide id="7" orient="horz" pos="1152" userDrawn="1">
          <p15:clr>
            <a:srgbClr val="F26B43"/>
          </p15:clr>
        </p15:guide>
        <p15:guide id="8" pos="1242" userDrawn="1">
          <p15:clr>
            <a:srgbClr val="A4A3A4"/>
          </p15:clr>
        </p15:guide>
        <p15:guide id="9" pos="1468" userDrawn="1">
          <p15:clr>
            <a:srgbClr val="A4A3A4"/>
          </p15:clr>
        </p15:guide>
        <p15:guide id="10" pos="1863" userDrawn="1">
          <p15:clr>
            <a:srgbClr val="A4A3A4"/>
          </p15:clr>
        </p15:guide>
        <p15:guide id="11" pos="2090" userDrawn="1">
          <p15:clr>
            <a:srgbClr val="A4A3A4"/>
          </p15:clr>
        </p15:guide>
        <p15:guide id="12" pos="2484" userDrawn="1">
          <p15:clr>
            <a:srgbClr val="A4A3A4"/>
          </p15:clr>
        </p15:guide>
        <p15:guide id="13" pos="2711" userDrawn="1">
          <p15:clr>
            <a:srgbClr val="A4A3A4"/>
          </p15:clr>
        </p15:guide>
        <p15:guide id="14" pos="3105" userDrawn="1">
          <p15:clr>
            <a:srgbClr val="A4A3A4"/>
          </p15:clr>
        </p15:guide>
        <p15:guide id="15" pos="3332" userDrawn="1">
          <p15:clr>
            <a:srgbClr val="A4A3A4"/>
          </p15:clr>
        </p15:guide>
        <p15:guide id="16" pos="3726" userDrawn="1">
          <p15:clr>
            <a:srgbClr val="A4A3A4"/>
          </p15:clr>
        </p15:guide>
        <p15:guide id="17" pos="3953" userDrawn="1">
          <p15:clr>
            <a:srgbClr val="A4A3A4"/>
          </p15:clr>
        </p15:guide>
        <p15:guide id="18" pos="4347" userDrawn="1">
          <p15:clr>
            <a:srgbClr val="A4A3A4"/>
          </p15:clr>
        </p15:guide>
        <p15:guide id="19" pos="4574" userDrawn="1">
          <p15:clr>
            <a:srgbClr val="A4A3A4"/>
          </p15:clr>
        </p15:guide>
        <p15:guide id="20" pos="4968" userDrawn="1">
          <p15:clr>
            <a:srgbClr val="A4A3A4"/>
          </p15:clr>
        </p15:guide>
        <p15:guide id="21" pos="5195" userDrawn="1">
          <p15:clr>
            <a:srgbClr val="A4A3A4"/>
          </p15:clr>
        </p15:guide>
        <p15:guide id="22" pos="5589" userDrawn="1">
          <p15:clr>
            <a:srgbClr val="A4A3A4"/>
          </p15:clr>
        </p15:guide>
        <p15:guide id="23" pos="5816" userDrawn="1">
          <p15:clr>
            <a:srgbClr val="A4A3A4"/>
          </p15:clr>
        </p15:guide>
        <p15:guide id="24" pos="6211" userDrawn="1">
          <p15:clr>
            <a:srgbClr val="A4A3A4"/>
          </p15:clr>
        </p15:guide>
        <p15:guide id="25" pos="6437" userDrawn="1">
          <p15:clr>
            <a:srgbClr val="A4A3A4"/>
          </p15:clr>
        </p15:guide>
        <p15:guide id="26" pos="6832" userDrawn="1">
          <p15:clr>
            <a:srgbClr val="A4A3A4"/>
          </p15:clr>
        </p15:guide>
        <p15:guide id="27" pos="7058" userDrawn="1">
          <p15:clr>
            <a:srgbClr val="A4A3A4"/>
          </p15:clr>
        </p15:guide>
        <p15:guide id="28" orient="horz" pos="385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36.xml"/><Relationship Id="rId18" Type="http://schemas.openxmlformats.org/officeDocument/2006/relationships/slideLayout" Target="../slideLayouts/slideLayout47.xml"/><Relationship Id="rId26" Type="http://schemas.openxmlformats.org/officeDocument/2006/relationships/image" Target="../media/image61.svg"/><Relationship Id="rId39" Type="http://schemas.openxmlformats.org/officeDocument/2006/relationships/image" Target="../media/image74.png"/><Relationship Id="rId21" Type="http://schemas.openxmlformats.org/officeDocument/2006/relationships/image" Target="../media/image34.svg"/><Relationship Id="rId34" Type="http://schemas.openxmlformats.org/officeDocument/2006/relationships/image" Target="../media/image69.svg"/><Relationship Id="rId42" Type="http://schemas.openxmlformats.org/officeDocument/2006/relationships/image" Target="../media/image77.svg"/><Relationship Id="rId47" Type="http://schemas.openxmlformats.org/officeDocument/2006/relationships/image" Target="../media/image82.png"/><Relationship Id="rId50" Type="http://schemas.openxmlformats.org/officeDocument/2006/relationships/image" Target="../media/image85.svg"/><Relationship Id="rId55" Type="http://schemas.openxmlformats.org/officeDocument/2006/relationships/image" Target="../media/image54.png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openxmlformats.org/officeDocument/2006/relationships/image" Target="../media/image60.png"/><Relationship Id="rId33" Type="http://schemas.openxmlformats.org/officeDocument/2006/relationships/image" Target="../media/image68.png"/><Relationship Id="rId38" Type="http://schemas.openxmlformats.org/officeDocument/2006/relationships/image" Target="../media/image73.svg"/><Relationship Id="rId46" Type="http://schemas.openxmlformats.org/officeDocument/2006/relationships/image" Target="../media/image81.svg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image" Target="../media/image33.png"/><Relationship Id="rId29" Type="http://schemas.openxmlformats.org/officeDocument/2006/relationships/image" Target="../media/image64.png"/><Relationship Id="rId41" Type="http://schemas.openxmlformats.org/officeDocument/2006/relationships/image" Target="../media/image76.png"/><Relationship Id="rId54" Type="http://schemas.openxmlformats.org/officeDocument/2006/relationships/image" Target="../media/image53.svg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image" Target="../media/image35.png"/><Relationship Id="rId32" Type="http://schemas.openxmlformats.org/officeDocument/2006/relationships/image" Target="../media/image67.svg"/><Relationship Id="rId37" Type="http://schemas.openxmlformats.org/officeDocument/2006/relationships/image" Target="../media/image72.png"/><Relationship Id="rId40" Type="http://schemas.openxmlformats.org/officeDocument/2006/relationships/image" Target="../media/image75.svg"/><Relationship Id="rId45" Type="http://schemas.openxmlformats.org/officeDocument/2006/relationships/image" Target="../media/image80.png"/><Relationship Id="rId53" Type="http://schemas.openxmlformats.org/officeDocument/2006/relationships/image" Target="../media/image52.png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image" Target="../media/image27.svg"/><Relationship Id="rId28" Type="http://schemas.openxmlformats.org/officeDocument/2006/relationships/image" Target="../media/image63.svg"/><Relationship Id="rId36" Type="http://schemas.openxmlformats.org/officeDocument/2006/relationships/image" Target="../media/image71.svg"/><Relationship Id="rId49" Type="http://schemas.openxmlformats.org/officeDocument/2006/relationships/image" Target="../media/image84.png"/><Relationship Id="rId57" Type="http://schemas.openxmlformats.org/officeDocument/2006/relationships/image" Target="../media/image56.svg"/><Relationship Id="rId10" Type="http://schemas.openxmlformats.org/officeDocument/2006/relationships/tags" Target="../tags/tag33.xml"/><Relationship Id="rId19" Type="http://schemas.openxmlformats.org/officeDocument/2006/relationships/notesSlide" Target="../notesSlides/notesSlide6.xml"/><Relationship Id="rId31" Type="http://schemas.openxmlformats.org/officeDocument/2006/relationships/image" Target="../media/image66.png"/><Relationship Id="rId44" Type="http://schemas.openxmlformats.org/officeDocument/2006/relationships/image" Target="../media/image79.svg"/><Relationship Id="rId52" Type="http://schemas.openxmlformats.org/officeDocument/2006/relationships/image" Target="../media/image87.svg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image" Target="../media/image26.png"/><Relationship Id="rId27" Type="http://schemas.openxmlformats.org/officeDocument/2006/relationships/image" Target="../media/image62.png"/><Relationship Id="rId30" Type="http://schemas.openxmlformats.org/officeDocument/2006/relationships/image" Target="../media/image65.svg"/><Relationship Id="rId35" Type="http://schemas.openxmlformats.org/officeDocument/2006/relationships/image" Target="../media/image70.png"/><Relationship Id="rId43" Type="http://schemas.openxmlformats.org/officeDocument/2006/relationships/image" Target="../media/image78.png"/><Relationship Id="rId48" Type="http://schemas.openxmlformats.org/officeDocument/2006/relationships/image" Target="../media/image83.svg"/><Relationship Id="rId56" Type="http://schemas.openxmlformats.org/officeDocument/2006/relationships/image" Target="../media/image55.png"/><Relationship Id="rId8" Type="http://schemas.openxmlformats.org/officeDocument/2006/relationships/tags" Target="../tags/tag31.xml"/><Relationship Id="rId51" Type="http://schemas.openxmlformats.org/officeDocument/2006/relationships/image" Target="../media/image86.png"/><Relationship Id="rId3" Type="http://schemas.openxmlformats.org/officeDocument/2006/relationships/tags" Target="../tags/tag26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slideLayout" Target="../slideLayouts/slideLayout47.xml"/><Relationship Id="rId26" Type="http://schemas.openxmlformats.org/officeDocument/2006/relationships/image" Target="../media/image62.png"/><Relationship Id="rId39" Type="http://schemas.openxmlformats.org/officeDocument/2006/relationships/image" Target="../media/image75.svg"/><Relationship Id="rId21" Type="http://schemas.openxmlformats.org/officeDocument/2006/relationships/image" Target="../media/image26.png"/><Relationship Id="rId34" Type="http://schemas.openxmlformats.org/officeDocument/2006/relationships/image" Target="../media/image70.png"/><Relationship Id="rId42" Type="http://schemas.openxmlformats.org/officeDocument/2006/relationships/image" Target="../media/image78.png"/><Relationship Id="rId47" Type="http://schemas.openxmlformats.org/officeDocument/2006/relationships/image" Target="../media/image83.svg"/><Relationship Id="rId50" Type="http://schemas.openxmlformats.org/officeDocument/2006/relationships/image" Target="../media/image86.png"/><Relationship Id="rId55" Type="http://schemas.openxmlformats.org/officeDocument/2006/relationships/image" Target="../media/image55.png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image" Target="../media/image61.svg"/><Relationship Id="rId33" Type="http://schemas.openxmlformats.org/officeDocument/2006/relationships/image" Target="../media/image69.svg"/><Relationship Id="rId38" Type="http://schemas.openxmlformats.org/officeDocument/2006/relationships/image" Target="../media/image74.png"/><Relationship Id="rId46" Type="http://schemas.openxmlformats.org/officeDocument/2006/relationships/image" Target="../media/image82.png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image" Target="../media/image34.svg"/><Relationship Id="rId29" Type="http://schemas.openxmlformats.org/officeDocument/2006/relationships/image" Target="../media/image65.svg"/><Relationship Id="rId41" Type="http://schemas.openxmlformats.org/officeDocument/2006/relationships/image" Target="../media/image77.svg"/><Relationship Id="rId54" Type="http://schemas.openxmlformats.org/officeDocument/2006/relationships/image" Target="../media/image54.png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image" Target="../media/image60.png"/><Relationship Id="rId32" Type="http://schemas.openxmlformats.org/officeDocument/2006/relationships/image" Target="../media/image68.png"/><Relationship Id="rId37" Type="http://schemas.openxmlformats.org/officeDocument/2006/relationships/image" Target="../media/image73.svg"/><Relationship Id="rId40" Type="http://schemas.openxmlformats.org/officeDocument/2006/relationships/image" Target="../media/image76.png"/><Relationship Id="rId45" Type="http://schemas.openxmlformats.org/officeDocument/2006/relationships/image" Target="../media/image81.svg"/><Relationship Id="rId53" Type="http://schemas.openxmlformats.org/officeDocument/2006/relationships/image" Target="../media/image53.svg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image" Target="../media/image35.png"/><Relationship Id="rId28" Type="http://schemas.openxmlformats.org/officeDocument/2006/relationships/image" Target="../media/image64.png"/><Relationship Id="rId36" Type="http://schemas.openxmlformats.org/officeDocument/2006/relationships/image" Target="../media/image72.png"/><Relationship Id="rId49" Type="http://schemas.openxmlformats.org/officeDocument/2006/relationships/image" Target="../media/image85.svg"/><Relationship Id="rId10" Type="http://schemas.openxmlformats.org/officeDocument/2006/relationships/tags" Target="../tags/tag50.xml"/><Relationship Id="rId19" Type="http://schemas.openxmlformats.org/officeDocument/2006/relationships/image" Target="../media/image33.png"/><Relationship Id="rId31" Type="http://schemas.openxmlformats.org/officeDocument/2006/relationships/image" Target="../media/image67.svg"/><Relationship Id="rId44" Type="http://schemas.openxmlformats.org/officeDocument/2006/relationships/image" Target="../media/image80.png"/><Relationship Id="rId52" Type="http://schemas.openxmlformats.org/officeDocument/2006/relationships/image" Target="../media/image52.png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image" Target="../media/image27.svg"/><Relationship Id="rId27" Type="http://schemas.openxmlformats.org/officeDocument/2006/relationships/image" Target="../media/image63.svg"/><Relationship Id="rId30" Type="http://schemas.openxmlformats.org/officeDocument/2006/relationships/image" Target="../media/image66.png"/><Relationship Id="rId35" Type="http://schemas.openxmlformats.org/officeDocument/2006/relationships/image" Target="../media/image71.svg"/><Relationship Id="rId43" Type="http://schemas.openxmlformats.org/officeDocument/2006/relationships/image" Target="../media/image79.svg"/><Relationship Id="rId48" Type="http://schemas.openxmlformats.org/officeDocument/2006/relationships/image" Target="../media/image84.png"/><Relationship Id="rId56" Type="http://schemas.openxmlformats.org/officeDocument/2006/relationships/image" Target="../media/image56.svg"/><Relationship Id="rId8" Type="http://schemas.openxmlformats.org/officeDocument/2006/relationships/tags" Target="../tags/tag48.xml"/><Relationship Id="rId51" Type="http://schemas.openxmlformats.org/officeDocument/2006/relationships/image" Target="../media/image87.svg"/><Relationship Id="rId3" Type="http://schemas.openxmlformats.org/officeDocument/2006/relationships/tags" Target="../tags/tag4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4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4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gif"/><Relationship Id="rId1" Type="http://schemas.openxmlformats.org/officeDocument/2006/relationships/slideLayout" Target="../slideLayouts/slideLayout4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13" Type="http://schemas.openxmlformats.org/officeDocument/2006/relationships/chart" Target="../charts/chart1.xml"/><Relationship Id="rId3" Type="http://schemas.openxmlformats.org/officeDocument/2006/relationships/tags" Target="../tags/tag1.xml"/><Relationship Id="rId7" Type="http://schemas.openxmlformats.org/officeDocument/2006/relationships/slideLayout" Target="../slideLayouts/slideLayout47.xml"/><Relationship Id="rId12" Type="http://schemas.openxmlformats.org/officeDocument/2006/relationships/image" Target="../media/image23.svg"/><Relationship Id="rId17" Type="http://schemas.openxmlformats.org/officeDocument/2006/relationships/image" Target="../media/image27.svg"/><Relationship Id="rId2" Type="http://schemas.openxmlformats.org/officeDocument/2006/relationships/customXml" Target="../../customXml/item7.xml"/><Relationship Id="rId16" Type="http://schemas.openxmlformats.org/officeDocument/2006/relationships/image" Target="../media/image26.png"/><Relationship Id="rId1" Type="http://schemas.openxmlformats.org/officeDocument/2006/relationships/customXml" Target="../../customXml/item6.xml"/><Relationship Id="rId6" Type="http://schemas.openxmlformats.org/officeDocument/2006/relationships/tags" Target="../tags/tag4.xml"/><Relationship Id="rId11" Type="http://schemas.openxmlformats.org/officeDocument/2006/relationships/image" Target="../media/image22.png"/><Relationship Id="rId5" Type="http://schemas.openxmlformats.org/officeDocument/2006/relationships/tags" Target="../tags/tag3.xml"/><Relationship Id="rId15" Type="http://schemas.openxmlformats.org/officeDocument/2006/relationships/image" Target="../media/image25.svg"/><Relationship Id="rId10" Type="http://schemas.openxmlformats.org/officeDocument/2006/relationships/image" Target="../media/image21.bin"/><Relationship Id="rId4" Type="http://schemas.openxmlformats.org/officeDocument/2006/relationships/tags" Target="../tags/tag2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bin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slideLayout" Target="../slideLayouts/slideLayout47.xml"/><Relationship Id="rId26" Type="http://schemas.openxmlformats.org/officeDocument/2006/relationships/image" Target="../media/image35.png"/><Relationship Id="rId39" Type="http://schemas.openxmlformats.org/officeDocument/2006/relationships/image" Target="../media/image48.png"/><Relationship Id="rId3" Type="http://schemas.openxmlformats.org/officeDocument/2006/relationships/tags" Target="../tags/tag7.xml"/><Relationship Id="rId21" Type="http://schemas.openxmlformats.org/officeDocument/2006/relationships/image" Target="../media/image32.svg"/><Relationship Id="rId34" Type="http://schemas.openxmlformats.org/officeDocument/2006/relationships/image" Target="../media/image43.svg"/><Relationship Id="rId42" Type="http://schemas.openxmlformats.org/officeDocument/2006/relationships/image" Target="../media/image51.svg"/><Relationship Id="rId47" Type="http://schemas.openxmlformats.org/officeDocument/2006/relationships/image" Target="../media/image56.svg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5" Type="http://schemas.openxmlformats.org/officeDocument/2006/relationships/image" Target="../media/image27.svg"/><Relationship Id="rId33" Type="http://schemas.openxmlformats.org/officeDocument/2006/relationships/image" Target="../media/image42.png"/><Relationship Id="rId38" Type="http://schemas.openxmlformats.org/officeDocument/2006/relationships/image" Target="../media/image47.svg"/><Relationship Id="rId46" Type="http://schemas.openxmlformats.org/officeDocument/2006/relationships/image" Target="../media/image55.png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image" Target="../media/image31.svg"/><Relationship Id="rId29" Type="http://schemas.openxmlformats.org/officeDocument/2006/relationships/image" Target="../media/image38.png"/><Relationship Id="rId41" Type="http://schemas.openxmlformats.org/officeDocument/2006/relationships/image" Target="../media/image50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24" Type="http://schemas.openxmlformats.org/officeDocument/2006/relationships/image" Target="../media/image26.png"/><Relationship Id="rId32" Type="http://schemas.openxmlformats.org/officeDocument/2006/relationships/image" Target="../media/image41.svg"/><Relationship Id="rId37" Type="http://schemas.openxmlformats.org/officeDocument/2006/relationships/image" Target="../media/image46.png"/><Relationship Id="rId40" Type="http://schemas.openxmlformats.org/officeDocument/2006/relationships/image" Target="../media/image49.svg"/><Relationship Id="rId45" Type="http://schemas.openxmlformats.org/officeDocument/2006/relationships/image" Target="../media/image54.png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image" Target="../media/image34.svg"/><Relationship Id="rId28" Type="http://schemas.openxmlformats.org/officeDocument/2006/relationships/image" Target="../media/image37.svg"/><Relationship Id="rId36" Type="http://schemas.openxmlformats.org/officeDocument/2006/relationships/image" Target="../media/image45.svg"/><Relationship Id="rId10" Type="http://schemas.openxmlformats.org/officeDocument/2006/relationships/tags" Target="../tags/tag14.xml"/><Relationship Id="rId19" Type="http://schemas.openxmlformats.org/officeDocument/2006/relationships/image" Target="../media/image30.png"/><Relationship Id="rId31" Type="http://schemas.openxmlformats.org/officeDocument/2006/relationships/image" Target="../media/image40.png"/><Relationship Id="rId44" Type="http://schemas.openxmlformats.org/officeDocument/2006/relationships/image" Target="../media/image53.svg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image" Target="../media/image33.png"/><Relationship Id="rId27" Type="http://schemas.openxmlformats.org/officeDocument/2006/relationships/image" Target="../media/image36.png"/><Relationship Id="rId30" Type="http://schemas.openxmlformats.org/officeDocument/2006/relationships/image" Target="../media/image39.svg"/><Relationship Id="rId35" Type="http://schemas.openxmlformats.org/officeDocument/2006/relationships/image" Target="../media/image44.png"/><Relationship Id="rId43" Type="http://schemas.openxmlformats.org/officeDocument/2006/relationships/image" Target="../media/image5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22.xml"/><Relationship Id="rId6" Type="http://schemas.openxmlformats.org/officeDocument/2006/relationships/image" Target="../media/image58.png"/><Relationship Id="rId5" Type="http://schemas.openxmlformats.org/officeDocument/2006/relationships/image" Target="../media/image57.e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7.xml"/><Relationship Id="rId1" Type="http://schemas.openxmlformats.org/officeDocument/2006/relationships/tags" Target="../tags/tag23.xml"/><Relationship Id="rId6" Type="http://schemas.openxmlformats.org/officeDocument/2006/relationships/image" Target="../media/image59.png"/><Relationship Id="rId5" Type="http://schemas.openxmlformats.org/officeDocument/2006/relationships/image" Target="../media/image57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Hands holding an apple and an orange">
            <a:extLst>
              <a:ext uri="{FF2B5EF4-FFF2-40B4-BE49-F238E27FC236}">
                <a16:creationId xmlns:a16="http://schemas.microsoft.com/office/drawing/2014/main" id="{6F3F8604-7223-D477-368C-E933BA6450C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71" b="7571"/>
          <a:stretch/>
        </p:blipFill>
        <p:spPr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9A37E09-5AC8-C1A9-77C9-5B10D5619715}"/>
              </a:ext>
            </a:extLst>
          </p:cNvPr>
          <p:cNvSpPr/>
          <p:nvPr/>
        </p:nvSpPr>
        <p:spPr>
          <a:xfrm>
            <a:off x="0" y="-2"/>
            <a:ext cx="12192000" cy="6858002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43000"/>
                </a:schemeClr>
              </a:gs>
              <a:gs pos="50000">
                <a:schemeClr val="tx1">
                  <a:lumMod val="50000"/>
                  <a:lumOff val="50000"/>
                  <a:alpha val="26000"/>
                </a:scheme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a-DK" sz="2000" dirty="0" err="1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66C94F-F2C3-8FDC-7C10-A1CF8770021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4E66815-82A4-99EF-DE94-A62671E9DB9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41213B6B-E369-5ADB-5C41-55D01647F15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>
                <a:latin typeface="Gotham Rounded Medium" panose="02000000000000000000" pitchFamily="50" charset="0"/>
              </a:rPr>
              <a:t>CO2mpare</a:t>
            </a:r>
          </a:p>
        </p:txBody>
      </p:sp>
      <p:sp>
        <p:nvSpPr>
          <p:cNvPr id="11" name="Subtitle 10">
            <a:extLst>
              <a:ext uri="{FF2B5EF4-FFF2-40B4-BE49-F238E27FC236}">
                <a16:creationId xmlns:a16="http://schemas.microsoft.com/office/drawing/2014/main" id="{E4AA67F4-E2B9-7D02-8D51-84EE3C0B9B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0000" y="5223600"/>
            <a:ext cx="10485800" cy="655199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  <a:latin typeface="Gotham Rounded Medium" panose="02000000000000000000" pitchFamily="50" charset="0"/>
              </a:rPr>
              <a:t>Andreas Sørensen</a:t>
            </a:r>
          </a:p>
          <a:p>
            <a:r>
              <a:rPr lang="en-GB" dirty="0">
                <a:solidFill>
                  <a:schemeClr val="bg1"/>
                </a:solidFill>
                <a:latin typeface="Gotham Rounded Medium" panose="02000000000000000000" pitchFamily="50" charset="0"/>
              </a:rPr>
              <a:t>18/09/24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A1E081A-B944-047F-813D-25AF49158A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0000" y="1555529"/>
            <a:ext cx="10015900" cy="1476000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  <a:latin typeface="Gotham Rounded Medium" panose="02000000000000000000" pitchFamily="50" charset="0"/>
              </a:rPr>
              <a:t>Sharing data to advance decarbonisation</a:t>
            </a:r>
          </a:p>
        </p:txBody>
      </p:sp>
    </p:spTree>
    <p:extLst>
      <p:ext uri="{BB962C8B-B14F-4D97-AF65-F5344CB8AC3E}">
        <p14:creationId xmlns:p14="http://schemas.microsoft.com/office/powerpoint/2010/main" val="29282440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0DCBD19-C84F-1E88-27DB-D0756A9AF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0</a:t>
            </a:fld>
            <a:endParaRPr lang="en-GB" dirty="0"/>
          </a:p>
        </p:txBody>
      </p:sp>
      <p:pic>
        <p:nvPicPr>
          <p:cNvPr id="6" name="Picture 5" descr="Hands holding an apple and an orange">
            <a:extLst>
              <a:ext uri="{FF2B5EF4-FFF2-40B4-BE49-F238E27FC236}">
                <a16:creationId xmlns:a16="http://schemas.microsoft.com/office/drawing/2014/main" id="{F3886894-C975-3C01-C849-54C6DA4B6288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29"/>
          <a:stretch/>
        </p:blipFill>
        <p:spPr>
          <a:xfrm>
            <a:off x="-1" y="-613172"/>
            <a:ext cx="6177777" cy="8084344"/>
          </a:xfrm>
          <a:prstGeom prst="rect">
            <a:avLst/>
          </a:prstGeom>
        </p:spPr>
      </p:pic>
      <p:pic>
        <p:nvPicPr>
          <p:cNvPr id="3" name="Picture 2" descr="Hands holding an apple and an orange">
            <a:extLst>
              <a:ext uri="{FF2B5EF4-FFF2-40B4-BE49-F238E27FC236}">
                <a16:creationId xmlns:a16="http://schemas.microsoft.com/office/drawing/2014/main" id="{B1388002-DB29-2B43-989B-7CD26AE0DAC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329"/>
          <a:stretch/>
        </p:blipFill>
        <p:spPr>
          <a:xfrm flipH="1">
            <a:off x="6177776" y="-460772"/>
            <a:ext cx="6177778" cy="8084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54606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8" name="Group 517">
            <a:extLst>
              <a:ext uri="{FF2B5EF4-FFF2-40B4-BE49-F238E27FC236}">
                <a16:creationId xmlns:a16="http://schemas.microsoft.com/office/drawing/2014/main" id="{F787EAAF-F71E-7673-8C4A-3F9FAE8E9B82}"/>
              </a:ext>
            </a:extLst>
          </p:cNvPr>
          <p:cNvGrpSpPr/>
          <p:nvPr/>
        </p:nvGrpSpPr>
        <p:grpSpPr>
          <a:xfrm>
            <a:off x="-992732" y="1768786"/>
            <a:ext cx="7775505" cy="4425705"/>
            <a:chOff x="-992732" y="1768786"/>
            <a:chExt cx="7775505" cy="4425705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CDEA4E49-81D1-6DB5-2294-3B05FA537E94}"/>
                </a:ext>
              </a:extLst>
            </p:cNvPr>
            <p:cNvGrpSpPr/>
            <p:nvPr/>
          </p:nvGrpSpPr>
          <p:grpSpPr>
            <a:xfrm>
              <a:off x="-776042" y="1945715"/>
              <a:ext cx="7361563" cy="4075463"/>
              <a:chOff x="1412066" y="1429648"/>
              <a:chExt cx="9791968" cy="4821886"/>
            </a:xfrm>
          </p:grpSpPr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AA1DB1FC-5A70-C45C-9E79-D96749A27268}"/>
                  </a:ext>
                </a:extLst>
              </p:cNvPr>
              <p:cNvSpPr/>
              <p:nvPr/>
            </p:nvSpPr>
            <p:spPr>
              <a:xfrm>
                <a:off x="3068493" y="2027331"/>
                <a:ext cx="66294" cy="48554"/>
              </a:xfrm>
              <a:custGeom>
                <a:avLst/>
                <a:gdLst>
                  <a:gd name="connsiteX0" fmla="*/ 10478 w 67627"/>
                  <a:gd name="connsiteY0" fmla="*/ 0 h 49530"/>
                  <a:gd name="connsiteX1" fmla="*/ 39053 w 67627"/>
                  <a:gd name="connsiteY1" fmla="*/ 0 h 49530"/>
                  <a:gd name="connsiteX2" fmla="*/ 63817 w 67627"/>
                  <a:gd name="connsiteY2" fmla="*/ 0 h 49530"/>
                  <a:gd name="connsiteX3" fmla="*/ 67628 w 67627"/>
                  <a:gd name="connsiteY3" fmla="*/ 14288 h 49530"/>
                  <a:gd name="connsiteX4" fmla="*/ 60008 w 67627"/>
                  <a:gd name="connsiteY4" fmla="*/ 35243 h 49530"/>
                  <a:gd name="connsiteX5" fmla="*/ 49530 w 67627"/>
                  <a:gd name="connsiteY5" fmla="*/ 49530 h 49530"/>
                  <a:gd name="connsiteX6" fmla="*/ 39053 w 67627"/>
                  <a:gd name="connsiteY6" fmla="*/ 42863 h 49530"/>
                  <a:gd name="connsiteX7" fmla="*/ 24765 w 67627"/>
                  <a:gd name="connsiteY7" fmla="*/ 24765 h 49530"/>
                  <a:gd name="connsiteX8" fmla="*/ 10478 w 67627"/>
                  <a:gd name="connsiteY8" fmla="*/ 18002 h 49530"/>
                  <a:gd name="connsiteX9" fmla="*/ 0 w 67627"/>
                  <a:gd name="connsiteY9" fmla="*/ 7525 h 49530"/>
                  <a:gd name="connsiteX10" fmla="*/ 10478 w 67627"/>
                  <a:gd name="connsiteY10" fmla="*/ 0 h 4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627" h="49530">
                    <a:moveTo>
                      <a:pt x="10478" y="0"/>
                    </a:moveTo>
                    <a:lnTo>
                      <a:pt x="39053" y="0"/>
                    </a:lnTo>
                    <a:lnTo>
                      <a:pt x="63817" y="0"/>
                    </a:lnTo>
                    <a:lnTo>
                      <a:pt x="67628" y="14288"/>
                    </a:lnTo>
                    <a:lnTo>
                      <a:pt x="60008" y="35243"/>
                    </a:lnTo>
                    <a:lnTo>
                      <a:pt x="49530" y="49530"/>
                    </a:lnTo>
                    <a:lnTo>
                      <a:pt x="39053" y="42863"/>
                    </a:lnTo>
                    <a:lnTo>
                      <a:pt x="24765" y="24765"/>
                    </a:lnTo>
                    <a:lnTo>
                      <a:pt x="10478" y="18002"/>
                    </a:lnTo>
                    <a:lnTo>
                      <a:pt x="0" y="7525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0A14ED0-0CF8-9931-D4B6-178A45A0A530}"/>
                  </a:ext>
                </a:extLst>
              </p:cNvPr>
              <p:cNvSpPr/>
              <p:nvPr/>
            </p:nvSpPr>
            <p:spPr>
              <a:xfrm>
                <a:off x="3786528" y="2030971"/>
                <a:ext cx="121383" cy="48647"/>
              </a:xfrm>
              <a:custGeom>
                <a:avLst/>
                <a:gdLst>
                  <a:gd name="connsiteX0" fmla="*/ 7620 w 123824"/>
                  <a:gd name="connsiteY0" fmla="*/ 0 h 49625"/>
                  <a:gd name="connsiteX1" fmla="*/ 39052 w 123824"/>
                  <a:gd name="connsiteY1" fmla="*/ 0 h 49625"/>
                  <a:gd name="connsiteX2" fmla="*/ 74295 w 123824"/>
                  <a:gd name="connsiteY2" fmla="*/ 3810 h 49625"/>
                  <a:gd name="connsiteX3" fmla="*/ 109537 w 123824"/>
                  <a:gd name="connsiteY3" fmla="*/ 21050 h 49625"/>
                  <a:gd name="connsiteX4" fmla="*/ 123825 w 123824"/>
                  <a:gd name="connsiteY4" fmla="*/ 39148 h 49625"/>
                  <a:gd name="connsiteX5" fmla="*/ 105727 w 123824"/>
                  <a:gd name="connsiteY5" fmla="*/ 42863 h 49625"/>
                  <a:gd name="connsiteX6" fmla="*/ 80962 w 123824"/>
                  <a:gd name="connsiteY6" fmla="*/ 42863 h 49625"/>
                  <a:gd name="connsiteX7" fmla="*/ 57150 w 123824"/>
                  <a:gd name="connsiteY7" fmla="*/ 42863 h 49625"/>
                  <a:gd name="connsiteX8" fmla="*/ 45720 w 123824"/>
                  <a:gd name="connsiteY8" fmla="*/ 49625 h 49625"/>
                  <a:gd name="connsiteX9" fmla="*/ 24765 w 123824"/>
                  <a:gd name="connsiteY9" fmla="*/ 45815 h 49625"/>
                  <a:gd name="connsiteX10" fmla="*/ 18097 w 123824"/>
                  <a:gd name="connsiteY10" fmla="*/ 28575 h 49625"/>
                  <a:gd name="connsiteX11" fmla="*/ 0 w 123824"/>
                  <a:gd name="connsiteY11" fmla="*/ 18098 h 49625"/>
                  <a:gd name="connsiteX12" fmla="*/ 0 w 123824"/>
                  <a:gd name="connsiteY12" fmla="*/ 0 h 49625"/>
                  <a:gd name="connsiteX13" fmla="*/ 7620 w 123824"/>
                  <a:gd name="connsiteY13" fmla="*/ 0 h 4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824" h="49625">
                    <a:moveTo>
                      <a:pt x="7620" y="0"/>
                    </a:moveTo>
                    <a:lnTo>
                      <a:pt x="39052" y="0"/>
                    </a:lnTo>
                    <a:lnTo>
                      <a:pt x="74295" y="3810"/>
                    </a:lnTo>
                    <a:lnTo>
                      <a:pt x="109537" y="21050"/>
                    </a:lnTo>
                    <a:lnTo>
                      <a:pt x="123825" y="39148"/>
                    </a:lnTo>
                    <a:lnTo>
                      <a:pt x="105727" y="42863"/>
                    </a:lnTo>
                    <a:lnTo>
                      <a:pt x="80962" y="42863"/>
                    </a:lnTo>
                    <a:lnTo>
                      <a:pt x="57150" y="42863"/>
                    </a:lnTo>
                    <a:lnTo>
                      <a:pt x="45720" y="49625"/>
                    </a:lnTo>
                    <a:lnTo>
                      <a:pt x="24765" y="45815"/>
                    </a:lnTo>
                    <a:lnTo>
                      <a:pt x="18097" y="28575"/>
                    </a:lnTo>
                    <a:lnTo>
                      <a:pt x="0" y="18098"/>
                    </a:lnTo>
                    <a:lnTo>
                      <a:pt x="0" y="0"/>
                    </a:lnTo>
                    <a:lnTo>
                      <a:pt x="762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B28ED14C-F22C-36D3-143F-5E9EC4222FC8}"/>
                  </a:ext>
                </a:extLst>
              </p:cNvPr>
              <p:cNvSpPr/>
              <p:nvPr/>
            </p:nvSpPr>
            <p:spPr>
              <a:xfrm>
                <a:off x="4239383" y="3054436"/>
                <a:ext cx="65361" cy="30813"/>
              </a:xfrm>
              <a:custGeom>
                <a:avLst/>
                <a:gdLst>
                  <a:gd name="connsiteX0" fmla="*/ 0 w 66675"/>
                  <a:gd name="connsiteY0" fmla="*/ 3715 h 31432"/>
                  <a:gd name="connsiteX1" fmla="*/ 14288 w 66675"/>
                  <a:gd name="connsiteY1" fmla="*/ 14288 h 31432"/>
                  <a:gd name="connsiteX2" fmla="*/ 31433 w 66675"/>
                  <a:gd name="connsiteY2" fmla="*/ 24670 h 31432"/>
                  <a:gd name="connsiteX3" fmla="*/ 60008 w 66675"/>
                  <a:gd name="connsiteY3" fmla="*/ 31432 h 31432"/>
                  <a:gd name="connsiteX4" fmla="*/ 66675 w 66675"/>
                  <a:gd name="connsiteY4" fmla="*/ 20955 h 31432"/>
                  <a:gd name="connsiteX5" fmla="*/ 52388 w 66675"/>
                  <a:gd name="connsiteY5" fmla="*/ 10382 h 31432"/>
                  <a:gd name="connsiteX6" fmla="*/ 38100 w 66675"/>
                  <a:gd name="connsiteY6" fmla="*/ 3715 h 31432"/>
                  <a:gd name="connsiteX7" fmla="*/ 24765 w 66675"/>
                  <a:gd name="connsiteY7" fmla="*/ 0 h 31432"/>
                  <a:gd name="connsiteX8" fmla="*/ 14288 w 66675"/>
                  <a:gd name="connsiteY8" fmla="*/ 0 h 31432"/>
                  <a:gd name="connsiteX9" fmla="*/ 0 w 66675"/>
                  <a:gd name="connsiteY9" fmla="*/ 3715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675" h="31432">
                    <a:moveTo>
                      <a:pt x="0" y="3715"/>
                    </a:moveTo>
                    <a:lnTo>
                      <a:pt x="14288" y="14288"/>
                    </a:lnTo>
                    <a:lnTo>
                      <a:pt x="31433" y="24670"/>
                    </a:lnTo>
                    <a:lnTo>
                      <a:pt x="60008" y="31432"/>
                    </a:lnTo>
                    <a:lnTo>
                      <a:pt x="66675" y="20955"/>
                    </a:lnTo>
                    <a:lnTo>
                      <a:pt x="52388" y="10382"/>
                    </a:lnTo>
                    <a:lnTo>
                      <a:pt x="38100" y="3715"/>
                    </a:lnTo>
                    <a:lnTo>
                      <a:pt x="24765" y="0"/>
                    </a:lnTo>
                    <a:lnTo>
                      <a:pt x="14288" y="0"/>
                    </a:lnTo>
                    <a:lnTo>
                      <a:pt x="0" y="3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7B69295E-F2A1-5CCE-DAA2-1FF4A77E4C40}"/>
                  </a:ext>
                </a:extLst>
              </p:cNvPr>
              <p:cNvSpPr/>
              <p:nvPr/>
            </p:nvSpPr>
            <p:spPr>
              <a:xfrm>
                <a:off x="2302839" y="2739768"/>
                <a:ext cx="27078" cy="52195"/>
              </a:xfrm>
              <a:custGeom>
                <a:avLst/>
                <a:gdLst>
                  <a:gd name="connsiteX0" fmla="*/ 0 w 27622"/>
                  <a:gd name="connsiteY0" fmla="*/ 0 h 53244"/>
                  <a:gd name="connsiteX1" fmla="*/ 17145 w 27622"/>
                  <a:gd name="connsiteY1" fmla="*/ 6668 h 53244"/>
                  <a:gd name="connsiteX2" fmla="*/ 27623 w 27622"/>
                  <a:gd name="connsiteY2" fmla="*/ 28575 h 53244"/>
                  <a:gd name="connsiteX3" fmla="*/ 23813 w 27622"/>
                  <a:gd name="connsiteY3" fmla="*/ 41910 h 53244"/>
                  <a:gd name="connsiteX4" fmla="*/ 17145 w 27622"/>
                  <a:gd name="connsiteY4" fmla="*/ 53245 h 53244"/>
                  <a:gd name="connsiteX5" fmla="*/ 6668 w 27622"/>
                  <a:gd name="connsiteY5" fmla="*/ 38957 h 53244"/>
                  <a:gd name="connsiteX6" fmla="*/ 6668 w 27622"/>
                  <a:gd name="connsiteY6" fmla="*/ 28575 h 53244"/>
                  <a:gd name="connsiteX7" fmla="*/ 0 w 27622"/>
                  <a:gd name="connsiteY7" fmla="*/ 14288 h 53244"/>
                  <a:gd name="connsiteX8" fmla="*/ 0 w 27622"/>
                  <a:gd name="connsiteY8" fmla="*/ 0 h 5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622" h="53244">
                    <a:moveTo>
                      <a:pt x="0" y="0"/>
                    </a:moveTo>
                    <a:lnTo>
                      <a:pt x="17145" y="6668"/>
                    </a:lnTo>
                    <a:lnTo>
                      <a:pt x="27623" y="28575"/>
                    </a:lnTo>
                    <a:lnTo>
                      <a:pt x="23813" y="41910"/>
                    </a:lnTo>
                    <a:lnTo>
                      <a:pt x="17145" y="53245"/>
                    </a:lnTo>
                    <a:lnTo>
                      <a:pt x="6668" y="38957"/>
                    </a:lnTo>
                    <a:lnTo>
                      <a:pt x="6668" y="28575"/>
                    </a:lnTo>
                    <a:lnTo>
                      <a:pt x="0" y="1428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3445D167-BA73-9A14-0ECD-59B8F4FCC61C}"/>
                  </a:ext>
                </a:extLst>
              </p:cNvPr>
              <p:cNvSpPr/>
              <p:nvPr/>
            </p:nvSpPr>
            <p:spPr>
              <a:xfrm>
                <a:off x="2302839" y="2739768"/>
                <a:ext cx="27078" cy="52195"/>
              </a:xfrm>
              <a:custGeom>
                <a:avLst/>
                <a:gdLst>
                  <a:gd name="connsiteX0" fmla="*/ 0 w 27622"/>
                  <a:gd name="connsiteY0" fmla="*/ 0 h 53244"/>
                  <a:gd name="connsiteX1" fmla="*/ 17145 w 27622"/>
                  <a:gd name="connsiteY1" fmla="*/ 6668 h 53244"/>
                  <a:gd name="connsiteX2" fmla="*/ 27623 w 27622"/>
                  <a:gd name="connsiteY2" fmla="*/ 28575 h 53244"/>
                  <a:gd name="connsiteX3" fmla="*/ 23813 w 27622"/>
                  <a:gd name="connsiteY3" fmla="*/ 41910 h 53244"/>
                  <a:gd name="connsiteX4" fmla="*/ 17145 w 27622"/>
                  <a:gd name="connsiteY4" fmla="*/ 53245 h 53244"/>
                  <a:gd name="connsiteX5" fmla="*/ 6668 w 27622"/>
                  <a:gd name="connsiteY5" fmla="*/ 38957 h 53244"/>
                  <a:gd name="connsiteX6" fmla="*/ 6668 w 27622"/>
                  <a:gd name="connsiteY6" fmla="*/ 28575 h 53244"/>
                  <a:gd name="connsiteX7" fmla="*/ 0 w 27622"/>
                  <a:gd name="connsiteY7" fmla="*/ 14288 h 53244"/>
                  <a:gd name="connsiteX8" fmla="*/ 0 w 27622"/>
                  <a:gd name="connsiteY8" fmla="*/ 0 h 5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622" h="53244">
                    <a:moveTo>
                      <a:pt x="0" y="0"/>
                    </a:moveTo>
                    <a:lnTo>
                      <a:pt x="17145" y="6668"/>
                    </a:lnTo>
                    <a:lnTo>
                      <a:pt x="27623" y="28575"/>
                    </a:lnTo>
                    <a:lnTo>
                      <a:pt x="23813" y="41910"/>
                    </a:lnTo>
                    <a:lnTo>
                      <a:pt x="17145" y="53245"/>
                    </a:lnTo>
                    <a:lnTo>
                      <a:pt x="6668" y="38957"/>
                    </a:lnTo>
                    <a:lnTo>
                      <a:pt x="6668" y="28575"/>
                    </a:lnTo>
                    <a:lnTo>
                      <a:pt x="0" y="1428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D31CC92A-6F73-3583-A461-5042360844F8}"/>
                  </a:ext>
                </a:extLst>
              </p:cNvPr>
              <p:cNvSpPr/>
              <p:nvPr/>
            </p:nvSpPr>
            <p:spPr>
              <a:xfrm>
                <a:off x="2385008" y="2829313"/>
                <a:ext cx="24276" cy="34548"/>
              </a:xfrm>
              <a:custGeom>
                <a:avLst/>
                <a:gdLst>
                  <a:gd name="connsiteX0" fmla="*/ 0 w 24764"/>
                  <a:gd name="connsiteY0" fmla="*/ 0 h 35242"/>
                  <a:gd name="connsiteX1" fmla="*/ 10477 w 24764"/>
                  <a:gd name="connsiteY1" fmla="*/ 7715 h 35242"/>
                  <a:gd name="connsiteX2" fmla="*/ 24765 w 24764"/>
                  <a:gd name="connsiteY2" fmla="*/ 10573 h 35242"/>
                  <a:gd name="connsiteX3" fmla="*/ 20955 w 24764"/>
                  <a:gd name="connsiteY3" fmla="*/ 28575 h 35242"/>
                  <a:gd name="connsiteX4" fmla="*/ 10477 w 24764"/>
                  <a:gd name="connsiteY4" fmla="*/ 35242 h 35242"/>
                  <a:gd name="connsiteX5" fmla="*/ 0 w 24764"/>
                  <a:gd name="connsiteY5" fmla="*/ 22003 h 35242"/>
                  <a:gd name="connsiteX6" fmla="*/ 0 w 24764"/>
                  <a:gd name="connsiteY6" fmla="*/ 0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64" h="35242">
                    <a:moveTo>
                      <a:pt x="0" y="0"/>
                    </a:moveTo>
                    <a:lnTo>
                      <a:pt x="10477" y="7715"/>
                    </a:lnTo>
                    <a:lnTo>
                      <a:pt x="24765" y="10573"/>
                    </a:lnTo>
                    <a:lnTo>
                      <a:pt x="20955" y="28575"/>
                    </a:lnTo>
                    <a:lnTo>
                      <a:pt x="10477" y="35242"/>
                    </a:lnTo>
                    <a:lnTo>
                      <a:pt x="0" y="2200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16D0C185-6EBA-2368-37F4-DA0ECE972001}"/>
                  </a:ext>
                </a:extLst>
              </p:cNvPr>
              <p:cNvSpPr/>
              <p:nvPr/>
            </p:nvSpPr>
            <p:spPr>
              <a:xfrm>
                <a:off x="2385008" y="2829313"/>
                <a:ext cx="24276" cy="34548"/>
              </a:xfrm>
              <a:custGeom>
                <a:avLst/>
                <a:gdLst>
                  <a:gd name="connsiteX0" fmla="*/ 0 w 24764"/>
                  <a:gd name="connsiteY0" fmla="*/ 0 h 35242"/>
                  <a:gd name="connsiteX1" fmla="*/ 10477 w 24764"/>
                  <a:gd name="connsiteY1" fmla="*/ 7715 h 35242"/>
                  <a:gd name="connsiteX2" fmla="*/ 24765 w 24764"/>
                  <a:gd name="connsiteY2" fmla="*/ 10573 h 35242"/>
                  <a:gd name="connsiteX3" fmla="*/ 20955 w 24764"/>
                  <a:gd name="connsiteY3" fmla="*/ 28575 h 35242"/>
                  <a:gd name="connsiteX4" fmla="*/ 10477 w 24764"/>
                  <a:gd name="connsiteY4" fmla="*/ 35242 h 35242"/>
                  <a:gd name="connsiteX5" fmla="*/ 0 w 24764"/>
                  <a:gd name="connsiteY5" fmla="*/ 22003 h 35242"/>
                  <a:gd name="connsiteX6" fmla="*/ 0 w 24764"/>
                  <a:gd name="connsiteY6" fmla="*/ 0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64" h="35242">
                    <a:moveTo>
                      <a:pt x="0" y="0"/>
                    </a:moveTo>
                    <a:lnTo>
                      <a:pt x="10477" y="7715"/>
                    </a:lnTo>
                    <a:lnTo>
                      <a:pt x="24765" y="10573"/>
                    </a:lnTo>
                    <a:lnTo>
                      <a:pt x="20955" y="28575"/>
                    </a:lnTo>
                    <a:lnTo>
                      <a:pt x="10477" y="35242"/>
                    </a:lnTo>
                    <a:lnTo>
                      <a:pt x="0" y="2200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EB954CDD-B8BC-5108-EA92-C95C991F2373}"/>
                  </a:ext>
                </a:extLst>
              </p:cNvPr>
              <p:cNvSpPr/>
              <p:nvPr/>
            </p:nvSpPr>
            <p:spPr>
              <a:xfrm>
                <a:off x="7392571" y="3818228"/>
                <a:ext cx="17740" cy="44725"/>
              </a:xfrm>
              <a:custGeom>
                <a:avLst/>
                <a:gdLst>
                  <a:gd name="connsiteX0" fmla="*/ 0 w 18097"/>
                  <a:gd name="connsiteY0" fmla="*/ 39053 h 45624"/>
                  <a:gd name="connsiteX1" fmla="*/ 0 w 18097"/>
                  <a:gd name="connsiteY1" fmla="*/ 18097 h 45624"/>
                  <a:gd name="connsiteX2" fmla="*/ 7620 w 18097"/>
                  <a:gd name="connsiteY2" fmla="*/ 0 h 45624"/>
                  <a:gd name="connsiteX3" fmla="*/ 14288 w 18097"/>
                  <a:gd name="connsiteY3" fmla="*/ 0 h 45624"/>
                  <a:gd name="connsiteX4" fmla="*/ 18098 w 18097"/>
                  <a:gd name="connsiteY4" fmla="*/ 14288 h 45624"/>
                  <a:gd name="connsiteX5" fmla="*/ 18098 w 18097"/>
                  <a:gd name="connsiteY5" fmla="*/ 24765 h 45624"/>
                  <a:gd name="connsiteX6" fmla="*/ 14288 w 18097"/>
                  <a:gd name="connsiteY6" fmla="*/ 39053 h 45624"/>
                  <a:gd name="connsiteX7" fmla="*/ 7620 w 18097"/>
                  <a:gd name="connsiteY7" fmla="*/ 45625 h 45624"/>
                  <a:gd name="connsiteX8" fmla="*/ 0 w 18097"/>
                  <a:gd name="connsiteY8" fmla="*/ 39053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097" h="45624">
                    <a:moveTo>
                      <a:pt x="0" y="39053"/>
                    </a:moveTo>
                    <a:lnTo>
                      <a:pt x="0" y="18097"/>
                    </a:lnTo>
                    <a:lnTo>
                      <a:pt x="7620" y="0"/>
                    </a:lnTo>
                    <a:lnTo>
                      <a:pt x="14288" y="0"/>
                    </a:lnTo>
                    <a:lnTo>
                      <a:pt x="18098" y="14288"/>
                    </a:lnTo>
                    <a:lnTo>
                      <a:pt x="18098" y="24765"/>
                    </a:lnTo>
                    <a:lnTo>
                      <a:pt x="14288" y="39053"/>
                    </a:lnTo>
                    <a:lnTo>
                      <a:pt x="7620" y="45625"/>
                    </a:lnTo>
                    <a:lnTo>
                      <a:pt x="0" y="3905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331C4ED4-ECB3-341A-427C-9883E2F030AC}"/>
                  </a:ext>
                </a:extLst>
              </p:cNvPr>
              <p:cNvSpPr/>
              <p:nvPr/>
            </p:nvSpPr>
            <p:spPr>
              <a:xfrm>
                <a:off x="3952731" y="2307450"/>
                <a:ext cx="10270" cy="21382"/>
              </a:xfrm>
              <a:custGeom>
                <a:avLst/>
                <a:gdLst>
                  <a:gd name="connsiteX0" fmla="*/ 10477 w 10477"/>
                  <a:gd name="connsiteY0" fmla="*/ 21812 h 21812"/>
                  <a:gd name="connsiteX1" fmla="*/ 0 w 10477"/>
                  <a:gd name="connsiteY1" fmla="*/ 14288 h 21812"/>
                  <a:gd name="connsiteX2" fmla="*/ 0 w 10477"/>
                  <a:gd name="connsiteY2" fmla="*/ 0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" h="21812">
                    <a:moveTo>
                      <a:pt x="10477" y="21812"/>
                    </a:moveTo>
                    <a:lnTo>
                      <a:pt x="0" y="1428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40683AC9-8857-823A-CF23-E7B51FF26C40}"/>
                  </a:ext>
                </a:extLst>
              </p:cNvPr>
              <p:cNvSpPr/>
              <p:nvPr/>
            </p:nvSpPr>
            <p:spPr>
              <a:xfrm>
                <a:off x="4276732" y="3058078"/>
                <a:ext cx="28012" cy="16900"/>
              </a:xfrm>
              <a:custGeom>
                <a:avLst/>
                <a:gdLst>
                  <a:gd name="connsiteX0" fmla="*/ 28575 w 28575"/>
                  <a:gd name="connsiteY0" fmla="*/ 17240 h 17240"/>
                  <a:gd name="connsiteX1" fmla="*/ 14288 w 28575"/>
                  <a:gd name="connsiteY1" fmla="*/ 6667 h 17240"/>
                  <a:gd name="connsiteX2" fmla="*/ 0 w 28575"/>
                  <a:gd name="connsiteY2" fmla="*/ 0 h 1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17240">
                    <a:moveTo>
                      <a:pt x="28575" y="17240"/>
                    </a:moveTo>
                    <a:lnTo>
                      <a:pt x="14288" y="666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82BE6020-E16C-0A86-C982-5AC46E073171}"/>
                  </a:ext>
                </a:extLst>
              </p:cNvPr>
              <p:cNvSpPr/>
              <p:nvPr/>
            </p:nvSpPr>
            <p:spPr>
              <a:xfrm>
                <a:off x="2368200" y="2836876"/>
                <a:ext cx="14005" cy="30813"/>
              </a:xfrm>
              <a:custGeom>
                <a:avLst/>
                <a:gdLst>
                  <a:gd name="connsiteX0" fmla="*/ 0 w 14287"/>
                  <a:gd name="connsiteY0" fmla="*/ 0 h 31432"/>
                  <a:gd name="connsiteX1" fmla="*/ 14288 w 14287"/>
                  <a:gd name="connsiteY1" fmla="*/ 17145 h 31432"/>
                  <a:gd name="connsiteX2" fmla="*/ 14288 w 14287"/>
                  <a:gd name="connsiteY2" fmla="*/ 31433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87" h="31432">
                    <a:moveTo>
                      <a:pt x="0" y="0"/>
                    </a:moveTo>
                    <a:lnTo>
                      <a:pt x="14288" y="17145"/>
                    </a:lnTo>
                    <a:lnTo>
                      <a:pt x="14288" y="31433"/>
                    </a:lnTo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C290BAAC-1E58-6721-8505-8650B8007710}"/>
                  </a:ext>
                </a:extLst>
              </p:cNvPr>
              <p:cNvSpPr/>
              <p:nvPr/>
            </p:nvSpPr>
            <p:spPr>
              <a:xfrm>
                <a:off x="7278657" y="3693949"/>
                <a:ext cx="48553" cy="48647"/>
              </a:xfrm>
              <a:custGeom>
                <a:avLst/>
                <a:gdLst>
                  <a:gd name="connsiteX0" fmla="*/ 49530 w 49529"/>
                  <a:gd name="connsiteY0" fmla="*/ 6763 h 49625"/>
                  <a:gd name="connsiteX1" fmla="*/ 32385 w 49529"/>
                  <a:gd name="connsiteY1" fmla="*/ 0 h 49625"/>
                  <a:gd name="connsiteX2" fmla="*/ 24765 w 49529"/>
                  <a:gd name="connsiteY2" fmla="*/ 0 h 49625"/>
                  <a:gd name="connsiteX3" fmla="*/ 18097 w 49529"/>
                  <a:gd name="connsiteY3" fmla="*/ 3905 h 49625"/>
                  <a:gd name="connsiteX4" fmla="*/ 0 w 49529"/>
                  <a:gd name="connsiteY4" fmla="*/ 17240 h 49625"/>
                  <a:gd name="connsiteX5" fmla="*/ 0 w 49529"/>
                  <a:gd name="connsiteY5" fmla="*/ 31528 h 49625"/>
                  <a:gd name="connsiteX6" fmla="*/ 18097 w 49529"/>
                  <a:gd name="connsiteY6" fmla="*/ 35338 h 49625"/>
                  <a:gd name="connsiteX7" fmla="*/ 32385 w 49529"/>
                  <a:gd name="connsiteY7" fmla="*/ 49625 h 49625"/>
                  <a:gd name="connsiteX8" fmla="*/ 45720 w 49529"/>
                  <a:gd name="connsiteY8" fmla="*/ 49625 h 49625"/>
                  <a:gd name="connsiteX9" fmla="*/ 39052 w 49529"/>
                  <a:gd name="connsiteY9" fmla="*/ 31528 h 49625"/>
                  <a:gd name="connsiteX10" fmla="*/ 39052 w 49529"/>
                  <a:gd name="connsiteY10" fmla="*/ 21050 h 49625"/>
                  <a:gd name="connsiteX11" fmla="*/ 49530 w 49529"/>
                  <a:gd name="connsiteY11" fmla="*/ 6763 h 4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9529" h="49625">
                    <a:moveTo>
                      <a:pt x="49530" y="6763"/>
                    </a:moveTo>
                    <a:lnTo>
                      <a:pt x="32385" y="0"/>
                    </a:lnTo>
                    <a:lnTo>
                      <a:pt x="24765" y="0"/>
                    </a:lnTo>
                    <a:lnTo>
                      <a:pt x="18097" y="3905"/>
                    </a:lnTo>
                    <a:lnTo>
                      <a:pt x="0" y="17240"/>
                    </a:lnTo>
                    <a:lnTo>
                      <a:pt x="0" y="31528"/>
                    </a:lnTo>
                    <a:lnTo>
                      <a:pt x="18097" y="35338"/>
                    </a:lnTo>
                    <a:lnTo>
                      <a:pt x="32385" y="49625"/>
                    </a:lnTo>
                    <a:lnTo>
                      <a:pt x="45720" y="49625"/>
                    </a:lnTo>
                    <a:lnTo>
                      <a:pt x="39052" y="31528"/>
                    </a:lnTo>
                    <a:lnTo>
                      <a:pt x="39052" y="21050"/>
                    </a:lnTo>
                    <a:lnTo>
                      <a:pt x="49530" y="67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2D53137C-DBF1-9519-4468-AD778850704A}"/>
                  </a:ext>
                </a:extLst>
              </p:cNvPr>
              <p:cNvSpPr/>
              <p:nvPr/>
            </p:nvSpPr>
            <p:spPr>
              <a:xfrm>
                <a:off x="1705255" y="3963891"/>
                <a:ext cx="20541" cy="16806"/>
              </a:xfrm>
              <a:custGeom>
                <a:avLst/>
                <a:gdLst>
                  <a:gd name="connsiteX0" fmla="*/ 20955 w 20954"/>
                  <a:gd name="connsiteY0" fmla="*/ 10382 h 17144"/>
                  <a:gd name="connsiteX1" fmla="*/ 17145 w 20954"/>
                  <a:gd name="connsiteY1" fmla="*/ 2857 h 17144"/>
                  <a:gd name="connsiteX2" fmla="*/ 6667 w 20954"/>
                  <a:gd name="connsiteY2" fmla="*/ 0 h 17144"/>
                  <a:gd name="connsiteX3" fmla="*/ 0 w 20954"/>
                  <a:gd name="connsiteY3" fmla="*/ 6572 h 17144"/>
                  <a:gd name="connsiteX4" fmla="*/ 6667 w 20954"/>
                  <a:gd name="connsiteY4" fmla="*/ 10382 h 17144"/>
                  <a:gd name="connsiteX5" fmla="*/ 17145 w 20954"/>
                  <a:gd name="connsiteY5" fmla="*/ 17145 h 17144"/>
                  <a:gd name="connsiteX6" fmla="*/ 20955 w 20954"/>
                  <a:gd name="connsiteY6" fmla="*/ 10382 h 1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54" h="17144">
                    <a:moveTo>
                      <a:pt x="20955" y="10382"/>
                    </a:moveTo>
                    <a:lnTo>
                      <a:pt x="17145" y="2857"/>
                    </a:lnTo>
                    <a:lnTo>
                      <a:pt x="6667" y="0"/>
                    </a:lnTo>
                    <a:lnTo>
                      <a:pt x="0" y="6572"/>
                    </a:lnTo>
                    <a:lnTo>
                      <a:pt x="6667" y="10382"/>
                    </a:lnTo>
                    <a:lnTo>
                      <a:pt x="17145" y="17145"/>
                    </a:lnTo>
                    <a:lnTo>
                      <a:pt x="20955" y="103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05EEF8C4-6EE9-E4DB-3EB6-989BEB7BAF54}"/>
                  </a:ext>
                </a:extLst>
              </p:cNvPr>
              <p:cNvSpPr/>
              <p:nvPr/>
            </p:nvSpPr>
            <p:spPr>
              <a:xfrm>
                <a:off x="1705255" y="3963891"/>
                <a:ext cx="20541" cy="16806"/>
              </a:xfrm>
              <a:custGeom>
                <a:avLst/>
                <a:gdLst>
                  <a:gd name="connsiteX0" fmla="*/ 20955 w 20954"/>
                  <a:gd name="connsiteY0" fmla="*/ 10382 h 17144"/>
                  <a:gd name="connsiteX1" fmla="*/ 17145 w 20954"/>
                  <a:gd name="connsiteY1" fmla="*/ 2857 h 17144"/>
                  <a:gd name="connsiteX2" fmla="*/ 6667 w 20954"/>
                  <a:gd name="connsiteY2" fmla="*/ 0 h 17144"/>
                  <a:gd name="connsiteX3" fmla="*/ 0 w 20954"/>
                  <a:gd name="connsiteY3" fmla="*/ 6572 h 17144"/>
                  <a:gd name="connsiteX4" fmla="*/ 6667 w 20954"/>
                  <a:gd name="connsiteY4" fmla="*/ 10382 h 17144"/>
                  <a:gd name="connsiteX5" fmla="*/ 17145 w 20954"/>
                  <a:gd name="connsiteY5" fmla="*/ 17145 h 17144"/>
                  <a:gd name="connsiteX6" fmla="*/ 20955 w 20954"/>
                  <a:gd name="connsiteY6" fmla="*/ 10382 h 1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54" h="17144">
                    <a:moveTo>
                      <a:pt x="20955" y="10382"/>
                    </a:moveTo>
                    <a:lnTo>
                      <a:pt x="17145" y="2857"/>
                    </a:lnTo>
                    <a:lnTo>
                      <a:pt x="6667" y="0"/>
                    </a:lnTo>
                    <a:lnTo>
                      <a:pt x="0" y="6572"/>
                    </a:lnTo>
                    <a:lnTo>
                      <a:pt x="6667" y="10382"/>
                    </a:lnTo>
                    <a:lnTo>
                      <a:pt x="17145" y="17145"/>
                    </a:lnTo>
                    <a:lnTo>
                      <a:pt x="20955" y="103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456116ED-10AD-29E0-FB18-C5712A8DE0A6}"/>
                  </a:ext>
                </a:extLst>
              </p:cNvPr>
              <p:cNvSpPr/>
              <p:nvPr/>
            </p:nvSpPr>
            <p:spPr>
              <a:xfrm>
                <a:off x="1732334" y="3988074"/>
                <a:ext cx="28012" cy="34641"/>
              </a:xfrm>
              <a:custGeom>
                <a:avLst/>
                <a:gdLst>
                  <a:gd name="connsiteX0" fmla="*/ 28575 w 28575"/>
                  <a:gd name="connsiteY0" fmla="*/ 23813 h 35337"/>
                  <a:gd name="connsiteX1" fmla="*/ 14288 w 28575"/>
                  <a:gd name="connsiteY1" fmla="*/ 27718 h 35337"/>
                  <a:gd name="connsiteX2" fmla="*/ 7620 w 28575"/>
                  <a:gd name="connsiteY2" fmla="*/ 35338 h 35337"/>
                  <a:gd name="connsiteX3" fmla="*/ 0 w 28575"/>
                  <a:gd name="connsiteY3" fmla="*/ 21050 h 35337"/>
                  <a:gd name="connsiteX4" fmla="*/ 0 w 28575"/>
                  <a:gd name="connsiteY4" fmla="*/ 10478 h 35337"/>
                  <a:gd name="connsiteX5" fmla="*/ 7620 w 28575"/>
                  <a:gd name="connsiteY5" fmla="*/ 0 h 35337"/>
                  <a:gd name="connsiteX6" fmla="*/ 14288 w 28575"/>
                  <a:gd name="connsiteY6" fmla="*/ 2953 h 35337"/>
                  <a:gd name="connsiteX7" fmla="*/ 24765 w 28575"/>
                  <a:gd name="connsiteY7" fmla="*/ 10478 h 35337"/>
                  <a:gd name="connsiteX8" fmla="*/ 28575 w 28575"/>
                  <a:gd name="connsiteY8" fmla="*/ 23813 h 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" h="35337">
                    <a:moveTo>
                      <a:pt x="28575" y="23813"/>
                    </a:moveTo>
                    <a:lnTo>
                      <a:pt x="14288" y="27718"/>
                    </a:lnTo>
                    <a:lnTo>
                      <a:pt x="7620" y="35338"/>
                    </a:lnTo>
                    <a:lnTo>
                      <a:pt x="0" y="21050"/>
                    </a:lnTo>
                    <a:lnTo>
                      <a:pt x="0" y="10478"/>
                    </a:lnTo>
                    <a:lnTo>
                      <a:pt x="7620" y="0"/>
                    </a:lnTo>
                    <a:lnTo>
                      <a:pt x="14288" y="2953"/>
                    </a:lnTo>
                    <a:lnTo>
                      <a:pt x="24765" y="10478"/>
                    </a:lnTo>
                    <a:lnTo>
                      <a:pt x="28575" y="2381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47D82BFE-3751-40A7-A57B-2533CCACF07D}"/>
                  </a:ext>
                </a:extLst>
              </p:cNvPr>
              <p:cNvSpPr/>
              <p:nvPr/>
            </p:nvSpPr>
            <p:spPr>
              <a:xfrm>
                <a:off x="1732334" y="3988074"/>
                <a:ext cx="28012" cy="34641"/>
              </a:xfrm>
              <a:custGeom>
                <a:avLst/>
                <a:gdLst>
                  <a:gd name="connsiteX0" fmla="*/ 28575 w 28575"/>
                  <a:gd name="connsiteY0" fmla="*/ 23813 h 35337"/>
                  <a:gd name="connsiteX1" fmla="*/ 14288 w 28575"/>
                  <a:gd name="connsiteY1" fmla="*/ 27718 h 35337"/>
                  <a:gd name="connsiteX2" fmla="*/ 7620 w 28575"/>
                  <a:gd name="connsiteY2" fmla="*/ 35338 h 35337"/>
                  <a:gd name="connsiteX3" fmla="*/ 0 w 28575"/>
                  <a:gd name="connsiteY3" fmla="*/ 21050 h 35337"/>
                  <a:gd name="connsiteX4" fmla="*/ 0 w 28575"/>
                  <a:gd name="connsiteY4" fmla="*/ 10478 h 35337"/>
                  <a:gd name="connsiteX5" fmla="*/ 7620 w 28575"/>
                  <a:gd name="connsiteY5" fmla="*/ 0 h 35337"/>
                  <a:gd name="connsiteX6" fmla="*/ 14288 w 28575"/>
                  <a:gd name="connsiteY6" fmla="*/ 2953 h 35337"/>
                  <a:gd name="connsiteX7" fmla="*/ 24765 w 28575"/>
                  <a:gd name="connsiteY7" fmla="*/ 10478 h 35337"/>
                  <a:gd name="connsiteX8" fmla="*/ 28575 w 28575"/>
                  <a:gd name="connsiteY8" fmla="*/ 23813 h 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" h="35337">
                    <a:moveTo>
                      <a:pt x="28575" y="23813"/>
                    </a:moveTo>
                    <a:lnTo>
                      <a:pt x="14288" y="27718"/>
                    </a:lnTo>
                    <a:lnTo>
                      <a:pt x="7620" y="35338"/>
                    </a:lnTo>
                    <a:lnTo>
                      <a:pt x="0" y="21050"/>
                    </a:lnTo>
                    <a:lnTo>
                      <a:pt x="0" y="10478"/>
                    </a:lnTo>
                    <a:lnTo>
                      <a:pt x="7620" y="0"/>
                    </a:lnTo>
                    <a:lnTo>
                      <a:pt x="14288" y="2953"/>
                    </a:lnTo>
                    <a:lnTo>
                      <a:pt x="24765" y="10478"/>
                    </a:lnTo>
                    <a:lnTo>
                      <a:pt x="28575" y="2381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FADA4C0D-0128-96BB-3B7E-980BE9ED8E6F}"/>
                  </a:ext>
                </a:extLst>
              </p:cNvPr>
              <p:cNvSpPr/>
              <p:nvPr/>
            </p:nvSpPr>
            <p:spPr>
              <a:xfrm>
                <a:off x="1670708" y="3942321"/>
                <a:ext cx="10270" cy="14005"/>
              </a:xfrm>
              <a:custGeom>
                <a:avLst/>
                <a:gdLst>
                  <a:gd name="connsiteX0" fmla="*/ 10477 w 10477"/>
                  <a:gd name="connsiteY0" fmla="*/ 11525 h 14287"/>
                  <a:gd name="connsiteX1" fmla="*/ 6667 w 10477"/>
                  <a:gd name="connsiteY1" fmla="*/ 0 h 14287"/>
                  <a:gd name="connsiteX2" fmla="*/ 0 w 10477"/>
                  <a:gd name="connsiteY2" fmla="*/ 0 h 14287"/>
                  <a:gd name="connsiteX3" fmla="*/ 0 w 10477"/>
                  <a:gd name="connsiteY3" fmla="*/ 7715 h 14287"/>
                  <a:gd name="connsiteX4" fmla="*/ 3810 w 10477"/>
                  <a:gd name="connsiteY4" fmla="*/ 14288 h 14287"/>
                  <a:gd name="connsiteX5" fmla="*/ 10477 w 10477"/>
                  <a:gd name="connsiteY5" fmla="*/ 11525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77" h="14287">
                    <a:moveTo>
                      <a:pt x="10477" y="11525"/>
                    </a:moveTo>
                    <a:lnTo>
                      <a:pt x="6667" y="0"/>
                    </a:lnTo>
                    <a:lnTo>
                      <a:pt x="0" y="0"/>
                    </a:lnTo>
                    <a:lnTo>
                      <a:pt x="0" y="7715"/>
                    </a:lnTo>
                    <a:lnTo>
                      <a:pt x="3810" y="14288"/>
                    </a:lnTo>
                    <a:lnTo>
                      <a:pt x="10477" y="11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083E8549-922F-649D-205D-70696DCEC9F7}"/>
                  </a:ext>
                </a:extLst>
              </p:cNvPr>
              <p:cNvSpPr/>
              <p:nvPr/>
            </p:nvSpPr>
            <p:spPr>
              <a:xfrm>
                <a:off x="1670708" y="3942321"/>
                <a:ext cx="10270" cy="14005"/>
              </a:xfrm>
              <a:custGeom>
                <a:avLst/>
                <a:gdLst>
                  <a:gd name="connsiteX0" fmla="*/ 10477 w 10477"/>
                  <a:gd name="connsiteY0" fmla="*/ 11525 h 14287"/>
                  <a:gd name="connsiteX1" fmla="*/ 6667 w 10477"/>
                  <a:gd name="connsiteY1" fmla="*/ 0 h 14287"/>
                  <a:gd name="connsiteX2" fmla="*/ 0 w 10477"/>
                  <a:gd name="connsiteY2" fmla="*/ 0 h 14287"/>
                  <a:gd name="connsiteX3" fmla="*/ 0 w 10477"/>
                  <a:gd name="connsiteY3" fmla="*/ 7715 h 14287"/>
                  <a:gd name="connsiteX4" fmla="*/ 3810 w 10477"/>
                  <a:gd name="connsiteY4" fmla="*/ 14288 h 14287"/>
                  <a:gd name="connsiteX5" fmla="*/ 10477 w 10477"/>
                  <a:gd name="connsiteY5" fmla="*/ 11525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77" h="14287">
                    <a:moveTo>
                      <a:pt x="10477" y="11525"/>
                    </a:moveTo>
                    <a:lnTo>
                      <a:pt x="6667" y="0"/>
                    </a:lnTo>
                    <a:lnTo>
                      <a:pt x="0" y="0"/>
                    </a:lnTo>
                    <a:lnTo>
                      <a:pt x="0" y="7715"/>
                    </a:lnTo>
                    <a:lnTo>
                      <a:pt x="3810" y="14288"/>
                    </a:lnTo>
                    <a:lnTo>
                      <a:pt x="10477" y="11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835C802-5176-6639-E6A7-6C1968B6B7B3}"/>
                  </a:ext>
                </a:extLst>
              </p:cNvPr>
              <p:cNvSpPr/>
              <p:nvPr/>
            </p:nvSpPr>
            <p:spPr>
              <a:xfrm>
                <a:off x="1670708" y="3942321"/>
                <a:ext cx="10270" cy="14005"/>
              </a:xfrm>
              <a:custGeom>
                <a:avLst/>
                <a:gdLst>
                  <a:gd name="connsiteX0" fmla="*/ 10477 w 10477"/>
                  <a:gd name="connsiteY0" fmla="*/ 11525 h 14287"/>
                  <a:gd name="connsiteX1" fmla="*/ 6667 w 10477"/>
                  <a:gd name="connsiteY1" fmla="*/ 0 h 14287"/>
                  <a:gd name="connsiteX2" fmla="*/ 0 w 10477"/>
                  <a:gd name="connsiteY2" fmla="*/ 0 h 14287"/>
                  <a:gd name="connsiteX3" fmla="*/ 0 w 10477"/>
                  <a:gd name="connsiteY3" fmla="*/ 7715 h 14287"/>
                  <a:gd name="connsiteX4" fmla="*/ 3810 w 10477"/>
                  <a:gd name="connsiteY4" fmla="*/ 14288 h 14287"/>
                  <a:gd name="connsiteX5" fmla="*/ 10477 w 10477"/>
                  <a:gd name="connsiteY5" fmla="*/ 11525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77" h="14287">
                    <a:moveTo>
                      <a:pt x="10477" y="11525"/>
                    </a:moveTo>
                    <a:lnTo>
                      <a:pt x="6667" y="0"/>
                    </a:lnTo>
                    <a:lnTo>
                      <a:pt x="0" y="0"/>
                    </a:lnTo>
                    <a:lnTo>
                      <a:pt x="0" y="7715"/>
                    </a:lnTo>
                    <a:lnTo>
                      <a:pt x="3810" y="14288"/>
                    </a:lnTo>
                    <a:lnTo>
                      <a:pt x="10477" y="11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8DB4FFA2-56EF-5906-46BD-25D8C0EDF729}"/>
                  </a:ext>
                </a:extLst>
              </p:cNvPr>
              <p:cNvSpPr/>
              <p:nvPr/>
            </p:nvSpPr>
            <p:spPr>
              <a:xfrm>
                <a:off x="1670708" y="3942321"/>
                <a:ext cx="10270" cy="14005"/>
              </a:xfrm>
              <a:custGeom>
                <a:avLst/>
                <a:gdLst>
                  <a:gd name="connsiteX0" fmla="*/ 10477 w 10477"/>
                  <a:gd name="connsiteY0" fmla="*/ 11525 h 14287"/>
                  <a:gd name="connsiteX1" fmla="*/ 6667 w 10477"/>
                  <a:gd name="connsiteY1" fmla="*/ 0 h 14287"/>
                  <a:gd name="connsiteX2" fmla="*/ 0 w 10477"/>
                  <a:gd name="connsiteY2" fmla="*/ 0 h 14287"/>
                  <a:gd name="connsiteX3" fmla="*/ 0 w 10477"/>
                  <a:gd name="connsiteY3" fmla="*/ 7715 h 14287"/>
                  <a:gd name="connsiteX4" fmla="*/ 3810 w 10477"/>
                  <a:gd name="connsiteY4" fmla="*/ 14288 h 14287"/>
                  <a:gd name="connsiteX5" fmla="*/ 10477 w 10477"/>
                  <a:gd name="connsiteY5" fmla="*/ 11525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77" h="14287">
                    <a:moveTo>
                      <a:pt x="10477" y="11525"/>
                    </a:moveTo>
                    <a:lnTo>
                      <a:pt x="6667" y="0"/>
                    </a:lnTo>
                    <a:lnTo>
                      <a:pt x="0" y="0"/>
                    </a:lnTo>
                    <a:lnTo>
                      <a:pt x="0" y="7715"/>
                    </a:lnTo>
                    <a:lnTo>
                      <a:pt x="3810" y="14288"/>
                    </a:lnTo>
                    <a:lnTo>
                      <a:pt x="10477" y="11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12578CAF-A7FE-D6C3-68CA-838B5D77F5F9}"/>
                  </a:ext>
                </a:extLst>
              </p:cNvPr>
              <p:cNvSpPr/>
              <p:nvPr/>
            </p:nvSpPr>
            <p:spPr>
              <a:xfrm>
                <a:off x="1629624" y="3929342"/>
                <a:ext cx="10270" cy="6536"/>
              </a:xfrm>
              <a:custGeom>
                <a:avLst/>
                <a:gdLst>
                  <a:gd name="connsiteX0" fmla="*/ 6668 w 10477"/>
                  <a:gd name="connsiteY0" fmla="*/ 0 h 6667"/>
                  <a:gd name="connsiteX1" fmla="*/ 0 w 10477"/>
                  <a:gd name="connsiteY1" fmla="*/ 0 h 6667"/>
                  <a:gd name="connsiteX2" fmla="*/ 2858 w 10477"/>
                  <a:gd name="connsiteY2" fmla="*/ 6668 h 6667"/>
                  <a:gd name="connsiteX3" fmla="*/ 10478 w 10477"/>
                  <a:gd name="connsiteY3" fmla="*/ 6668 h 6667"/>
                  <a:gd name="connsiteX4" fmla="*/ 6668 w 10477"/>
                  <a:gd name="connsiteY4" fmla="*/ 0 h 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" h="6667">
                    <a:moveTo>
                      <a:pt x="6668" y="0"/>
                    </a:moveTo>
                    <a:lnTo>
                      <a:pt x="0" y="0"/>
                    </a:lnTo>
                    <a:lnTo>
                      <a:pt x="2858" y="6668"/>
                    </a:lnTo>
                    <a:lnTo>
                      <a:pt x="10478" y="6668"/>
                    </a:lnTo>
                    <a:lnTo>
                      <a:pt x="666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52BCFB3C-AC0C-A7E6-BE2A-371A3B161B65}"/>
                  </a:ext>
                </a:extLst>
              </p:cNvPr>
              <p:cNvSpPr/>
              <p:nvPr/>
            </p:nvSpPr>
            <p:spPr>
              <a:xfrm>
                <a:off x="1629624" y="3929342"/>
                <a:ext cx="10270" cy="6536"/>
              </a:xfrm>
              <a:custGeom>
                <a:avLst/>
                <a:gdLst>
                  <a:gd name="connsiteX0" fmla="*/ 6668 w 10477"/>
                  <a:gd name="connsiteY0" fmla="*/ 0 h 6667"/>
                  <a:gd name="connsiteX1" fmla="*/ 0 w 10477"/>
                  <a:gd name="connsiteY1" fmla="*/ 0 h 6667"/>
                  <a:gd name="connsiteX2" fmla="*/ 2858 w 10477"/>
                  <a:gd name="connsiteY2" fmla="*/ 6668 h 6667"/>
                  <a:gd name="connsiteX3" fmla="*/ 10478 w 10477"/>
                  <a:gd name="connsiteY3" fmla="*/ 6668 h 6667"/>
                  <a:gd name="connsiteX4" fmla="*/ 6668 w 10477"/>
                  <a:gd name="connsiteY4" fmla="*/ 0 h 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" h="6667">
                    <a:moveTo>
                      <a:pt x="6668" y="0"/>
                    </a:moveTo>
                    <a:lnTo>
                      <a:pt x="0" y="0"/>
                    </a:lnTo>
                    <a:lnTo>
                      <a:pt x="2858" y="6668"/>
                    </a:lnTo>
                    <a:lnTo>
                      <a:pt x="10478" y="6668"/>
                    </a:lnTo>
                    <a:lnTo>
                      <a:pt x="666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054B8CBF-32AF-2391-E8AF-B3C877F50AC4}"/>
                  </a:ext>
                </a:extLst>
              </p:cNvPr>
              <p:cNvSpPr/>
              <p:nvPr/>
            </p:nvSpPr>
            <p:spPr>
              <a:xfrm>
                <a:off x="1629624" y="3929342"/>
                <a:ext cx="10270" cy="6536"/>
              </a:xfrm>
              <a:custGeom>
                <a:avLst/>
                <a:gdLst>
                  <a:gd name="connsiteX0" fmla="*/ 6668 w 10477"/>
                  <a:gd name="connsiteY0" fmla="*/ 0 h 6667"/>
                  <a:gd name="connsiteX1" fmla="*/ 0 w 10477"/>
                  <a:gd name="connsiteY1" fmla="*/ 0 h 6667"/>
                  <a:gd name="connsiteX2" fmla="*/ 2858 w 10477"/>
                  <a:gd name="connsiteY2" fmla="*/ 6668 h 6667"/>
                  <a:gd name="connsiteX3" fmla="*/ 10478 w 10477"/>
                  <a:gd name="connsiteY3" fmla="*/ 6668 h 6667"/>
                  <a:gd name="connsiteX4" fmla="*/ 6668 w 10477"/>
                  <a:gd name="connsiteY4" fmla="*/ 0 h 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" h="6667">
                    <a:moveTo>
                      <a:pt x="6668" y="0"/>
                    </a:moveTo>
                    <a:lnTo>
                      <a:pt x="0" y="0"/>
                    </a:lnTo>
                    <a:lnTo>
                      <a:pt x="2858" y="6668"/>
                    </a:lnTo>
                    <a:lnTo>
                      <a:pt x="10478" y="6668"/>
                    </a:lnTo>
                    <a:lnTo>
                      <a:pt x="666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D5180D08-FEE5-41DB-F26A-8BDB3D28650E}"/>
                  </a:ext>
                </a:extLst>
              </p:cNvPr>
              <p:cNvSpPr/>
              <p:nvPr/>
            </p:nvSpPr>
            <p:spPr>
              <a:xfrm>
                <a:off x="1629624" y="3929342"/>
                <a:ext cx="10270" cy="6536"/>
              </a:xfrm>
              <a:custGeom>
                <a:avLst/>
                <a:gdLst>
                  <a:gd name="connsiteX0" fmla="*/ 6668 w 10477"/>
                  <a:gd name="connsiteY0" fmla="*/ 0 h 6667"/>
                  <a:gd name="connsiteX1" fmla="*/ 0 w 10477"/>
                  <a:gd name="connsiteY1" fmla="*/ 0 h 6667"/>
                  <a:gd name="connsiteX2" fmla="*/ 2858 w 10477"/>
                  <a:gd name="connsiteY2" fmla="*/ 6668 h 6667"/>
                  <a:gd name="connsiteX3" fmla="*/ 10478 w 10477"/>
                  <a:gd name="connsiteY3" fmla="*/ 6668 h 6667"/>
                  <a:gd name="connsiteX4" fmla="*/ 6668 w 10477"/>
                  <a:gd name="connsiteY4" fmla="*/ 0 h 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" h="6667">
                    <a:moveTo>
                      <a:pt x="6668" y="0"/>
                    </a:moveTo>
                    <a:lnTo>
                      <a:pt x="0" y="0"/>
                    </a:lnTo>
                    <a:lnTo>
                      <a:pt x="2858" y="6668"/>
                    </a:lnTo>
                    <a:lnTo>
                      <a:pt x="10478" y="6668"/>
                    </a:lnTo>
                    <a:lnTo>
                      <a:pt x="666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42BAB352-18CE-A72B-280A-D2506812D5A3}"/>
                  </a:ext>
                </a:extLst>
              </p:cNvPr>
              <p:cNvSpPr/>
              <p:nvPr/>
            </p:nvSpPr>
            <p:spPr>
              <a:xfrm>
                <a:off x="3838816" y="4205727"/>
                <a:ext cx="321200" cy="459302"/>
              </a:xfrm>
              <a:custGeom>
                <a:avLst/>
                <a:gdLst>
                  <a:gd name="connsiteX0" fmla="*/ 49530 w 327659"/>
                  <a:gd name="connsiteY0" fmla="*/ 116110 h 468534"/>
                  <a:gd name="connsiteX1" fmla="*/ 52388 w 327659"/>
                  <a:gd name="connsiteY1" fmla="*/ 126587 h 468534"/>
                  <a:gd name="connsiteX2" fmla="*/ 60007 w 327659"/>
                  <a:gd name="connsiteY2" fmla="*/ 120015 h 468534"/>
                  <a:gd name="connsiteX3" fmla="*/ 60007 w 327659"/>
                  <a:gd name="connsiteY3" fmla="*/ 101822 h 468534"/>
                  <a:gd name="connsiteX4" fmla="*/ 77153 w 327659"/>
                  <a:gd name="connsiteY4" fmla="*/ 87535 h 468534"/>
                  <a:gd name="connsiteX5" fmla="*/ 87630 w 327659"/>
                  <a:gd name="connsiteY5" fmla="*/ 74200 h 468534"/>
                  <a:gd name="connsiteX6" fmla="*/ 91440 w 327659"/>
                  <a:gd name="connsiteY6" fmla="*/ 62865 h 468534"/>
                  <a:gd name="connsiteX7" fmla="*/ 95250 w 327659"/>
                  <a:gd name="connsiteY7" fmla="*/ 49435 h 468534"/>
                  <a:gd name="connsiteX8" fmla="*/ 120015 w 327659"/>
                  <a:gd name="connsiteY8" fmla="*/ 35147 h 468534"/>
                  <a:gd name="connsiteX9" fmla="*/ 130493 w 327659"/>
                  <a:gd name="connsiteY9" fmla="*/ 35147 h 468534"/>
                  <a:gd name="connsiteX10" fmla="*/ 137160 w 327659"/>
                  <a:gd name="connsiteY10" fmla="*/ 27622 h 468534"/>
                  <a:gd name="connsiteX11" fmla="*/ 155257 w 327659"/>
                  <a:gd name="connsiteY11" fmla="*/ 27622 h 468534"/>
                  <a:gd name="connsiteX12" fmla="*/ 168593 w 327659"/>
                  <a:gd name="connsiteY12" fmla="*/ 20860 h 468534"/>
                  <a:gd name="connsiteX13" fmla="*/ 182880 w 327659"/>
                  <a:gd name="connsiteY13" fmla="*/ 10478 h 468534"/>
                  <a:gd name="connsiteX14" fmla="*/ 193357 w 327659"/>
                  <a:gd name="connsiteY14" fmla="*/ 0 h 468534"/>
                  <a:gd name="connsiteX15" fmla="*/ 203835 w 327659"/>
                  <a:gd name="connsiteY15" fmla="*/ 0 h 468534"/>
                  <a:gd name="connsiteX16" fmla="*/ 211455 w 327659"/>
                  <a:gd name="connsiteY16" fmla="*/ 2762 h 468534"/>
                  <a:gd name="connsiteX17" fmla="*/ 207645 w 327659"/>
                  <a:gd name="connsiteY17" fmla="*/ 17050 h 468534"/>
                  <a:gd name="connsiteX18" fmla="*/ 197168 w 327659"/>
                  <a:gd name="connsiteY18" fmla="*/ 24765 h 468534"/>
                  <a:gd name="connsiteX19" fmla="*/ 186690 w 327659"/>
                  <a:gd name="connsiteY19" fmla="*/ 31337 h 468534"/>
                  <a:gd name="connsiteX20" fmla="*/ 168593 w 327659"/>
                  <a:gd name="connsiteY20" fmla="*/ 45625 h 468534"/>
                  <a:gd name="connsiteX21" fmla="*/ 161925 w 327659"/>
                  <a:gd name="connsiteY21" fmla="*/ 59912 h 468534"/>
                  <a:gd name="connsiteX22" fmla="*/ 158115 w 327659"/>
                  <a:gd name="connsiteY22" fmla="*/ 84772 h 468534"/>
                  <a:gd name="connsiteX23" fmla="*/ 161925 w 327659"/>
                  <a:gd name="connsiteY23" fmla="*/ 95250 h 468534"/>
                  <a:gd name="connsiteX24" fmla="*/ 168593 w 327659"/>
                  <a:gd name="connsiteY24" fmla="*/ 105728 h 468534"/>
                  <a:gd name="connsiteX25" fmla="*/ 176213 w 327659"/>
                  <a:gd name="connsiteY25" fmla="*/ 112300 h 468534"/>
                  <a:gd name="connsiteX26" fmla="*/ 179070 w 327659"/>
                  <a:gd name="connsiteY26" fmla="*/ 120015 h 468534"/>
                  <a:gd name="connsiteX27" fmla="*/ 179070 w 327659"/>
                  <a:gd name="connsiteY27" fmla="*/ 144685 h 468534"/>
                  <a:gd name="connsiteX28" fmla="*/ 190500 w 327659"/>
                  <a:gd name="connsiteY28" fmla="*/ 151447 h 468534"/>
                  <a:gd name="connsiteX29" fmla="*/ 239078 w 327659"/>
                  <a:gd name="connsiteY29" fmla="*/ 147638 h 468534"/>
                  <a:gd name="connsiteX30" fmla="*/ 260032 w 327659"/>
                  <a:gd name="connsiteY30" fmla="*/ 172403 h 468534"/>
                  <a:gd name="connsiteX31" fmla="*/ 309563 w 327659"/>
                  <a:gd name="connsiteY31" fmla="*/ 168497 h 468534"/>
                  <a:gd name="connsiteX32" fmla="*/ 320040 w 327659"/>
                  <a:gd name="connsiteY32" fmla="*/ 180022 h 468534"/>
                  <a:gd name="connsiteX33" fmla="*/ 309563 w 327659"/>
                  <a:gd name="connsiteY33" fmla="*/ 193262 h 468534"/>
                  <a:gd name="connsiteX34" fmla="*/ 309563 w 327659"/>
                  <a:gd name="connsiteY34" fmla="*/ 211360 h 468534"/>
                  <a:gd name="connsiteX35" fmla="*/ 309563 w 327659"/>
                  <a:gd name="connsiteY35" fmla="*/ 225647 h 468534"/>
                  <a:gd name="connsiteX36" fmla="*/ 309563 w 327659"/>
                  <a:gd name="connsiteY36" fmla="*/ 239935 h 468534"/>
                  <a:gd name="connsiteX37" fmla="*/ 313372 w 327659"/>
                  <a:gd name="connsiteY37" fmla="*/ 239935 h 468534"/>
                  <a:gd name="connsiteX38" fmla="*/ 317182 w 327659"/>
                  <a:gd name="connsiteY38" fmla="*/ 242888 h 468534"/>
                  <a:gd name="connsiteX39" fmla="*/ 317182 w 327659"/>
                  <a:gd name="connsiteY39" fmla="*/ 263747 h 468534"/>
                  <a:gd name="connsiteX40" fmla="*/ 317182 w 327659"/>
                  <a:gd name="connsiteY40" fmla="*/ 281940 h 468534"/>
                  <a:gd name="connsiteX41" fmla="*/ 323850 w 327659"/>
                  <a:gd name="connsiteY41" fmla="*/ 285750 h 468534"/>
                  <a:gd name="connsiteX42" fmla="*/ 327660 w 327659"/>
                  <a:gd name="connsiteY42" fmla="*/ 302800 h 468534"/>
                  <a:gd name="connsiteX43" fmla="*/ 313372 w 327659"/>
                  <a:gd name="connsiteY43" fmla="*/ 296228 h 468534"/>
                  <a:gd name="connsiteX44" fmla="*/ 306705 w 327659"/>
                  <a:gd name="connsiteY44" fmla="*/ 296228 h 468534"/>
                  <a:gd name="connsiteX45" fmla="*/ 295275 w 327659"/>
                  <a:gd name="connsiteY45" fmla="*/ 299085 h 468534"/>
                  <a:gd name="connsiteX46" fmla="*/ 263843 w 327659"/>
                  <a:gd name="connsiteY46" fmla="*/ 299085 h 468534"/>
                  <a:gd name="connsiteX47" fmla="*/ 246697 w 327659"/>
                  <a:gd name="connsiteY47" fmla="*/ 302800 h 468534"/>
                  <a:gd name="connsiteX48" fmla="*/ 246697 w 327659"/>
                  <a:gd name="connsiteY48" fmla="*/ 306610 h 468534"/>
                  <a:gd name="connsiteX49" fmla="*/ 242888 w 327659"/>
                  <a:gd name="connsiteY49" fmla="*/ 310515 h 468534"/>
                  <a:gd name="connsiteX50" fmla="*/ 246697 w 327659"/>
                  <a:gd name="connsiteY50" fmla="*/ 313372 h 468534"/>
                  <a:gd name="connsiteX51" fmla="*/ 257175 w 327659"/>
                  <a:gd name="connsiteY51" fmla="*/ 317087 h 468534"/>
                  <a:gd name="connsiteX52" fmla="*/ 267653 w 327659"/>
                  <a:gd name="connsiteY52" fmla="*/ 320897 h 468534"/>
                  <a:gd name="connsiteX53" fmla="*/ 267653 w 327659"/>
                  <a:gd name="connsiteY53" fmla="*/ 331375 h 468534"/>
                  <a:gd name="connsiteX54" fmla="*/ 257175 w 327659"/>
                  <a:gd name="connsiteY54" fmla="*/ 327660 h 468534"/>
                  <a:gd name="connsiteX55" fmla="*/ 249555 w 327659"/>
                  <a:gd name="connsiteY55" fmla="*/ 327660 h 468534"/>
                  <a:gd name="connsiteX56" fmla="*/ 246697 w 327659"/>
                  <a:gd name="connsiteY56" fmla="*/ 331375 h 468534"/>
                  <a:gd name="connsiteX57" fmla="*/ 246697 w 327659"/>
                  <a:gd name="connsiteY57" fmla="*/ 352425 h 468534"/>
                  <a:gd name="connsiteX58" fmla="*/ 257175 w 327659"/>
                  <a:gd name="connsiteY58" fmla="*/ 366713 h 468534"/>
                  <a:gd name="connsiteX59" fmla="*/ 260032 w 327659"/>
                  <a:gd name="connsiteY59" fmla="*/ 387572 h 468534"/>
                  <a:gd name="connsiteX60" fmla="*/ 257175 w 327659"/>
                  <a:gd name="connsiteY60" fmla="*/ 412337 h 468534"/>
                  <a:gd name="connsiteX61" fmla="*/ 253365 w 327659"/>
                  <a:gd name="connsiteY61" fmla="*/ 443865 h 468534"/>
                  <a:gd name="connsiteX62" fmla="*/ 242888 w 327659"/>
                  <a:gd name="connsiteY62" fmla="*/ 468535 h 468534"/>
                  <a:gd name="connsiteX63" fmla="*/ 232410 w 327659"/>
                  <a:gd name="connsiteY63" fmla="*/ 461963 h 468534"/>
                  <a:gd name="connsiteX64" fmla="*/ 232410 w 327659"/>
                  <a:gd name="connsiteY64" fmla="*/ 443865 h 468534"/>
                  <a:gd name="connsiteX65" fmla="*/ 239078 w 327659"/>
                  <a:gd name="connsiteY65" fmla="*/ 433388 h 468534"/>
                  <a:gd name="connsiteX66" fmla="*/ 236220 w 327659"/>
                  <a:gd name="connsiteY66" fmla="*/ 422910 h 468534"/>
                  <a:gd name="connsiteX67" fmla="*/ 232410 w 327659"/>
                  <a:gd name="connsiteY67" fmla="*/ 412337 h 468534"/>
                  <a:gd name="connsiteX68" fmla="*/ 158115 w 327659"/>
                  <a:gd name="connsiteY68" fmla="*/ 408622 h 468534"/>
                  <a:gd name="connsiteX69" fmla="*/ 151447 w 327659"/>
                  <a:gd name="connsiteY69" fmla="*/ 394335 h 468534"/>
                  <a:gd name="connsiteX70" fmla="*/ 130493 w 327659"/>
                  <a:gd name="connsiteY70" fmla="*/ 373285 h 468534"/>
                  <a:gd name="connsiteX71" fmla="*/ 112395 w 327659"/>
                  <a:gd name="connsiteY71" fmla="*/ 352425 h 468534"/>
                  <a:gd name="connsiteX72" fmla="*/ 87630 w 327659"/>
                  <a:gd name="connsiteY72" fmla="*/ 345662 h 468534"/>
                  <a:gd name="connsiteX73" fmla="*/ 66675 w 327659"/>
                  <a:gd name="connsiteY73" fmla="*/ 338138 h 468534"/>
                  <a:gd name="connsiteX74" fmla="*/ 45720 w 327659"/>
                  <a:gd name="connsiteY74" fmla="*/ 338138 h 468534"/>
                  <a:gd name="connsiteX75" fmla="*/ 27622 w 327659"/>
                  <a:gd name="connsiteY75" fmla="*/ 327660 h 468534"/>
                  <a:gd name="connsiteX76" fmla="*/ 0 w 327659"/>
                  <a:gd name="connsiteY76" fmla="*/ 310515 h 468534"/>
                  <a:gd name="connsiteX77" fmla="*/ 6668 w 327659"/>
                  <a:gd name="connsiteY77" fmla="*/ 296228 h 468534"/>
                  <a:gd name="connsiteX78" fmla="*/ 6668 w 327659"/>
                  <a:gd name="connsiteY78" fmla="*/ 278035 h 468534"/>
                  <a:gd name="connsiteX79" fmla="*/ 20955 w 327659"/>
                  <a:gd name="connsiteY79" fmla="*/ 278035 h 468534"/>
                  <a:gd name="connsiteX80" fmla="*/ 35243 w 327659"/>
                  <a:gd name="connsiteY80" fmla="*/ 267653 h 468534"/>
                  <a:gd name="connsiteX81" fmla="*/ 41910 w 327659"/>
                  <a:gd name="connsiteY81" fmla="*/ 242888 h 468534"/>
                  <a:gd name="connsiteX82" fmla="*/ 41910 w 327659"/>
                  <a:gd name="connsiteY82" fmla="*/ 218122 h 468534"/>
                  <a:gd name="connsiteX83" fmla="*/ 41910 w 327659"/>
                  <a:gd name="connsiteY83" fmla="*/ 193262 h 468534"/>
                  <a:gd name="connsiteX84" fmla="*/ 39053 w 327659"/>
                  <a:gd name="connsiteY84" fmla="*/ 168497 h 468534"/>
                  <a:gd name="connsiteX85" fmla="*/ 35243 w 327659"/>
                  <a:gd name="connsiteY85" fmla="*/ 158115 h 468534"/>
                  <a:gd name="connsiteX86" fmla="*/ 24765 w 327659"/>
                  <a:gd name="connsiteY86" fmla="*/ 140875 h 468534"/>
                  <a:gd name="connsiteX87" fmla="*/ 45720 w 327659"/>
                  <a:gd name="connsiteY87" fmla="*/ 126587 h 468534"/>
                  <a:gd name="connsiteX88" fmla="*/ 49530 w 327659"/>
                  <a:gd name="connsiteY88" fmla="*/ 116110 h 468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327659" h="468534">
                    <a:moveTo>
                      <a:pt x="49530" y="116110"/>
                    </a:moveTo>
                    <a:lnTo>
                      <a:pt x="52388" y="126587"/>
                    </a:lnTo>
                    <a:lnTo>
                      <a:pt x="60007" y="120015"/>
                    </a:lnTo>
                    <a:lnTo>
                      <a:pt x="60007" y="101822"/>
                    </a:lnTo>
                    <a:lnTo>
                      <a:pt x="77153" y="87535"/>
                    </a:lnTo>
                    <a:lnTo>
                      <a:pt x="87630" y="74200"/>
                    </a:lnTo>
                    <a:lnTo>
                      <a:pt x="91440" y="62865"/>
                    </a:lnTo>
                    <a:lnTo>
                      <a:pt x="95250" y="49435"/>
                    </a:lnTo>
                    <a:lnTo>
                      <a:pt x="120015" y="35147"/>
                    </a:lnTo>
                    <a:lnTo>
                      <a:pt x="130493" y="35147"/>
                    </a:lnTo>
                    <a:lnTo>
                      <a:pt x="137160" y="27622"/>
                    </a:lnTo>
                    <a:lnTo>
                      <a:pt x="155257" y="27622"/>
                    </a:lnTo>
                    <a:lnTo>
                      <a:pt x="168593" y="20860"/>
                    </a:lnTo>
                    <a:lnTo>
                      <a:pt x="182880" y="10478"/>
                    </a:lnTo>
                    <a:lnTo>
                      <a:pt x="193357" y="0"/>
                    </a:lnTo>
                    <a:lnTo>
                      <a:pt x="203835" y="0"/>
                    </a:lnTo>
                    <a:lnTo>
                      <a:pt x="211455" y="2762"/>
                    </a:lnTo>
                    <a:lnTo>
                      <a:pt x="207645" y="17050"/>
                    </a:lnTo>
                    <a:lnTo>
                      <a:pt x="197168" y="24765"/>
                    </a:lnTo>
                    <a:lnTo>
                      <a:pt x="186690" y="31337"/>
                    </a:lnTo>
                    <a:lnTo>
                      <a:pt x="168593" y="45625"/>
                    </a:lnTo>
                    <a:lnTo>
                      <a:pt x="161925" y="59912"/>
                    </a:lnTo>
                    <a:lnTo>
                      <a:pt x="158115" y="84772"/>
                    </a:lnTo>
                    <a:lnTo>
                      <a:pt x="161925" y="95250"/>
                    </a:lnTo>
                    <a:lnTo>
                      <a:pt x="168593" y="105728"/>
                    </a:lnTo>
                    <a:lnTo>
                      <a:pt x="176213" y="112300"/>
                    </a:lnTo>
                    <a:lnTo>
                      <a:pt x="179070" y="120015"/>
                    </a:lnTo>
                    <a:lnTo>
                      <a:pt x="179070" y="144685"/>
                    </a:lnTo>
                    <a:lnTo>
                      <a:pt x="190500" y="151447"/>
                    </a:lnTo>
                    <a:lnTo>
                      <a:pt x="239078" y="147638"/>
                    </a:lnTo>
                    <a:lnTo>
                      <a:pt x="260032" y="172403"/>
                    </a:lnTo>
                    <a:lnTo>
                      <a:pt x="309563" y="168497"/>
                    </a:lnTo>
                    <a:lnTo>
                      <a:pt x="320040" y="180022"/>
                    </a:lnTo>
                    <a:lnTo>
                      <a:pt x="309563" y="193262"/>
                    </a:lnTo>
                    <a:lnTo>
                      <a:pt x="309563" y="211360"/>
                    </a:lnTo>
                    <a:lnTo>
                      <a:pt x="309563" y="225647"/>
                    </a:lnTo>
                    <a:lnTo>
                      <a:pt x="309563" y="239935"/>
                    </a:lnTo>
                    <a:lnTo>
                      <a:pt x="313372" y="239935"/>
                    </a:lnTo>
                    <a:lnTo>
                      <a:pt x="317182" y="242888"/>
                    </a:lnTo>
                    <a:lnTo>
                      <a:pt x="317182" y="263747"/>
                    </a:lnTo>
                    <a:lnTo>
                      <a:pt x="317182" y="281940"/>
                    </a:lnTo>
                    <a:lnTo>
                      <a:pt x="323850" y="285750"/>
                    </a:lnTo>
                    <a:lnTo>
                      <a:pt x="327660" y="302800"/>
                    </a:lnTo>
                    <a:lnTo>
                      <a:pt x="313372" y="296228"/>
                    </a:lnTo>
                    <a:lnTo>
                      <a:pt x="306705" y="296228"/>
                    </a:lnTo>
                    <a:lnTo>
                      <a:pt x="295275" y="299085"/>
                    </a:lnTo>
                    <a:lnTo>
                      <a:pt x="263843" y="299085"/>
                    </a:lnTo>
                    <a:lnTo>
                      <a:pt x="246697" y="302800"/>
                    </a:lnTo>
                    <a:lnTo>
                      <a:pt x="246697" y="306610"/>
                    </a:lnTo>
                    <a:lnTo>
                      <a:pt x="242888" y="310515"/>
                    </a:lnTo>
                    <a:lnTo>
                      <a:pt x="246697" y="313372"/>
                    </a:lnTo>
                    <a:lnTo>
                      <a:pt x="257175" y="317087"/>
                    </a:lnTo>
                    <a:lnTo>
                      <a:pt x="267653" y="320897"/>
                    </a:lnTo>
                    <a:lnTo>
                      <a:pt x="267653" y="331375"/>
                    </a:lnTo>
                    <a:lnTo>
                      <a:pt x="257175" y="327660"/>
                    </a:lnTo>
                    <a:lnTo>
                      <a:pt x="249555" y="327660"/>
                    </a:lnTo>
                    <a:lnTo>
                      <a:pt x="246697" y="331375"/>
                    </a:lnTo>
                    <a:lnTo>
                      <a:pt x="246697" y="352425"/>
                    </a:lnTo>
                    <a:lnTo>
                      <a:pt x="257175" y="366713"/>
                    </a:lnTo>
                    <a:lnTo>
                      <a:pt x="260032" y="387572"/>
                    </a:lnTo>
                    <a:lnTo>
                      <a:pt x="257175" y="412337"/>
                    </a:lnTo>
                    <a:lnTo>
                      <a:pt x="253365" y="443865"/>
                    </a:lnTo>
                    <a:lnTo>
                      <a:pt x="242888" y="468535"/>
                    </a:lnTo>
                    <a:lnTo>
                      <a:pt x="232410" y="461963"/>
                    </a:lnTo>
                    <a:lnTo>
                      <a:pt x="232410" y="443865"/>
                    </a:lnTo>
                    <a:lnTo>
                      <a:pt x="239078" y="433388"/>
                    </a:lnTo>
                    <a:lnTo>
                      <a:pt x="236220" y="422910"/>
                    </a:lnTo>
                    <a:lnTo>
                      <a:pt x="232410" y="412337"/>
                    </a:lnTo>
                    <a:lnTo>
                      <a:pt x="158115" y="408622"/>
                    </a:lnTo>
                    <a:lnTo>
                      <a:pt x="151447" y="394335"/>
                    </a:lnTo>
                    <a:lnTo>
                      <a:pt x="130493" y="373285"/>
                    </a:lnTo>
                    <a:lnTo>
                      <a:pt x="112395" y="352425"/>
                    </a:lnTo>
                    <a:lnTo>
                      <a:pt x="87630" y="345662"/>
                    </a:lnTo>
                    <a:lnTo>
                      <a:pt x="66675" y="338138"/>
                    </a:lnTo>
                    <a:lnTo>
                      <a:pt x="45720" y="338138"/>
                    </a:lnTo>
                    <a:lnTo>
                      <a:pt x="27622" y="327660"/>
                    </a:lnTo>
                    <a:lnTo>
                      <a:pt x="0" y="310515"/>
                    </a:lnTo>
                    <a:lnTo>
                      <a:pt x="6668" y="296228"/>
                    </a:lnTo>
                    <a:lnTo>
                      <a:pt x="6668" y="278035"/>
                    </a:lnTo>
                    <a:lnTo>
                      <a:pt x="20955" y="278035"/>
                    </a:lnTo>
                    <a:lnTo>
                      <a:pt x="35243" y="267653"/>
                    </a:lnTo>
                    <a:lnTo>
                      <a:pt x="41910" y="242888"/>
                    </a:lnTo>
                    <a:lnTo>
                      <a:pt x="41910" y="218122"/>
                    </a:lnTo>
                    <a:lnTo>
                      <a:pt x="41910" y="193262"/>
                    </a:lnTo>
                    <a:lnTo>
                      <a:pt x="39053" y="168497"/>
                    </a:lnTo>
                    <a:lnTo>
                      <a:pt x="35243" y="158115"/>
                    </a:lnTo>
                    <a:lnTo>
                      <a:pt x="24765" y="140875"/>
                    </a:lnTo>
                    <a:lnTo>
                      <a:pt x="45720" y="126587"/>
                    </a:lnTo>
                    <a:lnTo>
                      <a:pt x="49530" y="1161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1F7AFBD7-95D7-61C0-2A3D-395AAEE8E9BE}"/>
                  </a:ext>
                </a:extLst>
              </p:cNvPr>
              <p:cNvSpPr/>
              <p:nvPr/>
            </p:nvSpPr>
            <p:spPr>
              <a:xfrm>
                <a:off x="3783727" y="4510123"/>
                <a:ext cx="151262" cy="172740"/>
              </a:xfrm>
              <a:custGeom>
                <a:avLst/>
                <a:gdLst>
                  <a:gd name="connsiteX0" fmla="*/ 45720 w 154304"/>
                  <a:gd name="connsiteY0" fmla="*/ 176213 h 176212"/>
                  <a:gd name="connsiteX1" fmla="*/ 35242 w 154304"/>
                  <a:gd name="connsiteY1" fmla="*/ 165735 h 176212"/>
                  <a:gd name="connsiteX2" fmla="*/ 13335 w 154304"/>
                  <a:gd name="connsiteY2" fmla="*/ 154210 h 176212"/>
                  <a:gd name="connsiteX3" fmla="*/ 13335 w 154304"/>
                  <a:gd name="connsiteY3" fmla="*/ 133350 h 176212"/>
                  <a:gd name="connsiteX4" fmla="*/ 24765 w 154304"/>
                  <a:gd name="connsiteY4" fmla="*/ 126682 h 176212"/>
                  <a:gd name="connsiteX5" fmla="*/ 31432 w 154304"/>
                  <a:gd name="connsiteY5" fmla="*/ 112395 h 176212"/>
                  <a:gd name="connsiteX6" fmla="*/ 31432 w 154304"/>
                  <a:gd name="connsiteY6" fmla="*/ 101822 h 176212"/>
                  <a:gd name="connsiteX7" fmla="*/ 24765 w 154304"/>
                  <a:gd name="connsiteY7" fmla="*/ 101822 h 176212"/>
                  <a:gd name="connsiteX8" fmla="*/ 17145 w 154304"/>
                  <a:gd name="connsiteY8" fmla="*/ 108585 h 176212"/>
                  <a:gd name="connsiteX9" fmla="*/ 10477 w 154304"/>
                  <a:gd name="connsiteY9" fmla="*/ 108585 h 176212"/>
                  <a:gd name="connsiteX10" fmla="*/ 0 w 154304"/>
                  <a:gd name="connsiteY10" fmla="*/ 101822 h 176212"/>
                  <a:gd name="connsiteX11" fmla="*/ 0 w 154304"/>
                  <a:gd name="connsiteY11" fmla="*/ 83820 h 176212"/>
                  <a:gd name="connsiteX12" fmla="*/ 2858 w 154304"/>
                  <a:gd name="connsiteY12" fmla="*/ 66675 h 176212"/>
                  <a:gd name="connsiteX13" fmla="*/ 10477 w 154304"/>
                  <a:gd name="connsiteY13" fmla="*/ 45720 h 176212"/>
                  <a:gd name="connsiteX14" fmla="*/ 17145 w 154304"/>
                  <a:gd name="connsiteY14" fmla="*/ 31432 h 176212"/>
                  <a:gd name="connsiteX15" fmla="*/ 24765 w 154304"/>
                  <a:gd name="connsiteY15" fmla="*/ 20860 h 176212"/>
                  <a:gd name="connsiteX16" fmla="*/ 38100 w 154304"/>
                  <a:gd name="connsiteY16" fmla="*/ 10382 h 176212"/>
                  <a:gd name="connsiteX17" fmla="*/ 56197 w 154304"/>
                  <a:gd name="connsiteY17" fmla="*/ 0 h 176212"/>
                  <a:gd name="connsiteX18" fmla="*/ 101917 w 154304"/>
                  <a:gd name="connsiteY18" fmla="*/ 27622 h 176212"/>
                  <a:gd name="connsiteX19" fmla="*/ 122872 w 154304"/>
                  <a:gd name="connsiteY19" fmla="*/ 27622 h 176212"/>
                  <a:gd name="connsiteX20" fmla="*/ 154305 w 154304"/>
                  <a:gd name="connsiteY20" fmla="*/ 38100 h 176212"/>
                  <a:gd name="connsiteX21" fmla="*/ 151447 w 154304"/>
                  <a:gd name="connsiteY21" fmla="*/ 52388 h 176212"/>
                  <a:gd name="connsiteX22" fmla="*/ 151447 w 154304"/>
                  <a:gd name="connsiteY22" fmla="*/ 70485 h 176212"/>
                  <a:gd name="connsiteX23" fmla="*/ 143828 w 154304"/>
                  <a:gd name="connsiteY23" fmla="*/ 83820 h 176212"/>
                  <a:gd name="connsiteX24" fmla="*/ 133350 w 154304"/>
                  <a:gd name="connsiteY24" fmla="*/ 98107 h 176212"/>
                  <a:gd name="connsiteX25" fmla="*/ 119063 w 154304"/>
                  <a:gd name="connsiteY25" fmla="*/ 108585 h 176212"/>
                  <a:gd name="connsiteX26" fmla="*/ 91440 w 154304"/>
                  <a:gd name="connsiteY26" fmla="*/ 119063 h 176212"/>
                  <a:gd name="connsiteX27" fmla="*/ 80963 w 154304"/>
                  <a:gd name="connsiteY27" fmla="*/ 130397 h 176212"/>
                  <a:gd name="connsiteX28" fmla="*/ 70485 w 154304"/>
                  <a:gd name="connsiteY28" fmla="*/ 143732 h 176212"/>
                  <a:gd name="connsiteX29" fmla="*/ 62865 w 154304"/>
                  <a:gd name="connsiteY29" fmla="*/ 161925 h 176212"/>
                  <a:gd name="connsiteX30" fmla="*/ 45720 w 154304"/>
                  <a:gd name="connsiteY30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54304" h="176212">
                    <a:moveTo>
                      <a:pt x="45720" y="176213"/>
                    </a:moveTo>
                    <a:lnTo>
                      <a:pt x="35242" y="165735"/>
                    </a:lnTo>
                    <a:lnTo>
                      <a:pt x="13335" y="154210"/>
                    </a:lnTo>
                    <a:lnTo>
                      <a:pt x="13335" y="133350"/>
                    </a:lnTo>
                    <a:lnTo>
                      <a:pt x="24765" y="126682"/>
                    </a:lnTo>
                    <a:lnTo>
                      <a:pt x="31432" y="112395"/>
                    </a:lnTo>
                    <a:lnTo>
                      <a:pt x="31432" y="101822"/>
                    </a:lnTo>
                    <a:lnTo>
                      <a:pt x="24765" y="101822"/>
                    </a:lnTo>
                    <a:lnTo>
                      <a:pt x="17145" y="108585"/>
                    </a:lnTo>
                    <a:lnTo>
                      <a:pt x="10477" y="108585"/>
                    </a:lnTo>
                    <a:lnTo>
                      <a:pt x="0" y="101822"/>
                    </a:lnTo>
                    <a:lnTo>
                      <a:pt x="0" y="83820"/>
                    </a:lnTo>
                    <a:lnTo>
                      <a:pt x="2858" y="66675"/>
                    </a:lnTo>
                    <a:lnTo>
                      <a:pt x="10477" y="45720"/>
                    </a:lnTo>
                    <a:lnTo>
                      <a:pt x="17145" y="31432"/>
                    </a:lnTo>
                    <a:lnTo>
                      <a:pt x="24765" y="20860"/>
                    </a:lnTo>
                    <a:lnTo>
                      <a:pt x="38100" y="10382"/>
                    </a:lnTo>
                    <a:lnTo>
                      <a:pt x="56197" y="0"/>
                    </a:lnTo>
                    <a:lnTo>
                      <a:pt x="101917" y="27622"/>
                    </a:lnTo>
                    <a:lnTo>
                      <a:pt x="122872" y="27622"/>
                    </a:lnTo>
                    <a:lnTo>
                      <a:pt x="154305" y="38100"/>
                    </a:lnTo>
                    <a:lnTo>
                      <a:pt x="151447" y="52388"/>
                    </a:lnTo>
                    <a:lnTo>
                      <a:pt x="151447" y="70485"/>
                    </a:lnTo>
                    <a:lnTo>
                      <a:pt x="143828" y="83820"/>
                    </a:lnTo>
                    <a:lnTo>
                      <a:pt x="133350" y="98107"/>
                    </a:lnTo>
                    <a:lnTo>
                      <a:pt x="119063" y="108585"/>
                    </a:lnTo>
                    <a:lnTo>
                      <a:pt x="91440" y="119063"/>
                    </a:lnTo>
                    <a:lnTo>
                      <a:pt x="80963" y="130397"/>
                    </a:lnTo>
                    <a:lnTo>
                      <a:pt x="70485" y="143732"/>
                    </a:lnTo>
                    <a:lnTo>
                      <a:pt x="62865" y="161925"/>
                    </a:lnTo>
                    <a:lnTo>
                      <a:pt x="45720" y="17621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33AF7D9D-4A0E-6A36-9270-70EDDBACB823}"/>
                  </a:ext>
                </a:extLst>
              </p:cNvPr>
              <p:cNvSpPr/>
              <p:nvPr/>
            </p:nvSpPr>
            <p:spPr>
              <a:xfrm>
                <a:off x="4298209" y="4246811"/>
                <a:ext cx="34547" cy="28012"/>
              </a:xfrm>
              <a:custGeom>
                <a:avLst/>
                <a:gdLst>
                  <a:gd name="connsiteX0" fmla="*/ 20955 w 35242"/>
                  <a:gd name="connsiteY0" fmla="*/ 0 h 28575"/>
                  <a:gd name="connsiteX1" fmla="*/ 35242 w 35242"/>
                  <a:gd name="connsiteY1" fmla="*/ 0 h 28575"/>
                  <a:gd name="connsiteX2" fmla="*/ 31432 w 35242"/>
                  <a:gd name="connsiteY2" fmla="*/ 18002 h 28575"/>
                  <a:gd name="connsiteX3" fmla="*/ 24765 w 35242"/>
                  <a:gd name="connsiteY3" fmla="*/ 28575 h 28575"/>
                  <a:gd name="connsiteX4" fmla="*/ 0 w 35242"/>
                  <a:gd name="connsiteY4" fmla="*/ 24765 h 28575"/>
                  <a:gd name="connsiteX5" fmla="*/ 10477 w 35242"/>
                  <a:gd name="connsiteY5" fmla="*/ 10478 h 28575"/>
                  <a:gd name="connsiteX6" fmla="*/ 17145 w 35242"/>
                  <a:gd name="connsiteY6" fmla="*/ 10478 h 28575"/>
                  <a:gd name="connsiteX7" fmla="*/ 20955 w 35242"/>
                  <a:gd name="connsiteY7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42" h="28575">
                    <a:moveTo>
                      <a:pt x="20955" y="0"/>
                    </a:moveTo>
                    <a:lnTo>
                      <a:pt x="35242" y="0"/>
                    </a:lnTo>
                    <a:lnTo>
                      <a:pt x="31432" y="18002"/>
                    </a:lnTo>
                    <a:lnTo>
                      <a:pt x="24765" y="28575"/>
                    </a:lnTo>
                    <a:lnTo>
                      <a:pt x="0" y="24765"/>
                    </a:lnTo>
                    <a:lnTo>
                      <a:pt x="10477" y="10478"/>
                    </a:lnTo>
                    <a:lnTo>
                      <a:pt x="17145" y="10478"/>
                    </a:lnTo>
                    <a:lnTo>
                      <a:pt x="2095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512710C-4D6D-C1CC-DF16-291337BC71CA}"/>
                  </a:ext>
                </a:extLst>
              </p:cNvPr>
              <p:cNvSpPr/>
              <p:nvPr/>
            </p:nvSpPr>
            <p:spPr>
              <a:xfrm>
                <a:off x="4298209" y="4246811"/>
                <a:ext cx="34547" cy="28012"/>
              </a:xfrm>
              <a:custGeom>
                <a:avLst/>
                <a:gdLst>
                  <a:gd name="connsiteX0" fmla="*/ 20955 w 35242"/>
                  <a:gd name="connsiteY0" fmla="*/ 0 h 28575"/>
                  <a:gd name="connsiteX1" fmla="*/ 35242 w 35242"/>
                  <a:gd name="connsiteY1" fmla="*/ 0 h 28575"/>
                  <a:gd name="connsiteX2" fmla="*/ 31432 w 35242"/>
                  <a:gd name="connsiteY2" fmla="*/ 18002 h 28575"/>
                  <a:gd name="connsiteX3" fmla="*/ 24765 w 35242"/>
                  <a:gd name="connsiteY3" fmla="*/ 28575 h 28575"/>
                  <a:gd name="connsiteX4" fmla="*/ 0 w 35242"/>
                  <a:gd name="connsiteY4" fmla="*/ 24765 h 28575"/>
                  <a:gd name="connsiteX5" fmla="*/ 10477 w 35242"/>
                  <a:gd name="connsiteY5" fmla="*/ 10478 h 28575"/>
                  <a:gd name="connsiteX6" fmla="*/ 17145 w 35242"/>
                  <a:gd name="connsiteY6" fmla="*/ 10478 h 28575"/>
                  <a:gd name="connsiteX7" fmla="*/ 20955 w 35242"/>
                  <a:gd name="connsiteY7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42" h="28575">
                    <a:moveTo>
                      <a:pt x="20955" y="0"/>
                    </a:moveTo>
                    <a:lnTo>
                      <a:pt x="35242" y="0"/>
                    </a:lnTo>
                    <a:lnTo>
                      <a:pt x="31432" y="18002"/>
                    </a:lnTo>
                    <a:lnTo>
                      <a:pt x="24765" y="28575"/>
                    </a:lnTo>
                    <a:lnTo>
                      <a:pt x="0" y="24765"/>
                    </a:lnTo>
                    <a:lnTo>
                      <a:pt x="10477" y="10478"/>
                    </a:lnTo>
                    <a:lnTo>
                      <a:pt x="17145" y="10478"/>
                    </a:lnTo>
                    <a:lnTo>
                      <a:pt x="2095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5B68897C-D94D-070C-2846-546247DC3ED5}"/>
                  </a:ext>
                </a:extLst>
              </p:cNvPr>
              <p:cNvSpPr/>
              <p:nvPr/>
            </p:nvSpPr>
            <p:spPr>
              <a:xfrm>
                <a:off x="3993814" y="4208435"/>
                <a:ext cx="362284" cy="318495"/>
              </a:xfrm>
              <a:custGeom>
                <a:avLst/>
                <a:gdLst>
                  <a:gd name="connsiteX0" fmla="*/ 78105 w 369569"/>
                  <a:gd name="connsiteY0" fmla="*/ 24860 h 324897"/>
                  <a:gd name="connsiteX1" fmla="*/ 80963 w 369569"/>
                  <a:gd name="connsiteY1" fmla="*/ 14288 h 324897"/>
                  <a:gd name="connsiteX2" fmla="*/ 80963 w 369569"/>
                  <a:gd name="connsiteY2" fmla="*/ 3810 h 324897"/>
                  <a:gd name="connsiteX3" fmla="*/ 88582 w 369569"/>
                  <a:gd name="connsiteY3" fmla="*/ 0 h 324897"/>
                  <a:gd name="connsiteX4" fmla="*/ 91440 w 369569"/>
                  <a:gd name="connsiteY4" fmla="*/ 7715 h 324897"/>
                  <a:gd name="connsiteX5" fmla="*/ 91440 w 369569"/>
                  <a:gd name="connsiteY5" fmla="*/ 22003 h 324897"/>
                  <a:gd name="connsiteX6" fmla="*/ 105728 w 369569"/>
                  <a:gd name="connsiteY6" fmla="*/ 24860 h 324897"/>
                  <a:gd name="connsiteX7" fmla="*/ 123825 w 369569"/>
                  <a:gd name="connsiteY7" fmla="*/ 28575 h 324897"/>
                  <a:gd name="connsiteX8" fmla="*/ 134303 w 369569"/>
                  <a:gd name="connsiteY8" fmla="*/ 39148 h 324897"/>
                  <a:gd name="connsiteX9" fmla="*/ 140970 w 369569"/>
                  <a:gd name="connsiteY9" fmla="*/ 42863 h 324897"/>
                  <a:gd name="connsiteX10" fmla="*/ 172403 w 369569"/>
                  <a:gd name="connsiteY10" fmla="*/ 49625 h 324897"/>
                  <a:gd name="connsiteX11" fmla="*/ 190500 w 369569"/>
                  <a:gd name="connsiteY11" fmla="*/ 49625 h 324897"/>
                  <a:gd name="connsiteX12" fmla="*/ 221932 w 369569"/>
                  <a:gd name="connsiteY12" fmla="*/ 63913 h 324897"/>
                  <a:gd name="connsiteX13" fmla="*/ 242888 w 369569"/>
                  <a:gd name="connsiteY13" fmla="*/ 57150 h 324897"/>
                  <a:gd name="connsiteX14" fmla="*/ 257175 w 369569"/>
                  <a:gd name="connsiteY14" fmla="*/ 49625 h 324897"/>
                  <a:gd name="connsiteX15" fmla="*/ 275272 w 369569"/>
                  <a:gd name="connsiteY15" fmla="*/ 46672 h 324897"/>
                  <a:gd name="connsiteX16" fmla="*/ 288607 w 369569"/>
                  <a:gd name="connsiteY16" fmla="*/ 49625 h 324897"/>
                  <a:gd name="connsiteX17" fmla="*/ 306705 w 369569"/>
                  <a:gd name="connsiteY17" fmla="*/ 49625 h 324897"/>
                  <a:gd name="connsiteX18" fmla="*/ 300038 w 369569"/>
                  <a:gd name="connsiteY18" fmla="*/ 53435 h 324897"/>
                  <a:gd name="connsiteX19" fmla="*/ 285750 w 369569"/>
                  <a:gd name="connsiteY19" fmla="*/ 57150 h 324897"/>
                  <a:gd name="connsiteX20" fmla="*/ 288607 w 369569"/>
                  <a:gd name="connsiteY20" fmla="*/ 71438 h 324897"/>
                  <a:gd name="connsiteX21" fmla="*/ 310515 w 369569"/>
                  <a:gd name="connsiteY21" fmla="*/ 71438 h 324897"/>
                  <a:gd name="connsiteX22" fmla="*/ 331470 w 369569"/>
                  <a:gd name="connsiteY22" fmla="*/ 74390 h 324897"/>
                  <a:gd name="connsiteX23" fmla="*/ 338138 w 369569"/>
                  <a:gd name="connsiteY23" fmla="*/ 82010 h 324897"/>
                  <a:gd name="connsiteX24" fmla="*/ 338138 w 369569"/>
                  <a:gd name="connsiteY24" fmla="*/ 92488 h 324897"/>
                  <a:gd name="connsiteX25" fmla="*/ 331470 w 369569"/>
                  <a:gd name="connsiteY25" fmla="*/ 99060 h 324897"/>
                  <a:gd name="connsiteX26" fmla="*/ 331470 w 369569"/>
                  <a:gd name="connsiteY26" fmla="*/ 109538 h 324897"/>
                  <a:gd name="connsiteX27" fmla="*/ 345757 w 369569"/>
                  <a:gd name="connsiteY27" fmla="*/ 106775 h 324897"/>
                  <a:gd name="connsiteX28" fmla="*/ 356235 w 369569"/>
                  <a:gd name="connsiteY28" fmla="*/ 102965 h 324897"/>
                  <a:gd name="connsiteX29" fmla="*/ 369570 w 369569"/>
                  <a:gd name="connsiteY29" fmla="*/ 109538 h 324897"/>
                  <a:gd name="connsiteX30" fmla="*/ 359092 w 369569"/>
                  <a:gd name="connsiteY30" fmla="*/ 123825 h 324897"/>
                  <a:gd name="connsiteX31" fmla="*/ 352425 w 369569"/>
                  <a:gd name="connsiteY31" fmla="*/ 134398 h 324897"/>
                  <a:gd name="connsiteX32" fmla="*/ 356235 w 369569"/>
                  <a:gd name="connsiteY32" fmla="*/ 148685 h 324897"/>
                  <a:gd name="connsiteX33" fmla="*/ 338138 w 369569"/>
                  <a:gd name="connsiteY33" fmla="*/ 159163 h 324897"/>
                  <a:gd name="connsiteX34" fmla="*/ 331470 w 369569"/>
                  <a:gd name="connsiteY34" fmla="*/ 169640 h 324897"/>
                  <a:gd name="connsiteX35" fmla="*/ 335280 w 369569"/>
                  <a:gd name="connsiteY35" fmla="*/ 183928 h 324897"/>
                  <a:gd name="connsiteX36" fmla="*/ 341947 w 369569"/>
                  <a:gd name="connsiteY36" fmla="*/ 194310 h 324897"/>
                  <a:gd name="connsiteX37" fmla="*/ 345757 w 369569"/>
                  <a:gd name="connsiteY37" fmla="*/ 204788 h 324897"/>
                  <a:gd name="connsiteX38" fmla="*/ 338138 w 369569"/>
                  <a:gd name="connsiteY38" fmla="*/ 222885 h 324897"/>
                  <a:gd name="connsiteX39" fmla="*/ 317182 w 369569"/>
                  <a:gd name="connsiteY39" fmla="*/ 229648 h 324897"/>
                  <a:gd name="connsiteX40" fmla="*/ 300038 w 369569"/>
                  <a:gd name="connsiteY40" fmla="*/ 233363 h 324897"/>
                  <a:gd name="connsiteX41" fmla="*/ 288607 w 369569"/>
                  <a:gd name="connsiteY41" fmla="*/ 240125 h 324897"/>
                  <a:gd name="connsiteX42" fmla="*/ 278130 w 369569"/>
                  <a:gd name="connsiteY42" fmla="*/ 240125 h 324897"/>
                  <a:gd name="connsiteX43" fmla="*/ 260985 w 369569"/>
                  <a:gd name="connsiteY43" fmla="*/ 237172 h 324897"/>
                  <a:gd name="connsiteX44" fmla="*/ 246697 w 369569"/>
                  <a:gd name="connsiteY44" fmla="*/ 229648 h 324897"/>
                  <a:gd name="connsiteX45" fmla="*/ 236220 w 369569"/>
                  <a:gd name="connsiteY45" fmla="*/ 233363 h 324897"/>
                  <a:gd name="connsiteX46" fmla="*/ 246697 w 369569"/>
                  <a:gd name="connsiteY46" fmla="*/ 243935 h 324897"/>
                  <a:gd name="connsiteX47" fmla="*/ 250507 w 369569"/>
                  <a:gd name="connsiteY47" fmla="*/ 260985 h 324897"/>
                  <a:gd name="connsiteX48" fmla="*/ 260985 w 369569"/>
                  <a:gd name="connsiteY48" fmla="*/ 275272 h 324897"/>
                  <a:gd name="connsiteX49" fmla="*/ 271463 w 369569"/>
                  <a:gd name="connsiteY49" fmla="*/ 275272 h 324897"/>
                  <a:gd name="connsiteX50" fmla="*/ 271463 w 369569"/>
                  <a:gd name="connsiteY50" fmla="*/ 282988 h 324897"/>
                  <a:gd name="connsiteX51" fmla="*/ 267653 w 369569"/>
                  <a:gd name="connsiteY51" fmla="*/ 293465 h 324897"/>
                  <a:gd name="connsiteX52" fmla="*/ 257175 w 369569"/>
                  <a:gd name="connsiteY52" fmla="*/ 293465 h 324897"/>
                  <a:gd name="connsiteX53" fmla="*/ 246697 w 369569"/>
                  <a:gd name="connsiteY53" fmla="*/ 296323 h 324897"/>
                  <a:gd name="connsiteX54" fmla="*/ 229553 w 369569"/>
                  <a:gd name="connsiteY54" fmla="*/ 318135 h 324897"/>
                  <a:gd name="connsiteX55" fmla="*/ 204788 w 369569"/>
                  <a:gd name="connsiteY55" fmla="*/ 324898 h 324897"/>
                  <a:gd name="connsiteX56" fmla="*/ 186690 w 369569"/>
                  <a:gd name="connsiteY56" fmla="*/ 321088 h 324897"/>
                  <a:gd name="connsiteX57" fmla="*/ 172403 w 369569"/>
                  <a:gd name="connsiteY57" fmla="*/ 307753 h 324897"/>
                  <a:gd name="connsiteX58" fmla="*/ 169545 w 369569"/>
                  <a:gd name="connsiteY58" fmla="*/ 300038 h 324897"/>
                  <a:gd name="connsiteX59" fmla="*/ 165735 w 369569"/>
                  <a:gd name="connsiteY59" fmla="*/ 282988 h 324897"/>
                  <a:gd name="connsiteX60" fmla="*/ 159067 w 369569"/>
                  <a:gd name="connsiteY60" fmla="*/ 279178 h 324897"/>
                  <a:gd name="connsiteX61" fmla="*/ 159067 w 369569"/>
                  <a:gd name="connsiteY61" fmla="*/ 240125 h 324897"/>
                  <a:gd name="connsiteX62" fmla="*/ 151447 w 369569"/>
                  <a:gd name="connsiteY62" fmla="*/ 237172 h 324897"/>
                  <a:gd name="connsiteX63" fmla="*/ 151447 w 369569"/>
                  <a:gd name="connsiteY63" fmla="*/ 190500 h 324897"/>
                  <a:gd name="connsiteX64" fmla="*/ 161925 w 369569"/>
                  <a:gd name="connsiteY64" fmla="*/ 177260 h 324897"/>
                  <a:gd name="connsiteX65" fmla="*/ 151447 w 369569"/>
                  <a:gd name="connsiteY65" fmla="*/ 165735 h 324897"/>
                  <a:gd name="connsiteX66" fmla="*/ 101917 w 369569"/>
                  <a:gd name="connsiteY66" fmla="*/ 169640 h 324897"/>
                  <a:gd name="connsiteX67" fmla="*/ 80963 w 369569"/>
                  <a:gd name="connsiteY67" fmla="*/ 144875 h 324897"/>
                  <a:gd name="connsiteX68" fmla="*/ 32385 w 369569"/>
                  <a:gd name="connsiteY68" fmla="*/ 148685 h 324897"/>
                  <a:gd name="connsiteX69" fmla="*/ 20955 w 369569"/>
                  <a:gd name="connsiteY69" fmla="*/ 141922 h 324897"/>
                  <a:gd name="connsiteX70" fmla="*/ 20955 w 369569"/>
                  <a:gd name="connsiteY70" fmla="*/ 117253 h 324897"/>
                  <a:gd name="connsiteX71" fmla="*/ 0 w 369569"/>
                  <a:gd name="connsiteY71" fmla="*/ 82010 h 324897"/>
                  <a:gd name="connsiteX72" fmla="*/ 3810 w 369569"/>
                  <a:gd name="connsiteY72" fmla="*/ 57150 h 324897"/>
                  <a:gd name="connsiteX73" fmla="*/ 14288 w 369569"/>
                  <a:gd name="connsiteY73" fmla="*/ 39148 h 324897"/>
                  <a:gd name="connsiteX74" fmla="*/ 32385 w 369569"/>
                  <a:gd name="connsiteY74" fmla="*/ 24860 h 324897"/>
                  <a:gd name="connsiteX75" fmla="*/ 39053 w 369569"/>
                  <a:gd name="connsiteY75" fmla="*/ 28575 h 324897"/>
                  <a:gd name="connsiteX76" fmla="*/ 39053 w 369569"/>
                  <a:gd name="connsiteY76" fmla="*/ 35338 h 324897"/>
                  <a:gd name="connsiteX77" fmla="*/ 39053 w 369569"/>
                  <a:gd name="connsiteY77" fmla="*/ 53435 h 324897"/>
                  <a:gd name="connsiteX78" fmla="*/ 28575 w 369569"/>
                  <a:gd name="connsiteY78" fmla="*/ 60103 h 324897"/>
                  <a:gd name="connsiteX79" fmla="*/ 32385 w 369569"/>
                  <a:gd name="connsiteY79" fmla="*/ 82010 h 324897"/>
                  <a:gd name="connsiteX80" fmla="*/ 39053 w 369569"/>
                  <a:gd name="connsiteY80" fmla="*/ 92488 h 324897"/>
                  <a:gd name="connsiteX81" fmla="*/ 53340 w 369569"/>
                  <a:gd name="connsiteY81" fmla="*/ 84772 h 324897"/>
                  <a:gd name="connsiteX82" fmla="*/ 60007 w 369569"/>
                  <a:gd name="connsiteY82" fmla="*/ 71438 h 324897"/>
                  <a:gd name="connsiteX83" fmla="*/ 53340 w 369569"/>
                  <a:gd name="connsiteY83" fmla="*/ 57150 h 324897"/>
                  <a:gd name="connsiteX84" fmla="*/ 49530 w 369569"/>
                  <a:gd name="connsiteY84" fmla="*/ 46672 h 324897"/>
                  <a:gd name="connsiteX85" fmla="*/ 56197 w 369569"/>
                  <a:gd name="connsiteY85" fmla="*/ 35338 h 324897"/>
                  <a:gd name="connsiteX86" fmla="*/ 66675 w 369569"/>
                  <a:gd name="connsiteY86" fmla="*/ 32385 h 324897"/>
                  <a:gd name="connsiteX87" fmla="*/ 78105 w 369569"/>
                  <a:gd name="connsiteY87" fmla="*/ 24860 h 32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369569" h="324897">
                    <a:moveTo>
                      <a:pt x="78105" y="24860"/>
                    </a:moveTo>
                    <a:lnTo>
                      <a:pt x="80963" y="14288"/>
                    </a:lnTo>
                    <a:lnTo>
                      <a:pt x="80963" y="3810"/>
                    </a:lnTo>
                    <a:lnTo>
                      <a:pt x="88582" y="0"/>
                    </a:lnTo>
                    <a:lnTo>
                      <a:pt x="91440" y="7715"/>
                    </a:lnTo>
                    <a:lnTo>
                      <a:pt x="91440" y="22003"/>
                    </a:lnTo>
                    <a:lnTo>
                      <a:pt x="105728" y="24860"/>
                    </a:lnTo>
                    <a:lnTo>
                      <a:pt x="123825" y="28575"/>
                    </a:lnTo>
                    <a:lnTo>
                      <a:pt x="134303" y="39148"/>
                    </a:lnTo>
                    <a:lnTo>
                      <a:pt x="140970" y="42863"/>
                    </a:lnTo>
                    <a:lnTo>
                      <a:pt x="172403" y="49625"/>
                    </a:lnTo>
                    <a:lnTo>
                      <a:pt x="190500" y="49625"/>
                    </a:lnTo>
                    <a:lnTo>
                      <a:pt x="221932" y="63913"/>
                    </a:lnTo>
                    <a:lnTo>
                      <a:pt x="242888" y="57150"/>
                    </a:lnTo>
                    <a:lnTo>
                      <a:pt x="257175" y="49625"/>
                    </a:lnTo>
                    <a:lnTo>
                      <a:pt x="275272" y="46672"/>
                    </a:lnTo>
                    <a:lnTo>
                      <a:pt x="288607" y="49625"/>
                    </a:lnTo>
                    <a:lnTo>
                      <a:pt x="306705" y="49625"/>
                    </a:lnTo>
                    <a:lnTo>
                      <a:pt x="300038" y="53435"/>
                    </a:lnTo>
                    <a:lnTo>
                      <a:pt x="285750" y="57150"/>
                    </a:lnTo>
                    <a:lnTo>
                      <a:pt x="288607" y="71438"/>
                    </a:lnTo>
                    <a:lnTo>
                      <a:pt x="310515" y="71438"/>
                    </a:lnTo>
                    <a:lnTo>
                      <a:pt x="331470" y="74390"/>
                    </a:lnTo>
                    <a:lnTo>
                      <a:pt x="338138" y="82010"/>
                    </a:lnTo>
                    <a:lnTo>
                      <a:pt x="338138" y="92488"/>
                    </a:lnTo>
                    <a:lnTo>
                      <a:pt x="331470" y="99060"/>
                    </a:lnTo>
                    <a:lnTo>
                      <a:pt x="331470" y="109538"/>
                    </a:lnTo>
                    <a:lnTo>
                      <a:pt x="345757" y="106775"/>
                    </a:lnTo>
                    <a:lnTo>
                      <a:pt x="356235" y="102965"/>
                    </a:lnTo>
                    <a:lnTo>
                      <a:pt x="369570" y="109538"/>
                    </a:lnTo>
                    <a:lnTo>
                      <a:pt x="359092" y="123825"/>
                    </a:lnTo>
                    <a:lnTo>
                      <a:pt x="352425" y="134398"/>
                    </a:lnTo>
                    <a:lnTo>
                      <a:pt x="356235" y="148685"/>
                    </a:lnTo>
                    <a:lnTo>
                      <a:pt x="338138" y="159163"/>
                    </a:lnTo>
                    <a:lnTo>
                      <a:pt x="331470" y="169640"/>
                    </a:lnTo>
                    <a:lnTo>
                      <a:pt x="335280" y="183928"/>
                    </a:lnTo>
                    <a:lnTo>
                      <a:pt x="341947" y="194310"/>
                    </a:lnTo>
                    <a:lnTo>
                      <a:pt x="345757" y="204788"/>
                    </a:lnTo>
                    <a:lnTo>
                      <a:pt x="338138" y="222885"/>
                    </a:lnTo>
                    <a:lnTo>
                      <a:pt x="317182" y="229648"/>
                    </a:lnTo>
                    <a:lnTo>
                      <a:pt x="300038" y="233363"/>
                    </a:lnTo>
                    <a:lnTo>
                      <a:pt x="288607" y="240125"/>
                    </a:lnTo>
                    <a:lnTo>
                      <a:pt x="278130" y="240125"/>
                    </a:lnTo>
                    <a:lnTo>
                      <a:pt x="260985" y="237172"/>
                    </a:lnTo>
                    <a:lnTo>
                      <a:pt x="246697" y="229648"/>
                    </a:lnTo>
                    <a:lnTo>
                      <a:pt x="236220" y="233363"/>
                    </a:lnTo>
                    <a:lnTo>
                      <a:pt x="246697" y="243935"/>
                    </a:lnTo>
                    <a:lnTo>
                      <a:pt x="250507" y="260985"/>
                    </a:lnTo>
                    <a:lnTo>
                      <a:pt x="260985" y="275272"/>
                    </a:lnTo>
                    <a:lnTo>
                      <a:pt x="271463" y="275272"/>
                    </a:lnTo>
                    <a:lnTo>
                      <a:pt x="271463" y="282988"/>
                    </a:lnTo>
                    <a:lnTo>
                      <a:pt x="267653" y="293465"/>
                    </a:lnTo>
                    <a:lnTo>
                      <a:pt x="257175" y="293465"/>
                    </a:lnTo>
                    <a:lnTo>
                      <a:pt x="246697" y="296323"/>
                    </a:lnTo>
                    <a:lnTo>
                      <a:pt x="229553" y="318135"/>
                    </a:lnTo>
                    <a:lnTo>
                      <a:pt x="204788" y="324898"/>
                    </a:lnTo>
                    <a:lnTo>
                      <a:pt x="186690" y="321088"/>
                    </a:lnTo>
                    <a:lnTo>
                      <a:pt x="172403" y="307753"/>
                    </a:lnTo>
                    <a:lnTo>
                      <a:pt x="169545" y="300038"/>
                    </a:lnTo>
                    <a:lnTo>
                      <a:pt x="165735" y="282988"/>
                    </a:lnTo>
                    <a:lnTo>
                      <a:pt x="159067" y="279178"/>
                    </a:lnTo>
                    <a:lnTo>
                      <a:pt x="159067" y="240125"/>
                    </a:lnTo>
                    <a:lnTo>
                      <a:pt x="151447" y="237172"/>
                    </a:lnTo>
                    <a:lnTo>
                      <a:pt x="151447" y="190500"/>
                    </a:lnTo>
                    <a:lnTo>
                      <a:pt x="161925" y="177260"/>
                    </a:lnTo>
                    <a:lnTo>
                      <a:pt x="151447" y="165735"/>
                    </a:lnTo>
                    <a:lnTo>
                      <a:pt x="101917" y="169640"/>
                    </a:lnTo>
                    <a:lnTo>
                      <a:pt x="80963" y="144875"/>
                    </a:lnTo>
                    <a:lnTo>
                      <a:pt x="32385" y="148685"/>
                    </a:lnTo>
                    <a:lnTo>
                      <a:pt x="20955" y="141922"/>
                    </a:lnTo>
                    <a:lnTo>
                      <a:pt x="20955" y="117253"/>
                    </a:lnTo>
                    <a:lnTo>
                      <a:pt x="0" y="82010"/>
                    </a:lnTo>
                    <a:lnTo>
                      <a:pt x="3810" y="57150"/>
                    </a:lnTo>
                    <a:lnTo>
                      <a:pt x="14288" y="39148"/>
                    </a:lnTo>
                    <a:lnTo>
                      <a:pt x="32385" y="24860"/>
                    </a:lnTo>
                    <a:lnTo>
                      <a:pt x="39053" y="28575"/>
                    </a:lnTo>
                    <a:lnTo>
                      <a:pt x="39053" y="35338"/>
                    </a:lnTo>
                    <a:lnTo>
                      <a:pt x="39053" y="53435"/>
                    </a:lnTo>
                    <a:lnTo>
                      <a:pt x="28575" y="60103"/>
                    </a:lnTo>
                    <a:lnTo>
                      <a:pt x="32385" y="82010"/>
                    </a:lnTo>
                    <a:lnTo>
                      <a:pt x="39053" y="92488"/>
                    </a:lnTo>
                    <a:lnTo>
                      <a:pt x="53340" y="84772"/>
                    </a:lnTo>
                    <a:lnTo>
                      <a:pt x="60007" y="71438"/>
                    </a:lnTo>
                    <a:lnTo>
                      <a:pt x="53340" y="57150"/>
                    </a:lnTo>
                    <a:lnTo>
                      <a:pt x="49530" y="46672"/>
                    </a:lnTo>
                    <a:lnTo>
                      <a:pt x="56197" y="35338"/>
                    </a:lnTo>
                    <a:lnTo>
                      <a:pt x="66675" y="32385"/>
                    </a:lnTo>
                    <a:lnTo>
                      <a:pt x="78105" y="2486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34E72C69-25AF-7740-F714-F3BE7911C8B8}"/>
                  </a:ext>
                </a:extLst>
              </p:cNvPr>
              <p:cNvSpPr/>
              <p:nvPr/>
            </p:nvSpPr>
            <p:spPr>
              <a:xfrm>
                <a:off x="4318750" y="4315814"/>
                <a:ext cx="120450" cy="197110"/>
              </a:xfrm>
              <a:custGeom>
                <a:avLst/>
                <a:gdLst>
                  <a:gd name="connsiteX0" fmla="*/ 73343 w 122872"/>
                  <a:gd name="connsiteY0" fmla="*/ 53435 h 201072"/>
                  <a:gd name="connsiteX1" fmla="*/ 87630 w 122872"/>
                  <a:gd name="connsiteY1" fmla="*/ 42863 h 201072"/>
                  <a:gd name="connsiteX2" fmla="*/ 101918 w 122872"/>
                  <a:gd name="connsiteY2" fmla="*/ 53435 h 201072"/>
                  <a:gd name="connsiteX3" fmla="*/ 116205 w 122872"/>
                  <a:gd name="connsiteY3" fmla="*/ 70485 h 201072"/>
                  <a:gd name="connsiteX4" fmla="*/ 112395 w 122872"/>
                  <a:gd name="connsiteY4" fmla="*/ 84772 h 201072"/>
                  <a:gd name="connsiteX5" fmla="*/ 105728 w 122872"/>
                  <a:gd name="connsiteY5" fmla="*/ 95250 h 201072"/>
                  <a:gd name="connsiteX6" fmla="*/ 95250 w 122872"/>
                  <a:gd name="connsiteY6" fmla="*/ 109538 h 201072"/>
                  <a:gd name="connsiteX7" fmla="*/ 91440 w 122872"/>
                  <a:gd name="connsiteY7" fmla="*/ 127635 h 201072"/>
                  <a:gd name="connsiteX8" fmla="*/ 98108 w 122872"/>
                  <a:gd name="connsiteY8" fmla="*/ 134398 h 201072"/>
                  <a:gd name="connsiteX9" fmla="*/ 105728 w 122872"/>
                  <a:gd name="connsiteY9" fmla="*/ 144875 h 201072"/>
                  <a:gd name="connsiteX10" fmla="*/ 112395 w 122872"/>
                  <a:gd name="connsiteY10" fmla="*/ 151447 h 201072"/>
                  <a:gd name="connsiteX11" fmla="*/ 116205 w 122872"/>
                  <a:gd name="connsiteY11" fmla="*/ 159163 h 201072"/>
                  <a:gd name="connsiteX12" fmla="*/ 122872 w 122872"/>
                  <a:gd name="connsiteY12" fmla="*/ 176213 h 201072"/>
                  <a:gd name="connsiteX13" fmla="*/ 116205 w 122872"/>
                  <a:gd name="connsiteY13" fmla="*/ 183928 h 201072"/>
                  <a:gd name="connsiteX14" fmla="*/ 101918 w 122872"/>
                  <a:gd name="connsiteY14" fmla="*/ 190500 h 201072"/>
                  <a:gd name="connsiteX15" fmla="*/ 91440 w 122872"/>
                  <a:gd name="connsiteY15" fmla="*/ 198215 h 201072"/>
                  <a:gd name="connsiteX16" fmla="*/ 73343 w 122872"/>
                  <a:gd name="connsiteY16" fmla="*/ 201073 h 201072"/>
                  <a:gd name="connsiteX17" fmla="*/ 60008 w 122872"/>
                  <a:gd name="connsiteY17" fmla="*/ 201073 h 201072"/>
                  <a:gd name="connsiteX18" fmla="*/ 45720 w 122872"/>
                  <a:gd name="connsiteY18" fmla="*/ 186785 h 201072"/>
                  <a:gd name="connsiteX19" fmla="*/ 35243 w 122872"/>
                  <a:gd name="connsiteY19" fmla="*/ 173450 h 201072"/>
                  <a:gd name="connsiteX20" fmla="*/ 35243 w 122872"/>
                  <a:gd name="connsiteY20" fmla="*/ 159163 h 201072"/>
                  <a:gd name="connsiteX21" fmla="*/ 35243 w 122872"/>
                  <a:gd name="connsiteY21" fmla="*/ 138113 h 201072"/>
                  <a:gd name="connsiteX22" fmla="*/ 45720 w 122872"/>
                  <a:gd name="connsiteY22" fmla="*/ 127635 h 201072"/>
                  <a:gd name="connsiteX23" fmla="*/ 38100 w 122872"/>
                  <a:gd name="connsiteY23" fmla="*/ 109538 h 201072"/>
                  <a:gd name="connsiteX24" fmla="*/ 31433 w 122872"/>
                  <a:gd name="connsiteY24" fmla="*/ 88678 h 201072"/>
                  <a:gd name="connsiteX25" fmla="*/ 10478 w 122872"/>
                  <a:gd name="connsiteY25" fmla="*/ 88678 h 201072"/>
                  <a:gd name="connsiteX26" fmla="*/ 3810 w 122872"/>
                  <a:gd name="connsiteY26" fmla="*/ 74390 h 201072"/>
                  <a:gd name="connsiteX27" fmla="*/ 0 w 122872"/>
                  <a:gd name="connsiteY27" fmla="*/ 60103 h 201072"/>
                  <a:gd name="connsiteX28" fmla="*/ 6668 w 122872"/>
                  <a:gd name="connsiteY28" fmla="*/ 49625 h 201072"/>
                  <a:gd name="connsiteX29" fmla="*/ 24765 w 122872"/>
                  <a:gd name="connsiteY29" fmla="*/ 39148 h 201072"/>
                  <a:gd name="connsiteX30" fmla="*/ 20955 w 122872"/>
                  <a:gd name="connsiteY30" fmla="*/ 24860 h 201072"/>
                  <a:gd name="connsiteX31" fmla="*/ 27622 w 122872"/>
                  <a:gd name="connsiteY31" fmla="*/ 14288 h 201072"/>
                  <a:gd name="connsiteX32" fmla="*/ 38100 w 122872"/>
                  <a:gd name="connsiteY32" fmla="*/ 0 h 201072"/>
                  <a:gd name="connsiteX33" fmla="*/ 49530 w 122872"/>
                  <a:gd name="connsiteY33" fmla="*/ 3810 h 201072"/>
                  <a:gd name="connsiteX34" fmla="*/ 60008 w 122872"/>
                  <a:gd name="connsiteY34" fmla="*/ 10573 h 201072"/>
                  <a:gd name="connsiteX35" fmla="*/ 73343 w 122872"/>
                  <a:gd name="connsiteY35" fmla="*/ 21050 h 201072"/>
                  <a:gd name="connsiteX36" fmla="*/ 77153 w 122872"/>
                  <a:gd name="connsiteY36" fmla="*/ 28575 h 201072"/>
                  <a:gd name="connsiteX37" fmla="*/ 77153 w 122872"/>
                  <a:gd name="connsiteY37" fmla="*/ 39148 h 201072"/>
                  <a:gd name="connsiteX38" fmla="*/ 73343 w 122872"/>
                  <a:gd name="connsiteY38" fmla="*/ 53435 h 201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22872" h="201072">
                    <a:moveTo>
                      <a:pt x="73343" y="53435"/>
                    </a:moveTo>
                    <a:lnTo>
                      <a:pt x="87630" y="42863"/>
                    </a:lnTo>
                    <a:lnTo>
                      <a:pt x="101918" y="53435"/>
                    </a:lnTo>
                    <a:lnTo>
                      <a:pt x="116205" y="70485"/>
                    </a:lnTo>
                    <a:lnTo>
                      <a:pt x="112395" y="84772"/>
                    </a:lnTo>
                    <a:lnTo>
                      <a:pt x="105728" y="95250"/>
                    </a:lnTo>
                    <a:lnTo>
                      <a:pt x="95250" y="109538"/>
                    </a:lnTo>
                    <a:lnTo>
                      <a:pt x="91440" y="127635"/>
                    </a:lnTo>
                    <a:lnTo>
                      <a:pt x="98108" y="134398"/>
                    </a:lnTo>
                    <a:lnTo>
                      <a:pt x="105728" y="144875"/>
                    </a:lnTo>
                    <a:lnTo>
                      <a:pt x="112395" y="151447"/>
                    </a:lnTo>
                    <a:lnTo>
                      <a:pt x="116205" y="159163"/>
                    </a:lnTo>
                    <a:lnTo>
                      <a:pt x="122872" y="176213"/>
                    </a:lnTo>
                    <a:lnTo>
                      <a:pt x="116205" y="183928"/>
                    </a:lnTo>
                    <a:lnTo>
                      <a:pt x="101918" y="190500"/>
                    </a:lnTo>
                    <a:lnTo>
                      <a:pt x="91440" y="198215"/>
                    </a:lnTo>
                    <a:lnTo>
                      <a:pt x="73343" y="201073"/>
                    </a:lnTo>
                    <a:lnTo>
                      <a:pt x="60008" y="201073"/>
                    </a:lnTo>
                    <a:lnTo>
                      <a:pt x="45720" y="186785"/>
                    </a:lnTo>
                    <a:lnTo>
                      <a:pt x="35243" y="173450"/>
                    </a:lnTo>
                    <a:lnTo>
                      <a:pt x="35243" y="159163"/>
                    </a:lnTo>
                    <a:lnTo>
                      <a:pt x="35243" y="138113"/>
                    </a:lnTo>
                    <a:lnTo>
                      <a:pt x="45720" y="127635"/>
                    </a:lnTo>
                    <a:lnTo>
                      <a:pt x="38100" y="109538"/>
                    </a:lnTo>
                    <a:lnTo>
                      <a:pt x="31433" y="88678"/>
                    </a:lnTo>
                    <a:lnTo>
                      <a:pt x="10478" y="88678"/>
                    </a:lnTo>
                    <a:lnTo>
                      <a:pt x="3810" y="74390"/>
                    </a:lnTo>
                    <a:lnTo>
                      <a:pt x="0" y="60103"/>
                    </a:lnTo>
                    <a:lnTo>
                      <a:pt x="6668" y="49625"/>
                    </a:lnTo>
                    <a:lnTo>
                      <a:pt x="24765" y="39148"/>
                    </a:lnTo>
                    <a:lnTo>
                      <a:pt x="20955" y="24860"/>
                    </a:lnTo>
                    <a:lnTo>
                      <a:pt x="27622" y="14288"/>
                    </a:lnTo>
                    <a:lnTo>
                      <a:pt x="38100" y="0"/>
                    </a:lnTo>
                    <a:lnTo>
                      <a:pt x="49530" y="3810"/>
                    </a:lnTo>
                    <a:lnTo>
                      <a:pt x="60008" y="10573"/>
                    </a:lnTo>
                    <a:lnTo>
                      <a:pt x="73343" y="21050"/>
                    </a:lnTo>
                    <a:lnTo>
                      <a:pt x="77153" y="28575"/>
                    </a:lnTo>
                    <a:lnTo>
                      <a:pt x="77153" y="39148"/>
                    </a:lnTo>
                    <a:lnTo>
                      <a:pt x="73343" y="5343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0CD4CC2-F03C-0C98-EF98-8242105F3FC9}"/>
                  </a:ext>
                </a:extLst>
              </p:cNvPr>
              <p:cNvSpPr/>
              <p:nvPr/>
            </p:nvSpPr>
            <p:spPr>
              <a:xfrm>
                <a:off x="4501760" y="4388738"/>
                <a:ext cx="82167" cy="103551"/>
              </a:xfrm>
              <a:custGeom>
                <a:avLst/>
                <a:gdLst>
                  <a:gd name="connsiteX0" fmla="*/ 10478 w 83819"/>
                  <a:gd name="connsiteY0" fmla="*/ 0 h 105632"/>
                  <a:gd name="connsiteX1" fmla="*/ 27622 w 83819"/>
                  <a:gd name="connsiteY1" fmla="*/ 3810 h 105632"/>
                  <a:gd name="connsiteX2" fmla="*/ 49530 w 83819"/>
                  <a:gd name="connsiteY2" fmla="*/ 10382 h 105632"/>
                  <a:gd name="connsiteX3" fmla="*/ 66675 w 83819"/>
                  <a:gd name="connsiteY3" fmla="*/ 20860 h 105632"/>
                  <a:gd name="connsiteX4" fmla="*/ 77153 w 83819"/>
                  <a:gd name="connsiteY4" fmla="*/ 35147 h 105632"/>
                  <a:gd name="connsiteX5" fmla="*/ 83820 w 83819"/>
                  <a:gd name="connsiteY5" fmla="*/ 45720 h 105632"/>
                  <a:gd name="connsiteX6" fmla="*/ 73343 w 83819"/>
                  <a:gd name="connsiteY6" fmla="*/ 60007 h 105632"/>
                  <a:gd name="connsiteX7" fmla="*/ 62865 w 83819"/>
                  <a:gd name="connsiteY7" fmla="*/ 80963 h 105632"/>
                  <a:gd name="connsiteX8" fmla="*/ 52388 w 83819"/>
                  <a:gd name="connsiteY8" fmla="*/ 105632 h 105632"/>
                  <a:gd name="connsiteX9" fmla="*/ 41910 w 83819"/>
                  <a:gd name="connsiteY9" fmla="*/ 99060 h 105632"/>
                  <a:gd name="connsiteX10" fmla="*/ 24765 w 83819"/>
                  <a:gd name="connsiteY10" fmla="*/ 95250 h 105632"/>
                  <a:gd name="connsiteX11" fmla="*/ 14288 w 83819"/>
                  <a:gd name="connsiteY11" fmla="*/ 101822 h 105632"/>
                  <a:gd name="connsiteX12" fmla="*/ 2857 w 83819"/>
                  <a:gd name="connsiteY12" fmla="*/ 101822 h 105632"/>
                  <a:gd name="connsiteX13" fmla="*/ 2857 w 83819"/>
                  <a:gd name="connsiteY13" fmla="*/ 88582 h 105632"/>
                  <a:gd name="connsiteX14" fmla="*/ 10478 w 83819"/>
                  <a:gd name="connsiteY14" fmla="*/ 63722 h 105632"/>
                  <a:gd name="connsiteX15" fmla="*/ 17145 w 83819"/>
                  <a:gd name="connsiteY15" fmla="*/ 49435 h 105632"/>
                  <a:gd name="connsiteX16" fmla="*/ 6668 w 83819"/>
                  <a:gd name="connsiteY16" fmla="*/ 41910 h 105632"/>
                  <a:gd name="connsiteX17" fmla="*/ 0 w 83819"/>
                  <a:gd name="connsiteY17" fmla="*/ 31432 h 105632"/>
                  <a:gd name="connsiteX18" fmla="*/ 0 w 83819"/>
                  <a:gd name="connsiteY18" fmla="*/ 20860 h 105632"/>
                  <a:gd name="connsiteX19" fmla="*/ 2857 w 83819"/>
                  <a:gd name="connsiteY19" fmla="*/ 10382 h 105632"/>
                  <a:gd name="connsiteX20" fmla="*/ 10478 w 83819"/>
                  <a:gd name="connsiteY20" fmla="*/ 0 h 105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3819" h="105632">
                    <a:moveTo>
                      <a:pt x="10478" y="0"/>
                    </a:moveTo>
                    <a:lnTo>
                      <a:pt x="27622" y="3810"/>
                    </a:lnTo>
                    <a:lnTo>
                      <a:pt x="49530" y="10382"/>
                    </a:lnTo>
                    <a:lnTo>
                      <a:pt x="66675" y="20860"/>
                    </a:lnTo>
                    <a:lnTo>
                      <a:pt x="77153" y="35147"/>
                    </a:lnTo>
                    <a:lnTo>
                      <a:pt x="83820" y="45720"/>
                    </a:lnTo>
                    <a:lnTo>
                      <a:pt x="73343" y="60007"/>
                    </a:lnTo>
                    <a:lnTo>
                      <a:pt x="62865" y="80963"/>
                    </a:lnTo>
                    <a:lnTo>
                      <a:pt x="52388" y="105632"/>
                    </a:lnTo>
                    <a:lnTo>
                      <a:pt x="41910" y="99060"/>
                    </a:lnTo>
                    <a:lnTo>
                      <a:pt x="24765" y="95250"/>
                    </a:lnTo>
                    <a:lnTo>
                      <a:pt x="14288" y="101822"/>
                    </a:lnTo>
                    <a:lnTo>
                      <a:pt x="2857" y="101822"/>
                    </a:lnTo>
                    <a:lnTo>
                      <a:pt x="2857" y="88582"/>
                    </a:lnTo>
                    <a:lnTo>
                      <a:pt x="10478" y="63722"/>
                    </a:lnTo>
                    <a:lnTo>
                      <a:pt x="17145" y="49435"/>
                    </a:lnTo>
                    <a:lnTo>
                      <a:pt x="6668" y="41910"/>
                    </a:lnTo>
                    <a:lnTo>
                      <a:pt x="0" y="31432"/>
                    </a:lnTo>
                    <a:lnTo>
                      <a:pt x="0" y="20860"/>
                    </a:lnTo>
                    <a:lnTo>
                      <a:pt x="2857" y="10382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92CAFD36-15C8-F87D-7FB8-C514BC2A41CD}"/>
                  </a:ext>
                </a:extLst>
              </p:cNvPr>
              <p:cNvSpPr/>
              <p:nvPr/>
            </p:nvSpPr>
            <p:spPr>
              <a:xfrm>
                <a:off x="4408388" y="4384910"/>
                <a:ext cx="110178" cy="111207"/>
              </a:xfrm>
              <a:custGeom>
                <a:avLst/>
                <a:gdLst>
                  <a:gd name="connsiteX0" fmla="*/ 24765 w 112394"/>
                  <a:gd name="connsiteY0" fmla="*/ 0 h 113442"/>
                  <a:gd name="connsiteX1" fmla="*/ 39053 w 112394"/>
                  <a:gd name="connsiteY1" fmla="*/ 0 h 113442"/>
                  <a:gd name="connsiteX2" fmla="*/ 56197 w 112394"/>
                  <a:gd name="connsiteY2" fmla="*/ 3905 h 113442"/>
                  <a:gd name="connsiteX3" fmla="*/ 62865 w 112394"/>
                  <a:gd name="connsiteY3" fmla="*/ 3905 h 113442"/>
                  <a:gd name="connsiteX4" fmla="*/ 74295 w 112394"/>
                  <a:gd name="connsiteY4" fmla="*/ 3905 h 113442"/>
                  <a:gd name="connsiteX5" fmla="*/ 84772 w 112394"/>
                  <a:gd name="connsiteY5" fmla="*/ 3905 h 113442"/>
                  <a:gd name="connsiteX6" fmla="*/ 95250 w 112394"/>
                  <a:gd name="connsiteY6" fmla="*/ 3905 h 113442"/>
                  <a:gd name="connsiteX7" fmla="*/ 105728 w 112394"/>
                  <a:gd name="connsiteY7" fmla="*/ 3905 h 113442"/>
                  <a:gd name="connsiteX8" fmla="*/ 95250 w 112394"/>
                  <a:gd name="connsiteY8" fmla="*/ 24765 h 113442"/>
                  <a:gd name="connsiteX9" fmla="*/ 95250 w 112394"/>
                  <a:gd name="connsiteY9" fmla="*/ 35338 h 113442"/>
                  <a:gd name="connsiteX10" fmla="*/ 101918 w 112394"/>
                  <a:gd name="connsiteY10" fmla="*/ 45815 h 113442"/>
                  <a:gd name="connsiteX11" fmla="*/ 112395 w 112394"/>
                  <a:gd name="connsiteY11" fmla="*/ 53340 h 113442"/>
                  <a:gd name="connsiteX12" fmla="*/ 98107 w 112394"/>
                  <a:gd name="connsiteY12" fmla="*/ 92488 h 113442"/>
                  <a:gd name="connsiteX13" fmla="*/ 98107 w 112394"/>
                  <a:gd name="connsiteY13" fmla="*/ 105728 h 113442"/>
                  <a:gd name="connsiteX14" fmla="*/ 87630 w 112394"/>
                  <a:gd name="connsiteY14" fmla="*/ 102965 h 113442"/>
                  <a:gd name="connsiteX15" fmla="*/ 74295 w 112394"/>
                  <a:gd name="connsiteY15" fmla="*/ 99155 h 113442"/>
                  <a:gd name="connsiteX16" fmla="*/ 62865 w 112394"/>
                  <a:gd name="connsiteY16" fmla="*/ 95250 h 113442"/>
                  <a:gd name="connsiteX17" fmla="*/ 56197 w 112394"/>
                  <a:gd name="connsiteY17" fmla="*/ 95250 h 113442"/>
                  <a:gd name="connsiteX18" fmla="*/ 56197 w 112394"/>
                  <a:gd name="connsiteY18" fmla="*/ 105728 h 113442"/>
                  <a:gd name="connsiteX19" fmla="*/ 52388 w 112394"/>
                  <a:gd name="connsiteY19" fmla="*/ 113443 h 113442"/>
                  <a:gd name="connsiteX20" fmla="*/ 49530 w 112394"/>
                  <a:gd name="connsiteY20" fmla="*/ 113443 h 113442"/>
                  <a:gd name="connsiteX21" fmla="*/ 39053 w 112394"/>
                  <a:gd name="connsiteY21" fmla="*/ 113443 h 113442"/>
                  <a:gd name="connsiteX22" fmla="*/ 31432 w 112394"/>
                  <a:gd name="connsiteY22" fmla="*/ 105728 h 113442"/>
                  <a:gd name="connsiteX23" fmla="*/ 20955 w 112394"/>
                  <a:gd name="connsiteY23" fmla="*/ 80963 h 113442"/>
                  <a:gd name="connsiteX24" fmla="*/ 0 w 112394"/>
                  <a:gd name="connsiteY24" fmla="*/ 57150 h 113442"/>
                  <a:gd name="connsiteX25" fmla="*/ 3810 w 112394"/>
                  <a:gd name="connsiteY25" fmla="*/ 39053 h 113442"/>
                  <a:gd name="connsiteX26" fmla="*/ 14288 w 112394"/>
                  <a:gd name="connsiteY26" fmla="*/ 24765 h 113442"/>
                  <a:gd name="connsiteX27" fmla="*/ 20955 w 112394"/>
                  <a:gd name="connsiteY27" fmla="*/ 14288 h 113442"/>
                  <a:gd name="connsiteX28" fmla="*/ 24765 w 112394"/>
                  <a:gd name="connsiteY28" fmla="*/ 0 h 113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12394" h="113442">
                    <a:moveTo>
                      <a:pt x="24765" y="0"/>
                    </a:moveTo>
                    <a:lnTo>
                      <a:pt x="39053" y="0"/>
                    </a:lnTo>
                    <a:lnTo>
                      <a:pt x="56197" y="3905"/>
                    </a:lnTo>
                    <a:lnTo>
                      <a:pt x="62865" y="3905"/>
                    </a:lnTo>
                    <a:lnTo>
                      <a:pt x="74295" y="3905"/>
                    </a:lnTo>
                    <a:lnTo>
                      <a:pt x="84772" y="3905"/>
                    </a:lnTo>
                    <a:lnTo>
                      <a:pt x="95250" y="3905"/>
                    </a:lnTo>
                    <a:lnTo>
                      <a:pt x="105728" y="3905"/>
                    </a:lnTo>
                    <a:lnTo>
                      <a:pt x="95250" y="24765"/>
                    </a:lnTo>
                    <a:lnTo>
                      <a:pt x="95250" y="35338"/>
                    </a:lnTo>
                    <a:lnTo>
                      <a:pt x="101918" y="45815"/>
                    </a:lnTo>
                    <a:lnTo>
                      <a:pt x="112395" y="53340"/>
                    </a:lnTo>
                    <a:lnTo>
                      <a:pt x="98107" y="92488"/>
                    </a:lnTo>
                    <a:lnTo>
                      <a:pt x="98107" y="105728"/>
                    </a:lnTo>
                    <a:lnTo>
                      <a:pt x="87630" y="102965"/>
                    </a:lnTo>
                    <a:lnTo>
                      <a:pt x="74295" y="99155"/>
                    </a:lnTo>
                    <a:lnTo>
                      <a:pt x="62865" y="95250"/>
                    </a:lnTo>
                    <a:lnTo>
                      <a:pt x="56197" y="95250"/>
                    </a:lnTo>
                    <a:lnTo>
                      <a:pt x="56197" y="105728"/>
                    </a:lnTo>
                    <a:lnTo>
                      <a:pt x="52388" y="113443"/>
                    </a:lnTo>
                    <a:lnTo>
                      <a:pt x="49530" y="113443"/>
                    </a:lnTo>
                    <a:lnTo>
                      <a:pt x="39053" y="113443"/>
                    </a:lnTo>
                    <a:lnTo>
                      <a:pt x="31432" y="105728"/>
                    </a:lnTo>
                    <a:lnTo>
                      <a:pt x="20955" y="80963"/>
                    </a:lnTo>
                    <a:lnTo>
                      <a:pt x="0" y="57150"/>
                    </a:lnTo>
                    <a:lnTo>
                      <a:pt x="3810" y="39053"/>
                    </a:lnTo>
                    <a:lnTo>
                      <a:pt x="14288" y="24765"/>
                    </a:lnTo>
                    <a:lnTo>
                      <a:pt x="20955" y="14288"/>
                    </a:lnTo>
                    <a:lnTo>
                      <a:pt x="2476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615C287D-E85E-6D1D-FFE2-1F59FCA1CFD2}"/>
                  </a:ext>
                </a:extLst>
              </p:cNvPr>
              <p:cNvSpPr/>
              <p:nvPr/>
            </p:nvSpPr>
            <p:spPr>
              <a:xfrm>
                <a:off x="3769721" y="4547473"/>
                <a:ext cx="341743" cy="505055"/>
              </a:xfrm>
              <a:custGeom>
                <a:avLst/>
                <a:gdLst>
                  <a:gd name="connsiteX0" fmla="*/ 3810 w 348615"/>
                  <a:gd name="connsiteY0" fmla="*/ 119920 h 515207"/>
                  <a:gd name="connsiteX1" fmla="*/ 10477 w 348615"/>
                  <a:gd name="connsiteY1" fmla="*/ 105632 h 515207"/>
                  <a:gd name="connsiteX2" fmla="*/ 17145 w 348615"/>
                  <a:gd name="connsiteY2" fmla="*/ 95250 h 515207"/>
                  <a:gd name="connsiteX3" fmla="*/ 27622 w 348615"/>
                  <a:gd name="connsiteY3" fmla="*/ 95250 h 515207"/>
                  <a:gd name="connsiteX4" fmla="*/ 27622 w 348615"/>
                  <a:gd name="connsiteY4" fmla="*/ 116110 h 515207"/>
                  <a:gd name="connsiteX5" fmla="*/ 41910 w 348615"/>
                  <a:gd name="connsiteY5" fmla="*/ 119920 h 515207"/>
                  <a:gd name="connsiteX6" fmla="*/ 60007 w 348615"/>
                  <a:gd name="connsiteY6" fmla="*/ 138113 h 515207"/>
                  <a:gd name="connsiteX7" fmla="*/ 77153 w 348615"/>
                  <a:gd name="connsiteY7" fmla="*/ 123825 h 515207"/>
                  <a:gd name="connsiteX8" fmla="*/ 84772 w 348615"/>
                  <a:gd name="connsiteY8" fmla="*/ 105632 h 515207"/>
                  <a:gd name="connsiteX9" fmla="*/ 95250 w 348615"/>
                  <a:gd name="connsiteY9" fmla="*/ 92297 h 515207"/>
                  <a:gd name="connsiteX10" fmla="*/ 105728 w 348615"/>
                  <a:gd name="connsiteY10" fmla="*/ 80963 h 515207"/>
                  <a:gd name="connsiteX11" fmla="*/ 126682 w 348615"/>
                  <a:gd name="connsiteY11" fmla="*/ 70485 h 515207"/>
                  <a:gd name="connsiteX12" fmla="*/ 140970 w 348615"/>
                  <a:gd name="connsiteY12" fmla="*/ 63722 h 515207"/>
                  <a:gd name="connsiteX13" fmla="*/ 147638 w 348615"/>
                  <a:gd name="connsiteY13" fmla="*/ 60007 h 515207"/>
                  <a:gd name="connsiteX14" fmla="*/ 158115 w 348615"/>
                  <a:gd name="connsiteY14" fmla="*/ 45720 h 515207"/>
                  <a:gd name="connsiteX15" fmla="*/ 165735 w 348615"/>
                  <a:gd name="connsiteY15" fmla="*/ 32385 h 515207"/>
                  <a:gd name="connsiteX16" fmla="*/ 168592 w 348615"/>
                  <a:gd name="connsiteY16" fmla="*/ 0 h 515207"/>
                  <a:gd name="connsiteX17" fmla="*/ 182880 w 348615"/>
                  <a:gd name="connsiteY17" fmla="*/ 3810 h 515207"/>
                  <a:gd name="connsiteX18" fmla="*/ 193357 w 348615"/>
                  <a:gd name="connsiteY18" fmla="*/ 18097 h 515207"/>
                  <a:gd name="connsiteX19" fmla="*/ 200978 w 348615"/>
                  <a:gd name="connsiteY19" fmla="*/ 24670 h 515207"/>
                  <a:gd name="connsiteX20" fmla="*/ 211455 w 348615"/>
                  <a:gd name="connsiteY20" fmla="*/ 35147 h 515207"/>
                  <a:gd name="connsiteX21" fmla="*/ 221932 w 348615"/>
                  <a:gd name="connsiteY21" fmla="*/ 45720 h 515207"/>
                  <a:gd name="connsiteX22" fmla="*/ 228600 w 348615"/>
                  <a:gd name="connsiteY22" fmla="*/ 60007 h 515207"/>
                  <a:gd name="connsiteX23" fmla="*/ 302895 w 348615"/>
                  <a:gd name="connsiteY23" fmla="*/ 63722 h 515207"/>
                  <a:gd name="connsiteX24" fmla="*/ 306705 w 348615"/>
                  <a:gd name="connsiteY24" fmla="*/ 74295 h 515207"/>
                  <a:gd name="connsiteX25" fmla="*/ 309563 w 348615"/>
                  <a:gd name="connsiteY25" fmla="*/ 84772 h 515207"/>
                  <a:gd name="connsiteX26" fmla="*/ 302895 w 348615"/>
                  <a:gd name="connsiteY26" fmla="*/ 95250 h 515207"/>
                  <a:gd name="connsiteX27" fmla="*/ 302895 w 348615"/>
                  <a:gd name="connsiteY27" fmla="*/ 113347 h 515207"/>
                  <a:gd name="connsiteX28" fmla="*/ 313372 w 348615"/>
                  <a:gd name="connsiteY28" fmla="*/ 119920 h 515207"/>
                  <a:gd name="connsiteX29" fmla="*/ 302895 w 348615"/>
                  <a:gd name="connsiteY29" fmla="*/ 119920 h 515207"/>
                  <a:gd name="connsiteX30" fmla="*/ 274320 w 348615"/>
                  <a:gd name="connsiteY30" fmla="*/ 123825 h 515207"/>
                  <a:gd name="connsiteX31" fmla="*/ 249555 w 348615"/>
                  <a:gd name="connsiteY31" fmla="*/ 134207 h 515207"/>
                  <a:gd name="connsiteX32" fmla="*/ 232410 w 348615"/>
                  <a:gd name="connsiteY32" fmla="*/ 155257 h 515207"/>
                  <a:gd name="connsiteX33" fmla="*/ 228600 w 348615"/>
                  <a:gd name="connsiteY33" fmla="*/ 173260 h 515207"/>
                  <a:gd name="connsiteX34" fmla="*/ 218122 w 348615"/>
                  <a:gd name="connsiteY34" fmla="*/ 183832 h 515207"/>
                  <a:gd name="connsiteX35" fmla="*/ 203835 w 348615"/>
                  <a:gd name="connsiteY35" fmla="*/ 204788 h 515207"/>
                  <a:gd name="connsiteX36" fmla="*/ 211455 w 348615"/>
                  <a:gd name="connsiteY36" fmla="*/ 222885 h 515207"/>
                  <a:gd name="connsiteX37" fmla="*/ 218122 w 348615"/>
                  <a:gd name="connsiteY37" fmla="*/ 243745 h 515207"/>
                  <a:gd name="connsiteX38" fmla="*/ 236220 w 348615"/>
                  <a:gd name="connsiteY38" fmla="*/ 260985 h 515207"/>
                  <a:gd name="connsiteX39" fmla="*/ 253365 w 348615"/>
                  <a:gd name="connsiteY39" fmla="*/ 279082 h 515207"/>
                  <a:gd name="connsiteX40" fmla="*/ 267653 w 348615"/>
                  <a:gd name="connsiteY40" fmla="*/ 281845 h 515207"/>
                  <a:gd name="connsiteX41" fmla="*/ 284797 w 348615"/>
                  <a:gd name="connsiteY41" fmla="*/ 275272 h 515207"/>
                  <a:gd name="connsiteX42" fmla="*/ 299085 w 348615"/>
                  <a:gd name="connsiteY42" fmla="*/ 260985 h 515207"/>
                  <a:gd name="connsiteX43" fmla="*/ 302895 w 348615"/>
                  <a:gd name="connsiteY43" fmla="*/ 271463 h 515207"/>
                  <a:gd name="connsiteX44" fmla="*/ 295275 w 348615"/>
                  <a:gd name="connsiteY44" fmla="*/ 293370 h 515207"/>
                  <a:gd name="connsiteX45" fmla="*/ 299085 w 348615"/>
                  <a:gd name="connsiteY45" fmla="*/ 303847 h 515207"/>
                  <a:gd name="connsiteX46" fmla="*/ 309563 w 348615"/>
                  <a:gd name="connsiteY46" fmla="*/ 303847 h 515207"/>
                  <a:gd name="connsiteX47" fmla="*/ 330517 w 348615"/>
                  <a:gd name="connsiteY47" fmla="*/ 306610 h 515207"/>
                  <a:gd name="connsiteX48" fmla="*/ 348615 w 348615"/>
                  <a:gd name="connsiteY48" fmla="*/ 353282 h 515207"/>
                  <a:gd name="connsiteX49" fmla="*/ 348615 w 348615"/>
                  <a:gd name="connsiteY49" fmla="*/ 366713 h 515207"/>
                  <a:gd name="connsiteX50" fmla="*/ 344805 w 348615"/>
                  <a:gd name="connsiteY50" fmla="*/ 391382 h 515207"/>
                  <a:gd name="connsiteX51" fmla="*/ 344805 w 348615"/>
                  <a:gd name="connsiteY51" fmla="*/ 401860 h 515207"/>
                  <a:gd name="connsiteX52" fmla="*/ 341947 w 348615"/>
                  <a:gd name="connsiteY52" fmla="*/ 405670 h 515207"/>
                  <a:gd name="connsiteX53" fmla="*/ 334328 w 348615"/>
                  <a:gd name="connsiteY53" fmla="*/ 423863 h 515207"/>
                  <a:gd name="connsiteX54" fmla="*/ 330517 w 348615"/>
                  <a:gd name="connsiteY54" fmla="*/ 441007 h 515207"/>
                  <a:gd name="connsiteX55" fmla="*/ 338138 w 348615"/>
                  <a:gd name="connsiteY55" fmla="*/ 451485 h 515207"/>
                  <a:gd name="connsiteX56" fmla="*/ 348615 w 348615"/>
                  <a:gd name="connsiteY56" fmla="*/ 461963 h 515207"/>
                  <a:gd name="connsiteX57" fmla="*/ 341947 w 348615"/>
                  <a:gd name="connsiteY57" fmla="*/ 472345 h 515207"/>
                  <a:gd name="connsiteX58" fmla="*/ 327660 w 348615"/>
                  <a:gd name="connsiteY58" fmla="*/ 486632 h 515207"/>
                  <a:gd name="connsiteX59" fmla="*/ 323850 w 348615"/>
                  <a:gd name="connsiteY59" fmla="*/ 497110 h 515207"/>
                  <a:gd name="connsiteX60" fmla="*/ 317182 w 348615"/>
                  <a:gd name="connsiteY60" fmla="*/ 511397 h 515207"/>
                  <a:gd name="connsiteX61" fmla="*/ 306705 w 348615"/>
                  <a:gd name="connsiteY61" fmla="*/ 515207 h 515207"/>
                  <a:gd name="connsiteX62" fmla="*/ 278130 w 348615"/>
                  <a:gd name="connsiteY62" fmla="*/ 490538 h 515207"/>
                  <a:gd name="connsiteX63" fmla="*/ 246697 w 348615"/>
                  <a:gd name="connsiteY63" fmla="*/ 472345 h 515207"/>
                  <a:gd name="connsiteX64" fmla="*/ 207645 w 348615"/>
                  <a:gd name="connsiteY64" fmla="*/ 455295 h 515207"/>
                  <a:gd name="connsiteX65" fmla="*/ 176213 w 348615"/>
                  <a:gd name="connsiteY65" fmla="*/ 437197 h 515207"/>
                  <a:gd name="connsiteX66" fmla="*/ 158115 w 348615"/>
                  <a:gd name="connsiteY66" fmla="*/ 416147 h 515207"/>
                  <a:gd name="connsiteX67" fmla="*/ 133350 w 348615"/>
                  <a:gd name="connsiteY67" fmla="*/ 391382 h 515207"/>
                  <a:gd name="connsiteX68" fmla="*/ 144780 w 348615"/>
                  <a:gd name="connsiteY68" fmla="*/ 377095 h 515207"/>
                  <a:gd name="connsiteX69" fmla="*/ 126682 w 348615"/>
                  <a:gd name="connsiteY69" fmla="*/ 349472 h 515207"/>
                  <a:gd name="connsiteX70" fmla="*/ 112395 w 348615"/>
                  <a:gd name="connsiteY70" fmla="*/ 328613 h 515207"/>
                  <a:gd name="connsiteX71" fmla="*/ 98107 w 348615"/>
                  <a:gd name="connsiteY71" fmla="*/ 303847 h 515207"/>
                  <a:gd name="connsiteX72" fmla="*/ 84772 w 348615"/>
                  <a:gd name="connsiteY72" fmla="*/ 268510 h 515207"/>
                  <a:gd name="connsiteX73" fmla="*/ 62865 w 348615"/>
                  <a:gd name="connsiteY73" fmla="*/ 233363 h 515207"/>
                  <a:gd name="connsiteX74" fmla="*/ 45720 w 348615"/>
                  <a:gd name="connsiteY74" fmla="*/ 198120 h 515207"/>
                  <a:gd name="connsiteX75" fmla="*/ 27622 w 348615"/>
                  <a:gd name="connsiteY75" fmla="*/ 180022 h 515207"/>
                  <a:gd name="connsiteX76" fmla="*/ 6667 w 348615"/>
                  <a:gd name="connsiteY76" fmla="*/ 169545 h 515207"/>
                  <a:gd name="connsiteX77" fmla="*/ 10477 w 348615"/>
                  <a:gd name="connsiteY77" fmla="*/ 148495 h 515207"/>
                  <a:gd name="connsiteX78" fmla="*/ 0 w 348615"/>
                  <a:gd name="connsiteY78" fmla="*/ 138113 h 515207"/>
                  <a:gd name="connsiteX79" fmla="*/ 3810 w 348615"/>
                  <a:gd name="connsiteY79" fmla="*/ 119920 h 515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348615" h="515207">
                    <a:moveTo>
                      <a:pt x="3810" y="119920"/>
                    </a:moveTo>
                    <a:lnTo>
                      <a:pt x="10477" y="105632"/>
                    </a:lnTo>
                    <a:lnTo>
                      <a:pt x="17145" y="95250"/>
                    </a:lnTo>
                    <a:lnTo>
                      <a:pt x="27622" y="95250"/>
                    </a:lnTo>
                    <a:lnTo>
                      <a:pt x="27622" y="116110"/>
                    </a:lnTo>
                    <a:lnTo>
                      <a:pt x="41910" y="119920"/>
                    </a:lnTo>
                    <a:lnTo>
                      <a:pt x="60007" y="138113"/>
                    </a:lnTo>
                    <a:lnTo>
                      <a:pt x="77153" y="123825"/>
                    </a:lnTo>
                    <a:lnTo>
                      <a:pt x="84772" y="105632"/>
                    </a:lnTo>
                    <a:lnTo>
                      <a:pt x="95250" y="92297"/>
                    </a:lnTo>
                    <a:lnTo>
                      <a:pt x="105728" y="80963"/>
                    </a:lnTo>
                    <a:lnTo>
                      <a:pt x="126682" y="70485"/>
                    </a:lnTo>
                    <a:lnTo>
                      <a:pt x="140970" y="63722"/>
                    </a:lnTo>
                    <a:lnTo>
                      <a:pt x="147638" y="60007"/>
                    </a:lnTo>
                    <a:lnTo>
                      <a:pt x="158115" y="45720"/>
                    </a:lnTo>
                    <a:lnTo>
                      <a:pt x="165735" y="32385"/>
                    </a:lnTo>
                    <a:lnTo>
                      <a:pt x="168592" y="0"/>
                    </a:lnTo>
                    <a:lnTo>
                      <a:pt x="182880" y="3810"/>
                    </a:lnTo>
                    <a:lnTo>
                      <a:pt x="193357" y="18097"/>
                    </a:lnTo>
                    <a:lnTo>
                      <a:pt x="200978" y="24670"/>
                    </a:lnTo>
                    <a:lnTo>
                      <a:pt x="211455" y="35147"/>
                    </a:lnTo>
                    <a:lnTo>
                      <a:pt x="221932" y="45720"/>
                    </a:lnTo>
                    <a:lnTo>
                      <a:pt x="228600" y="60007"/>
                    </a:lnTo>
                    <a:lnTo>
                      <a:pt x="302895" y="63722"/>
                    </a:lnTo>
                    <a:lnTo>
                      <a:pt x="306705" y="74295"/>
                    </a:lnTo>
                    <a:lnTo>
                      <a:pt x="309563" y="84772"/>
                    </a:lnTo>
                    <a:lnTo>
                      <a:pt x="302895" y="95250"/>
                    </a:lnTo>
                    <a:lnTo>
                      <a:pt x="302895" y="113347"/>
                    </a:lnTo>
                    <a:lnTo>
                      <a:pt x="313372" y="119920"/>
                    </a:lnTo>
                    <a:lnTo>
                      <a:pt x="302895" y="119920"/>
                    </a:lnTo>
                    <a:lnTo>
                      <a:pt x="274320" y="123825"/>
                    </a:lnTo>
                    <a:lnTo>
                      <a:pt x="249555" y="134207"/>
                    </a:lnTo>
                    <a:lnTo>
                      <a:pt x="232410" y="155257"/>
                    </a:lnTo>
                    <a:lnTo>
                      <a:pt x="228600" y="173260"/>
                    </a:lnTo>
                    <a:lnTo>
                      <a:pt x="218122" y="183832"/>
                    </a:lnTo>
                    <a:lnTo>
                      <a:pt x="203835" y="204788"/>
                    </a:lnTo>
                    <a:lnTo>
                      <a:pt x="211455" y="222885"/>
                    </a:lnTo>
                    <a:lnTo>
                      <a:pt x="218122" y="243745"/>
                    </a:lnTo>
                    <a:lnTo>
                      <a:pt x="236220" y="260985"/>
                    </a:lnTo>
                    <a:lnTo>
                      <a:pt x="253365" y="279082"/>
                    </a:lnTo>
                    <a:lnTo>
                      <a:pt x="267653" y="281845"/>
                    </a:lnTo>
                    <a:lnTo>
                      <a:pt x="284797" y="275272"/>
                    </a:lnTo>
                    <a:lnTo>
                      <a:pt x="299085" y="260985"/>
                    </a:lnTo>
                    <a:lnTo>
                      <a:pt x="302895" y="271463"/>
                    </a:lnTo>
                    <a:lnTo>
                      <a:pt x="295275" y="293370"/>
                    </a:lnTo>
                    <a:lnTo>
                      <a:pt x="299085" y="303847"/>
                    </a:lnTo>
                    <a:lnTo>
                      <a:pt x="309563" y="303847"/>
                    </a:lnTo>
                    <a:lnTo>
                      <a:pt x="330517" y="306610"/>
                    </a:lnTo>
                    <a:lnTo>
                      <a:pt x="348615" y="353282"/>
                    </a:lnTo>
                    <a:lnTo>
                      <a:pt x="348615" y="366713"/>
                    </a:lnTo>
                    <a:lnTo>
                      <a:pt x="344805" y="391382"/>
                    </a:lnTo>
                    <a:lnTo>
                      <a:pt x="344805" y="401860"/>
                    </a:lnTo>
                    <a:lnTo>
                      <a:pt x="341947" y="405670"/>
                    </a:lnTo>
                    <a:lnTo>
                      <a:pt x="334328" y="423863"/>
                    </a:lnTo>
                    <a:lnTo>
                      <a:pt x="330517" y="441007"/>
                    </a:lnTo>
                    <a:lnTo>
                      <a:pt x="338138" y="451485"/>
                    </a:lnTo>
                    <a:lnTo>
                      <a:pt x="348615" y="461963"/>
                    </a:lnTo>
                    <a:lnTo>
                      <a:pt x="341947" y="472345"/>
                    </a:lnTo>
                    <a:lnTo>
                      <a:pt x="327660" y="486632"/>
                    </a:lnTo>
                    <a:lnTo>
                      <a:pt x="323850" y="497110"/>
                    </a:lnTo>
                    <a:lnTo>
                      <a:pt x="317182" y="511397"/>
                    </a:lnTo>
                    <a:lnTo>
                      <a:pt x="306705" y="515207"/>
                    </a:lnTo>
                    <a:lnTo>
                      <a:pt x="278130" y="490538"/>
                    </a:lnTo>
                    <a:lnTo>
                      <a:pt x="246697" y="472345"/>
                    </a:lnTo>
                    <a:lnTo>
                      <a:pt x="207645" y="455295"/>
                    </a:lnTo>
                    <a:lnTo>
                      <a:pt x="176213" y="437197"/>
                    </a:lnTo>
                    <a:lnTo>
                      <a:pt x="158115" y="416147"/>
                    </a:lnTo>
                    <a:lnTo>
                      <a:pt x="133350" y="391382"/>
                    </a:lnTo>
                    <a:lnTo>
                      <a:pt x="144780" y="377095"/>
                    </a:lnTo>
                    <a:lnTo>
                      <a:pt x="126682" y="349472"/>
                    </a:lnTo>
                    <a:lnTo>
                      <a:pt x="112395" y="328613"/>
                    </a:lnTo>
                    <a:lnTo>
                      <a:pt x="98107" y="303847"/>
                    </a:lnTo>
                    <a:lnTo>
                      <a:pt x="84772" y="268510"/>
                    </a:lnTo>
                    <a:lnTo>
                      <a:pt x="62865" y="233363"/>
                    </a:lnTo>
                    <a:lnTo>
                      <a:pt x="45720" y="198120"/>
                    </a:lnTo>
                    <a:lnTo>
                      <a:pt x="27622" y="180022"/>
                    </a:lnTo>
                    <a:lnTo>
                      <a:pt x="6667" y="169545"/>
                    </a:lnTo>
                    <a:lnTo>
                      <a:pt x="10477" y="148495"/>
                    </a:lnTo>
                    <a:lnTo>
                      <a:pt x="0" y="138113"/>
                    </a:lnTo>
                    <a:lnTo>
                      <a:pt x="3810" y="11992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D84DB5FF-F343-9BEF-D2E9-8A7E366E5AE0}"/>
                  </a:ext>
                </a:extLst>
              </p:cNvPr>
              <p:cNvSpPr/>
              <p:nvPr/>
            </p:nvSpPr>
            <p:spPr>
              <a:xfrm>
                <a:off x="4093722" y="4817322"/>
                <a:ext cx="324936" cy="369758"/>
              </a:xfrm>
              <a:custGeom>
                <a:avLst/>
                <a:gdLst>
                  <a:gd name="connsiteX0" fmla="*/ 74295 w 331470"/>
                  <a:gd name="connsiteY0" fmla="*/ 6572 h 377190"/>
                  <a:gd name="connsiteX1" fmla="*/ 95250 w 331470"/>
                  <a:gd name="connsiteY1" fmla="*/ 0 h 377190"/>
                  <a:gd name="connsiteX2" fmla="*/ 116205 w 331470"/>
                  <a:gd name="connsiteY2" fmla="*/ 0 h 377190"/>
                  <a:gd name="connsiteX3" fmla="*/ 120015 w 331470"/>
                  <a:gd name="connsiteY3" fmla="*/ 49435 h 377190"/>
                  <a:gd name="connsiteX4" fmla="*/ 140970 w 331470"/>
                  <a:gd name="connsiteY4" fmla="*/ 70485 h 377190"/>
                  <a:gd name="connsiteX5" fmla="*/ 176213 w 331470"/>
                  <a:gd name="connsiteY5" fmla="*/ 78010 h 377190"/>
                  <a:gd name="connsiteX6" fmla="*/ 183833 w 331470"/>
                  <a:gd name="connsiteY6" fmla="*/ 88487 h 377190"/>
                  <a:gd name="connsiteX7" fmla="*/ 215265 w 331470"/>
                  <a:gd name="connsiteY7" fmla="*/ 99060 h 377190"/>
                  <a:gd name="connsiteX8" fmla="*/ 250508 w 331470"/>
                  <a:gd name="connsiteY8" fmla="*/ 109538 h 377190"/>
                  <a:gd name="connsiteX9" fmla="*/ 257175 w 331470"/>
                  <a:gd name="connsiteY9" fmla="*/ 130397 h 377190"/>
                  <a:gd name="connsiteX10" fmla="*/ 260985 w 331470"/>
                  <a:gd name="connsiteY10" fmla="*/ 144685 h 377190"/>
                  <a:gd name="connsiteX11" fmla="*/ 257175 w 331470"/>
                  <a:gd name="connsiteY11" fmla="*/ 158972 h 377190"/>
                  <a:gd name="connsiteX12" fmla="*/ 260985 w 331470"/>
                  <a:gd name="connsiteY12" fmla="*/ 180022 h 377190"/>
                  <a:gd name="connsiteX13" fmla="*/ 281940 w 331470"/>
                  <a:gd name="connsiteY13" fmla="*/ 180022 h 377190"/>
                  <a:gd name="connsiteX14" fmla="*/ 310515 w 331470"/>
                  <a:gd name="connsiteY14" fmla="*/ 180022 h 377190"/>
                  <a:gd name="connsiteX15" fmla="*/ 306705 w 331470"/>
                  <a:gd name="connsiteY15" fmla="*/ 194310 h 377190"/>
                  <a:gd name="connsiteX16" fmla="*/ 310515 w 331470"/>
                  <a:gd name="connsiteY16" fmla="*/ 215265 h 377190"/>
                  <a:gd name="connsiteX17" fmla="*/ 327660 w 331470"/>
                  <a:gd name="connsiteY17" fmla="*/ 221837 h 377190"/>
                  <a:gd name="connsiteX18" fmla="*/ 331470 w 331470"/>
                  <a:gd name="connsiteY18" fmla="*/ 239935 h 377190"/>
                  <a:gd name="connsiteX19" fmla="*/ 331470 w 331470"/>
                  <a:gd name="connsiteY19" fmla="*/ 250412 h 377190"/>
                  <a:gd name="connsiteX20" fmla="*/ 317183 w 331470"/>
                  <a:gd name="connsiteY20" fmla="*/ 275272 h 377190"/>
                  <a:gd name="connsiteX21" fmla="*/ 324803 w 331470"/>
                  <a:gd name="connsiteY21" fmla="*/ 285750 h 377190"/>
                  <a:gd name="connsiteX22" fmla="*/ 317183 w 331470"/>
                  <a:gd name="connsiteY22" fmla="*/ 292322 h 377190"/>
                  <a:gd name="connsiteX23" fmla="*/ 306705 w 331470"/>
                  <a:gd name="connsiteY23" fmla="*/ 281940 h 377190"/>
                  <a:gd name="connsiteX24" fmla="*/ 289560 w 331470"/>
                  <a:gd name="connsiteY24" fmla="*/ 271463 h 377190"/>
                  <a:gd name="connsiteX25" fmla="*/ 267653 w 331470"/>
                  <a:gd name="connsiteY25" fmla="*/ 267653 h 377190"/>
                  <a:gd name="connsiteX26" fmla="*/ 240030 w 331470"/>
                  <a:gd name="connsiteY26" fmla="*/ 271463 h 377190"/>
                  <a:gd name="connsiteX27" fmla="*/ 221933 w 331470"/>
                  <a:gd name="connsiteY27" fmla="*/ 278987 h 377190"/>
                  <a:gd name="connsiteX28" fmla="*/ 211455 w 331470"/>
                  <a:gd name="connsiteY28" fmla="*/ 281940 h 377190"/>
                  <a:gd name="connsiteX29" fmla="*/ 200978 w 331470"/>
                  <a:gd name="connsiteY29" fmla="*/ 306610 h 377190"/>
                  <a:gd name="connsiteX30" fmla="*/ 200978 w 331470"/>
                  <a:gd name="connsiteY30" fmla="*/ 324803 h 377190"/>
                  <a:gd name="connsiteX31" fmla="*/ 198120 w 331470"/>
                  <a:gd name="connsiteY31" fmla="*/ 341947 h 377190"/>
                  <a:gd name="connsiteX32" fmla="*/ 190500 w 331470"/>
                  <a:gd name="connsiteY32" fmla="*/ 349472 h 377190"/>
                  <a:gd name="connsiteX33" fmla="*/ 159068 w 331470"/>
                  <a:gd name="connsiteY33" fmla="*/ 349472 h 377190"/>
                  <a:gd name="connsiteX34" fmla="*/ 148590 w 331470"/>
                  <a:gd name="connsiteY34" fmla="*/ 373285 h 377190"/>
                  <a:gd name="connsiteX35" fmla="*/ 130493 w 331470"/>
                  <a:gd name="connsiteY35" fmla="*/ 352425 h 377190"/>
                  <a:gd name="connsiteX36" fmla="*/ 105728 w 331470"/>
                  <a:gd name="connsiteY36" fmla="*/ 356235 h 377190"/>
                  <a:gd name="connsiteX37" fmla="*/ 92393 w 331470"/>
                  <a:gd name="connsiteY37" fmla="*/ 345662 h 377190"/>
                  <a:gd name="connsiteX38" fmla="*/ 78105 w 331470"/>
                  <a:gd name="connsiteY38" fmla="*/ 356235 h 377190"/>
                  <a:gd name="connsiteX39" fmla="*/ 70485 w 331470"/>
                  <a:gd name="connsiteY39" fmla="*/ 370522 h 377190"/>
                  <a:gd name="connsiteX40" fmla="*/ 67628 w 331470"/>
                  <a:gd name="connsiteY40" fmla="*/ 377190 h 377190"/>
                  <a:gd name="connsiteX41" fmla="*/ 57150 w 331470"/>
                  <a:gd name="connsiteY41" fmla="*/ 377190 h 377190"/>
                  <a:gd name="connsiteX42" fmla="*/ 53340 w 331470"/>
                  <a:gd name="connsiteY42" fmla="*/ 377190 h 377190"/>
                  <a:gd name="connsiteX43" fmla="*/ 49530 w 331470"/>
                  <a:gd name="connsiteY43" fmla="*/ 377190 h 377190"/>
                  <a:gd name="connsiteX44" fmla="*/ 46673 w 331470"/>
                  <a:gd name="connsiteY44" fmla="*/ 352425 h 377190"/>
                  <a:gd name="connsiteX45" fmla="*/ 39053 w 331470"/>
                  <a:gd name="connsiteY45" fmla="*/ 327660 h 377190"/>
                  <a:gd name="connsiteX46" fmla="*/ 24765 w 331470"/>
                  <a:gd name="connsiteY46" fmla="*/ 306610 h 377190"/>
                  <a:gd name="connsiteX47" fmla="*/ 24765 w 331470"/>
                  <a:gd name="connsiteY47" fmla="*/ 275272 h 377190"/>
                  <a:gd name="connsiteX48" fmla="*/ 14288 w 331470"/>
                  <a:gd name="connsiteY48" fmla="*/ 254222 h 377190"/>
                  <a:gd name="connsiteX49" fmla="*/ 3810 w 331470"/>
                  <a:gd name="connsiteY49" fmla="*/ 221837 h 377190"/>
                  <a:gd name="connsiteX50" fmla="*/ 0 w 331470"/>
                  <a:gd name="connsiteY50" fmla="*/ 207550 h 377190"/>
                  <a:gd name="connsiteX51" fmla="*/ 11430 w 331470"/>
                  <a:gd name="connsiteY51" fmla="*/ 197072 h 377190"/>
                  <a:gd name="connsiteX52" fmla="*/ 18098 w 331470"/>
                  <a:gd name="connsiteY52" fmla="*/ 186690 h 377190"/>
                  <a:gd name="connsiteX53" fmla="*/ 7620 w 331470"/>
                  <a:gd name="connsiteY53" fmla="*/ 176213 h 377190"/>
                  <a:gd name="connsiteX54" fmla="*/ 0 w 331470"/>
                  <a:gd name="connsiteY54" fmla="*/ 165735 h 377190"/>
                  <a:gd name="connsiteX55" fmla="*/ 3810 w 331470"/>
                  <a:gd name="connsiteY55" fmla="*/ 148590 h 377190"/>
                  <a:gd name="connsiteX56" fmla="*/ 11430 w 331470"/>
                  <a:gd name="connsiteY56" fmla="*/ 130397 h 377190"/>
                  <a:gd name="connsiteX57" fmla="*/ 14288 w 331470"/>
                  <a:gd name="connsiteY57" fmla="*/ 126587 h 377190"/>
                  <a:gd name="connsiteX58" fmla="*/ 14288 w 331470"/>
                  <a:gd name="connsiteY58" fmla="*/ 116110 h 377190"/>
                  <a:gd name="connsiteX59" fmla="*/ 18098 w 331470"/>
                  <a:gd name="connsiteY59" fmla="*/ 78010 h 377190"/>
                  <a:gd name="connsiteX60" fmla="*/ 0 w 331470"/>
                  <a:gd name="connsiteY60" fmla="*/ 31337 h 377190"/>
                  <a:gd name="connsiteX61" fmla="*/ 18098 w 331470"/>
                  <a:gd name="connsiteY61" fmla="*/ 31337 h 377190"/>
                  <a:gd name="connsiteX62" fmla="*/ 35243 w 331470"/>
                  <a:gd name="connsiteY62" fmla="*/ 28575 h 377190"/>
                  <a:gd name="connsiteX63" fmla="*/ 60008 w 331470"/>
                  <a:gd name="connsiteY63" fmla="*/ 18097 h 377190"/>
                  <a:gd name="connsiteX64" fmla="*/ 74295 w 331470"/>
                  <a:gd name="connsiteY64" fmla="*/ 6572 h 377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31470" h="377190">
                    <a:moveTo>
                      <a:pt x="74295" y="6572"/>
                    </a:moveTo>
                    <a:lnTo>
                      <a:pt x="95250" y="0"/>
                    </a:lnTo>
                    <a:lnTo>
                      <a:pt x="116205" y="0"/>
                    </a:lnTo>
                    <a:lnTo>
                      <a:pt x="120015" y="49435"/>
                    </a:lnTo>
                    <a:lnTo>
                      <a:pt x="140970" y="70485"/>
                    </a:lnTo>
                    <a:lnTo>
                      <a:pt x="176213" y="78010"/>
                    </a:lnTo>
                    <a:lnTo>
                      <a:pt x="183833" y="88487"/>
                    </a:lnTo>
                    <a:lnTo>
                      <a:pt x="215265" y="99060"/>
                    </a:lnTo>
                    <a:lnTo>
                      <a:pt x="250508" y="109538"/>
                    </a:lnTo>
                    <a:lnTo>
                      <a:pt x="257175" y="130397"/>
                    </a:lnTo>
                    <a:lnTo>
                      <a:pt x="260985" y="144685"/>
                    </a:lnTo>
                    <a:lnTo>
                      <a:pt x="257175" y="158972"/>
                    </a:lnTo>
                    <a:lnTo>
                      <a:pt x="260985" y="180022"/>
                    </a:lnTo>
                    <a:lnTo>
                      <a:pt x="281940" y="180022"/>
                    </a:lnTo>
                    <a:lnTo>
                      <a:pt x="310515" y="180022"/>
                    </a:lnTo>
                    <a:lnTo>
                      <a:pt x="306705" y="194310"/>
                    </a:lnTo>
                    <a:lnTo>
                      <a:pt x="310515" y="215265"/>
                    </a:lnTo>
                    <a:lnTo>
                      <a:pt x="327660" y="221837"/>
                    </a:lnTo>
                    <a:lnTo>
                      <a:pt x="331470" y="239935"/>
                    </a:lnTo>
                    <a:lnTo>
                      <a:pt x="331470" y="250412"/>
                    </a:lnTo>
                    <a:lnTo>
                      <a:pt x="317183" y="275272"/>
                    </a:lnTo>
                    <a:lnTo>
                      <a:pt x="324803" y="285750"/>
                    </a:lnTo>
                    <a:lnTo>
                      <a:pt x="317183" y="292322"/>
                    </a:lnTo>
                    <a:lnTo>
                      <a:pt x="306705" y="281940"/>
                    </a:lnTo>
                    <a:lnTo>
                      <a:pt x="289560" y="271463"/>
                    </a:lnTo>
                    <a:lnTo>
                      <a:pt x="267653" y="267653"/>
                    </a:lnTo>
                    <a:lnTo>
                      <a:pt x="240030" y="271463"/>
                    </a:lnTo>
                    <a:lnTo>
                      <a:pt x="221933" y="278987"/>
                    </a:lnTo>
                    <a:lnTo>
                      <a:pt x="211455" y="281940"/>
                    </a:lnTo>
                    <a:lnTo>
                      <a:pt x="200978" y="306610"/>
                    </a:lnTo>
                    <a:lnTo>
                      <a:pt x="200978" y="324803"/>
                    </a:lnTo>
                    <a:lnTo>
                      <a:pt x="198120" y="341947"/>
                    </a:lnTo>
                    <a:lnTo>
                      <a:pt x="190500" y="349472"/>
                    </a:lnTo>
                    <a:lnTo>
                      <a:pt x="159068" y="349472"/>
                    </a:lnTo>
                    <a:lnTo>
                      <a:pt x="148590" y="373285"/>
                    </a:lnTo>
                    <a:lnTo>
                      <a:pt x="130493" y="352425"/>
                    </a:lnTo>
                    <a:lnTo>
                      <a:pt x="105728" y="356235"/>
                    </a:lnTo>
                    <a:lnTo>
                      <a:pt x="92393" y="345662"/>
                    </a:lnTo>
                    <a:lnTo>
                      <a:pt x="78105" y="356235"/>
                    </a:lnTo>
                    <a:lnTo>
                      <a:pt x="70485" y="370522"/>
                    </a:lnTo>
                    <a:lnTo>
                      <a:pt x="67628" y="377190"/>
                    </a:lnTo>
                    <a:lnTo>
                      <a:pt x="57150" y="377190"/>
                    </a:lnTo>
                    <a:lnTo>
                      <a:pt x="53340" y="377190"/>
                    </a:lnTo>
                    <a:lnTo>
                      <a:pt x="49530" y="377190"/>
                    </a:lnTo>
                    <a:lnTo>
                      <a:pt x="46673" y="352425"/>
                    </a:lnTo>
                    <a:lnTo>
                      <a:pt x="39053" y="327660"/>
                    </a:lnTo>
                    <a:lnTo>
                      <a:pt x="24765" y="306610"/>
                    </a:lnTo>
                    <a:lnTo>
                      <a:pt x="24765" y="275272"/>
                    </a:lnTo>
                    <a:lnTo>
                      <a:pt x="14288" y="254222"/>
                    </a:lnTo>
                    <a:lnTo>
                      <a:pt x="3810" y="221837"/>
                    </a:lnTo>
                    <a:lnTo>
                      <a:pt x="0" y="207550"/>
                    </a:lnTo>
                    <a:lnTo>
                      <a:pt x="11430" y="197072"/>
                    </a:lnTo>
                    <a:lnTo>
                      <a:pt x="18098" y="186690"/>
                    </a:lnTo>
                    <a:lnTo>
                      <a:pt x="7620" y="176213"/>
                    </a:lnTo>
                    <a:lnTo>
                      <a:pt x="0" y="165735"/>
                    </a:lnTo>
                    <a:lnTo>
                      <a:pt x="3810" y="148590"/>
                    </a:lnTo>
                    <a:lnTo>
                      <a:pt x="11430" y="130397"/>
                    </a:lnTo>
                    <a:lnTo>
                      <a:pt x="14288" y="126587"/>
                    </a:lnTo>
                    <a:lnTo>
                      <a:pt x="14288" y="116110"/>
                    </a:lnTo>
                    <a:lnTo>
                      <a:pt x="18098" y="78010"/>
                    </a:lnTo>
                    <a:lnTo>
                      <a:pt x="0" y="31337"/>
                    </a:lnTo>
                    <a:lnTo>
                      <a:pt x="18098" y="31337"/>
                    </a:lnTo>
                    <a:lnTo>
                      <a:pt x="35243" y="28575"/>
                    </a:lnTo>
                    <a:lnTo>
                      <a:pt x="60008" y="18097"/>
                    </a:lnTo>
                    <a:lnTo>
                      <a:pt x="74295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5BCB01B2-7AD7-8FDF-EE54-1E51C67455F3}"/>
                  </a:ext>
                </a:extLst>
              </p:cNvPr>
              <p:cNvSpPr/>
              <p:nvPr/>
            </p:nvSpPr>
            <p:spPr>
              <a:xfrm>
                <a:off x="4280467" y="5079700"/>
                <a:ext cx="231564" cy="242770"/>
              </a:xfrm>
              <a:custGeom>
                <a:avLst/>
                <a:gdLst>
                  <a:gd name="connsiteX0" fmla="*/ 190500 w 236220"/>
                  <a:gd name="connsiteY0" fmla="*/ 239935 h 247650"/>
                  <a:gd name="connsiteX1" fmla="*/ 165735 w 236220"/>
                  <a:gd name="connsiteY1" fmla="*/ 247650 h 247650"/>
                  <a:gd name="connsiteX2" fmla="*/ 126683 w 236220"/>
                  <a:gd name="connsiteY2" fmla="*/ 247650 h 247650"/>
                  <a:gd name="connsiteX3" fmla="*/ 116205 w 236220"/>
                  <a:gd name="connsiteY3" fmla="*/ 233363 h 247650"/>
                  <a:gd name="connsiteX4" fmla="*/ 126683 w 236220"/>
                  <a:gd name="connsiteY4" fmla="*/ 208597 h 247650"/>
                  <a:gd name="connsiteX5" fmla="*/ 140970 w 236220"/>
                  <a:gd name="connsiteY5" fmla="*/ 187547 h 247650"/>
                  <a:gd name="connsiteX6" fmla="*/ 130493 w 236220"/>
                  <a:gd name="connsiteY6" fmla="*/ 173260 h 247650"/>
                  <a:gd name="connsiteX7" fmla="*/ 95250 w 236220"/>
                  <a:gd name="connsiteY7" fmla="*/ 158972 h 247650"/>
                  <a:gd name="connsiteX8" fmla="*/ 66675 w 236220"/>
                  <a:gd name="connsiteY8" fmla="*/ 138113 h 247650"/>
                  <a:gd name="connsiteX9" fmla="*/ 53340 w 236220"/>
                  <a:gd name="connsiteY9" fmla="*/ 138113 h 247650"/>
                  <a:gd name="connsiteX10" fmla="*/ 35243 w 236220"/>
                  <a:gd name="connsiteY10" fmla="*/ 127635 h 247650"/>
                  <a:gd name="connsiteX11" fmla="*/ 14288 w 236220"/>
                  <a:gd name="connsiteY11" fmla="*/ 105632 h 247650"/>
                  <a:gd name="connsiteX12" fmla="*/ 3810 w 236220"/>
                  <a:gd name="connsiteY12" fmla="*/ 92297 h 247650"/>
                  <a:gd name="connsiteX13" fmla="*/ 0 w 236220"/>
                  <a:gd name="connsiteY13" fmla="*/ 81820 h 247650"/>
                  <a:gd name="connsiteX14" fmla="*/ 7620 w 236220"/>
                  <a:gd name="connsiteY14" fmla="*/ 74295 h 247650"/>
                  <a:gd name="connsiteX15" fmla="*/ 10478 w 236220"/>
                  <a:gd name="connsiteY15" fmla="*/ 57150 h 247650"/>
                  <a:gd name="connsiteX16" fmla="*/ 10478 w 236220"/>
                  <a:gd name="connsiteY16" fmla="*/ 38957 h 247650"/>
                  <a:gd name="connsiteX17" fmla="*/ 20955 w 236220"/>
                  <a:gd name="connsiteY17" fmla="*/ 14288 h 247650"/>
                  <a:gd name="connsiteX18" fmla="*/ 49530 w 236220"/>
                  <a:gd name="connsiteY18" fmla="*/ 3810 h 247650"/>
                  <a:gd name="connsiteX19" fmla="*/ 77153 w 236220"/>
                  <a:gd name="connsiteY19" fmla="*/ 0 h 247650"/>
                  <a:gd name="connsiteX20" fmla="*/ 99060 w 236220"/>
                  <a:gd name="connsiteY20" fmla="*/ 3810 h 247650"/>
                  <a:gd name="connsiteX21" fmla="*/ 116205 w 236220"/>
                  <a:gd name="connsiteY21" fmla="*/ 14288 h 247650"/>
                  <a:gd name="connsiteX22" fmla="*/ 126683 w 236220"/>
                  <a:gd name="connsiteY22" fmla="*/ 24670 h 247650"/>
                  <a:gd name="connsiteX23" fmla="*/ 134303 w 236220"/>
                  <a:gd name="connsiteY23" fmla="*/ 38957 h 247650"/>
                  <a:gd name="connsiteX24" fmla="*/ 134303 w 236220"/>
                  <a:gd name="connsiteY24" fmla="*/ 60007 h 247650"/>
                  <a:gd name="connsiteX25" fmla="*/ 134303 w 236220"/>
                  <a:gd name="connsiteY25" fmla="*/ 88582 h 247650"/>
                  <a:gd name="connsiteX26" fmla="*/ 151448 w 236220"/>
                  <a:gd name="connsiteY26" fmla="*/ 88582 h 247650"/>
                  <a:gd name="connsiteX27" fmla="*/ 165735 w 236220"/>
                  <a:gd name="connsiteY27" fmla="*/ 84772 h 247650"/>
                  <a:gd name="connsiteX28" fmla="*/ 182880 w 236220"/>
                  <a:gd name="connsiteY28" fmla="*/ 88582 h 247650"/>
                  <a:gd name="connsiteX29" fmla="*/ 193358 w 236220"/>
                  <a:gd name="connsiteY29" fmla="*/ 95250 h 247650"/>
                  <a:gd name="connsiteX30" fmla="*/ 190500 w 236220"/>
                  <a:gd name="connsiteY30" fmla="*/ 113347 h 247650"/>
                  <a:gd name="connsiteX31" fmla="*/ 197168 w 236220"/>
                  <a:gd name="connsiteY31" fmla="*/ 130397 h 247650"/>
                  <a:gd name="connsiteX32" fmla="*/ 211455 w 236220"/>
                  <a:gd name="connsiteY32" fmla="*/ 144685 h 247650"/>
                  <a:gd name="connsiteX33" fmla="*/ 225743 w 236220"/>
                  <a:gd name="connsiteY33" fmla="*/ 141922 h 247650"/>
                  <a:gd name="connsiteX34" fmla="*/ 236220 w 236220"/>
                  <a:gd name="connsiteY34" fmla="*/ 144685 h 247650"/>
                  <a:gd name="connsiteX35" fmla="*/ 232410 w 236220"/>
                  <a:gd name="connsiteY35" fmla="*/ 158972 h 247650"/>
                  <a:gd name="connsiteX36" fmla="*/ 225743 w 236220"/>
                  <a:gd name="connsiteY36" fmla="*/ 177070 h 247650"/>
                  <a:gd name="connsiteX37" fmla="*/ 225743 w 236220"/>
                  <a:gd name="connsiteY37" fmla="*/ 200882 h 247650"/>
                  <a:gd name="connsiteX38" fmla="*/ 221933 w 236220"/>
                  <a:gd name="connsiteY38" fmla="*/ 212407 h 247650"/>
                  <a:gd name="connsiteX39" fmla="*/ 215265 w 236220"/>
                  <a:gd name="connsiteY39" fmla="*/ 225647 h 247650"/>
                  <a:gd name="connsiteX40" fmla="*/ 197168 w 236220"/>
                  <a:gd name="connsiteY40" fmla="*/ 236220 h 247650"/>
                  <a:gd name="connsiteX41" fmla="*/ 190500 w 236220"/>
                  <a:gd name="connsiteY41" fmla="*/ 239935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36220" h="247650">
                    <a:moveTo>
                      <a:pt x="190500" y="239935"/>
                    </a:moveTo>
                    <a:lnTo>
                      <a:pt x="165735" y="247650"/>
                    </a:lnTo>
                    <a:lnTo>
                      <a:pt x="126683" y="247650"/>
                    </a:lnTo>
                    <a:lnTo>
                      <a:pt x="116205" y="233363"/>
                    </a:lnTo>
                    <a:lnTo>
                      <a:pt x="126683" y="208597"/>
                    </a:lnTo>
                    <a:lnTo>
                      <a:pt x="140970" y="187547"/>
                    </a:lnTo>
                    <a:lnTo>
                      <a:pt x="130493" y="173260"/>
                    </a:lnTo>
                    <a:lnTo>
                      <a:pt x="95250" y="158972"/>
                    </a:lnTo>
                    <a:lnTo>
                      <a:pt x="66675" y="138113"/>
                    </a:lnTo>
                    <a:lnTo>
                      <a:pt x="53340" y="138113"/>
                    </a:lnTo>
                    <a:lnTo>
                      <a:pt x="35243" y="127635"/>
                    </a:lnTo>
                    <a:lnTo>
                      <a:pt x="14288" y="105632"/>
                    </a:lnTo>
                    <a:lnTo>
                      <a:pt x="3810" y="92297"/>
                    </a:lnTo>
                    <a:lnTo>
                      <a:pt x="0" y="81820"/>
                    </a:lnTo>
                    <a:lnTo>
                      <a:pt x="7620" y="74295"/>
                    </a:lnTo>
                    <a:lnTo>
                      <a:pt x="10478" y="57150"/>
                    </a:lnTo>
                    <a:lnTo>
                      <a:pt x="10478" y="38957"/>
                    </a:lnTo>
                    <a:lnTo>
                      <a:pt x="20955" y="14288"/>
                    </a:lnTo>
                    <a:lnTo>
                      <a:pt x="49530" y="3810"/>
                    </a:lnTo>
                    <a:lnTo>
                      <a:pt x="77153" y="0"/>
                    </a:lnTo>
                    <a:lnTo>
                      <a:pt x="99060" y="3810"/>
                    </a:lnTo>
                    <a:lnTo>
                      <a:pt x="116205" y="14288"/>
                    </a:lnTo>
                    <a:lnTo>
                      <a:pt x="126683" y="24670"/>
                    </a:lnTo>
                    <a:lnTo>
                      <a:pt x="134303" y="38957"/>
                    </a:lnTo>
                    <a:lnTo>
                      <a:pt x="134303" y="60007"/>
                    </a:lnTo>
                    <a:lnTo>
                      <a:pt x="134303" y="88582"/>
                    </a:lnTo>
                    <a:lnTo>
                      <a:pt x="151448" y="88582"/>
                    </a:lnTo>
                    <a:lnTo>
                      <a:pt x="165735" y="84772"/>
                    </a:lnTo>
                    <a:lnTo>
                      <a:pt x="182880" y="88582"/>
                    </a:lnTo>
                    <a:lnTo>
                      <a:pt x="193358" y="95250"/>
                    </a:lnTo>
                    <a:lnTo>
                      <a:pt x="190500" y="113347"/>
                    </a:lnTo>
                    <a:lnTo>
                      <a:pt x="197168" y="130397"/>
                    </a:lnTo>
                    <a:lnTo>
                      <a:pt x="211455" y="144685"/>
                    </a:lnTo>
                    <a:lnTo>
                      <a:pt x="225743" y="141922"/>
                    </a:lnTo>
                    <a:lnTo>
                      <a:pt x="236220" y="144685"/>
                    </a:lnTo>
                    <a:lnTo>
                      <a:pt x="232410" y="158972"/>
                    </a:lnTo>
                    <a:lnTo>
                      <a:pt x="225743" y="177070"/>
                    </a:lnTo>
                    <a:lnTo>
                      <a:pt x="225743" y="200882"/>
                    </a:lnTo>
                    <a:lnTo>
                      <a:pt x="221933" y="212407"/>
                    </a:lnTo>
                    <a:lnTo>
                      <a:pt x="215265" y="225647"/>
                    </a:lnTo>
                    <a:lnTo>
                      <a:pt x="197168" y="236220"/>
                    </a:lnTo>
                    <a:lnTo>
                      <a:pt x="190500" y="23993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B6BDB8C9-0610-847E-FCF4-9F2F059B6F18}"/>
                  </a:ext>
                </a:extLst>
              </p:cNvPr>
              <p:cNvSpPr/>
              <p:nvPr/>
            </p:nvSpPr>
            <p:spPr>
              <a:xfrm>
                <a:off x="4398117" y="5391566"/>
                <a:ext cx="144727" cy="155000"/>
              </a:xfrm>
              <a:custGeom>
                <a:avLst/>
                <a:gdLst>
                  <a:gd name="connsiteX0" fmla="*/ 35243 w 147637"/>
                  <a:gd name="connsiteY0" fmla="*/ 0 h 158115"/>
                  <a:gd name="connsiteX1" fmla="*/ 52388 w 147637"/>
                  <a:gd name="connsiteY1" fmla="*/ 13335 h 158115"/>
                  <a:gd name="connsiteX2" fmla="*/ 66675 w 147637"/>
                  <a:gd name="connsiteY2" fmla="*/ 31337 h 158115"/>
                  <a:gd name="connsiteX3" fmla="*/ 80963 w 147637"/>
                  <a:gd name="connsiteY3" fmla="*/ 35147 h 158115"/>
                  <a:gd name="connsiteX4" fmla="*/ 105728 w 147637"/>
                  <a:gd name="connsiteY4" fmla="*/ 48578 h 158115"/>
                  <a:gd name="connsiteX5" fmla="*/ 126683 w 147637"/>
                  <a:gd name="connsiteY5" fmla="*/ 66675 h 158115"/>
                  <a:gd name="connsiteX6" fmla="*/ 137160 w 147637"/>
                  <a:gd name="connsiteY6" fmla="*/ 77153 h 158115"/>
                  <a:gd name="connsiteX7" fmla="*/ 143828 w 147637"/>
                  <a:gd name="connsiteY7" fmla="*/ 87535 h 158115"/>
                  <a:gd name="connsiteX8" fmla="*/ 140970 w 147637"/>
                  <a:gd name="connsiteY8" fmla="*/ 98012 h 158115"/>
                  <a:gd name="connsiteX9" fmla="*/ 140970 w 147637"/>
                  <a:gd name="connsiteY9" fmla="*/ 108585 h 158115"/>
                  <a:gd name="connsiteX10" fmla="*/ 147638 w 147637"/>
                  <a:gd name="connsiteY10" fmla="*/ 116110 h 158115"/>
                  <a:gd name="connsiteX11" fmla="*/ 140970 w 147637"/>
                  <a:gd name="connsiteY11" fmla="*/ 122872 h 158115"/>
                  <a:gd name="connsiteX12" fmla="*/ 126683 w 147637"/>
                  <a:gd name="connsiteY12" fmla="*/ 140875 h 158115"/>
                  <a:gd name="connsiteX13" fmla="*/ 116205 w 147637"/>
                  <a:gd name="connsiteY13" fmla="*/ 151447 h 158115"/>
                  <a:gd name="connsiteX14" fmla="*/ 108585 w 147637"/>
                  <a:gd name="connsiteY14" fmla="*/ 155162 h 158115"/>
                  <a:gd name="connsiteX15" fmla="*/ 105728 w 147637"/>
                  <a:gd name="connsiteY15" fmla="*/ 158115 h 158115"/>
                  <a:gd name="connsiteX16" fmla="*/ 73343 w 147637"/>
                  <a:gd name="connsiteY16" fmla="*/ 155162 h 158115"/>
                  <a:gd name="connsiteX17" fmla="*/ 49530 w 147637"/>
                  <a:gd name="connsiteY17" fmla="*/ 151447 h 158115"/>
                  <a:gd name="connsiteX18" fmla="*/ 31433 w 147637"/>
                  <a:gd name="connsiteY18" fmla="*/ 143828 h 158115"/>
                  <a:gd name="connsiteX19" fmla="*/ 10478 w 147637"/>
                  <a:gd name="connsiteY19" fmla="*/ 140875 h 158115"/>
                  <a:gd name="connsiteX20" fmla="*/ 0 w 147637"/>
                  <a:gd name="connsiteY20" fmla="*/ 133350 h 158115"/>
                  <a:gd name="connsiteX21" fmla="*/ 0 w 147637"/>
                  <a:gd name="connsiteY21" fmla="*/ 105728 h 158115"/>
                  <a:gd name="connsiteX22" fmla="*/ 6668 w 147637"/>
                  <a:gd name="connsiteY22" fmla="*/ 70485 h 158115"/>
                  <a:gd name="connsiteX23" fmla="*/ 10478 w 147637"/>
                  <a:gd name="connsiteY23" fmla="*/ 41910 h 158115"/>
                  <a:gd name="connsiteX24" fmla="*/ 17145 w 147637"/>
                  <a:gd name="connsiteY24" fmla="*/ 13335 h 158115"/>
                  <a:gd name="connsiteX25" fmla="*/ 20955 w 147637"/>
                  <a:gd name="connsiteY25" fmla="*/ 2762 h 158115"/>
                  <a:gd name="connsiteX26" fmla="*/ 35243 w 147637"/>
                  <a:gd name="connsiteY26" fmla="*/ 0 h 158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47637" h="158115">
                    <a:moveTo>
                      <a:pt x="35243" y="0"/>
                    </a:moveTo>
                    <a:lnTo>
                      <a:pt x="52388" y="13335"/>
                    </a:lnTo>
                    <a:lnTo>
                      <a:pt x="66675" y="31337"/>
                    </a:lnTo>
                    <a:lnTo>
                      <a:pt x="80963" y="35147"/>
                    </a:lnTo>
                    <a:lnTo>
                      <a:pt x="105728" y="48578"/>
                    </a:lnTo>
                    <a:lnTo>
                      <a:pt x="126683" y="66675"/>
                    </a:lnTo>
                    <a:lnTo>
                      <a:pt x="137160" y="77153"/>
                    </a:lnTo>
                    <a:lnTo>
                      <a:pt x="143828" y="87535"/>
                    </a:lnTo>
                    <a:lnTo>
                      <a:pt x="140970" y="98012"/>
                    </a:lnTo>
                    <a:lnTo>
                      <a:pt x="140970" y="108585"/>
                    </a:lnTo>
                    <a:lnTo>
                      <a:pt x="147638" y="116110"/>
                    </a:lnTo>
                    <a:lnTo>
                      <a:pt x="140970" y="122872"/>
                    </a:lnTo>
                    <a:lnTo>
                      <a:pt x="126683" y="140875"/>
                    </a:lnTo>
                    <a:lnTo>
                      <a:pt x="116205" y="151447"/>
                    </a:lnTo>
                    <a:lnTo>
                      <a:pt x="108585" y="155162"/>
                    </a:lnTo>
                    <a:lnTo>
                      <a:pt x="105728" y="158115"/>
                    </a:lnTo>
                    <a:lnTo>
                      <a:pt x="73343" y="155162"/>
                    </a:lnTo>
                    <a:lnTo>
                      <a:pt x="49530" y="151447"/>
                    </a:lnTo>
                    <a:lnTo>
                      <a:pt x="31433" y="143828"/>
                    </a:lnTo>
                    <a:lnTo>
                      <a:pt x="10478" y="140875"/>
                    </a:lnTo>
                    <a:lnTo>
                      <a:pt x="0" y="133350"/>
                    </a:lnTo>
                    <a:lnTo>
                      <a:pt x="0" y="105728"/>
                    </a:lnTo>
                    <a:lnTo>
                      <a:pt x="6668" y="70485"/>
                    </a:lnTo>
                    <a:lnTo>
                      <a:pt x="10478" y="41910"/>
                    </a:lnTo>
                    <a:lnTo>
                      <a:pt x="17145" y="13335"/>
                    </a:lnTo>
                    <a:lnTo>
                      <a:pt x="20955" y="2762"/>
                    </a:lnTo>
                    <a:lnTo>
                      <a:pt x="3524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6B72F357-07D0-93A9-7648-EF6CF9C766B5}"/>
                  </a:ext>
                </a:extLst>
              </p:cNvPr>
              <p:cNvSpPr/>
              <p:nvPr/>
            </p:nvSpPr>
            <p:spPr>
              <a:xfrm>
                <a:off x="4398117" y="5391566"/>
                <a:ext cx="144727" cy="155000"/>
              </a:xfrm>
              <a:custGeom>
                <a:avLst/>
                <a:gdLst>
                  <a:gd name="connsiteX0" fmla="*/ 35243 w 147637"/>
                  <a:gd name="connsiteY0" fmla="*/ 0 h 158115"/>
                  <a:gd name="connsiteX1" fmla="*/ 52388 w 147637"/>
                  <a:gd name="connsiteY1" fmla="*/ 13335 h 158115"/>
                  <a:gd name="connsiteX2" fmla="*/ 66675 w 147637"/>
                  <a:gd name="connsiteY2" fmla="*/ 31337 h 158115"/>
                  <a:gd name="connsiteX3" fmla="*/ 80963 w 147637"/>
                  <a:gd name="connsiteY3" fmla="*/ 35147 h 158115"/>
                  <a:gd name="connsiteX4" fmla="*/ 105728 w 147637"/>
                  <a:gd name="connsiteY4" fmla="*/ 48578 h 158115"/>
                  <a:gd name="connsiteX5" fmla="*/ 126683 w 147637"/>
                  <a:gd name="connsiteY5" fmla="*/ 66675 h 158115"/>
                  <a:gd name="connsiteX6" fmla="*/ 137160 w 147637"/>
                  <a:gd name="connsiteY6" fmla="*/ 77153 h 158115"/>
                  <a:gd name="connsiteX7" fmla="*/ 143828 w 147637"/>
                  <a:gd name="connsiteY7" fmla="*/ 87535 h 158115"/>
                  <a:gd name="connsiteX8" fmla="*/ 140970 w 147637"/>
                  <a:gd name="connsiteY8" fmla="*/ 98012 h 158115"/>
                  <a:gd name="connsiteX9" fmla="*/ 140970 w 147637"/>
                  <a:gd name="connsiteY9" fmla="*/ 108585 h 158115"/>
                  <a:gd name="connsiteX10" fmla="*/ 147638 w 147637"/>
                  <a:gd name="connsiteY10" fmla="*/ 116110 h 158115"/>
                  <a:gd name="connsiteX11" fmla="*/ 140970 w 147637"/>
                  <a:gd name="connsiteY11" fmla="*/ 122872 h 158115"/>
                  <a:gd name="connsiteX12" fmla="*/ 126683 w 147637"/>
                  <a:gd name="connsiteY12" fmla="*/ 140875 h 158115"/>
                  <a:gd name="connsiteX13" fmla="*/ 116205 w 147637"/>
                  <a:gd name="connsiteY13" fmla="*/ 151447 h 158115"/>
                  <a:gd name="connsiteX14" fmla="*/ 108585 w 147637"/>
                  <a:gd name="connsiteY14" fmla="*/ 155162 h 158115"/>
                  <a:gd name="connsiteX15" fmla="*/ 105728 w 147637"/>
                  <a:gd name="connsiteY15" fmla="*/ 158115 h 158115"/>
                  <a:gd name="connsiteX16" fmla="*/ 73343 w 147637"/>
                  <a:gd name="connsiteY16" fmla="*/ 155162 h 158115"/>
                  <a:gd name="connsiteX17" fmla="*/ 49530 w 147637"/>
                  <a:gd name="connsiteY17" fmla="*/ 151447 h 158115"/>
                  <a:gd name="connsiteX18" fmla="*/ 31433 w 147637"/>
                  <a:gd name="connsiteY18" fmla="*/ 143828 h 158115"/>
                  <a:gd name="connsiteX19" fmla="*/ 10478 w 147637"/>
                  <a:gd name="connsiteY19" fmla="*/ 140875 h 158115"/>
                  <a:gd name="connsiteX20" fmla="*/ 0 w 147637"/>
                  <a:gd name="connsiteY20" fmla="*/ 133350 h 158115"/>
                  <a:gd name="connsiteX21" fmla="*/ 0 w 147637"/>
                  <a:gd name="connsiteY21" fmla="*/ 105728 h 158115"/>
                  <a:gd name="connsiteX22" fmla="*/ 6668 w 147637"/>
                  <a:gd name="connsiteY22" fmla="*/ 70485 h 158115"/>
                  <a:gd name="connsiteX23" fmla="*/ 10478 w 147637"/>
                  <a:gd name="connsiteY23" fmla="*/ 41910 h 158115"/>
                  <a:gd name="connsiteX24" fmla="*/ 17145 w 147637"/>
                  <a:gd name="connsiteY24" fmla="*/ 13335 h 158115"/>
                  <a:gd name="connsiteX25" fmla="*/ 20955 w 147637"/>
                  <a:gd name="connsiteY25" fmla="*/ 2762 h 158115"/>
                  <a:gd name="connsiteX26" fmla="*/ 35243 w 147637"/>
                  <a:gd name="connsiteY26" fmla="*/ 0 h 158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47637" h="158115">
                    <a:moveTo>
                      <a:pt x="35243" y="0"/>
                    </a:moveTo>
                    <a:lnTo>
                      <a:pt x="52388" y="13335"/>
                    </a:lnTo>
                    <a:lnTo>
                      <a:pt x="66675" y="31337"/>
                    </a:lnTo>
                    <a:lnTo>
                      <a:pt x="80963" y="35147"/>
                    </a:lnTo>
                    <a:lnTo>
                      <a:pt x="105728" y="48578"/>
                    </a:lnTo>
                    <a:lnTo>
                      <a:pt x="126683" y="66675"/>
                    </a:lnTo>
                    <a:lnTo>
                      <a:pt x="137160" y="77153"/>
                    </a:lnTo>
                    <a:lnTo>
                      <a:pt x="143828" y="87535"/>
                    </a:lnTo>
                    <a:lnTo>
                      <a:pt x="140970" y="98012"/>
                    </a:lnTo>
                    <a:lnTo>
                      <a:pt x="140970" y="108585"/>
                    </a:lnTo>
                    <a:lnTo>
                      <a:pt x="147638" y="116110"/>
                    </a:lnTo>
                    <a:lnTo>
                      <a:pt x="140970" y="122872"/>
                    </a:lnTo>
                    <a:lnTo>
                      <a:pt x="126683" y="140875"/>
                    </a:lnTo>
                    <a:lnTo>
                      <a:pt x="116205" y="151447"/>
                    </a:lnTo>
                    <a:lnTo>
                      <a:pt x="108585" y="155162"/>
                    </a:lnTo>
                    <a:lnTo>
                      <a:pt x="105728" y="158115"/>
                    </a:lnTo>
                    <a:lnTo>
                      <a:pt x="73343" y="155162"/>
                    </a:lnTo>
                    <a:lnTo>
                      <a:pt x="49530" y="151447"/>
                    </a:lnTo>
                    <a:lnTo>
                      <a:pt x="31433" y="143828"/>
                    </a:lnTo>
                    <a:lnTo>
                      <a:pt x="10478" y="140875"/>
                    </a:lnTo>
                    <a:lnTo>
                      <a:pt x="0" y="133350"/>
                    </a:lnTo>
                    <a:lnTo>
                      <a:pt x="0" y="105728"/>
                    </a:lnTo>
                    <a:lnTo>
                      <a:pt x="6668" y="70485"/>
                    </a:lnTo>
                    <a:lnTo>
                      <a:pt x="10478" y="41910"/>
                    </a:lnTo>
                    <a:lnTo>
                      <a:pt x="17145" y="13335"/>
                    </a:lnTo>
                    <a:lnTo>
                      <a:pt x="20955" y="2762"/>
                    </a:lnTo>
                    <a:lnTo>
                      <a:pt x="35243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D97177F2-B6A1-E64A-96A8-7A16B35337D6}"/>
                  </a:ext>
                </a:extLst>
              </p:cNvPr>
              <p:cNvSpPr/>
              <p:nvPr/>
            </p:nvSpPr>
            <p:spPr>
              <a:xfrm>
                <a:off x="3983543" y="5156173"/>
                <a:ext cx="545294" cy="971174"/>
              </a:xfrm>
              <a:custGeom>
                <a:avLst/>
                <a:gdLst>
                  <a:gd name="connsiteX0" fmla="*/ 180022 w 556259"/>
                  <a:gd name="connsiteY0" fmla="*/ 31528 h 990695"/>
                  <a:gd name="connsiteX1" fmla="*/ 182880 w 556259"/>
                  <a:gd name="connsiteY1" fmla="*/ 17240 h 990695"/>
                  <a:gd name="connsiteX2" fmla="*/ 190500 w 556259"/>
                  <a:gd name="connsiteY2" fmla="*/ 10573 h 990695"/>
                  <a:gd name="connsiteX3" fmla="*/ 204788 w 556259"/>
                  <a:gd name="connsiteY3" fmla="*/ 0 h 990695"/>
                  <a:gd name="connsiteX4" fmla="*/ 218122 w 556259"/>
                  <a:gd name="connsiteY4" fmla="*/ 10573 h 990695"/>
                  <a:gd name="connsiteX5" fmla="*/ 242888 w 556259"/>
                  <a:gd name="connsiteY5" fmla="*/ 6763 h 990695"/>
                  <a:gd name="connsiteX6" fmla="*/ 260985 w 556259"/>
                  <a:gd name="connsiteY6" fmla="*/ 27622 h 990695"/>
                  <a:gd name="connsiteX7" fmla="*/ 271463 w 556259"/>
                  <a:gd name="connsiteY7" fmla="*/ 3810 h 990695"/>
                  <a:gd name="connsiteX8" fmla="*/ 302895 w 556259"/>
                  <a:gd name="connsiteY8" fmla="*/ 3810 h 990695"/>
                  <a:gd name="connsiteX9" fmla="*/ 306705 w 556259"/>
                  <a:gd name="connsiteY9" fmla="*/ 14288 h 990695"/>
                  <a:gd name="connsiteX10" fmla="*/ 317182 w 556259"/>
                  <a:gd name="connsiteY10" fmla="*/ 27622 h 990695"/>
                  <a:gd name="connsiteX11" fmla="*/ 334328 w 556259"/>
                  <a:gd name="connsiteY11" fmla="*/ 45815 h 990695"/>
                  <a:gd name="connsiteX12" fmla="*/ 338138 w 556259"/>
                  <a:gd name="connsiteY12" fmla="*/ 49625 h 990695"/>
                  <a:gd name="connsiteX13" fmla="*/ 356235 w 556259"/>
                  <a:gd name="connsiteY13" fmla="*/ 60103 h 990695"/>
                  <a:gd name="connsiteX14" fmla="*/ 369570 w 556259"/>
                  <a:gd name="connsiteY14" fmla="*/ 60103 h 990695"/>
                  <a:gd name="connsiteX15" fmla="*/ 387668 w 556259"/>
                  <a:gd name="connsiteY15" fmla="*/ 70485 h 990695"/>
                  <a:gd name="connsiteX16" fmla="*/ 398145 w 556259"/>
                  <a:gd name="connsiteY16" fmla="*/ 80963 h 990695"/>
                  <a:gd name="connsiteX17" fmla="*/ 415290 w 556259"/>
                  <a:gd name="connsiteY17" fmla="*/ 87725 h 990695"/>
                  <a:gd name="connsiteX18" fmla="*/ 433388 w 556259"/>
                  <a:gd name="connsiteY18" fmla="*/ 95250 h 990695"/>
                  <a:gd name="connsiteX19" fmla="*/ 443865 w 556259"/>
                  <a:gd name="connsiteY19" fmla="*/ 109538 h 990695"/>
                  <a:gd name="connsiteX20" fmla="*/ 433388 w 556259"/>
                  <a:gd name="connsiteY20" fmla="*/ 126778 h 990695"/>
                  <a:gd name="connsiteX21" fmla="*/ 419100 w 556259"/>
                  <a:gd name="connsiteY21" fmla="*/ 155353 h 990695"/>
                  <a:gd name="connsiteX22" fmla="*/ 429578 w 556259"/>
                  <a:gd name="connsiteY22" fmla="*/ 169640 h 990695"/>
                  <a:gd name="connsiteX23" fmla="*/ 468630 w 556259"/>
                  <a:gd name="connsiteY23" fmla="*/ 169640 h 990695"/>
                  <a:gd name="connsiteX24" fmla="*/ 493395 w 556259"/>
                  <a:gd name="connsiteY24" fmla="*/ 161925 h 990695"/>
                  <a:gd name="connsiteX25" fmla="*/ 507682 w 556259"/>
                  <a:gd name="connsiteY25" fmla="*/ 151447 h 990695"/>
                  <a:gd name="connsiteX26" fmla="*/ 518160 w 556259"/>
                  <a:gd name="connsiteY26" fmla="*/ 147638 h 990695"/>
                  <a:gd name="connsiteX27" fmla="*/ 528638 w 556259"/>
                  <a:gd name="connsiteY27" fmla="*/ 122872 h 990695"/>
                  <a:gd name="connsiteX28" fmla="*/ 528638 w 556259"/>
                  <a:gd name="connsiteY28" fmla="*/ 105823 h 990695"/>
                  <a:gd name="connsiteX29" fmla="*/ 545782 w 556259"/>
                  <a:gd name="connsiteY29" fmla="*/ 109538 h 990695"/>
                  <a:gd name="connsiteX30" fmla="*/ 553403 w 556259"/>
                  <a:gd name="connsiteY30" fmla="*/ 116300 h 990695"/>
                  <a:gd name="connsiteX31" fmla="*/ 556260 w 556259"/>
                  <a:gd name="connsiteY31" fmla="*/ 134398 h 990695"/>
                  <a:gd name="connsiteX32" fmla="*/ 549593 w 556259"/>
                  <a:gd name="connsiteY32" fmla="*/ 155353 h 990695"/>
                  <a:gd name="connsiteX33" fmla="*/ 542925 w 556259"/>
                  <a:gd name="connsiteY33" fmla="*/ 165735 h 990695"/>
                  <a:gd name="connsiteX34" fmla="*/ 528638 w 556259"/>
                  <a:gd name="connsiteY34" fmla="*/ 172498 h 990695"/>
                  <a:gd name="connsiteX35" fmla="*/ 514350 w 556259"/>
                  <a:gd name="connsiteY35" fmla="*/ 182975 h 990695"/>
                  <a:gd name="connsiteX36" fmla="*/ 496253 w 556259"/>
                  <a:gd name="connsiteY36" fmla="*/ 197263 h 990695"/>
                  <a:gd name="connsiteX37" fmla="*/ 482918 w 556259"/>
                  <a:gd name="connsiteY37" fmla="*/ 207740 h 990695"/>
                  <a:gd name="connsiteX38" fmla="*/ 472440 w 556259"/>
                  <a:gd name="connsiteY38" fmla="*/ 225838 h 990695"/>
                  <a:gd name="connsiteX39" fmla="*/ 461963 w 556259"/>
                  <a:gd name="connsiteY39" fmla="*/ 232410 h 990695"/>
                  <a:gd name="connsiteX40" fmla="*/ 458153 w 556259"/>
                  <a:gd name="connsiteY40" fmla="*/ 240125 h 990695"/>
                  <a:gd name="connsiteX41" fmla="*/ 443865 w 556259"/>
                  <a:gd name="connsiteY41" fmla="*/ 242888 h 990695"/>
                  <a:gd name="connsiteX42" fmla="*/ 433388 w 556259"/>
                  <a:gd name="connsiteY42" fmla="*/ 282035 h 990695"/>
                  <a:gd name="connsiteX43" fmla="*/ 429578 w 556259"/>
                  <a:gd name="connsiteY43" fmla="*/ 306800 h 990695"/>
                  <a:gd name="connsiteX44" fmla="*/ 422910 w 556259"/>
                  <a:gd name="connsiteY44" fmla="*/ 338138 h 990695"/>
                  <a:gd name="connsiteX45" fmla="*/ 422910 w 556259"/>
                  <a:gd name="connsiteY45" fmla="*/ 373475 h 990695"/>
                  <a:gd name="connsiteX46" fmla="*/ 415290 w 556259"/>
                  <a:gd name="connsiteY46" fmla="*/ 381000 h 990695"/>
                  <a:gd name="connsiteX47" fmla="*/ 412432 w 556259"/>
                  <a:gd name="connsiteY47" fmla="*/ 391573 h 990695"/>
                  <a:gd name="connsiteX48" fmla="*/ 429578 w 556259"/>
                  <a:gd name="connsiteY48" fmla="*/ 395288 h 990695"/>
                  <a:gd name="connsiteX49" fmla="*/ 447675 w 556259"/>
                  <a:gd name="connsiteY49" fmla="*/ 402050 h 990695"/>
                  <a:gd name="connsiteX50" fmla="*/ 454343 w 556259"/>
                  <a:gd name="connsiteY50" fmla="*/ 416338 h 990695"/>
                  <a:gd name="connsiteX51" fmla="*/ 450532 w 556259"/>
                  <a:gd name="connsiteY51" fmla="*/ 430625 h 990695"/>
                  <a:gd name="connsiteX52" fmla="*/ 454343 w 556259"/>
                  <a:gd name="connsiteY52" fmla="*/ 437197 h 990695"/>
                  <a:gd name="connsiteX53" fmla="*/ 468630 w 556259"/>
                  <a:gd name="connsiteY53" fmla="*/ 447675 h 990695"/>
                  <a:gd name="connsiteX54" fmla="*/ 468630 w 556259"/>
                  <a:gd name="connsiteY54" fmla="*/ 472535 h 990695"/>
                  <a:gd name="connsiteX55" fmla="*/ 447675 w 556259"/>
                  <a:gd name="connsiteY55" fmla="*/ 501110 h 990695"/>
                  <a:gd name="connsiteX56" fmla="*/ 422910 w 556259"/>
                  <a:gd name="connsiteY56" fmla="*/ 518160 h 990695"/>
                  <a:gd name="connsiteX57" fmla="*/ 387668 w 556259"/>
                  <a:gd name="connsiteY57" fmla="*/ 522065 h 990695"/>
                  <a:gd name="connsiteX58" fmla="*/ 362903 w 556259"/>
                  <a:gd name="connsiteY58" fmla="*/ 524923 h 990695"/>
                  <a:gd name="connsiteX59" fmla="*/ 334328 w 556259"/>
                  <a:gd name="connsiteY59" fmla="*/ 528638 h 990695"/>
                  <a:gd name="connsiteX60" fmla="*/ 317182 w 556259"/>
                  <a:gd name="connsiteY60" fmla="*/ 524923 h 990695"/>
                  <a:gd name="connsiteX61" fmla="*/ 313372 w 556259"/>
                  <a:gd name="connsiteY61" fmla="*/ 536353 h 990695"/>
                  <a:gd name="connsiteX62" fmla="*/ 317182 w 556259"/>
                  <a:gd name="connsiteY62" fmla="*/ 553498 h 990695"/>
                  <a:gd name="connsiteX63" fmla="*/ 313372 w 556259"/>
                  <a:gd name="connsiteY63" fmla="*/ 582073 h 990695"/>
                  <a:gd name="connsiteX64" fmla="*/ 299085 w 556259"/>
                  <a:gd name="connsiteY64" fmla="*/ 596360 h 990695"/>
                  <a:gd name="connsiteX65" fmla="*/ 285750 w 556259"/>
                  <a:gd name="connsiteY65" fmla="*/ 603028 h 990695"/>
                  <a:gd name="connsiteX66" fmla="*/ 260985 w 556259"/>
                  <a:gd name="connsiteY66" fmla="*/ 592550 h 990695"/>
                  <a:gd name="connsiteX67" fmla="*/ 250507 w 556259"/>
                  <a:gd name="connsiteY67" fmla="*/ 588740 h 990695"/>
                  <a:gd name="connsiteX68" fmla="*/ 240030 w 556259"/>
                  <a:gd name="connsiteY68" fmla="*/ 584835 h 990695"/>
                  <a:gd name="connsiteX69" fmla="*/ 236220 w 556259"/>
                  <a:gd name="connsiteY69" fmla="*/ 596360 h 990695"/>
                  <a:gd name="connsiteX70" fmla="*/ 240030 w 556259"/>
                  <a:gd name="connsiteY70" fmla="*/ 623888 h 990695"/>
                  <a:gd name="connsiteX71" fmla="*/ 240030 w 556259"/>
                  <a:gd name="connsiteY71" fmla="*/ 638175 h 990695"/>
                  <a:gd name="connsiteX72" fmla="*/ 250507 w 556259"/>
                  <a:gd name="connsiteY72" fmla="*/ 641985 h 990695"/>
                  <a:gd name="connsiteX73" fmla="*/ 263843 w 556259"/>
                  <a:gd name="connsiteY73" fmla="*/ 641985 h 990695"/>
                  <a:gd name="connsiteX74" fmla="*/ 263843 w 556259"/>
                  <a:gd name="connsiteY74" fmla="*/ 638175 h 990695"/>
                  <a:gd name="connsiteX75" fmla="*/ 271463 w 556259"/>
                  <a:gd name="connsiteY75" fmla="*/ 634460 h 990695"/>
                  <a:gd name="connsiteX76" fmla="*/ 278130 w 556259"/>
                  <a:gd name="connsiteY76" fmla="*/ 641985 h 990695"/>
                  <a:gd name="connsiteX77" fmla="*/ 278130 w 556259"/>
                  <a:gd name="connsiteY77" fmla="*/ 652463 h 990695"/>
                  <a:gd name="connsiteX78" fmla="*/ 267653 w 556259"/>
                  <a:gd name="connsiteY78" fmla="*/ 659225 h 990695"/>
                  <a:gd name="connsiteX79" fmla="*/ 260985 w 556259"/>
                  <a:gd name="connsiteY79" fmla="*/ 655415 h 990695"/>
                  <a:gd name="connsiteX80" fmla="*/ 257175 w 556259"/>
                  <a:gd name="connsiteY80" fmla="*/ 648748 h 990695"/>
                  <a:gd name="connsiteX81" fmla="*/ 250507 w 556259"/>
                  <a:gd name="connsiteY81" fmla="*/ 648748 h 990695"/>
                  <a:gd name="connsiteX82" fmla="*/ 242888 w 556259"/>
                  <a:gd name="connsiteY82" fmla="*/ 652463 h 990695"/>
                  <a:gd name="connsiteX83" fmla="*/ 246697 w 556259"/>
                  <a:gd name="connsiteY83" fmla="*/ 663035 h 990695"/>
                  <a:gd name="connsiteX84" fmla="*/ 240030 w 556259"/>
                  <a:gd name="connsiteY84" fmla="*/ 673513 h 990695"/>
                  <a:gd name="connsiteX85" fmla="*/ 228600 w 556259"/>
                  <a:gd name="connsiteY85" fmla="*/ 677323 h 990695"/>
                  <a:gd name="connsiteX86" fmla="*/ 232410 w 556259"/>
                  <a:gd name="connsiteY86" fmla="*/ 698278 h 990695"/>
                  <a:gd name="connsiteX87" fmla="*/ 221932 w 556259"/>
                  <a:gd name="connsiteY87" fmla="*/ 719138 h 990695"/>
                  <a:gd name="connsiteX88" fmla="*/ 218122 w 556259"/>
                  <a:gd name="connsiteY88" fmla="*/ 722947 h 990695"/>
                  <a:gd name="connsiteX89" fmla="*/ 207645 w 556259"/>
                  <a:gd name="connsiteY89" fmla="*/ 729710 h 990695"/>
                  <a:gd name="connsiteX90" fmla="*/ 186690 w 556259"/>
                  <a:gd name="connsiteY90" fmla="*/ 740188 h 990695"/>
                  <a:gd name="connsiteX91" fmla="*/ 165735 w 556259"/>
                  <a:gd name="connsiteY91" fmla="*/ 762000 h 990695"/>
                  <a:gd name="connsiteX92" fmla="*/ 169545 w 556259"/>
                  <a:gd name="connsiteY92" fmla="*/ 783050 h 990695"/>
                  <a:gd name="connsiteX93" fmla="*/ 186690 w 556259"/>
                  <a:gd name="connsiteY93" fmla="*/ 800100 h 990695"/>
                  <a:gd name="connsiteX94" fmla="*/ 186690 w 556259"/>
                  <a:gd name="connsiteY94" fmla="*/ 803910 h 990695"/>
                  <a:gd name="connsiteX95" fmla="*/ 197168 w 556259"/>
                  <a:gd name="connsiteY95" fmla="*/ 803910 h 990695"/>
                  <a:gd name="connsiteX96" fmla="*/ 215265 w 556259"/>
                  <a:gd name="connsiteY96" fmla="*/ 807815 h 990695"/>
                  <a:gd name="connsiteX97" fmla="*/ 215265 w 556259"/>
                  <a:gd name="connsiteY97" fmla="*/ 821055 h 990695"/>
                  <a:gd name="connsiteX98" fmla="*/ 207645 w 556259"/>
                  <a:gd name="connsiteY98" fmla="*/ 835343 h 990695"/>
                  <a:gd name="connsiteX99" fmla="*/ 182880 w 556259"/>
                  <a:gd name="connsiteY99" fmla="*/ 856297 h 990695"/>
                  <a:gd name="connsiteX100" fmla="*/ 165735 w 556259"/>
                  <a:gd name="connsiteY100" fmla="*/ 874490 h 990695"/>
                  <a:gd name="connsiteX101" fmla="*/ 159068 w 556259"/>
                  <a:gd name="connsiteY101" fmla="*/ 899160 h 990695"/>
                  <a:gd name="connsiteX102" fmla="*/ 155257 w 556259"/>
                  <a:gd name="connsiteY102" fmla="*/ 909733 h 990695"/>
                  <a:gd name="connsiteX103" fmla="*/ 134303 w 556259"/>
                  <a:gd name="connsiteY103" fmla="*/ 913447 h 990695"/>
                  <a:gd name="connsiteX104" fmla="*/ 123825 w 556259"/>
                  <a:gd name="connsiteY104" fmla="*/ 924020 h 990695"/>
                  <a:gd name="connsiteX105" fmla="*/ 116205 w 556259"/>
                  <a:gd name="connsiteY105" fmla="*/ 948785 h 990695"/>
                  <a:gd name="connsiteX106" fmla="*/ 120015 w 556259"/>
                  <a:gd name="connsiteY106" fmla="*/ 963073 h 990695"/>
                  <a:gd name="connsiteX107" fmla="*/ 126682 w 556259"/>
                  <a:gd name="connsiteY107" fmla="*/ 973455 h 990695"/>
                  <a:gd name="connsiteX108" fmla="*/ 137160 w 556259"/>
                  <a:gd name="connsiteY108" fmla="*/ 986885 h 990695"/>
                  <a:gd name="connsiteX109" fmla="*/ 134303 w 556259"/>
                  <a:gd name="connsiteY109" fmla="*/ 990695 h 990695"/>
                  <a:gd name="connsiteX110" fmla="*/ 105728 w 556259"/>
                  <a:gd name="connsiteY110" fmla="*/ 984028 h 990695"/>
                  <a:gd name="connsiteX111" fmla="*/ 60007 w 556259"/>
                  <a:gd name="connsiteY111" fmla="*/ 984028 h 990695"/>
                  <a:gd name="connsiteX112" fmla="*/ 42863 w 556259"/>
                  <a:gd name="connsiteY112" fmla="*/ 980122 h 990695"/>
                  <a:gd name="connsiteX113" fmla="*/ 31432 w 556259"/>
                  <a:gd name="connsiteY113" fmla="*/ 959168 h 990695"/>
                  <a:gd name="connsiteX114" fmla="*/ 31432 w 556259"/>
                  <a:gd name="connsiteY114" fmla="*/ 930593 h 990695"/>
                  <a:gd name="connsiteX115" fmla="*/ 10478 w 556259"/>
                  <a:gd name="connsiteY115" fmla="*/ 927735 h 990695"/>
                  <a:gd name="connsiteX116" fmla="*/ 3810 w 556259"/>
                  <a:gd name="connsiteY116" fmla="*/ 916305 h 990695"/>
                  <a:gd name="connsiteX117" fmla="*/ 0 w 556259"/>
                  <a:gd name="connsiteY117" fmla="*/ 899160 h 990695"/>
                  <a:gd name="connsiteX118" fmla="*/ 3810 w 556259"/>
                  <a:gd name="connsiteY118" fmla="*/ 881158 h 990695"/>
                  <a:gd name="connsiteX119" fmla="*/ 18097 w 556259"/>
                  <a:gd name="connsiteY119" fmla="*/ 867823 h 990695"/>
                  <a:gd name="connsiteX120" fmla="*/ 31432 w 556259"/>
                  <a:gd name="connsiteY120" fmla="*/ 845915 h 990695"/>
                  <a:gd name="connsiteX121" fmla="*/ 35243 w 556259"/>
                  <a:gd name="connsiteY121" fmla="*/ 814483 h 990695"/>
                  <a:gd name="connsiteX122" fmla="*/ 49530 w 556259"/>
                  <a:gd name="connsiteY122" fmla="*/ 793528 h 990695"/>
                  <a:gd name="connsiteX123" fmla="*/ 49530 w 556259"/>
                  <a:gd name="connsiteY123" fmla="*/ 747713 h 990695"/>
                  <a:gd name="connsiteX124" fmla="*/ 53340 w 556259"/>
                  <a:gd name="connsiteY124" fmla="*/ 726853 h 990695"/>
                  <a:gd name="connsiteX125" fmla="*/ 45720 w 556259"/>
                  <a:gd name="connsiteY125" fmla="*/ 704850 h 990695"/>
                  <a:gd name="connsiteX126" fmla="*/ 45720 w 556259"/>
                  <a:gd name="connsiteY126" fmla="*/ 669703 h 990695"/>
                  <a:gd name="connsiteX127" fmla="*/ 39053 w 556259"/>
                  <a:gd name="connsiteY127" fmla="*/ 663035 h 990695"/>
                  <a:gd name="connsiteX128" fmla="*/ 42863 w 556259"/>
                  <a:gd name="connsiteY128" fmla="*/ 634460 h 990695"/>
                  <a:gd name="connsiteX129" fmla="*/ 45720 w 556259"/>
                  <a:gd name="connsiteY129" fmla="*/ 613410 h 990695"/>
                  <a:gd name="connsiteX130" fmla="*/ 49530 w 556259"/>
                  <a:gd name="connsiteY130" fmla="*/ 561022 h 990695"/>
                  <a:gd name="connsiteX131" fmla="*/ 63818 w 556259"/>
                  <a:gd name="connsiteY131" fmla="*/ 532447 h 990695"/>
                  <a:gd name="connsiteX132" fmla="*/ 66675 w 556259"/>
                  <a:gd name="connsiteY132" fmla="*/ 522065 h 990695"/>
                  <a:gd name="connsiteX133" fmla="*/ 70485 w 556259"/>
                  <a:gd name="connsiteY133" fmla="*/ 514350 h 990695"/>
                  <a:gd name="connsiteX134" fmla="*/ 70485 w 556259"/>
                  <a:gd name="connsiteY134" fmla="*/ 489585 h 990695"/>
                  <a:gd name="connsiteX135" fmla="*/ 66675 w 556259"/>
                  <a:gd name="connsiteY135" fmla="*/ 447675 h 990695"/>
                  <a:gd name="connsiteX136" fmla="*/ 77153 w 556259"/>
                  <a:gd name="connsiteY136" fmla="*/ 437197 h 990695"/>
                  <a:gd name="connsiteX137" fmla="*/ 84772 w 556259"/>
                  <a:gd name="connsiteY137" fmla="*/ 430625 h 990695"/>
                  <a:gd name="connsiteX138" fmla="*/ 88582 w 556259"/>
                  <a:gd name="connsiteY138" fmla="*/ 395288 h 990695"/>
                  <a:gd name="connsiteX139" fmla="*/ 95250 w 556259"/>
                  <a:gd name="connsiteY139" fmla="*/ 381000 h 990695"/>
                  <a:gd name="connsiteX140" fmla="*/ 99060 w 556259"/>
                  <a:gd name="connsiteY140" fmla="*/ 345853 h 990695"/>
                  <a:gd name="connsiteX141" fmla="*/ 91440 w 556259"/>
                  <a:gd name="connsiteY141" fmla="*/ 317278 h 990695"/>
                  <a:gd name="connsiteX142" fmla="*/ 84772 w 556259"/>
                  <a:gd name="connsiteY142" fmla="*/ 302990 h 990695"/>
                  <a:gd name="connsiteX143" fmla="*/ 84772 w 556259"/>
                  <a:gd name="connsiteY143" fmla="*/ 275272 h 990695"/>
                  <a:gd name="connsiteX144" fmla="*/ 91440 w 556259"/>
                  <a:gd name="connsiteY144" fmla="*/ 260985 h 990695"/>
                  <a:gd name="connsiteX145" fmla="*/ 99060 w 556259"/>
                  <a:gd name="connsiteY145" fmla="*/ 211550 h 990695"/>
                  <a:gd name="connsiteX146" fmla="*/ 112395 w 556259"/>
                  <a:gd name="connsiteY146" fmla="*/ 186785 h 990695"/>
                  <a:gd name="connsiteX147" fmla="*/ 130493 w 556259"/>
                  <a:gd name="connsiteY147" fmla="*/ 161925 h 990695"/>
                  <a:gd name="connsiteX148" fmla="*/ 140970 w 556259"/>
                  <a:gd name="connsiteY148" fmla="*/ 144875 h 990695"/>
                  <a:gd name="connsiteX149" fmla="*/ 134303 w 556259"/>
                  <a:gd name="connsiteY149" fmla="*/ 91535 h 990695"/>
                  <a:gd name="connsiteX150" fmla="*/ 144780 w 556259"/>
                  <a:gd name="connsiteY150" fmla="*/ 80963 h 990695"/>
                  <a:gd name="connsiteX151" fmla="*/ 159068 w 556259"/>
                  <a:gd name="connsiteY151" fmla="*/ 74390 h 990695"/>
                  <a:gd name="connsiteX152" fmla="*/ 176213 w 556259"/>
                  <a:gd name="connsiteY152" fmla="*/ 52388 h 990695"/>
                  <a:gd name="connsiteX153" fmla="*/ 180022 w 556259"/>
                  <a:gd name="connsiteY153" fmla="*/ 31528 h 99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556259" h="990695">
                    <a:moveTo>
                      <a:pt x="180022" y="31528"/>
                    </a:moveTo>
                    <a:lnTo>
                      <a:pt x="182880" y="17240"/>
                    </a:lnTo>
                    <a:lnTo>
                      <a:pt x="190500" y="10573"/>
                    </a:lnTo>
                    <a:lnTo>
                      <a:pt x="204788" y="0"/>
                    </a:lnTo>
                    <a:lnTo>
                      <a:pt x="218122" y="10573"/>
                    </a:lnTo>
                    <a:lnTo>
                      <a:pt x="242888" y="6763"/>
                    </a:lnTo>
                    <a:lnTo>
                      <a:pt x="260985" y="27622"/>
                    </a:lnTo>
                    <a:lnTo>
                      <a:pt x="271463" y="3810"/>
                    </a:lnTo>
                    <a:lnTo>
                      <a:pt x="302895" y="3810"/>
                    </a:lnTo>
                    <a:lnTo>
                      <a:pt x="306705" y="14288"/>
                    </a:lnTo>
                    <a:lnTo>
                      <a:pt x="317182" y="27622"/>
                    </a:lnTo>
                    <a:lnTo>
                      <a:pt x="334328" y="45815"/>
                    </a:lnTo>
                    <a:lnTo>
                      <a:pt x="338138" y="49625"/>
                    </a:lnTo>
                    <a:lnTo>
                      <a:pt x="356235" y="60103"/>
                    </a:lnTo>
                    <a:lnTo>
                      <a:pt x="369570" y="60103"/>
                    </a:lnTo>
                    <a:lnTo>
                      <a:pt x="387668" y="70485"/>
                    </a:lnTo>
                    <a:lnTo>
                      <a:pt x="398145" y="80963"/>
                    </a:lnTo>
                    <a:lnTo>
                      <a:pt x="415290" y="87725"/>
                    </a:lnTo>
                    <a:lnTo>
                      <a:pt x="433388" y="95250"/>
                    </a:lnTo>
                    <a:lnTo>
                      <a:pt x="443865" y="109538"/>
                    </a:lnTo>
                    <a:lnTo>
                      <a:pt x="433388" y="126778"/>
                    </a:lnTo>
                    <a:lnTo>
                      <a:pt x="419100" y="155353"/>
                    </a:lnTo>
                    <a:lnTo>
                      <a:pt x="429578" y="169640"/>
                    </a:lnTo>
                    <a:lnTo>
                      <a:pt x="468630" y="169640"/>
                    </a:lnTo>
                    <a:lnTo>
                      <a:pt x="493395" y="161925"/>
                    </a:lnTo>
                    <a:lnTo>
                      <a:pt x="507682" y="151447"/>
                    </a:lnTo>
                    <a:lnTo>
                      <a:pt x="518160" y="147638"/>
                    </a:lnTo>
                    <a:lnTo>
                      <a:pt x="528638" y="122872"/>
                    </a:lnTo>
                    <a:lnTo>
                      <a:pt x="528638" y="105823"/>
                    </a:lnTo>
                    <a:lnTo>
                      <a:pt x="545782" y="109538"/>
                    </a:lnTo>
                    <a:lnTo>
                      <a:pt x="553403" y="116300"/>
                    </a:lnTo>
                    <a:lnTo>
                      <a:pt x="556260" y="134398"/>
                    </a:lnTo>
                    <a:lnTo>
                      <a:pt x="549593" y="155353"/>
                    </a:lnTo>
                    <a:lnTo>
                      <a:pt x="542925" y="165735"/>
                    </a:lnTo>
                    <a:lnTo>
                      <a:pt x="528638" y="172498"/>
                    </a:lnTo>
                    <a:lnTo>
                      <a:pt x="514350" y="182975"/>
                    </a:lnTo>
                    <a:lnTo>
                      <a:pt x="496253" y="197263"/>
                    </a:lnTo>
                    <a:lnTo>
                      <a:pt x="482918" y="207740"/>
                    </a:lnTo>
                    <a:lnTo>
                      <a:pt x="472440" y="225838"/>
                    </a:lnTo>
                    <a:lnTo>
                      <a:pt x="461963" y="232410"/>
                    </a:lnTo>
                    <a:lnTo>
                      <a:pt x="458153" y="240125"/>
                    </a:lnTo>
                    <a:lnTo>
                      <a:pt x="443865" y="242888"/>
                    </a:lnTo>
                    <a:lnTo>
                      <a:pt x="433388" y="282035"/>
                    </a:lnTo>
                    <a:lnTo>
                      <a:pt x="429578" y="306800"/>
                    </a:lnTo>
                    <a:lnTo>
                      <a:pt x="422910" y="338138"/>
                    </a:lnTo>
                    <a:lnTo>
                      <a:pt x="422910" y="373475"/>
                    </a:lnTo>
                    <a:lnTo>
                      <a:pt x="415290" y="381000"/>
                    </a:lnTo>
                    <a:lnTo>
                      <a:pt x="412432" y="391573"/>
                    </a:lnTo>
                    <a:lnTo>
                      <a:pt x="429578" y="395288"/>
                    </a:lnTo>
                    <a:lnTo>
                      <a:pt x="447675" y="402050"/>
                    </a:lnTo>
                    <a:lnTo>
                      <a:pt x="454343" y="416338"/>
                    </a:lnTo>
                    <a:lnTo>
                      <a:pt x="450532" y="430625"/>
                    </a:lnTo>
                    <a:lnTo>
                      <a:pt x="454343" y="437197"/>
                    </a:lnTo>
                    <a:lnTo>
                      <a:pt x="468630" y="447675"/>
                    </a:lnTo>
                    <a:lnTo>
                      <a:pt x="468630" y="472535"/>
                    </a:lnTo>
                    <a:lnTo>
                      <a:pt x="447675" y="501110"/>
                    </a:lnTo>
                    <a:lnTo>
                      <a:pt x="422910" y="518160"/>
                    </a:lnTo>
                    <a:lnTo>
                      <a:pt x="387668" y="522065"/>
                    </a:lnTo>
                    <a:lnTo>
                      <a:pt x="362903" y="524923"/>
                    </a:lnTo>
                    <a:lnTo>
                      <a:pt x="334328" y="528638"/>
                    </a:lnTo>
                    <a:lnTo>
                      <a:pt x="317182" y="524923"/>
                    </a:lnTo>
                    <a:lnTo>
                      <a:pt x="313372" y="536353"/>
                    </a:lnTo>
                    <a:lnTo>
                      <a:pt x="317182" y="553498"/>
                    </a:lnTo>
                    <a:lnTo>
                      <a:pt x="313372" y="582073"/>
                    </a:lnTo>
                    <a:lnTo>
                      <a:pt x="299085" y="596360"/>
                    </a:lnTo>
                    <a:lnTo>
                      <a:pt x="285750" y="603028"/>
                    </a:lnTo>
                    <a:lnTo>
                      <a:pt x="260985" y="592550"/>
                    </a:lnTo>
                    <a:lnTo>
                      <a:pt x="250507" y="588740"/>
                    </a:lnTo>
                    <a:lnTo>
                      <a:pt x="240030" y="584835"/>
                    </a:lnTo>
                    <a:lnTo>
                      <a:pt x="236220" y="596360"/>
                    </a:lnTo>
                    <a:lnTo>
                      <a:pt x="240030" y="623888"/>
                    </a:lnTo>
                    <a:lnTo>
                      <a:pt x="240030" y="638175"/>
                    </a:lnTo>
                    <a:lnTo>
                      <a:pt x="250507" y="641985"/>
                    </a:lnTo>
                    <a:lnTo>
                      <a:pt x="263843" y="641985"/>
                    </a:lnTo>
                    <a:lnTo>
                      <a:pt x="263843" y="638175"/>
                    </a:lnTo>
                    <a:lnTo>
                      <a:pt x="271463" y="634460"/>
                    </a:lnTo>
                    <a:lnTo>
                      <a:pt x="278130" y="641985"/>
                    </a:lnTo>
                    <a:lnTo>
                      <a:pt x="278130" y="652463"/>
                    </a:lnTo>
                    <a:lnTo>
                      <a:pt x="267653" y="659225"/>
                    </a:lnTo>
                    <a:lnTo>
                      <a:pt x="260985" y="655415"/>
                    </a:lnTo>
                    <a:lnTo>
                      <a:pt x="257175" y="648748"/>
                    </a:lnTo>
                    <a:lnTo>
                      <a:pt x="250507" y="648748"/>
                    </a:lnTo>
                    <a:lnTo>
                      <a:pt x="242888" y="652463"/>
                    </a:lnTo>
                    <a:lnTo>
                      <a:pt x="246697" y="663035"/>
                    </a:lnTo>
                    <a:lnTo>
                      <a:pt x="240030" y="673513"/>
                    </a:lnTo>
                    <a:lnTo>
                      <a:pt x="228600" y="677323"/>
                    </a:lnTo>
                    <a:lnTo>
                      <a:pt x="232410" y="698278"/>
                    </a:lnTo>
                    <a:lnTo>
                      <a:pt x="221932" y="719138"/>
                    </a:lnTo>
                    <a:lnTo>
                      <a:pt x="218122" y="722947"/>
                    </a:lnTo>
                    <a:lnTo>
                      <a:pt x="207645" y="729710"/>
                    </a:lnTo>
                    <a:lnTo>
                      <a:pt x="186690" y="740188"/>
                    </a:lnTo>
                    <a:lnTo>
                      <a:pt x="165735" y="762000"/>
                    </a:lnTo>
                    <a:lnTo>
                      <a:pt x="169545" y="783050"/>
                    </a:lnTo>
                    <a:lnTo>
                      <a:pt x="186690" y="800100"/>
                    </a:lnTo>
                    <a:lnTo>
                      <a:pt x="186690" y="803910"/>
                    </a:lnTo>
                    <a:lnTo>
                      <a:pt x="197168" y="803910"/>
                    </a:lnTo>
                    <a:lnTo>
                      <a:pt x="215265" y="807815"/>
                    </a:lnTo>
                    <a:lnTo>
                      <a:pt x="215265" y="821055"/>
                    </a:lnTo>
                    <a:lnTo>
                      <a:pt x="207645" y="835343"/>
                    </a:lnTo>
                    <a:lnTo>
                      <a:pt x="182880" y="856297"/>
                    </a:lnTo>
                    <a:lnTo>
                      <a:pt x="165735" y="874490"/>
                    </a:lnTo>
                    <a:lnTo>
                      <a:pt x="159068" y="899160"/>
                    </a:lnTo>
                    <a:lnTo>
                      <a:pt x="155257" y="909733"/>
                    </a:lnTo>
                    <a:lnTo>
                      <a:pt x="134303" y="913447"/>
                    </a:lnTo>
                    <a:lnTo>
                      <a:pt x="123825" y="924020"/>
                    </a:lnTo>
                    <a:lnTo>
                      <a:pt x="116205" y="948785"/>
                    </a:lnTo>
                    <a:lnTo>
                      <a:pt x="120015" y="963073"/>
                    </a:lnTo>
                    <a:lnTo>
                      <a:pt x="126682" y="973455"/>
                    </a:lnTo>
                    <a:lnTo>
                      <a:pt x="137160" y="986885"/>
                    </a:lnTo>
                    <a:lnTo>
                      <a:pt x="134303" y="990695"/>
                    </a:lnTo>
                    <a:lnTo>
                      <a:pt x="105728" y="984028"/>
                    </a:lnTo>
                    <a:lnTo>
                      <a:pt x="60007" y="984028"/>
                    </a:lnTo>
                    <a:lnTo>
                      <a:pt x="42863" y="980122"/>
                    </a:lnTo>
                    <a:lnTo>
                      <a:pt x="31432" y="959168"/>
                    </a:lnTo>
                    <a:lnTo>
                      <a:pt x="31432" y="930593"/>
                    </a:lnTo>
                    <a:lnTo>
                      <a:pt x="10478" y="927735"/>
                    </a:lnTo>
                    <a:lnTo>
                      <a:pt x="3810" y="916305"/>
                    </a:lnTo>
                    <a:lnTo>
                      <a:pt x="0" y="899160"/>
                    </a:lnTo>
                    <a:lnTo>
                      <a:pt x="3810" y="881158"/>
                    </a:lnTo>
                    <a:lnTo>
                      <a:pt x="18097" y="867823"/>
                    </a:lnTo>
                    <a:lnTo>
                      <a:pt x="31432" y="845915"/>
                    </a:lnTo>
                    <a:lnTo>
                      <a:pt x="35243" y="814483"/>
                    </a:lnTo>
                    <a:lnTo>
                      <a:pt x="49530" y="793528"/>
                    </a:lnTo>
                    <a:lnTo>
                      <a:pt x="49530" y="747713"/>
                    </a:lnTo>
                    <a:lnTo>
                      <a:pt x="53340" y="726853"/>
                    </a:lnTo>
                    <a:lnTo>
                      <a:pt x="45720" y="704850"/>
                    </a:lnTo>
                    <a:lnTo>
                      <a:pt x="45720" y="669703"/>
                    </a:lnTo>
                    <a:lnTo>
                      <a:pt x="39053" y="663035"/>
                    </a:lnTo>
                    <a:lnTo>
                      <a:pt x="42863" y="634460"/>
                    </a:lnTo>
                    <a:lnTo>
                      <a:pt x="45720" y="613410"/>
                    </a:lnTo>
                    <a:lnTo>
                      <a:pt x="49530" y="561022"/>
                    </a:lnTo>
                    <a:lnTo>
                      <a:pt x="63818" y="532447"/>
                    </a:lnTo>
                    <a:lnTo>
                      <a:pt x="66675" y="522065"/>
                    </a:lnTo>
                    <a:lnTo>
                      <a:pt x="70485" y="514350"/>
                    </a:lnTo>
                    <a:lnTo>
                      <a:pt x="70485" y="489585"/>
                    </a:lnTo>
                    <a:lnTo>
                      <a:pt x="66675" y="447675"/>
                    </a:lnTo>
                    <a:lnTo>
                      <a:pt x="77153" y="437197"/>
                    </a:lnTo>
                    <a:lnTo>
                      <a:pt x="84772" y="430625"/>
                    </a:lnTo>
                    <a:lnTo>
                      <a:pt x="88582" y="395288"/>
                    </a:lnTo>
                    <a:lnTo>
                      <a:pt x="95250" y="381000"/>
                    </a:lnTo>
                    <a:lnTo>
                      <a:pt x="99060" y="345853"/>
                    </a:lnTo>
                    <a:lnTo>
                      <a:pt x="91440" y="317278"/>
                    </a:lnTo>
                    <a:lnTo>
                      <a:pt x="84772" y="302990"/>
                    </a:lnTo>
                    <a:lnTo>
                      <a:pt x="84772" y="275272"/>
                    </a:lnTo>
                    <a:lnTo>
                      <a:pt x="91440" y="260985"/>
                    </a:lnTo>
                    <a:lnTo>
                      <a:pt x="99060" y="211550"/>
                    </a:lnTo>
                    <a:lnTo>
                      <a:pt x="112395" y="186785"/>
                    </a:lnTo>
                    <a:lnTo>
                      <a:pt x="130493" y="161925"/>
                    </a:lnTo>
                    <a:lnTo>
                      <a:pt x="140970" y="144875"/>
                    </a:lnTo>
                    <a:lnTo>
                      <a:pt x="134303" y="91535"/>
                    </a:lnTo>
                    <a:lnTo>
                      <a:pt x="144780" y="80963"/>
                    </a:lnTo>
                    <a:lnTo>
                      <a:pt x="159068" y="74390"/>
                    </a:lnTo>
                    <a:lnTo>
                      <a:pt x="176213" y="52388"/>
                    </a:lnTo>
                    <a:lnTo>
                      <a:pt x="180022" y="3152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461471B1-145F-AF0A-B61F-ADCA21CEDED3}"/>
                  </a:ext>
                </a:extLst>
              </p:cNvPr>
              <p:cNvSpPr/>
              <p:nvPr/>
            </p:nvSpPr>
            <p:spPr>
              <a:xfrm>
                <a:off x="3924719" y="5020782"/>
                <a:ext cx="235298" cy="1161562"/>
              </a:xfrm>
              <a:custGeom>
                <a:avLst/>
                <a:gdLst>
                  <a:gd name="connsiteX0" fmla="*/ 148590 w 240029"/>
                  <a:gd name="connsiteY0" fmla="*/ 32385 h 1184909"/>
                  <a:gd name="connsiteX1" fmla="*/ 159067 w 240029"/>
                  <a:gd name="connsiteY1" fmla="*/ 28575 h 1184909"/>
                  <a:gd name="connsiteX2" fmla="*/ 169545 w 240029"/>
                  <a:gd name="connsiteY2" fmla="*/ 3810 h 1184909"/>
                  <a:gd name="connsiteX3" fmla="*/ 172402 w 240029"/>
                  <a:gd name="connsiteY3" fmla="*/ 0 h 1184909"/>
                  <a:gd name="connsiteX4" fmla="*/ 180022 w 240029"/>
                  <a:gd name="connsiteY4" fmla="*/ 22003 h 1184909"/>
                  <a:gd name="connsiteX5" fmla="*/ 197167 w 240029"/>
                  <a:gd name="connsiteY5" fmla="*/ 67723 h 1184909"/>
                  <a:gd name="connsiteX6" fmla="*/ 197167 w 240029"/>
                  <a:gd name="connsiteY6" fmla="*/ 99060 h 1184909"/>
                  <a:gd name="connsiteX7" fmla="*/ 211455 w 240029"/>
                  <a:gd name="connsiteY7" fmla="*/ 120110 h 1184909"/>
                  <a:gd name="connsiteX8" fmla="*/ 219075 w 240029"/>
                  <a:gd name="connsiteY8" fmla="*/ 144875 h 1184909"/>
                  <a:gd name="connsiteX9" fmla="*/ 221932 w 240029"/>
                  <a:gd name="connsiteY9" fmla="*/ 169640 h 1184909"/>
                  <a:gd name="connsiteX10" fmla="*/ 240030 w 240029"/>
                  <a:gd name="connsiteY10" fmla="*/ 169640 h 1184909"/>
                  <a:gd name="connsiteX11" fmla="*/ 236220 w 240029"/>
                  <a:gd name="connsiteY11" fmla="*/ 190500 h 1184909"/>
                  <a:gd name="connsiteX12" fmla="*/ 219075 w 240029"/>
                  <a:gd name="connsiteY12" fmla="*/ 212503 h 1184909"/>
                  <a:gd name="connsiteX13" fmla="*/ 204788 w 240029"/>
                  <a:gd name="connsiteY13" fmla="*/ 219075 h 1184909"/>
                  <a:gd name="connsiteX14" fmla="*/ 194310 w 240029"/>
                  <a:gd name="connsiteY14" fmla="*/ 229648 h 1184909"/>
                  <a:gd name="connsiteX15" fmla="*/ 200977 w 240029"/>
                  <a:gd name="connsiteY15" fmla="*/ 282988 h 1184909"/>
                  <a:gd name="connsiteX16" fmla="*/ 169545 w 240029"/>
                  <a:gd name="connsiteY16" fmla="*/ 328613 h 1184909"/>
                  <a:gd name="connsiteX17" fmla="*/ 159067 w 240029"/>
                  <a:gd name="connsiteY17" fmla="*/ 349663 h 1184909"/>
                  <a:gd name="connsiteX18" fmla="*/ 151447 w 240029"/>
                  <a:gd name="connsiteY18" fmla="*/ 391573 h 1184909"/>
                  <a:gd name="connsiteX19" fmla="*/ 144780 w 240029"/>
                  <a:gd name="connsiteY19" fmla="*/ 413385 h 1184909"/>
                  <a:gd name="connsiteX20" fmla="*/ 144780 w 240029"/>
                  <a:gd name="connsiteY20" fmla="*/ 441103 h 1184909"/>
                  <a:gd name="connsiteX21" fmla="*/ 159067 w 240029"/>
                  <a:gd name="connsiteY21" fmla="*/ 483965 h 1184909"/>
                  <a:gd name="connsiteX22" fmla="*/ 155257 w 240029"/>
                  <a:gd name="connsiteY22" fmla="*/ 515398 h 1184909"/>
                  <a:gd name="connsiteX23" fmla="*/ 148590 w 240029"/>
                  <a:gd name="connsiteY23" fmla="*/ 533400 h 1184909"/>
                  <a:gd name="connsiteX24" fmla="*/ 144780 w 240029"/>
                  <a:gd name="connsiteY24" fmla="*/ 568738 h 1184909"/>
                  <a:gd name="connsiteX25" fmla="*/ 126682 w 240029"/>
                  <a:gd name="connsiteY25" fmla="*/ 585788 h 1184909"/>
                  <a:gd name="connsiteX26" fmla="*/ 130492 w 240029"/>
                  <a:gd name="connsiteY26" fmla="*/ 624935 h 1184909"/>
                  <a:gd name="connsiteX27" fmla="*/ 130492 w 240029"/>
                  <a:gd name="connsiteY27" fmla="*/ 652463 h 1184909"/>
                  <a:gd name="connsiteX28" fmla="*/ 109538 w 240029"/>
                  <a:gd name="connsiteY28" fmla="*/ 699135 h 1184909"/>
                  <a:gd name="connsiteX29" fmla="*/ 105727 w 240029"/>
                  <a:gd name="connsiteY29" fmla="*/ 751522 h 1184909"/>
                  <a:gd name="connsiteX30" fmla="*/ 102870 w 240029"/>
                  <a:gd name="connsiteY30" fmla="*/ 772573 h 1184909"/>
                  <a:gd name="connsiteX31" fmla="*/ 99060 w 240029"/>
                  <a:gd name="connsiteY31" fmla="*/ 801148 h 1184909"/>
                  <a:gd name="connsiteX32" fmla="*/ 105727 w 240029"/>
                  <a:gd name="connsiteY32" fmla="*/ 807815 h 1184909"/>
                  <a:gd name="connsiteX33" fmla="*/ 105727 w 240029"/>
                  <a:gd name="connsiteY33" fmla="*/ 842963 h 1184909"/>
                  <a:gd name="connsiteX34" fmla="*/ 113347 w 240029"/>
                  <a:gd name="connsiteY34" fmla="*/ 864965 h 1184909"/>
                  <a:gd name="connsiteX35" fmla="*/ 109538 w 240029"/>
                  <a:gd name="connsiteY35" fmla="*/ 885825 h 1184909"/>
                  <a:gd name="connsiteX36" fmla="*/ 109538 w 240029"/>
                  <a:gd name="connsiteY36" fmla="*/ 931640 h 1184909"/>
                  <a:gd name="connsiteX37" fmla="*/ 95250 w 240029"/>
                  <a:gd name="connsiteY37" fmla="*/ 952595 h 1184909"/>
                  <a:gd name="connsiteX38" fmla="*/ 91440 w 240029"/>
                  <a:gd name="connsiteY38" fmla="*/ 984028 h 1184909"/>
                  <a:gd name="connsiteX39" fmla="*/ 78105 w 240029"/>
                  <a:gd name="connsiteY39" fmla="*/ 1005935 h 1184909"/>
                  <a:gd name="connsiteX40" fmla="*/ 63817 w 240029"/>
                  <a:gd name="connsiteY40" fmla="*/ 1019270 h 1184909"/>
                  <a:gd name="connsiteX41" fmla="*/ 60007 w 240029"/>
                  <a:gd name="connsiteY41" fmla="*/ 1037272 h 1184909"/>
                  <a:gd name="connsiteX42" fmla="*/ 63817 w 240029"/>
                  <a:gd name="connsiteY42" fmla="*/ 1051560 h 1184909"/>
                  <a:gd name="connsiteX43" fmla="*/ 70485 w 240029"/>
                  <a:gd name="connsiteY43" fmla="*/ 1065848 h 1184909"/>
                  <a:gd name="connsiteX44" fmla="*/ 91440 w 240029"/>
                  <a:gd name="connsiteY44" fmla="*/ 1068705 h 1184909"/>
                  <a:gd name="connsiteX45" fmla="*/ 91440 w 240029"/>
                  <a:gd name="connsiteY45" fmla="*/ 1097280 h 1184909"/>
                  <a:gd name="connsiteX46" fmla="*/ 102870 w 240029"/>
                  <a:gd name="connsiteY46" fmla="*/ 1118235 h 1184909"/>
                  <a:gd name="connsiteX47" fmla="*/ 120015 w 240029"/>
                  <a:gd name="connsiteY47" fmla="*/ 1122140 h 1184909"/>
                  <a:gd name="connsiteX48" fmla="*/ 165735 w 240029"/>
                  <a:gd name="connsiteY48" fmla="*/ 1122140 h 1184909"/>
                  <a:gd name="connsiteX49" fmla="*/ 169545 w 240029"/>
                  <a:gd name="connsiteY49" fmla="*/ 1136428 h 1184909"/>
                  <a:gd name="connsiteX50" fmla="*/ 155257 w 240029"/>
                  <a:gd name="connsiteY50" fmla="*/ 1143095 h 1184909"/>
                  <a:gd name="connsiteX51" fmla="*/ 140970 w 240029"/>
                  <a:gd name="connsiteY51" fmla="*/ 1146810 h 1184909"/>
                  <a:gd name="connsiteX52" fmla="*/ 130492 w 240029"/>
                  <a:gd name="connsiteY52" fmla="*/ 1157383 h 1184909"/>
                  <a:gd name="connsiteX53" fmla="*/ 130492 w 240029"/>
                  <a:gd name="connsiteY53" fmla="*/ 1174528 h 1184909"/>
                  <a:gd name="connsiteX54" fmla="*/ 126682 w 240029"/>
                  <a:gd name="connsiteY54" fmla="*/ 1184910 h 1184909"/>
                  <a:gd name="connsiteX55" fmla="*/ 113347 w 240029"/>
                  <a:gd name="connsiteY55" fmla="*/ 1184910 h 1184909"/>
                  <a:gd name="connsiteX56" fmla="*/ 102870 w 240029"/>
                  <a:gd name="connsiteY56" fmla="*/ 1178243 h 1184909"/>
                  <a:gd name="connsiteX57" fmla="*/ 105727 w 240029"/>
                  <a:gd name="connsiteY57" fmla="*/ 1171670 h 1184909"/>
                  <a:gd name="connsiteX58" fmla="*/ 116205 w 240029"/>
                  <a:gd name="connsiteY58" fmla="*/ 1163955 h 1184909"/>
                  <a:gd name="connsiteX59" fmla="*/ 123825 w 240029"/>
                  <a:gd name="connsiteY59" fmla="*/ 1149668 h 1184909"/>
                  <a:gd name="connsiteX60" fmla="*/ 113347 w 240029"/>
                  <a:gd name="connsiteY60" fmla="*/ 1143095 h 1184909"/>
                  <a:gd name="connsiteX61" fmla="*/ 99060 w 240029"/>
                  <a:gd name="connsiteY61" fmla="*/ 1153573 h 1184909"/>
                  <a:gd name="connsiteX62" fmla="*/ 91440 w 240029"/>
                  <a:gd name="connsiteY62" fmla="*/ 1167860 h 1184909"/>
                  <a:gd name="connsiteX63" fmla="*/ 78105 w 240029"/>
                  <a:gd name="connsiteY63" fmla="*/ 1163955 h 1184909"/>
                  <a:gd name="connsiteX64" fmla="*/ 67627 w 240029"/>
                  <a:gd name="connsiteY64" fmla="*/ 1153573 h 1184909"/>
                  <a:gd name="connsiteX65" fmla="*/ 80963 w 240029"/>
                  <a:gd name="connsiteY65" fmla="*/ 1143095 h 1184909"/>
                  <a:gd name="connsiteX66" fmla="*/ 84772 w 240029"/>
                  <a:gd name="connsiteY66" fmla="*/ 1136428 h 1184909"/>
                  <a:gd name="connsiteX67" fmla="*/ 80963 w 240029"/>
                  <a:gd name="connsiteY67" fmla="*/ 1128808 h 1184909"/>
                  <a:gd name="connsiteX68" fmla="*/ 67627 w 240029"/>
                  <a:gd name="connsiteY68" fmla="*/ 1139285 h 1184909"/>
                  <a:gd name="connsiteX69" fmla="*/ 49530 w 240029"/>
                  <a:gd name="connsiteY69" fmla="*/ 1139285 h 1184909"/>
                  <a:gd name="connsiteX70" fmla="*/ 53340 w 240029"/>
                  <a:gd name="connsiteY70" fmla="*/ 1124998 h 1184909"/>
                  <a:gd name="connsiteX71" fmla="*/ 74295 w 240029"/>
                  <a:gd name="connsiteY71" fmla="*/ 1114520 h 1184909"/>
                  <a:gd name="connsiteX72" fmla="*/ 74295 w 240029"/>
                  <a:gd name="connsiteY72" fmla="*/ 1107853 h 1184909"/>
                  <a:gd name="connsiteX73" fmla="*/ 60007 w 240029"/>
                  <a:gd name="connsiteY73" fmla="*/ 1111568 h 1184909"/>
                  <a:gd name="connsiteX74" fmla="*/ 45720 w 240029"/>
                  <a:gd name="connsiteY74" fmla="*/ 1111568 h 1184909"/>
                  <a:gd name="connsiteX75" fmla="*/ 49530 w 240029"/>
                  <a:gd name="connsiteY75" fmla="*/ 1097280 h 1184909"/>
                  <a:gd name="connsiteX76" fmla="*/ 39052 w 240029"/>
                  <a:gd name="connsiteY76" fmla="*/ 1089660 h 1184909"/>
                  <a:gd name="connsiteX77" fmla="*/ 35242 w 240029"/>
                  <a:gd name="connsiteY77" fmla="*/ 1068705 h 1184909"/>
                  <a:gd name="connsiteX78" fmla="*/ 35242 w 240029"/>
                  <a:gd name="connsiteY78" fmla="*/ 1062133 h 1184909"/>
                  <a:gd name="connsiteX79" fmla="*/ 35242 w 240029"/>
                  <a:gd name="connsiteY79" fmla="*/ 1047845 h 1184909"/>
                  <a:gd name="connsiteX80" fmla="*/ 28575 w 240029"/>
                  <a:gd name="connsiteY80" fmla="*/ 1041178 h 1184909"/>
                  <a:gd name="connsiteX81" fmla="*/ 18097 w 240029"/>
                  <a:gd name="connsiteY81" fmla="*/ 1026890 h 1184909"/>
                  <a:gd name="connsiteX82" fmla="*/ 10477 w 240029"/>
                  <a:gd name="connsiteY82" fmla="*/ 1012603 h 1184909"/>
                  <a:gd name="connsiteX83" fmla="*/ 14288 w 240029"/>
                  <a:gd name="connsiteY83" fmla="*/ 984028 h 1184909"/>
                  <a:gd name="connsiteX84" fmla="*/ 24765 w 240029"/>
                  <a:gd name="connsiteY84" fmla="*/ 984028 h 1184909"/>
                  <a:gd name="connsiteX85" fmla="*/ 28575 w 240029"/>
                  <a:gd name="connsiteY85" fmla="*/ 987743 h 1184909"/>
                  <a:gd name="connsiteX86" fmla="*/ 32385 w 240029"/>
                  <a:gd name="connsiteY86" fmla="*/ 1002030 h 1184909"/>
                  <a:gd name="connsiteX87" fmla="*/ 42863 w 240029"/>
                  <a:gd name="connsiteY87" fmla="*/ 998315 h 1184909"/>
                  <a:gd name="connsiteX88" fmla="*/ 42863 w 240029"/>
                  <a:gd name="connsiteY88" fmla="*/ 981170 h 1184909"/>
                  <a:gd name="connsiteX89" fmla="*/ 49530 w 240029"/>
                  <a:gd name="connsiteY89" fmla="*/ 981170 h 1184909"/>
                  <a:gd name="connsiteX90" fmla="*/ 56197 w 240029"/>
                  <a:gd name="connsiteY90" fmla="*/ 977360 h 1184909"/>
                  <a:gd name="connsiteX91" fmla="*/ 56197 w 240029"/>
                  <a:gd name="connsiteY91" fmla="*/ 963073 h 1184909"/>
                  <a:gd name="connsiteX92" fmla="*/ 49530 w 240029"/>
                  <a:gd name="connsiteY92" fmla="*/ 966883 h 1184909"/>
                  <a:gd name="connsiteX93" fmla="*/ 35242 w 240029"/>
                  <a:gd name="connsiteY93" fmla="*/ 970597 h 1184909"/>
                  <a:gd name="connsiteX94" fmla="*/ 32385 w 240029"/>
                  <a:gd name="connsiteY94" fmla="*/ 959168 h 1184909"/>
                  <a:gd name="connsiteX95" fmla="*/ 32385 w 240029"/>
                  <a:gd name="connsiteY95" fmla="*/ 945928 h 1184909"/>
                  <a:gd name="connsiteX96" fmla="*/ 42863 w 240029"/>
                  <a:gd name="connsiteY96" fmla="*/ 942022 h 1184909"/>
                  <a:gd name="connsiteX97" fmla="*/ 42863 w 240029"/>
                  <a:gd name="connsiteY97" fmla="*/ 935450 h 1184909"/>
                  <a:gd name="connsiteX98" fmla="*/ 28575 w 240029"/>
                  <a:gd name="connsiteY98" fmla="*/ 935450 h 1184909"/>
                  <a:gd name="connsiteX99" fmla="*/ 0 w 240029"/>
                  <a:gd name="connsiteY99" fmla="*/ 935450 h 1184909"/>
                  <a:gd name="connsiteX100" fmla="*/ 10477 w 240029"/>
                  <a:gd name="connsiteY100" fmla="*/ 921163 h 1184909"/>
                  <a:gd name="connsiteX101" fmla="*/ 18097 w 240029"/>
                  <a:gd name="connsiteY101" fmla="*/ 906875 h 1184909"/>
                  <a:gd name="connsiteX102" fmla="*/ 28575 w 240029"/>
                  <a:gd name="connsiteY102" fmla="*/ 892588 h 1184909"/>
                  <a:gd name="connsiteX103" fmla="*/ 39052 w 240029"/>
                  <a:gd name="connsiteY103" fmla="*/ 885825 h 1184909"/>
                  <a:gd name="connsiteX104" fmla="*/ 42863 w 240029"/>
                  <a:gd name="connsiteY104" fmla="*/ 892588 h 1184909"/>
                  <a:gd name="connsiteX105" fmla="*/ 49530 w 240029"/>
                  <a:gd name="connsiteY105" fmla="*/ 913447 h 1184909"/>
                  <a:gd name="connsiteX106" fmla="*/ 63817 w 240029"/>
                  <a:gd name="connsiteY106" fmla="*/ 896398 h 1184909"/>
                  <a:gd name="connsiteX107" fmla="*/ 74295 w 240029"/>
                  <a:gd name="connsiteY107" fmla="*/ 871538 h 1184909"/>
                  <a:gd name="connsiteX108" fmla="*/ 70485 w 240029"/>
                  <a:gd name="connsiteY108" fmla="*/ 853535 h 1184909"/>
                  <a:gd name="connsiteX109" fmla="*/ 67627 w 240029"/>
                  <a:gd name="connsiteY109" fmla="*/ 832485 h 1184909"/>
                  <a:gd name="connsiteX110" fmla="*/ 78105 w 240029"/>
                  <a:gd name="connsiteY110" fmla="*/ 815435 h 1184909"/>
                  <a:gd name="connsiteX111" fmla="*/ 74295 w 240029"/>
                  <a:gd name="connsiteY111" fmla="*/ 797338 h 1184909"/>
                  <a:gd name="connsiteX112" fmla="*/ 78105 w 240029"/>
                  <a:gd name="connsiteY112" fmla="*/ 786860 h 1184909"/>
                  <a:gd name="connsiteX113" fmla="*/ 80963 w 240029"/>
                  <a:gd name="connsiteY113" fmla="*/ 776288 h 1184909"/>
                  <a:gd name="connsiteX114" fmla="*/ 80963 w 240029"/>
                  <a:gd name="connsiteY114" fmla="*/ 755428 h 1184909"/>
                  <a:gd name="connsiteX115" fmla="*/ 70485 w 240029"/>
                  <a:gd name="connsiteY115" fmla="*/ 751522 h 1184909"/>
                  <a:gd name="connsiteX116" fmla="*/ 63817 w 240029"/>
                  <a:gd name="connsiteY116" fmla="*/ 755428 h 1184909"/>
                  <a:gd name="connsiteX117" fmla="*/ 60007 w 240029"/>
                  <a:gd name="connsiteY117" fmla="*/ 772573 h 1184909"/>
                  <a:gd name="connsiteX118" fmla="*/ 56197 w 240029"/>
                  <a:gd name="connsiteY118" fmla="*/ 783050 h 1184909"/>
                  <a:gd name="connsiteX119" fmla="*/ 56197 w 240029"/>
                  <a:gd name="connsiteY119" fmla="*/ 804863 h 1184909"/>
                  <a:gd name="connsiteX120" fmla="*/ 49530 w 240029"/>
                  <a:gd name="connsiteY120" fmla="*/ 815435 h 1184909"/>
                  <a:gd name="connsiteX121" fmla="*/ 39052 w 240029"/>
                  <a:gd name="connsiteY121" fmla="*/ 807815 h 1184909"/>
                  <a:gd name="connsiteX122" fmla="*/ 39052 w 240029"/>
                  <a:gd name="connsiteY122" fmla="*/ 793528 h 1184909"/>
                  <a:gd name="connsiteX123" fmla="*/ 39052 w 240029"/>
                  <a:gd name="connsiteY123" fmla="*/ 772573 h 1184909"/>
                  <a:gd name="connsiteX124" fmla="*/ 45720 w 240029"/>
                  <a:gd name="connsiteY124" fmla="*/ 758285 h 1184909"/>
                  <a:gd name="connsiteX125" fmla="*/ 49530 w 240029"/>
                  <a:gd name="connsiteY125" fmla="*/ 751522 h 1184909"/>
                  <a:gd name="connsiteX126" fmla="*/ 49530 w 240029"/>
                  <a:gd name="connsiteY126" fmla="*/ 734473 h 1184909"/>
                  <a:gd name="connsiteX127" fmla="*/ 53340 w 240029"/>
                  <a:gd name="connsiteY127" fmla="*/ 709613 h 1184909"/>
                  <a:gd name="connsiteX128" fmla="*/ 56197 w 240029"/>
                  <a:gd name="connsiteY128" fmla="*/ 695325 h 1184909"/>
                  <a:gd name="connsiteX129" fmla="*/ 70485 w 240029"/>
                  <a:gd name="connsiteY129" fmla="*/ 681038 h 1184909"/>
                  <a:gd name="connsiteX130" fmla="*/ 63817 w 240029"/>
                  <a:gd name="connsiteY130" fmla="*/ 663035 h 1184909"/>
                  <a:gd name="connsiteX131" fmla="*/ 60007 w 240029"/>
                  <a:gd name="connsiteY131" fmla="*/ 645890 h 1184909"/>
                  <a:gd name="connsiteX132" fmla="*/ 60007 w 240029"/>
                  <a:gd name="connsiteY132" fmla="*/ 631603 h 1184909"/>
                  <a:gd name="connsiteX133" fmla="*/ 56197 w 240029"/>
                  <a:gd name="connsiteY133" fmla="*/ 610648 h 1184909"/>
                  <a:gd name="connsiteX134" fmla="*/ 67627 w 240029"/>
                  <a:gd name="connsiteY134" fmla="*/ 610648 h 1184909"/>
                  <a:gd name="connsiteX135" fmla="*/ 74295 w 240029"/>
                  <a:gd name="connsiteY135" fmla="*/ 585788 h 1184909"/>
                  <a:gd name="connsiteX136" fmla="*/ 84772 w 240029"/>
                  <a:gd name="connsiteY136" fmla="*/ 564928 h 1184909"/>
                  <a:gd name="connsiteX137" fmla="*/ 91440 w 240029"/>
                  <a:gd name="connsiteY137" fmla="*/ 543973 h 1184909"/>
                  <a:gd name="connsiteX138" fmla="*/ 102870 w 240029"/>
                  <a:gd name="connsiteY138" fmla="*/ 515398 h 1184909"/>
                  <a:gd name="connsiteX139" fmla="*/ 105727 w 240029"/>
                  <a:gd name="connsiteY139" fmla="*/ 490538 h 1184909"/>
                  <a:gd name="connsiteX140" fmla="*/ 113347 w 240029"/>
                  <a:gd name="connsiteY140" fmla="*/ 476250 h 1184909"/>
                  <a:gd name="connsiteX141" fmla="*/ 109538 w 240029"/>
                  <a:gd name="connsiteY141" fmla="*/ 409575 h 1184909"/>
                  <a:gd name="connsiteX142" fmla="*/ 109538 w 240029"/>
                  <a:gd name="connsiteY142" fmla="*/ 388715 h 1184909"/>
                  <a:gd name="connsiteX143" fmla="*/ 123825 w 240029"/>
                  <a:gd name="connsiteY143" fmla="*/ 378238 h 1184909"/>
                  <a:gd name="connsiteX144" fmla="*/ 123825 w 240029"/>
                  <a:gd name="connsiteY144" fmla="*/ 363950 h 1184909"/>
                  <a:gd name="connsiteX145" fmla="*/ 116205 w 240029"/>
                  <a:gd name="connsiteY145" fmla="*/ 353473 h 1184909"/>
                  <a:gd name="connsiteX146" fmla="*/ 123825 w 240029"/>
                  <a:gd name="connsiteY146" fmla="*/ 342900 h 1184909"/>
                  <a:gd name="connsiteX147" fmla="*/ 130492 w 240029"/>
                  <a:gd name="connsiteY147" fmla="*/ 307753 h 1184909"/>
                  <a:gd name="connsiteX148" fmla="*/ 140970 w 240029"/>
                  <a:gd name="connsiteY148" fmla="*/ 254413 h 1184909"/>
                  <a:gd name="connsiteX149" fmla="*/ 144780 w 240029"/>
                  <a:gd name="connsiteY149" fmla="*/ 173450 h 1184909"/>
                  <a:gd name="connsiteX150" fmla="*/ 155257 w 240029"/>
                  <a:gd name="connsiteY150" fmla="*/ 92488 h 1184909"/>
                  <a:gd name="connsiteX151" fmla="*/ 151447 w 240029"/>
                  <a:gd name="connsiteY151" fmla="*/ 49625 h 1184909"/>
                  <a:gd name="connsiteX152" fmla="*/ 148590 w 240029"/>
                  <a:gd name="connsiteY152" fmla="*/ 32385 h 1184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240029" h="1184909">
                    <a:moveTo>
                      <a:pt x="148590" y="32385"/>
                    </a:moveTo>
                    <a:lnTo>
                      <a:pt x="159067" y="28575"/>
                    </a:lnTo>
                    <a:lnTo>
                      <a:pt x="169545" y="3810"/>
                    </a:lnTo>
                    <a:lnTo>
                      <a:pt x="172402" y="0"/>
                    </a:lnTo>
                    <a:lnTo>
                      <a:pt x="180022" y="22003"/>
                    </a:lnTo>
                    <a:lnTo>
                      <a:pt x="197167" y="67723"/>
                    </a:lnTo>
                    <a:lnTo>
                      <a:pt x="197167" y="99060"/>
                    </a:lnTo>
                    <a:lnTo>
                      <a:pt x="211455" y="120110"/>
                    </a:lnTo>
                    <a:lnTo>
                      <a:pt x="219075" y="144875"/>
                    </a:lnTo>
                    <a:lnTo>
                      <a:pt x="221932" y="169640"/>
                    </a:lnTo>
                    <a:lnTo>
                      <a:pt x="240030" y="169640"/>
                    </a:lnTo>
                    <a:lnTo>
                      <a:pt x="236220" y="190500"/>
                    </a:lnTo>
                    <a:lnTo>
                      <a:pt x="219075" y="212503"/>
                    </a:lnTo>
                    <a:lnTo>
                      <a:pt x="204788" y="219075"/>
                    </a:lnTo>
                    <a:lnTo>
                      <a:pt x="194310" y="229648"/>
                    </a:lnTo>
                    <a:lnTo>
                      <a:pt x="200977" y="282988"/>
                    </a:lnTo>
                    <a:lnTo>
                      <a:pt x="169545" y="328613"/>
                    </a:lnTo>
                    <a:lnTo>
                      <a:pt x="159067" y="349663"/>
                    </a:lnTo>
                    <a:lnTo>
                      <a:pt x="151447" y="391573"/>
                    </a:lnTo>
                    <a:lnTo>
                      <a:pt x="144780" y="413385"/>
                    </a:lnTo>
                    <a:lnTo>
                      <a:pt x="144780" y="441103"/>
                    </a:lnTo>
                    <a:lnTo>
                      <a:pt x="159067" y="483965"/>
                    </a:lnTo>
                    <a:lnTo>
                      <a:pt x="155257" y="515398"/>
                    </a:lnTo>
                    <a:lnTo>
                      <a:pt x="148590" y="533400"/>
                    </a:lnTo>
                    <a:lnTo>
                      <a:pt x="144780" y="568738"/>
                    </a:lnTo>
                    <a:lnTo>
                      <a:pt x="126682" y="585788"/>
                    </a:lnTo>
                    <a:lnTo>
                      <a:pt x="130492" y="624935"/>
                    </a:lnTo>
                    <a:lnTo>
                      <a:pt x="130492" y="652463"/>
                    </a:lnTo>
                    <a:lnTo>
                      <a:pt x="109538" y="699135"/>
                    </a:lnTo>
                    <a:lnTo>
                      <a:pt x="105727" y="751522"/>
                    </a:lnTo>
                    <a:lnTo>
                      <a:pt x="102870" y="772573"/>
                    </a:lnTo>
                    <a:lnTo>
                      <a:pt x="99060" y="801148"/>
                    </a:lnTo>
                    <a:lnTo>
                      <a:pt x="105727" y="807815"/>
                    </a:lnTo>
                    <a:lnTo>
                      <a:pt x="105727" y="842963"/>
                    </a:lnTo>
                    <a:lnTo>
                      <a:pt x="113347" y="864965"/>
                    </a:lnTo>
                    <a:lnTo>
                      <a:pt x="109538" y="885825"/>
                    </a:lnTo>
                    <a:lnTo>
                      <a:pt x="109538" y="931640"/>
                    </a:lnTo>
                    <a:lnTo>
                      <a:pt x="95250" y="952595"/>
                    </a:lnTo>
                    <a:lnTo>
                      <a:pt x="91440" y="984028"/>
                    </a:lnTo>
                    <a:lnTo>
                      <a:pt x="78105" y="1005935"/>
                    </a:lnTo>
                    <a:lnTo>
                      <a:pt x="63817" y="1019270"/>
                    </a:lnTo>
                    <a:lnTo>
                      <a:pt x="60007" y="1037272"/>
                    </a:lnTo>
                    <a:lnTo>
                      <a:pt x="63817" y="1051560"/>
                    </a:lnTo>
                    <a:lnTo>
                      <a:pt x="70485" y="1065848"/>
                    </a:lnTo>
                    <a:lnTo>
                      <a:pt x="91440" y="1068705"/>
                    </a:lnTo>
                    <a:lnTo>
                      <a:pt x="91440" y="1097280"/>
                    </a:lnTo>
                    <a:lnTo>
                      <a:pt x="102870" y="1118235"/>
                    </a:lnTo>
                    <a:lnTo>
                      <a:pt x="120015" y="1122140"/>
                    </a:lnTo>
                    <a:lnTo>
                      <a:pt x="165735" y="1122140"/>
                    </a:lnTo>
                    <a:lnTo>
                      <a:pt x="169545" y="1136428"/>
                    </a:lnTo>
                    <a:lnTo>
                      <a:pt x="155257" y="1143095"/>
                    </a:lnTo>
                    <a:lnTo>
                      <a:pt x="140970" y="1146810"/>
                    </a:lnTo>
                    <a:lnTo>
                      <a:pt x="130492" y="1157383"/>
                    </a:lnTo>
                    <a:lnTo>
                      <a:pt x="130492" y="1174528"/>
                    </a:lnTo>
                    <a:lnTo>
                      <a:pt x="126682" y="1184910"/>
                    </a:lnTo>
                    <a:lnTo>
                      <a:pt x="113347" y="1184910"/>
                    </a:lnTo>
                    <a:lnTo>
                      <a:pt x="102870" y="1178243"/>
                    </a:lnTo>
                    <a:lnTo>
                      <a:pt x="105727" y="1171670"/>
                    </a:lnTo>
                    <a:lnTo>
                      <a:pt x="116205" y="1163955"/>
                    </a:lnTo>
                    <a:lnTo>
                      <a:pt x="123825" y="1149668"/>
                    </a:lnTo>
                    <a:lnTo>
                      <a:pt x="113347" y="1143095"/>
                    </a:lnTo>
                    <a:lnTo>
                      <a:pt x="99060" y="1153573"/>
                    </a:lnTo>
                    <a:lnTo>
                      <a:pt x="91440" y="1167860"/>
                    </a:lnTo>
                    <a:lnTo>
                      <a:pt x="78105" y="1163955"/>
                    </a:lnTo>
                    <a:lnTo>
                      <a:pt x="67627" y="1153573"/>
                    </a:lnTo>
                    <a:lnTo>
                      <a:pt x="80963" y="1143095"/>
                    </a:lnTo>
                    <a:lnTo>
                      <a:pt x="84772" y="1136428"/>
                    </a:lnTo>
                    <a:lnTo>
                      <a:pt x="80963" y="1128808"/>
                    </a:lnTo>
                    <a:lnTo>
                      <a:pt x="67627" y="1139285"/>
                    </a:lnTo>
                    <a:lnTo>
                      <a:pt x="49530" y="1139285"/>
                    </a:lnTo>
                    <a:lnTo>
                      <a:pt x="53340" y="1124998"/>
                    </a:lnTo>
                    <a:lnTo>
                      <a:pt x="74295" y="1114520"/>
                    </a:lnTo>
                    <a:lnTo>
                      <a:pt x="74295" y="1107853"/>
                    </a:lnTo>
                    <a:lnTo>
                      <a:pt x="60007" y="1111568"/>
                    </a:lnTo>
                    <a:lnTo>
                      <a:pt x="45720" y="1111568"/>
                    </a:lnTo>
                    <a:lnTo>
                      <a:pt x="49530" y="1097280"/>
                    </a:lnTo>
                    <a:lnTo>
                      <a:pt x="39052" y="1089660"/>
                    </a:lnTo>
                    <a:lnTo>
                      <a:pt x="35242" y="1068705"/>
                    </a:lnTo>
                    <a:lnTo>
                      <a:pt x="35242" y="1062133"/>
                    </a:lnTo>
                    <a:lnTo>
                      <a:pt x="35242" y="1047845"/>
                    </a:lnTo>
                    <a:lnTo>
                      <a:pt x="28575" y="1041178"/>
                    </a:lnTo>
                    <a:lnTo>
                      <a:pt x="18097" y="1026890"/>
                    </a:lnTo>
                    <a:lnTo>
                      <a:pt x="10477" y="1012603"/>
                    </a:lnTo>
                    <a:lnTo>
                      <a:pt x="14288" y="984028"/>
                    </a:lnTo>
                    <a:lnTo>
                      <a:pt x="24765" y="984028"/>
                    </a:lnTo>
                    <a:lnTo>
                      <a:pt x="28575" y="987743"/>
                    </a:lnTo>
                    <a:lnTo>
                      <a:pt x="32385" y="1002030"/>
                    </a:lnTo>
                    <a:lnTo>
                      <a:pt x="42863" y="998315"/>
                    </a:lnTo>
                    <a:lnTo>
                      <a:pt x="42863" y="981170"/>
                    </a:lnTo>
                    <a:lnTo>
                      <a:pt x="49530" y="981170"/>
                    </a:lnTo>
                    <a:lnTo>
                      <a:pt x="56197" y="977360"/>
                    </a:lnTo>
                    <a:lnTo>
                      <a:pt x="56197" y="963073"/>
                    </a:lnTo>
                    <a:lnTo>
                      <a:pt x="49530" y="966883"/>
                    </a:lnTo>
                    <a:lnTo>
                      <a:pt x="35242" y="970597"/>
                    </a:lnTo>
                    <a:lnTo>
                      <a:pt x="32385" y="959168"/>
                    </a:lnTo>
                    <a:lnTo>
                      <a:pt x="32385" y="945928"/>
                    </a:lnTo>
                    <a:lnTo>
                      <a:pt x="42863" y="942022"/>
                    </a:lnTo>
                    <a:lnTo>
                      <a:pt x="42863" y="935450"/>
                    </a:lnTo>
                    <a:lnTo>
                      <a:pt x="28575" y="935450"/>
                    </a:lnTo>
                    <a:lnTo>
                      <a:pt x="0" y="935450"/>
                    </a:lnTo>
                    <a:lnTo>
                      <a:pt x="10477" y="921163"/>
                    </a:lnTo>
                    <a:lnTo>
                      <a:pt x="18097" y="906875"/>
                    </a:lnTo>
                    <a:lnTo>
                      <a:pt x="28575" y="892588"/>
                    </a:lnTo>
                    <a:lnTo>
                      <a:pt x="39052" y="885825"/>
                    </a:lnTo>
                    <a:lnTo>
                      <a:pt x="42863" y="892588"/>
                    </a:lnTo>
                    <a:lnTo>
                      <a:pt x="49530" y="913447"/>
                    </a:lnTo>
                    <a:lnTo>
                      <a:pt x="63817" y="896398"/>
                    </a:lnTo>
                    <a:lnTo>
                      <a:pt x="74295" y="871538"/>
                    </a:lnTo>
                    <a:lnTo>
                      <a:pt x="70485" y="853535"/>
                    </a:lnTo>
                    <a:lnTo>
                      <a:pt x="67627" y="832485"/>
                    </a:lnTo>
                    <a:lnTo>
                      <a:pt x="78105" y="815435"/>
                    </a:lnTo>
                    <a:lnTo>
                      <a:pt x="74295" y="797338"/>
                    </a:lnTo>
                    <a:lnTo>
                      <a:pt x="78105" y="786860"/>
                    </a:lnTo>
                    <a:lnTo>
                      <a:pt x="80963" y="776288"/>
                    </a:lnTo>
                    <a:lnTo>
                      <a:pt x="80963" y="755428"/>
                    </a:lnTo>
                    <a:lnTo>
                      <a:pt x="70485" y="751522"/>
                    </a:lnTo>
                    <a:lnTo>
                      <a:pt x="63817" y="755428"/>
                    </a:lnTo>
                    <a:lnTo>
                      <a:pt x="60007" y="772573"/>
                    </a:lnTo>
                    <a:lnTo>
                      <a:pt x="56197" y="783050"/>
                    </a:lnTo>
                    <a:lnTo>
                      <a:pt x="56197" y="804863"/>
                    </a:lnTo>
                    <a:lnTo>
                      <a:pt x="49530" y="815435"/>
                    </a:lnTo>
                    <a:lnTo>
                      <a:pt x="39052" y="807815"/>
                    </a:lnTo>
                    <a:lnTo>
                      <a:pt x="39052" y="793528"/>
                    </a:lnTo>
                    <a:lnTo>
                      <a:pt x="39052" y="772573"/>
                    </a:lnTo>
                    <a:lnTo>
                      <a:pt x="45720" y="758285"/>
                    </a:lnTo>
                    <a:lnTo>
                      <a:pt x="49530" y="751522"/>
                    </a:lnTo>
                    <a:lnTo>
                      <a:pt x="49530" y="734473"/>
                    </a:lnTo>
                    <a:lnTo>
                      <a:pt x="53340" y="709613"/>
                    </a:lnTo>
                    <a:lnTo>
                      <a:pt x="56197" y="695325"/>
                    </a:lnTo>
                    <a:lnTo>
                      <a:pt x="70485" y="681038"/>
                    </a:lnTo>
                    <a:lnTo>
                      <a:pt x="63817" y="663035"/>
                    </a:lnTo>
                    <a:lnTo>
                      <a:pt x="60007" y="645890"/>
                    </a:lnTo>
                    <a:lnTo>
                      <a:pt x="60007" y="631603"/>
                    </a:lnTo>
                    <a:lnTo>
                      <a:pt x="56197" y="610648"/>
                    </a:lnTo>
                    <a:lnTo>
                      <a:pt x="67627" y="610648"/>
                    </a:lnTo>
                    <a:lnTo>
                      <a:pt x="74295" y="585788"/>
                    </a:lnTo>
                    <a:lnTo>
                      <a:pt x="84772" y="564928"/>
                    </a:lnTo>
                    <a:lnTo>
                      <a:pt x="91440" y="543973"/>
                    </a:lnTo>
                    <a:lnTo>
                      <a:pt x="102870" y="515398"/>
                    </a:lnTo>
                    <a:lnTo>
                      <a:pt x="105727" y="490538"/>
                    </a:lnTo>
                    <a:lnTo>
                      <a:pt x="113347" y="476250"/>
                    </a:lnTo>
                    <a:lnTo>
                      <a:pt x="109538" y="409575"/>
                    </a:lnTo>
                    <a:lnTo>
                      <a:pt x="109538" y="388715"/>
                    </a:lnTo>
                    <a:lnTo>
                      <a:pt x="123825" y="378238"/>
                    </a:lnTo>
                    <a:lnTo>
                      <a:pt x="123825" y="363950"/>
                    </a:lnTo>
                    <a:lnTo>
                      <a:pt x="116205" y="353473"/>
                    </a:lnTo>
                    <a:lnTo>
                      <a:pt x="123825" y="342900"/>
                    </a:lnTo>
                    <a:lnTo>
                      <a:pt x="130492" y="307753"/>
                    </a:lnTo>
                    <a:lnTo>
                      <a:pt x="140970" y="254413"/>
                    </a:lnTo>
                    <a:lnTo>
                      <a:pt x="144780" y="173450"/>
                    </a:lnTo>
                    <a:lnTo>
                      <a:pt x="155257" y="92488"/>
                    </a:lnTo>
                    <a:lnTo>
                      <a:pt x="151447" y="49625"/>
                    </a:lnTo>
                    <a:lnTo>
                      <a:pt x="148590" y="3238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8A970E37-8DB5-C4A4-D1C1-899BFECCC6A6}"/>
                  </a:ext>
                </a:extLst>
              </p:cNvPr>
              <p:cNvSpPr/>
              <p:nvPr/>
            </p:nvSpPr>
            <p:spPr>
              <a:xfrm>
                <a:off x="3924719" y="5020782"/>
                <a:ext cx="235298" cy="1161562"/>
              </a:xfrm>
              <a:custGeom>
                <a:avLst/>
                <a:gdLst>
                  <a:gd name="connsiteX0" fmla="*/ 148590 w 240029"/>
                  <a:gd name="connsiteY0" fmla="*/ 32385 h 1184909"/>
                  <a:gd name="connsiteX1" fmla="*/ 159067 w 240029"/>
                  <a:gd name="connsiteY1" fmla="*/ 28575 h 1184909"/>
                  <a:gd name="connsiteX2" fmla="*/ 169545 w 240029"/>
                  <a:gd name="connsiteY2" fmla="*/ 3810 h 1184909"/>
                  <a:gd name="connsiteX3" fmla="*/ 172402 w 240029"/>
                  <a:gd name="connsiteY3" fmla="*/ 0 h 1184909"/>
                  <a:gd name="connsiteX4" fmla="*/ 180022 w 240029"/>
                  <a:gd name="connsiteY4" fmla="*/ 22003 h 1184909"/>
                  <a:gd name="connsiteX5" fmla="*/ 197167 w 240029"/>
                  <a:gd name="connsiteY5" fmla="*/ 67723 h 1184909"/>
                  <a:gd name="connsiteX6" fmla="*/ 197167 w 240029"/>
                  <a:gd name="connsiteY6" fmla="*/ 99060 h 1184909"/>
                  <a:gd name="connsiteX7" fmla="*/ 211455 w 240029"/>
                  <a:gd name="connsiteY7" fmla="*/ 120110 h 1184909"/>
                  <a:gd name="connsiteX8" fmla="*/ 219075 w 240029"/>
                  <a:gd name="connsiteY8" fmla="*/ 144875 h 1184909"/>
                  <a:gd name="connsiteX9" fmla="*/ 221932 w 240029"/>
                  <a:gd name="connsiteY9" fmla="*/ 169640 h 1184909"/>
                  <a:gd name="connsiteX10" fmla="*/ 240030 w 240029"/>
                  <a:gd name="connsiteY10" fmla="*/ 169640 h 1184909"/>
                  <a:gd name="connsiteX11" fmla="*/ 236220 w 240029"/>
                  <a:gd name="connsiteY11" fmla="*/ 190500 h 1184909"/>
                  <a:gd name="connsiteX12" fmla="*/ 219075 w 240029"/>
                  <a:gd name="connsiteY12" fmla="*/ 212503 h 1184909"/>
                  <a:gd name="connsiteX13" fmla="*/ 204788 w 240029"/>
                  <a:gd name="connsiteY13" fmla="*/ 219075 h 1184909"/>
                  <a:gd name="connsiteX14" fmla="*/ 194310 w 240029"/>
                  <a:gd name="connsiteY14" fmla="*/ 229648 h 1184909"/>
                  <a:gd name="connsiteX15" fmla="*/ 200977 w 240029"/>
                  <a:gd name="connsiteY15" fmla="*/ 282988 h 1184909"/>
                  <a:gd name="connsiteX16" fmla="*/ 169545 w 240029"/>
                  <a:gd name="connsiteY16" fmla="*/ 328613 h 1184909"/>
                  <a:gd name="connsiteX17" fmla="*/ 159067 w 240029"/>
                  <a:gd name="connsiteY17" fmla="*/ 349663 h 1184909"/>
                  <a:gd name="connsiteX18" fmla="*/ 151447 w 240029"/>
                  <a:gd name="connsiteY18" fmla="*/ 391573 h 1184909"/>
                  <a:gd name="connsiteX19" fmla="*/ 144780 w 240029"/>
                  <a:gd name="connsiteY19" fmla="*/ 413385 h 1184909"/>
                  <a:gd name="connsiteX20" fmla="*/ 144780 w 240029"/>
                  <a:gd name="connsiteY20" fmla="*/ 441103 h 1184909"/>
                  <a:gd name="connsiteX21" fmla="*/ 159067 w 240029"/>
                  <a:gd name="connsiteY21" fmla="*/ 483965 h 1184909"/>
                  <a:gd name="connsiteX22" fmla="*/ 155257 w 240029"/>
                  <a:gd name="connsiteY22" fmla="*/ 515398 h 1184909"/>
                  <a:gd name="connsiteX23" fmla="*/ 148590 w 240029"/>
                  <a:gd name="connsiteY23" fmla="*/ 533400 h 1184909"/>
                  <a:gd name="connsiteX24" fmla="*/ 144780 w 240029"/>
                  <a:gd name="connsiteY24" fmla="*/ 568738 h 1184909"/>
                  <a:gd name="connsiteX25" fmla="*/ 126682 w 240029"/>
                  <a:gd name="connsiteY25" fmla="*/ 585788 h 1184909"/>
                  <a:gd name="connsiteX26" fmla="*/ 130492 w 240029"/>
                  <a:gd name="connsiteY26" fmla="*/ 624935 h 1184909"/>
                  <a:gd name="connsiteX27" fmla="*/ 130492 w 240029"/>
                  <a:gd name="connsiteY27" fmla="*/ 652463 h 1184909"/>
                  <a:gd name="connsiteX28" fmla="*/ 109538 w 240029"/>
                  <a:gd name="connsiteY28" fmla="*/ 699135 h 1184909"/>
                  <a:gd name="connsiteX29" fmla="*/ 105727 w 240029"/>
                  <a:gd name="connsiteY29" fmla="*/ 751522 h 1184909"/>
                  <a:gd name="connsiteX30" fmla="*/ 102870 w 240029"/>
                  <a:gd name="connsiteY30" fmla="*/ 772573 h 1184909"/>
                  <a:gd name="connsiteX31" fmla="*/ 99060 w 240029"/>
                  <a:gd name="connsiteY31" fmla="*/ 801148 h 1184909"/>
                  <a:gd name="connsiteX32" fmla="*/ 105727 w 240029"/>
                  <a:gd name="connsiteY32" fmla="*/ 807815 h 1184909"/>
                  <a:gd name="connsiteX33" fmla="*/ 105727 w 240029"/>
                  <a:gd name="connsiteY33" fmla="*/ 842963 h 1184909"/>
                  <a:gd name="connsiteX34" fmla="*/ 113347 w 240029"/>
                  <a:gd name="connsiteY34" fmla="*/ 864965 h 1184909"/>
                  <a:gd name="connsiteX35" fmla="*/ 109538 w 240029"/>
                  <a:gd name="connsiteY35" fmla="*/ 885825 h 1184909"/>
                  <a:gd name="connsiteX36" fmla="*/ 109538 w 240029"/>
                  <a:gd name="connsiteY36" fmla="*/ 931640 h 1184909"/>
                  <a:gd name="connsiteX37" fmla="*/ 95250 w 240029"/>
                  <a:gd name="connsiteY37" fmla="*/ 952595 h 1184909"/>
                  <a:gd name="connsiteX38" fmla="*/ 91440 w 240029"/>
                  <a:gd name="connsiteY38" fmla="*/ 984028 h 1184909"/>
                  <a:gd name="connsiteX39" fmla="*/ 78105 w 240029"/>
                  <a:gd name="connsiteY39" fmla="*/ 1005935 h 1184909"/>
                  <a:gd name="connsiteX40" fmla="*/ 63817 w 240029"/>
                  <a:gd name="connsiteY40" fmla="*/ 1019270 h 1184909"/>
                  <a:gd name="connsiteX41" fmla="*/ 60007 w 240029"/>
                  <a:gd name="connsiteY41" fmla="*/ 1037272 h 1184909"/>
                  <a:gd name="connsiteX42" fmla="*/ 63817 w 240029"/>
                  <a:gd name="connsiteY42" fmla="*/ 1051560 h 1184909"/>
                  <a:gd name="connsiteX43" fmla="*/ 70485 w 240029"/>
                  <a:gd name="connsiteY43" fmla="*/ 1065848 h 1184909"/>
                  <a:gd name="connsiteX44" fmla="*/ 91440 w 240029"/>
                  <a:gd name="connsiteY44" fmla="*/ 1068705 h 1184909"/>
                  <a:gd name="connsiteX45" fmla="*/ 91440 w 240029"/>
                  <a:gd name="connsiteY45" fmla="*/ 1097280 h 1184909"/>
                  <a:gd name="connsiteX46" fmla="*/ 102870 w 240029"/>
                  <a:gd name="connsiteY46" fmla="*/ 1118235 h 1184909"/>
                  <a:gd name="connsiteX47" fmla="*/ 120015 w 240029"/>
                  <a:gd name="connsiteY47" fmla="*/ 1122140 h 1184909"/>
                  <a:gd name="connsiteX48" fmla="*/ 165735 w 240029"/>
                  <a:gd name="connsiteY48" fmla="*/ 1122140 h 1184909"/>
                  <a:gd name="connsiteX49" fmla="*/ 169545 w 240029"/>
                  <a:gd name="connsiteY49" fmla="*/ 1136428 h 1184909"/>
                  <a:gd name="connsiteX50" fmla="*/ 155257 w 240029"/>
                  <a:gd name="connsiteY50" fmla="*/ 1143095 h 1184909"/>
                  <a:gd name="connsiteX51" fmla="*/ 140970 w 240029"/>
                  <a:gd name="connsiteY51" fmla="*/ 1146810 h 1184909"/>
                  <a:gd name="connsiteX52" fmla="*/ 130492 w 240029"/>
                  <a:gd name="connsiteY52" fmla="*/ 1157383 h 1184909"/>
                  <a:gd name="connsiteX53" fmla="*/ 130492 w 240029"/>
                  <a:gd name="connsiteY53" fmla="*/ 1174528 h 1184909"/>
                  <a:gd name="connsiteX54" fmla="*/ 126682 w 240029"/>
                  <a:gd name="connsiteY54" fmla="*/ 1184910 h 1184909"/>
                  <a:gd name="connsiteX55" fmla="*/ 113347 w 240029"/>
                  <a:gd name="connsiteY55" fmla="*/ 1184910 h 1184909"/>
                  <a:gd name="connsiteX56" fmla="*/ 102870 w 240029"/>
                  <a:gd name="connsiteY56" fmla="*/ 1178243 h 1184909"/>
                  <a:gd name="connsiteX57" fmla="*/ 105727 w 240029"/>
                  <a:gd name="connsiteY57" fmla="*/ 1171670 h 1184909"/>
                  <a:gd name="connsiteX58" fmla="*/ 116205 w 240029"/>
                  <a:gd name="connsiteY58" fmla="*/ 1163955 h 1184909"/>
                  <a:gd name="connsiteX59" fmla="*/ 123825 w 240029"/>
                  <a:gd name="connsiteY59" fmla="*/ 1149668 h 1184909"/>
                  <a:gd name="connsiteX60" fmla="*/ 113347 w 240029"/>
                  <a:gd name="connsiteY60" fmla="*/ 1143095 h 1184909"/>
                  <a:gd name="connsiteX61" fmla="*/ 99060 w 240029"/>
                  <a:gd name="connsiteY61" fmla="*/ 1153573 h 1184909"/>
                  <a:gd name="connsiteX62" fmla="*/ 91440 w 240029"/>
                  <a:gd name="connsiteY62" fmla="*/ 1167860 h 1184909"/>
                  <a:gd name="connsiteX63" fmla="*/ 78105 w 240029"/>
                  <a:gd name="connsiteY63" fmla="*/ 1163955 h 1184909"/>
                  <a:gd name="connsiteX64" fmla="*/ 67627 w 240029"/>
                  <a:gd name="connsiteY64" fmla="*/ 1153573 h 1184909"/>
                  <a:gd name="connsiteX65" fmla="*/ 80963 w 240029"/>
                  <a:gd name="connsiteY65" fmla="*/ 1143095 h 1184909"/>
                  <a:gd name="connsiteX66" fmla="*/ 84772 w 240029"/>
                  <a:gd name="connsiteY66" fmla="*/ 1136428 h 1184909"/>
                  <a:gd name="connsiteX67" fmla="*/ 80963 w 240029"/>
                  <a:gd name="connsiteY67" fmla="*/ 1128808 h 1184909"/>
                  <a:gd name="connsiteX68" fmla="*/ 67627 w 240029"/>
                  <a:gd name="connsiteY68" fmla="*/ 1139285 h 1184909"/>
                  <a:gd name="connsiteX69" fmla="*/ 49530 w 240029"/>
                  <a:gd name="connsiteY69" fmla="*/ 1139285 h 1184909"/>
                  <a:gd name="connsiteX70" fmla="*/ 53340 w 240029"/>
                  <a:gd name="connsiteY70" fmla="*/ 1124998 h 1184909"/>
                  <a:gd name="connsiteX71" fmla="*/ 74295 w 240029"/>
                  <a:gd name="connsiteY71" fmla="*/ 1114520 h 1184909"/>
                  <a:gd name="connsiteX72" fmla="*/ 74295 w 240029"/>
                  <a:gd name="connsiteY72" fmla="*/ 1107853 h 1184909"/>
                  <a:gd name="connsiteX73" fmla="*/ 60007 w 240029"/>
                  <a:gd name="connsiteY73" fmla="*/ 1111568 h 1184909"/>
                  <a:gd name="connsiteX74" fmla="*/ 45720 w 240029"/>
                  <a:gd name="connsiteY74" fmla="*/ 1111568 h 1184909"/>
                  <a:gd name="connsiteX75" fmla="*/ 49530 w 240029"/>
                  <a:gd name="connsiteY75" fmla="*/ 1097280 h 1184909"/>
                  <a:gd name="connsiteX76" fmla="*/ 39052 w 240029"/>
                  <a:gd name="connsiteY76" fmla="*/ 1089660 h 1184909"/>
                  <a:gd name="connsiteX77" fmla="*/ 35242 w 240029"/>
                  <a:gd name="connsiteY77" fmla="*/ 1068705 h 1184909"/>
                  <a:gd name="connsiteX78" fmla="*/ 35242 w 240029"/>
                  <a:gd name="connsiteY78" fmla="*/ 1062133 h 1184909"/>
                  <a:gd name="connsiteX79" fmla="*/ 35242 w 240029"/>
                  <a:gd name="connsiteY79" fmla="*/ 1047845 h 1184909"/>
                  <a:gd name="connsiteX80" fmla="*/ 28575 w 240029"/>
                  <a:gd name="connsiteY80" fmla="*/ 1041178 h 1184909"/>
                  <a:gd name="connsiteX81" fmla="*/ 18097 w 240029"/>
                  <a:gd name="connsiteY81" fmla="*/ 1026890 h 1184909"/>
                  <a:gd name="connsiteX82" fmla="*/ 10477 w 240029"/>
                  <a:gd name="connsiteY82" fmla="*/ 1012603 h 1184909"/>
                  <a:gd name="connsiteX83" fmla="*/ 14288 w 240029"/>
                  <a:gd name="connsiteY83" fmla="*/ 984028 h 1184909"/>
                  <a:gd name="connsiteX84" fmla="*/ 24765 w 240029"/>
                  <a:gd name="connsiteY84" fmla="*/ 984028 h 1184909"/>
                  <a:gd name="connsiteX85" fmla="*/ 28575 w 240029"/>
                  <a:gd name="connsiteY85" fmla="*/ 987743 h 1184909"/>
                  <a:gd name="connsiteX86" fmla="*/ 32385 w 240029"/>
                  <a:gd name="connsiteY86" fmla="*/ 1002030 h 1184909"/>
                  <a:gd name="connsiteX87" fmla="*/ 42863 w 240029"/>
                  <a:gd name="connsiteY87" fmla="*/ 998315 h 1184909"/>
                  <a:gd name="connsiteX88" fmla="*/ 42863 w 240029"/>
                  <a:gd name="connsiteY88" fmla="*/ 981170 h 1184909"/>
                  <a:gd name="connsiteX89" fmla="*/ 49530 w 240029"/>
                  <a:gd name="connsiteY89" fmla="*/ 981170 h 1184909"/>
                  <a:gd name="connsiteX90" fmla="*/ 56197 w 240029"/>
                  <a:gd name="connsiteY90" fmla="*/ 977360 h 1184909"/>
                  <a:gd name="connsiteX91" fmla="*/ 56197 w 240029"/>
                  <a:gd name="connsiteY91" fmla="*/ 963073 h 1184909"/>
                  <a:gd name="connsiteX92" fmla="*/ 49530 w 240029"/>
                  <a:gd name="connsiteY92" fmla="*/ 966883 h 1184909"/>
                  <a:gd name="connsiteX93" fmla="*/ 35242 w 240029"/>
                  <a:gd name="connsiteY93" fmla="*/ 970597 h 1184909"/>
                  <a:gd name="connsiteX94" fmla="*/ 32385 w 240029"/>
                  <a:gd name="connsiteY94" fmla="*/ 959168 h 1184909"/>
                  <a:gd name="connsiteX95" fmla="*/ 32385 w 240029"/>
                  <a:gd name="connsiteY95" fmla="*/ 945928 h 1184909"/>
                  <a:gd name="connsiteX96" fmla="*/ 42863 w 240029"/>
                  <a:gd name="connsiteY96" fmla="*/ 942022 h 1184909"/>
                  <a:gd name="connsiteX97" fmla="*/ 42863 w 240029"/>
                  <a:gd name="connsiteY97" fmla="*/ 935450 h 1184909"/>
                  <a:gd name="connsiteX98" fmla="*/ 28575 w 240029"/>
                  <a:gd name="connsiteY98" fmla="*/ 935450 h 1184909"/>
                  <a:gd name="connsiteX99" fmla="*/ 0 w 240029"/>
                  <a:gd name="connsiteY99" fmla="*/ 935450 h 1184909"/>
                  <a:gd name="connsiteX100" fmla="*/ 10477 w 240029"/>
                  <a:gd name="connsiteY100" fmla="*/ 921163 h 1184909"/>
                  <a:gd name="connsiteX101" fmla="*/ 18097 w 240029"/>
                  <a:gd name="connsiteY101" fmla="*/ 906875 h 1184909"/>
                  <a:gd name="connsiteX102" fmla="*/ 28575 w 240029"/>
                  <a:gd name="connsiteY102" fmla="*/ 892588 h 1184909"/>
                  <a:gd name="connsiteX103" fmla="*/ 39052 w 240029"/>
                  <a:gd name="connsiteY103" fmla="*/ 885825 h 1184909"/>
                  <a:gd name="connsiteX104" fmla="*/ 42863 w 240029"/>
                  <a:gd name="connsiteY104" fmla="*/ 892588 h 1184909"/>
                  <a:gd name="connsiteX105" fmla="*/ 49530 w 240029"/>
                  <a:gd name="connsiteY105" fmla="*/ 913447 h 1184909"/>
                  <a:gd name="connsiteX106" fmla="*/ 63817 w 240029"/>
                  <a:gd name="connsiteY106" fmla="*/ 896398 h 1184909"/>
                  <a:gd name="connsiteX107" fmla="*/ 74295 w 240029"/>
                  <a:gd name="connsiteY107" fmla="*/ 871538 h 1184909"/>
                  <a:gd name="connsiteX108" fmla="*/ 70485 w 240029"/>
                  <a:gd name="connsiteY108" fmla="*/ 853535 h 1184909"/>
                  <a:gd name="connsiteX109" fmla="*/ 67627 w 240029"/>
                  <a:gd name="connsiteY109" fmla="*/ 832485 h 1184909"/>
                  <a:gd name="connsiteX110" fmla="*/ 78105 w 240029"/>
                  <a:gd name="connsiteY110" fmla="*/ 815435 h 1184909"/>
                  <a:gd name="connsiteX111" fmla="*/ 74295 w 240029"/>
                  <a:gd name="connsiteY111" fmla="*/ 797338 h 1184909"/>
                  <a:gd name="connsiteX112" fmla="*/ 78105 w 240029"/>
                  <a:gd name="connsiteY112" fmla="*/ 786860 h 1184909"/>
                  <a:gd name="connsiteX113" fmla="*/ 80963 w 240029"/>
                  <a:gd name="connsiteY113" fmla="*/ 776288 h 1184909"/>
                  <a:gd name="connsiteX114" fmla="*/ 80963 w 240029"/>
                  <a:gd name="connsiteY114" fmla="*/ 755428 h 1184909"/>
                  <a:gd name="connsiteX115" fmla="*/ 70485 w 240029"/>
                  <a:gd name="connsiteY115" fmla="*/ 751522 h 1184909"/>
                  <a:gd name="connsiteX116" fmla="*/ 63817 w 240029"/>
                  <a:gd name="connsiteY116" fmla="*/ 755428 h 1184909"/>
                  <a:gd name="connsiteX117" fmla="*/ 60007 w 240029"/>
                  <a:gd name="connsiteY117" fmla="*/ 772573 h 1184909"/>
                  <a:gd name="connsiteX118" fmla="*/ 56197 w 240029"/>
                  <a:gd name="connsiteY118" fmla="*/ 783050 h 1184909"/>
                  <a:gd name="connsiteX119" fmla="*/ 56197 w 240029"/>
                  <a:gd name="connsiteY119" fmla="*/ 804863 h 1184909"/>
                  <a:gd name="connsiteX120" fmla="*/ 49530 w 240029"/>
                  <a:gd name="connsiteY120" fmla="*/ 815435 h 1184909"/>
                  <a:gd name="connsiteX121" fmla="*/ 39052 w 240029"/>
                  <a:gd name="connsiteY121" fmla="*/ 807815 h 1184909"/>
                  <a:gd name="connsiteX122" fmla="*/ 39052 w 240029"/>
                  <a:gd name="connsiteY122" fmla="*/ 793528 h 1184909"/>
                  <a:gd name="connsiteX123" fmla="*/ 39052 w 240029"/>
                  <a:gd name="connsiteY123" fmla="*/ 772573 h 1184909"/>
                  <a:gd name="connsiteX124" fmla="*/ 45720 w 240029"/>
                  <a:gd name="connsiteY124" fmla="*/ 758285 h 1184909"/>
                  <a:gd name="connsiteX125" fmla="*/ 49530 w 240029"/>
                  <a:gd name="connsiteY125" fmla="*/ 751522 h 1184909"/>
                  <a:gd name="connsiteX126" fmla="*/ 49530 w 240029"/>
                  <a:gd name="connsiteY126" fmla="*/ 734473 h 1184909"/>
                  <a:gd name="connsiteX127" fmla="*/ 53340 w 240029"/>
                  <a:gd name="connsiteY127" fmla="*/ 709613 h 1184909"/>
                  <a:gd name="connsiteX128" fmla="*/ 56197 w 240029"/>
                  <a:gd name="connsiteY128" fmla="*/ 695325 h 1184909"/>
                  <a:gd name="connsiteX129" fmla="*/ 70485 w 240029"/>
                  <a:gd name="connsiteY129" fmla="*/ 681038 h 1184909"/>
                  <a:gd name="connsiteX130" fmla="*/ 63817 w 240029"/>
                  <a:gd name="connsiteY130" fmla="*/ 663035 h 1184909"/>
                  <a:gd name="connsiteX131" fmla="*/ 60007 w 240029"/>
                  <a:gd name="connsiteY131" fmla="*/ 645890 h 1184909"/>
                  <a:gd name="connsiteX132" fmla="*/ 60007 w 240029"/>
                  <a:gd name="connsiteY132" fmla="*/ 631603 h 1184909"/>
                  <a:gd name="connsiteX133" fmla="*/ 56197 w 240029"/>
                  <a:gd name="connsiteY133" fmla="*/ 610648 h 1184909"/>
                  <a:gd name="connsiteX134" fmla="*/ 67627 w 240029"/>
                  <a:gd name="connsiteY134" fmla="*/ 610648 h 1184909"/>
                  <a:gd name="connsiteX135" fmla="*/ 74295 w 240029"/>
                  <a:gd name="connsiteY135" fmla="*/ 585788 h 1184909"/>
                  <a:gd name="connsiteX136" fmla="*/ 84772 w 240029"/>
                  <a:gd name="connsiteY136" fmla="*/ 564928 h 1184909"/>
                  <a:gd name="connsiteX137" fmla="*/ 91440 w 240029"/>
                  <a:gd name="connsiteY137" fmla="*/ 543973 h 1184909"/>
                  <a:gd name="connsiteX138" fmla="*/ 102870 w 240029"/>
                  <a:gd name="connsiteY138" fmla="*/ 515398 h 1184909"/>
                  <a:gd name="connsiteX139" fmla="*/ 105727 w 240029"/>
                  <a:gd name="connsiteY139" fmla="*/ 490538 h 1184909"/>
                  <a:gd name="connsiteX140" fmla="*/ 113347 w 240029"/>
                  <a:gd name="connsiteY140" fmla="*/ 476250 h 1184909"/>
                  <a:gd name="connsiteX141" fmla="*/ 109538 w 240029"/>
                  <a:gd name="connsiteY141" fmla="*/ 409575 h 1184909"/>
                  <a:gd name="connsiteX142" fmla="*/ 109538 w 240029"/>
                  <a:gd name="connsiteY142" fmla="*/ 388715 h 1184909"/>
                  <a:gd name="connsiteX143" fmla="*/ 123825 w 240029"/>
                  <a:gd name="connsiteY143" fmla="*/ 378238 h 1184909"/>
                  <a:gd name="connsiteX144" fmla="*/ 123825 w 240029"/>
                  <a:gd name="connsiteY144" fmla="*/ 363950 h 1184909"/>
                  <a:gd name="connsiteX145" fmla="*/ 116205 w 240029"/>
                  <a:gd name="connsiteY145" fmla="*/ 353473 h 1184909"/>
                  <a:gd name="connsiteX146" fmla="*/ 123825 w 240029"/>
                  <a:gd name="connsiteY146" fmla="*/ 342900 h 1184909"/>
                  <a:gd name="connsiteX147" fmla="*/ 130492 w 240029"/>
                  <a:gd name="connsiteY147" fmla="*/ 307753 h 1184909"/>
                  <a:gd name="connsiteX148" fmla="*/ 140970 w 240029"/>
                  <a:gd name="connsiteY148" fmla="*/ 254413 h 1184909"/>
                  <a:gd name="connsiteX149" fmla="*/ 144780 w 240029"/>
                  <a:gd name="connsiteY149" fmla="*/ 173450 h 1184909"/>
                  <a:gd name="connsiteX150" fmla="*/ 155257 w 240029"/>
                  <a:gd name="connsiteY150" fmla="*/ 92488 h 1184909"/>
                  <a:gd name="connsiteX151" fmla="*/ 151447 w 240029"/>
                  <a:gd name="connsiteY151" fmla="*/ 49625 h 1184909"/>
                  <a:gd name="connsiteX152" fmla="*/ 148590 w 240029"/>
                  <a:gd name="connsiteY152" fmla="*/ 32385 h 1184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240029" h="1184909">
                    <a:moveTo>
                      <a:pt x="148590" y="32385"/>
                    </a:moveTo>
                    <a:lnTo>
                      <a:pt x="159067" y="28575"/>
                    </a:lnTo>
                    <a:lnTo>
                      <a:pt x="169545" y="3810"/>
                    </a:lnTo>
                    <a:lnTo>
                      <a:pt x="172402" y="0"/>
                    </a:lnTo>
                    <a:lnTo>
                      <a:pt x="180022" y="22003"/>
                    </a:lnTo>
                    <a:lnTo>
                      <a:pt x="197167" y="67723"/>
                    </a:lnTo>
                    <a:lnTo>
                      <a:pt x="197167" y="99060"/>
                    </a:lnTo>
                    <a:lnTo>
                      <a:pt x="211455" y="120110"/>
                    </a:lnTo>
                    <a:lnTo>
                      <a:pt x="219075" y="144875"/>
                    </a:lnTo>
                    <a:lnTo>
                      <a:pt x="221932" y="169640"/>
                    </a:lnTo>
                    <a:lnTo>
                      <a:pt x="240030" y="169640"/>
                    </a:lnTo>
                    <a:lnTo>
                      <a:pt x="236220" y="190500"/>
                    </a:lnTo>
                    <a:lnTo>
                      <a:pt x="219075" y="212503"/>
                    </a:lnTo>
                    <a:lnTo>
                      <a:pt x="204788" y="219075"/>
                    </a:lnTo>
                    <a:lnTo>
                      <a:pt x="194310" y="229648"/>
                    </a:lnTo>
                    <a:lnTo>
                      <a:pt x="200977" y="282988"/>
                    </a:lnTo>
                    <a:lnTo>
                      <a:pt x="169545" y="328613"/>
                    </a:lnTo>
                    <a:lnTo>
                      <a:pt x="159067" y="349663"/>
                    </a:lnTo>
                    <a:lnTo>
                      <a:pt x="151447" y="391573"/>
                    </a:lnTo>
                    <a:lnTo>
                      <a:pt x="144780" y="413385"/>
                    </a:lnTo>
                    <a:lnTo>
                      <a:pt x="144780" y="441103"/>
                    </a:lnTo>
                    <a:lnTo>
                      <a:pt x="159067" y="483965"/>
                    </a:lnTo>
                    <a:lnTo>
                      <a:pt x="155257" y="515398"/>
                    </a:lnTo>
                    <a:lnTo>
                      <a:pt x="148590" y="533400"/>
                    </a:lnTo>
                    <a:lnTo>
                      <a:pt x="144780" y="568738"/>
                    </a:lnTo>
                    <a:lnTo>
                      <a:pt x="126682" y="585788"/>
                    </a:lnTo>
                    <a:lnTo>
                      <a:pt x="130492" y="624935"/>
                    </a:lnTo>
                    <a:lnTo>
                      <a:pt x="130492" y="652463"/>
                    </a:lnTo>
                    <a:lnTo>
                      <a:pt x="109538" y="699135"/>
                    </a:lnTo>
                    <a:lnTo>
                      <a:pt x="105727" y="751522"/>
                    </a:lnTo>
                    <a:lnTo>
                      <a:pt x="102870" y="772573"/>
                    </a:lnTo>
                    <a:lnTo>
                      <a:pt x="99060" y="801148"/>
                    </a:lnTo>
                    <a:lnTo>
                      <a:pt x="105727" y="807815"/>
                    </a:lnTo>
                    <a:lnTo>
                      <a:pt x="105727" y="842963"/>
                    </a:lnTo>
                    <a:lnTo>
                      <a:pt x="113347" y="864965"/>
                    </a:lnTo>
                    <a:lnTo>
                      <a:pt x="109538" y="885825"/>
                    </a:lnTo>
                    <a:lnTo>
                      <a:pt x="109538" y="931640"/>
                    </a:lnTo>
                    <a:lnTo>
                      <a:pt x="95250" y="952595"/>
                    </a:lnTo>
                    <a:lnTo>
                      <a:pt x="91440" y="984028"/>
                    </a:lnTo>
                    <a:lnTo>
                      <a:pt x="78105" y="1005935"/>
                    </a:lnTo>
                    <a:lnTo>
                      <a:pt x="63817" y="1019270"/>
                    </a:lnTo>
                    <a:lnTo>
                      <a:pt x="60007" y="1037272"/>
                    </a:lnTo>
                    <a:lnTo>
                      <a:pt x="63817" y="1051560"/>
                    </a:lnTo>
                    <a:lnTo>
                      <a:pt x="70485" y="1065848"/>
                    </a:lnTo>
                    <a:lnTo>
                      <a:pt x="91440" y="1068705"/>
                    </a:lnTo>
                    <a:lnTo>
                      <a:pt x="91440" y="1097280"/>
                    </a:lnTo>
                    <a:lnTo>
                      <a:pt x="102870" y="1118235"/>
                    </a:lnTo>
                    <a:lnTo>
                      <a:pt x="120015" y="1122140"/>
                    </a:lnTo>
                    <a:lnTo>
                      <a:pt x="165735" y="1122140"/>
                    </a:lnTo>
                    <a:lnTo>
                      <a:pt x="169545" y="1136428"/>
                    </a:lnTo>
                    <a:lnTo>
                      <a:pt x="155257" y="1143095"/>
                    </a:lnTo>
                    <a:lnTo>
                      <a:pt x="140970" y="1146810"/>
                    </a:lnTo>
                    <a:lnTo>
                      <a:pt x="130492" y="1157383"/>
                    </a:lnTo>
                    <a:lnTo>
                      <a:pt x="130492" y="1174528"/>
                    </a:lnTo>
                    <a:lnTo>
                      <a:pt x="126682" y="1184910"/>
                    </a:lnTo>
                    <a:lnTo>
                      <a:pt x="113347" y="1184910"/>
                    </a:lnTo>
                    <a:lnTo>
                      <a:pt x="102870" y="1178243"/>
                    </a:lnTo>
                    <a:lnTo>
                      <a:pt x="105727" y="1171670"/>
                    </a:lnTo>
                    <a:lnTo>
                      <a:pt x="116205" y="1163955"/>
                    </a:lnTo>
                    <a:lnTo>
                      <a:pt x="123825" y="1149668"/>
                    </a:lnTo>
                    <a:lnTo>
                      <a:pt x="113347" y="1143095"/>
                    </a:lnTo>
                    <a:lnTo>
                      <a:pt x="99060" y="1153573"/>
                    </a:lnTo>
                    <a:lnTo>
                      <a:pt x="91440" y="1167860"/>
                    </a:lnTo>
                    <a:lnTo>
                      <a:pt x="78105" y="1163955"/>
                    </a:lnTo>
                    <a:lnTo>
                      <a:pt x="67627" y="1153573"/>
                    </a:lnTo>
                    <a:lnTo>
                      <a:pt x="80963" y="1143095"/>
                    </a:lnTo>
                    <a:lnTo>
                      <a:pt x="84772" y="1136428"/>
                    </a:lnTo>
                    <a:lnTo>
                      <a:pt x="80963" y="1128808"/>
                    </a:lnTo>
                    <a:lnTo>
                      <a:pt x="67627" y="1139285"/>
                    </a:lnTo>
                    <a:lnTo>
                      <a:pt x="49530" y="1139285"/>
                    </a:lnTo>
                    <a:lnTo>
                      <a:pt x="53340" y="1124998"/>
                    </a:lnTo>
                    <a:lnTo>
                      <a:pt x="74295" y="1114520"/>
                    </a:lnTo>
                    <a:lnTo>
                      <a:pt x="74295" y="1107853"/>
                    </a:lnTo>
                    <a:lnTo>
                      <a:pt x="60007" y="1111568"/>
                    </a:lnTo>
                    <a:lnTo>
                      <a:pt x="45720" y="1111568"/>
                    </a:lnTo>
                    <a:lnTo>
                      <a:pt x="49530" y="1097280"/>
                    </a:lnTo>
                    <a:lnTo>
                      <a:pt x="39052" y="1089660"/>
                    </a:lnTo>
                    <a:lnTo>
                      <a:pt x="35242" y="1068705"/>
                    </a:lnTo>
                    <a:lnTo>
                      <a:pt x="35242" y="1062133"/>
                    </a:lnTo>
                    <a:lnTo>
                      <a:pt x="35242" y="1047845"/>
                    </a:lnTo>
                    <a:lnTo>
                      <a:pt x="28575" y="1041178"/>
                    </a:lnTo>
                    <a:lnTo>
                      <a:pt x="18097" y="1026890"/>
                    </a:lnTo>
                    <a:lnTo>
                      <a:pt x="10477" y="1012603"/>
                    </a:lnTo>
                    <a:lnTo>
                      <a:pt x="14288" y="984028"/>
                    </a:lnTo>
                    <a:lnTo>
                      <a:pt x="24765" y="984028"/>
                    </a:lnTo>
                    <a:lnTo>
                      <a:pt x="28575" y="987743"/>
                    </a:lnTo>
                    <a:lnTo>
                      <a:pt x="32385" y="1002030"/>
                    </a:lnTo>
                    <a:lnTo>
                      <a:pt x="42863" y="998315"/>
                    </a:lnTo>
                    <a:lnTo>
                      <a:pt x="42863" y="981170"/>
                    </a:lnTo>
                    <a:lnTo>
                      <a:pt x="49530" y="981170"/>
                    </a:lnTo>
                    <a:lnTo>
                      <a:pt x="56197" y="977360"/>
                    </a:lnTo>
                    <a:lnTo>
                      <a:pt x="56197" y="963073"/>
                    </a:lnTo>
                    <a:lnTo>
                      <a:pt x="49530" y="966883"/>
                    </a:lnTo>
                    <a:lnTo>
                      <a:pt x="35242" y="970597"/>
                    </a:lnTo>
                    <a:lnTo>
                      <a:pt x="32385" y="959168"/>
                    </a:lnTo>
                    <a:lnTo>
                      <a:pt x="32385" y="945928"/>
                    </a:lnTo>
                    <a:lnTo>
                      <a:pt x="42863" y="942022"/>
                    </a:lnTo>
                    <a:lnTo>
                      <a:pt x="42863" y="935450"/>
                    </a:lnTo>
                    <a:lnTo>
                      <a:pt x="28575" y="935450"/>
                    </a:lnTo>
                    <a:lnTo>
                      <a:pt x="0" y="935450"/>
                    </a:lnTo>
                    <a:lnTo>
                      <a:pt x="10477" y="921163"/>
                    </a:lnTo>
                    <a:lnTo>
                      <a:pt x="18097" y="906875"/>
                    </a:lnTo>
                    <a:lnTo>
                      <a:pt x="28575" y="892588"/>
                    </a:lnTo>
                    <a:lnTo>
                      <a:pt x="39052" y="885825"/>
                    </a:lnTo>
                    <a:lnTo>
                      <a:pt x="42863" y="892588"/>
                    </a:lnTo>
                    <a:lnTo>
                      <a:pt x="49530" y="913447"/>
                    </a:lnTo>
                    <a:lnTo>
                      <a:pt x="63817" y="896398"/>
                    </a:lnTo>
                    <a:lnTo>
                      <a:pt x="74295" y="871538"/>
                    </a:lnTo>
                    <a:lnTo>
                      <a:pt x="70485" y="853535"/>
                    </a:lnTo>
                    <a:lnTo>
                      <a:pt x="67627" y="832485"/>
                    </a:lnTo>
                    <a:lnTo>
                      <a:pt x="78105" y="815435"/>
                    </a:lnTo>
                    <a:lnTo>
                      <a:pt x="74295" y="797338"/>
                    </a:lnTo>
                    <a:lnTo>
                      <a:pt x="78105" y="786860"/>
                    </a:lnTo>
                    <a:lnTo>
                      <a:pt x="80963" y="776288"/>
                    </a:lnTo>
                    <a:lnTo>
                      <a:pt x="80963" y="755428"/>
                    </a:lnTo>
                    <a:lnTo>
                      <a:pt x="70485" y="751522"/>
                    </a:lnTo>
                    <a:lnTo>
                      <a:pt x="63817" y="755428"/>
                    </a:lnTo>
                    <a:lnTo>
                      <a:pt x="60007" y="772573"/>
                    </a:lnTo>
                    <a:lnTo>
                      <a:pt x="56197" y="783050"/>
                    </a:lnTo>
                    <a:lnTo>
                      <a:pt x="56197" y="804863"/>
                    </a:lnTo>
                    <a:lnTo>
                      <a:pt x="49530" y="815435"/>
                    </a:lnTo>
                    <a:lnTo>
                      <a:pt x="39052" y="807815"/>
                    </a:lnTo>
                    <a:lnTo>
                      <a:pt x="39052" y="793528"/>
                    </a:lnTo>
                    <a:lnTo>
                      <a:pt x="39052" y="772573"/>
                    </a:lnTo>
                    <a:lnTo>
                      <a:pt x="45720" y="758285"/>
                    </a:lnTo>
                    <a:lnTo>
                      <a:pt x="49530" y="751522"/>
                    </a:lnTo>
                    <a:lnTo>
                      <a:pt x="49530" y="734473"/>
                    </a:lnTo>
                    <a:lnTo>
                      <a:pt x="53340" y="709613"/>
                    </a:lnTo>
                    <a:lnTo>
                      <a:pt x="56197" y="695325"/>
                    </a:lnTo>
                    <a:lnTo>
                      <a:pt x="70485" y="681038"/>
                    </a:lnTo>
                    <a:lnTo>
                      <a:pt x="63817" y="663035"/>
                    </a:lnTo>
                    <a:lnTo>
                      <a:pt x="60007" y="645890"/>
                    </a:lnTo>
                    <a:lnTo>
                      <a:pt x="60007" y="631603"/>
                    </a:lnTo>
                    <a:lnTo>
                      <a:pt x="56197" y="610648"/>
                    </a:lnTo>
                    <a:lnTo>
                      <a:pt x="67627" y="610648"/>
                    </a:lnTo>
                    <a:lnTo>
                      <a:pt x="74295" y="585788"/>
                    </a:lnTo>
                    <a:lnTo>
                      <a:pt x="84772" y="564928"/>
                    </a:lnTo>
                    <a:lnTo>
                      <a:pt x="91440" y="543973"/>
                    </a:lnTo>
                    <a:lnTo>
                      <a:pt x="102870" y="515398"/>
                    </a:lnTo>
                    <a:lnTo>
                      <a:pt x="105727" y="490538"/>
                    </a:lnTo>
                    <a:lnTo>
                      <a:pt x="113347" y="476250"/>
                    </a:lnTo>
                    <a:lnTo>
                      <a:pt x="109538" y="409575"/>
                    </a:lnTo>
                    <a:lnTo>
                      <a:pt x="109538" y="388715"/>
                    </a:lnTo>
                    <a:lnTo>
                      <a:pt x="123825" y="378238"/>
                    </a:lnTo>
                    <a:lnTo>
                      <a:pt x="123825" y="363950"/>
                    </a:lnTo>
                    <a:lnTo>
                      <a:pt x="116205" y="353473"/>
                    </a:lnTo>
                    <a:lnTo>
                      <a:pt x="123825" y="342900"/>
                    </a:lnTo>
                    <a:lnTo>
                      <a:pt x="130492" y="307753"/>
                    </a:lnTo>
                    <a:lnTo>
                      <a:pt x="140970" y="254413"/>
                    </a:lnTo>
                    <a:lnTo>
                      <a:pt x="144780" y="173450"/>
                    </a:lnTo>
                    <a:lnTo>
                      <a:pt x="155257" y="92488"/>
                    </a:lnTo>
                    <a:lnTo>
                      <a:pt x="151447" y="49625"/>
                    </a:lnTo>
                    <a:lnTo>
                      <a:pt x="148590" y="3238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C5D5F8F0-8650-3BCA-7B1A-B308D2E61D47}"/>
                  </a:ext>
                </a:extLst>
              </p:cNvPr>
              <p:cNvSpPr/>
              <p:nvPr/>
            </p:nvSpPr>
            <p:spPr>
              <a:xfrm>
                <a:off x="4117999" y="6151624"/>
                <a:ext cx="97106" cy="79367"/>
              </a:xfrm>
              <a:custGeom>
                <a:avLst/>
                <a:gdLst>
                  <a:gd name="connsiteX0" fmla="*/ 0 w 99059"/>
                  <a:gd name="connsiteY0" fmla="*/ 0 h 80962"/>
                  <a:gd name="connsiteX1" fmla="*/ 0 w 99059"/>
                  <a:gd name="connsiteY1" fmla="*/ 74200 h 80962"/>
                  <a:gd name="connsiteX2" fmla="*/ 21908 w 99059"/>
                  <a:gd name="connsiteY2" fmla="*/ 74200 h 80962"/>
                  <a:gd name="connsiteX3" fmla="*/ 39053 w 99059"/>
                  <a:gd name="connsiteY3" fmla="*/ 74200 h 80962"/>
                  <a:gd name="connsiteX4" fmla="*/ 63818 w 99059"/>
                  <a:gd name="connsiteY4" fmla="*/ 80963 h 80962"/>
                  <a:gd name="connsiteX5" fmla="*/ 88583 w 99059"/>
                  <a:gd name="connsiteY5" fmla="*/ 78105 h 80962"/>
                  <a:gd name="connsiteX6" fmla="*/ 99060 w 99059"/>
                  <a:gd name="connsiteY6" fmla="*/ 74200 h 80962"/>
                  <a:gd name="connsiteX7" fmla="*/ 84772 w 99059"/>
                  <a:gd name="connsiteY7" fmla="*/ 70485 h 80962"/>
                  <a:gd name="connsiteX8" fmla="*/ 57150 w 99059"/>
                  <a:gd name="connsiteY8" fmla="*/ 63818 h 80962"/>
                  <a:gd name="connsiteX9" fmla="*/ 35243 w 99059"/>
                  <a:gd name="connsiteY9" fmla="*/ 49530 h 80962"/>
                  <a:gd name="connsiteX10" fmla="*/ 14288 w 99059"/>
                  <a:gd name="connsiteY10" fmla="*/ 28575 h 80962"/>
                  <a:gd name="connsiteX11" fmla="*/ 10478 w 99059"/>
                  <a:gd name="connsiteY11" fmla="*/ 14288 h 80962"/>
                  <a:gd name="connsiteX12" fmla="*/ 7620 w 99059"/>
                  <a:gd name="connsiteY12" fmla="*/ 3810 h 80962"/>
                  <a:gd name="connsiteX13" fmla="*/ 0 w 99059"/>
                  <a:gd name="connsiteY13" fmla="*/ 0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059" h="80962">
                    <a:moveTo>
                      <a:pt x="0" y="0"/>
                    </a:moveTo>
                    <a:lnTo>
                      <a:pt x="0" y="74200"/>
                    </a:lnTo>
                    <a:lnTo>
                      <a:pt x="21908" y="74200"/>
                    </a:lnTo>
                    <a:lnTo>
                      <a:pt x="39053" y="74200"/>
                    </a:lnTo>
                    <a:lnTo>
                      <a:pt x="63818" y="80963"/>
                    </a:lnTo>
                    <a:lnTo>
                      <a:pt x="88583" y="78105"/>
                    </a:lnTo>
                    <a:lnTo>
                      <a:pt x="99060" y="74200"/>
                    </a:lnTo>
                    <a:lnTo>
                      <a:pt x="84772" y="70485"/>
                    </a:lnTo>
                    <a:lnTo>
                      <a:pt x="57150" y="63818"/>
                    </a:lnTo>
                    <a:lnTo>
                      <a:pt x="35243" y="49530"/>
                    </a:lnTo>
                    <a:lnTo>
                      <a:pt x="14288" y="28575"/>
                    </a:lnTo>
                    <a:lnTo>
                      <a:pt x="10478" y="14288"/>
                    </a:lnTo>
                    <a:lnTo>
                      <a:pt x="7620" y="38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A3C417CF-E3E3-9454-6600-AE1F31DCD3A6}"/>
                  </a:ext>
                </a:extLst>
              </p:cNvPr>
              <p:cNvSpPr/>
              <p:nvPr/>
            </p:nvSpPr>
            <p:spPr>
              <a:xfrm>
                <a:off x="4117999" y="6151624"/>
                <a:ext cx="97106" cy="79367"/>
              </a:xfrm>
              <a:custGeom>
                <a:avLst/>
                <a:gdLst>
                  <a:gd name="connsiteX0" fmla="*/ 0 w 99059"/>
                  <a:gd name="connsiteY0" fmla="*/ 0 h 80962"/>
                  <a:gd name="connsiteX1" fmla="*/ 0 w 99059"/>
                  <a:gd name="connsiteY1" fmla="*/ 74200 h 80962"/>
                  <a:gd name="connsiteX2" fmla="*/ 21908 w 99059"/>
                  <a:gd name="connsiteY2" fmla="*/ 74200 h 80962"/>
                  <a:gd name="connsiteX3" fmla="*/ 39053 w 99059"/>
                  <a:gd name="connsiteY3" fmla="*/ 74200 h 80962"/>
                  <a:gd name="connsiteX4" fmla="*/ 63818 w 99059"/>
                  <a:gd name="connsiteY4" fmla="*/ 80963 h 80962"/>
                  <a:gd name="connsiteX5" fmla="*/ 88583 w 99059"/>
                  <a:gd name="connsiteY5" fmla="*/ 78105 h 80962"/>
                  <a:gd name="connsiteX6" fmla="*/ 99060 w 99059"/>
                  <a:gd name="connsiteY6" fmla="*/ 74200 h 80962"/>
                  <a:gd name="connsiteX7" fmla="*/ 84772 w 99059"/>
                  <a:gd name="connsiteY7" fmla="*/ 70485 h 80962"/>
                  <a:gd name="connsiteX8" fmla="*/ 57150 w 99059"/>
                  <a:gd name="connsiteY8" fmla="*/ 63818 h 80962"/>
                  <a:gd name="connsiteX9" fmla="*/ 35243 w 99059"/>
                  <a:gd name="connsiteY9" fmla="*/ 49530 h 80962"/>
                  <a:gd name="connsiteX10" fmla="*/ 14288 w 99059"/>
                  <a:gd name="connsiteY10" fmla="*/ 28575 h 80962"/>
                  <a:gd name="connsiteX11" fmla="*/ 10478 w 99059"/>
                  <a:gd name="connsiteY11" fmla="*/ 14288 h 80962"/>
                  <a:gd name="connsiteX12" fmla="*/ 7620 w 99059"/>
                  <a:gd name="connsiteY12" fmla="*/ 3810 h 80962"/>
                  <a:gd name="connsiteX13" fmla="*/ 0 w 99059"/>
                  <a:gd name="connsiteY13" fmla="*/ 0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059" h="80962">
                    <a:moveTo>
                      <a:pt x="0" y="0"/>
                    </a:moveTo>
                    <a:lnTo>
                      <a:pt x="0" y="74200"/>
                    </a:lnTo>
                    <a:lnTo>
                      <a:pt x="21908" y="74200"/>
                    </a:lnTo>
                    <a:lnTo>
                      <a:pt x="39053" y="74200"/>
                    </a:lnTo>
                    <a:lnTo>
                      <a:pt x="63818" y="80963"/>
                    </a:lnTo>
                    <a:lnTo>
                      <a:pt x="88583" y="78105"/>
                    </a:lnTo>
                    <a:lnTo>
                      <a:pt x="99060" y="74200"/>
                    </a:lnTo>
                    <a:lnTo>
                      <a:pt x="84772" y="70485"/>
                    </a:lnTo>
                    <a:lnTo>
                      <a:pt x="57150" y="63818"/>
                    </a:lnTo>
                    <a:lnTo>
                      <a:pt x="35243" y="49530"/>
                    </a:lnTo>
                    <a:lnTo>
                      <a:pt x="14288" y="28575"/>
                    </a:lnTo>
                    <a:lnTo>
                      <a:pt x="10478" y="14288"/>
                    </a:lnTo>
                    <a:lnTo>
                      <a:pt x="7620" y="38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1880673-4A8B-ED28-E7D4-3C686B82C9F3}"/>
                  </a:ext>
                </a:extLst>
              </p:cNvPr>
              <p:cNvSpPr/>
              <p:nvPr/>
            </p:nvSpPr>
            <p:spPr>
              <a:xfrm>
                <a:off x="4046103" y="6141354"/>
                <a:ext cx="116715" cy="110180"/>
              </a:xfrm>
              <a:custGeom>
                <a:avLst/>
                <a:gdLst>
                  <a:gd name="connsiteX0" fmla="*/ 2857 w 119062"/>
                  <a:gd name="connsiteY0" fmla="*/ 80962 h 112395"/>
                  <a:gd name="connsiteX1" fmla="*/ 0 w 119062"/>
                  <a:gd name="connsiteY1" fmla="*/ 70390 h 112395"/>
                  <a:gd name="connsiteX2" fmla="*/ 10477 w 119062"/>
                  <a:gd name="connsiteY2" fmla="*/ 66675 h 112395"/>
                  <a:gd name="connsiteX3" fmla="*/ 17145 w 119062"/>
                  <a:gd name="connsiteY3" fmla="*/ 66675 h 112395"/>
                  <a:gd name="connsiteX4" fmla="*/ 35242 w 119062"/>
                  <a:gd name="connsiteY4" fmla="*/ 66675 h 112395"/>
                  <a:gd name="connsiteX5" fmla="*/ 45720 w 119062"/>
                  <a:gd name="connsiteY5" fmla="*/ 70390 h 112395"/>
                  <a:gd name="connsiteX6" fmla="*/ 52388 w 119062"/>
                  <a:gd name="connsiteY6" fmla="*/ 66675 h 112395"/>
                  <a:gd name="connsiteX7" fmla="*/ 38100 w 119062"/>
                  <a:gd name="connsiteY7" fmla="*/ 56102 h 112395"/>
                  <a:gd name="connsiteX8" fmla="*/ 27622 w 119062"/>
                  <a:gd name="connsiteY8" fmla="*/ 49435 h 112395"/>
                  <a:gd name="connsiteX9" fmla="*/ 31432 w 119062"/>
                  <a:gd name="connsiteY9" fmla="*/ 39052 h 112395"/>
                  <a:gd name="connsiteX10" fmla="*/ 38100 w 119062"/>
                  <a:gd name="connsiteY10" fmla="*/ 39052 h 112395"/>
                  <a:gd name="connsiteX11" fmla="*/ 48577 w 119062"/>
                  <a:gd name="connsiteY11" fmla="*/ 35147 h 112395"/>
                  <a:gd name="connsiteX12" fmla="*/ 45720 w 119062"/>
                  <a:gd name="connsiteY12" fmla="*/ 24765 h 112395"/>
                  <a:gd name="connsiteX13" fmla="*/ 35242 w 119062"/>
                  <a:gd name="connsiteY13" fmla="*/ 28575 h 112395"/>
                  <a:gd name="connsiteX14" fmla="*/ 24765 w 119062"/>
                  <a:gd name="connsiteY14" fmla="*/ 31432 h 112395"/>
                  <a:gd name="connsiteX15" fmla="*/ 20955 w 119062"/>
                  <a:gd name="connsiteY15" fmla="*/ 20860 h 112395"/>
                  <a:gd name="connsiteX16" fmla="*/ 24765 w 119062"/>
                  <a:gd name="connsiteY16" fmla="*/ 14288 h 112395"/>
                  <a:gd name="connsiteX17" fmla="*/ 35242 w 119062"/>
                  <a:gd name="connsiteY17" fmla="*/ 10477 h 112395"/>
                  <a:gd name="connsiteX18" fmla="*/ 41910 w 119062"/>
                  <a:gd name="connsiteY18" fmla="*/ 3715 h 112395"/>
                  <a:gd name="connsiteX19" fmla="*/ 56197 w 119062"/>
                  <a:gd name="connsiteY19" fmla="*/ 0 h 112395"/>
                  <a:gd name="connsiteX20" fmla="*/ 66675 w 119062"/>
                  <a:gd name="connsiteY20" fmla="*/ 0 h 112395"/>
                  <a:gd name="connsiteX21" fmla="*/ 73342 w 119062"/>
                  <a:gd name="connsiteY21" fmla="*/ 10477 h 112395"/>
                  <a:gd name="connsiteX22" fmla="*/ 73342 w 119062"/>
                  <a:gd name="connsiteY22" fmla="*/ 84677 h 112395"/>
                  <a:gd name="connsiteX23" fmla="*/ 112395 w 119062"/>
                  <a:gd name="connsiteY23" fmla="*/ 84677 h 112395"/>
                  <a:gd name="connsiteX24" fmla="*/ 119063 w 119062"/>
                  <a:gd name="connsiteY24" fmla="*/ 91440 h 112395"/>
                  <a:gd name="connsiteX25" fmla="*/ 119063 w 119062"/>
                  <a:gd name="connsiteY25" fmla="*/ 98965 h 112395"/>
                  <a:gd name="connsiteX26" fmla="*/ 105727 w 119062"/>
                  <a:gd name="connsiteY26" fmla="*/ 101822 h 112395"/>
                  <a:gd name="connsiteX27" fmla="*/ 91440 w 119062"/>
                  <a:gd name="connsiteY27" fmla="*/ 101822 h 112395"/>
                  <a:gd name="connsiteX28" fmla="*/ 77152 w 119062"/>
                  <a:gd name="connsiteY28" fmla="*/ 105728 h 112395"/>
                  <a:gd name="connsiteX29" fmla="*/ 73342 w 119062"/>
                  <a:gd name="connsiteY29" fmla="*/ 112395 h 112395"/>
                  <a:gd name="connsiteX30" fmla="*/ 60007 w 119062"/>
                  <a:gd name="connsiteY30" fmla="*/ 109537 h 112395"/>
                  <a:gd name="connsiteX31" fmla="*/ 41910 w 119062"/>
                  <a:gd name="connsiteY31" fmla="*/ 105728 h 112395"/>
                  <a:gd name="connsiteX32" fmla="*/ 35242 w 119062"/>
                  <a:gd name="connsiteY32" fmla="*/ 98965 h 112395"/>
                  <a:gd name="connsiteX33" fmla="*/ 35242 w 119062"/>
                  <a:gd name="connsiteY33" fmla="*/ 88583 h 112395"/>
                  <a:gd name="connsiteX34" fmla="*/ 27622 w 119062"/>
                  <a:gd name="connsiteY34" fmla="*/ 88583 h 112395"/>
                  <a:gd name="connsiteX35" fmla="*/ 20955 w 119062"/>
                  <a:gd name="connsiteY35" fmla="*/ 88583 h 112395"/>
                  <a:gd name="connsiteX36" fmla="*/ 20955 w 119062"/>
                  <a:gd name="connsiteY36" fmla="*/ 98965 h 112395"/>
                  <a:gd name="connsiteX37" fmla="*/ 2857 w 119062"/>
                  <a:gd name="connsiteY37" fmla="*/ 91440 h 112395"/>
                  <a:gd name="connsiteX38" fmla="*/ 2857 w 119062"/>
                  <a:gd name="connsiteY38" fmla="*/ 80962 h 112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19062" h="112395">
                    <a:moveTo>
                      <a:pt x="2857" y="80962"/>
                    </a:moveTo>
                    <a:lnTo>
                      <a:pt x="0" y="70390"/>
                    </a:lnTo>
                    <a:lnTo>
                      <a:pt x="10477" y="66675"/>
                    </a:lnTo>
                    <a:lnTo>
                      <a:pt x="17145" y="66675"/>
                    </a:lnTo>
                    <a:lnTo>
                      <a:pt x="35242" y="66675"/>
                    </a:lnTo>
                    <a:lnTo>
                      <a:pt x="45720" y="70390"/>
                    </a:lnTo>
                    <a:lnTo>
                      <a:pt x="52388" y="66675"/>
                    </a:lnTo>
                    <a:lnTo>
                      <a:pt x="38100" y="56102"/>
                    </a:lnTo>
                    <a:lnTo>
                      <a:pt x="27622" y="49435"/>
                    </a:lnTo>
                    <a:lnTo>
                      <a:pt x="31432" y="39052"/>
                    </a:lnTo>
                    <a:lnTo>
                      <a:pt x="38100" y="39052"/>
                    </a:lnTo>
                    <a:lnTo>
                      <a:pt x="48577" y="35147"/>
                    </a:lnTo>
                    <a:lnTo>
                      <a:pt x="45720" y="24765"/>
                    </a:lnTo>
                    <a:lnTo>
                      <a:pt x="35242" y="28575"/>
                    </a:lnTo>
                    <a:lnTo>
                      <a:pt x="24765" y="31432"/>
                    </a:lnTo>
                    <a:lnTo>
                      <a:pt x="20955" y="20860"/>
                    </a:lnTo>
                    <a:lnTo>
                      <a:pt x="24765" y="14288"/>
                    </a:lnTo>
                    <a:lnTo>
                      <a:pt x="35242" y="10477"/>
                    </a:lnTo>
                    <a:lnTo>
                      <a:pt x="41910" y="3715"/>
                    </a:lnTo>
                    <a:lnTo>
                      <a:pt x="56197" y="0"/>
                    </a:lnTo>
                    <a:lnTo>
                      <a:pt x="66675" y="0"/>
                    </a:lnTo>
                    <a:lnTo>
                      <a:pt x="73342" y="10477"/>
                    </a:lnTo>
                    <a:lnTo>
                      <a:pt x="73342" y="84677"/>
                    </a:lnTo>
                    <a:lnTo>
                      <a:pt x="112395" y="84677"/>
                    </a:lnTo>
                    <a:lnTo>
                      <a:pt x="119063" y="91440"/>
                    </a:lnTo>
                    <a:lnTo>
                      <a:pt x="119063" y="98965"/>
                    </a:lnTo>
                    <a:lnTo>
                      <a:pt x="105727" y="101822"/>
                    </a:lnTo>
                    <a:lnTo>
                      <a:pt x="91440" y="101822"/>
                    </a:lnTo>
                    <a:lnTo>
                      <a:pt x="77152" y="105728"/>
                    </a:lnTo>
                    <a:lnTo>
                      <a:pt x="73342" y="112395"/>
                    </a:lnTo>
                    <a:lnTo>
                      <a:pt x="60007" y="109537"/>
                    </a:lnTo>
                    <a:lnTo>
                      <a:pt x="41910" y="105728"/>
                    </a:lnTo>
                    <a:lnTo>
                      <a:pt x="35242" y="98965"/>
                    </a:lnTo>
                    <a:lnTo>
                      <a:pt x="35242" y="88583"/>
                    </a:lnTo>
                    <a:lnTo>
                      <a:pt x="27622" y="88583"/>
                    </a:lnTo>
                    <a:lnTo>
                      <a:pt x="20955" y="88583"/>
                    </a:lnTo>
                    <a:lnTo>
                      <a:pt x="20955" y="98965"/>
                    </a:lnTo>
                    <a:lnTo>
                      <a:pt x="2857" y="91440"/>
                    </a:lnTo>
                    <a:lnTo>
                      <a:pt x="2857" y="8096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287DB76D-F769-FB34-3ECA-376C81E49158}"/>
                  </a:ext>
                </a:extLst>
              </p:cNvPr>
              <p:cNvSpPr/>
              <p:nvPr/>
            </p:nvSpPr>
            <p:spPr>
              <a:xfrm>
                <a:off x="4046103" y="6141354"/>
                <a:ext cx="116715" cy="110180"/>
              </a:xfrm>
              <a:custGeom>
                <a:avLst/>
                <a:gdLst>
                  <a:gd name="connsiteX0" fmla="*/ 2857 w 119062"/>
                  <a:gd name="connsiteY0" fmla="*/ 80962 h 112395"/>
                  <a:gd name="connsiteX1" fmla="*/ 0 w 119062"/>
                  <a:gd name="connsiteY1" fmla="*/ 70390 h 112395"/>
                  <a:gd name="connsiteX2" fmla="*/ 10477 w 119062"/>
                  <a:gd name="connsiteY2" fmla="*/ 66675 h 112395"/>
                  <a:gd name="connsiteX3" fmla="*/ 17145 w 119062"/>
                  <a:gd name="connsiteY3" fmla="*/ 66675 h 112395"/>
                  <a:gd name="connsiteX4" fmla="*/ 35242 w 119062"/>
                  <a:gd name="connsiteY4" fmla="*/ 66675 h 112395"/>
                  <a:gd name="connsiteX5" fmla="*/ 45720 w 119062"/>
                  <a:gd name="connsiteY5" fmla="*/ 70390 h 112395"/>
                  <a:gd name="connsiteX6" fmla="*/ 52388 w 119062"/>
                  <a:gd name="connsiteY6" fmla="*/ 66675 h 112395"/>
                  <a:gd name="connsiteX7" fmla="*/ 38100 w 119062"/>
                  <a:gd name="connsiteY7" fmla="*/ 56102 h 112395"/>
                  <a:gd name="connsiteX8" fmla="*/ 27622 w 119062"/>
                  <a:gd name="connsiteY8" fmla="*/ 49435 h 112395"/>
                  <a:gd name="connsiteX9" fmla="*/ 31432 w 119062"/>
                  <a:gd name="connsiteY9" fmla="*/ 39052 h 112395"/>
                  <a:gd name="connsiteX10" fmla="*/ 38100 w 119062"/>
                  <a:gd name="connsiteY10" fmla="*/ 39052 h 112395"/>
                  <a:gd name="connsiteX11" fmla="*/ 48577 w 119062"/>
                  <a:gd name="connsiteY11" fmla="*/ 35147 h 112395"/>
                  <a:gd name="connsiteX12" fmla="*/ 45720 w 119062"/>
                  <a:gd name="connsiteY12" fmla="*/ 24765 h 112395"/>
                  <a:gd name="connsiteX13" fmla="*/ 35242 w 119062"/>
                  <a:gd name="connsiteY13" fmla="*/ 28575 h 112395"/>
                  <a:gd name="connsiteX14" fmla="*/ 24765 w 119062"/>
                  <a:gd name="connsiteY14" fmla="*/ 31432 h 112395"/>
                  <a:gd name="connsiteX15" fmla="*/ 20955 w 119062"/>
                  <a:gd name="connsiteY15" fmla="*/ 20860 h 112395"/>
                  <a:gd name="connsiteX16" fmla="*/ 24765 w 119062"/>
                  <a:gd name="connsiteY16" fmla="*/ 14288 h 112395"/>
                  <a:gd name="connsiteX17" fmla="*/ 35242 w 119062"/>
                  <a:gd name="connsiteY17" fmla="*/ 10477 h 112395"/>
                  <a:gd name="connsiteX18" fmla="*/ 41910 w 119062"/>
                  <a:gd name="connsiteY18" fmla="*/ 3715 h 112395"/>
                  <a:gd name="connsiteX19" fmla="*/ 56197 w 119062"/>
                  <a:gd name="connsiteY19" fmla="*/ 0 h 112395"/>
                  <a:gd name="connsiteX20" fmla="*/ 66675 w 119062"/>
                  <a:gd name="connsiteY20" fmla="*/ 0 h 112395"/>
                  <a:gd name="connsiteX21" fmla="*/ 73342 w 119062"/>
                  <a:gd name="connsiteY21" fmla="*/ 10477 h 112395"/>
                  <a:gd name="connsiteX22" fmla="*/ 73342 w 119062"/>
                  <a:gd name="connsiteY22" fmla="*/ 84677 h 112395"/>
                  <a:gd name="connsiteX23" fmla="*/ 112395 w 119062"/>
                  <a:gd name="connsiteY23" fmla="*/ 84677 h 112395"/>
                  <a:gd name="connsiteX24" fmla="*/ 119063 w 119062"/>
                  <a:gd name="connsiteY24" fmla="*/ 91440 h 112395"/>
                  <a:gd name="connsiteX25" fmla="*/ 119063 w 119062"/>
                  <a:gd name="connsiteY25" fmla="*/ 98965 h 112395"/>
                  <a:gd name="connsiteX26" fmla="*/ 105727 w 119062"/>
                  <a:gd name="connsiteY26" fmla="*/ 101822 h 112395"/>
                  <a:gd name="connsiteX27" fmla="*/ 91440 w 119062"/>
                  <a:gd name="connsiteY27" fmla="*/ 101822 h 112395"/>
                  <a:gd name="connsiteX28" fmla="*/ 77152 w 119062"/>
                  <a:gd name="connsiteY28" fmla="*/ 105728 h 112395"/>
                  <a:gd name="connsiteX29" fmla="*/ 73342 w 119062"/>
                  <a:gd name="connsiteY29" fmla="*/ 112395 h 112395"/>
                  <a:gd name="connsiteX30" fmla="*/ 60007 w 119062"/>
                  <a:gd name="connsiteY30" fmla="*/ 109537 h 112395"/>
                  <a:gd name="connsiteX31" fmla="*/ 41910 w 119062"/>
                  <a:gd name="connsiteY31" fmla="*/ 105728 h 112395"/>
                  <a:gd name="connsiteX32" fmla="*/ 35242 w 119062"/>
                  <a:gd name="connsiteY32" fmla="*/ 98965 h 112395"/>
                  <a:gd name="connsiteX33" fmla="*/ 35242 w 119062"/>
                  <a:gd name="connsiteY33" fmla="*/ 88583 h 112395"/>
                  <a:gd name="connsiteX34" fmla="*/ 27622 w 119062"/>
                  <a:gd name="connsiteY34" fmla="*/ 88583 h 112395"/>
                  <a:gd name="connsiteX35" fmla="*/ 20955 w 119062"/>
                  <a:gd name="connsiteY35" fmla="*/ 88583 h 112395"/>
                  <a:gd name="connsiteX36" fmla="*/ 20955 w 119062"/>
                  <a:gd name="connsiteY36" fmla="*/ 98965 h 112395"/>
                  <a:gd name="connsiteX37" fmla="*/ 2857 w 119062"/>
                  <a:gd name="connsiteY37" fmla="*/ 91440 h 112395"/>
                  <a:gd name="connsiteX38" fmla="*/ 2857 w 119062"/>
                  <a:gd name="connsiteY38" fmla="*/ 80962 h 112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19062" h="112395">
                    <a:moveTo>
                      <a:pt x="2857" y="80962"/>
                    </a:moveTo>
                    <a:lnTo>
                      <a:pt x="0" y="70390"/>
                    </a:lnTo>
                    <a:lnTo>
                      <a:pt x="10477" y="66675"/>
                    </a:lnTo>
                    <a:lnTo>
                      <a:pt x="17145" y="66675"/>
                    </a:lnTo>
                    <a:lnTo>
                      <a:pt x="35242" y="66675"/>
                    </a:lnTo>
                    <a:lnTo>
                      <a:pt x="45720" y="70390"/>
                    </a:lnTo>
                    <a:lnTo>
                      <a:pt x="52388" y="66675"/>
                    </a:lnTo>
                    <a:lnTo>
                      <a:pt x="38100" y="56102"/>
                    </a:lnTo>
                    <a:lnTo>
                      <a:pt x="27622" y="49435"/>
                    </a:lnTo>
                    <a:lnTo>
                      <a:pt x="31432" y="39052"/>
                    </a:lnTo>
                    <a:lnTo>
                      <a:pt x="38100" y="39052"/>
                    </a:lnTo>
                    <a:lnTo>
                      <a:pt x="48577" y="35147"/>
                    </a:lnTo>
                    <a:lnTo>
                      <a:pt x="45720" y="24765"/>
                    </a:lnTo>
                    <a:lnTo>
                      <a:pt x="35242" y="28575"/>
                    </a:lnTo>
                    <a:lnTo>
                      <a:pt x="24765" y="31432"/>
                    </a:lnTo>
                    <a:lnTo>
                      <a:pt x="20955" y="20860"/>
                    </a:lnTo>
                    <a:lnTo>
                      <a:pt x="24765" y="14288"/>
                    </a:lnTo>
                    <a:lnTo>
                      <a:pt x="35242" y="10477"/>
                    </a:lnTo>
                    <a:lnTo>
                      <a:pt x="41910" y="3715"/>
                    </a:lnTo>
                    <a:lnTo>
                      <a:pt x="56197" y="0"/>
                    </a:lnTo>
                    <a:lnTo>
                      <a:pt x="66675" y="0"/>
                    </a:lnTo>
                    <a:lnTo>
                      <a:pt x="73342" y="10477"/>
                    </a:lnTo>
                    <a:lnTo>
                      <a:pt x="73342" y="84677"/>
                    </a:lnTo>
                    <a:lnTo>
                      <a:pt x="112395" y="84677"/>
                    </a:lnTo>
                    <a:lnTo>
                      <a:pt x="119063" y="91440"/>
                    </a:lnTo>
                    <a:lnTo>
                      <a:pt x="119063" y="98965"/>
                    </a:lnTo>
                    <a:lnTo>
                      <a:pt x="105727" y="101822"/>
                    </a:lnTo>
                    <a:lnTo>
                      <a:pt x="91440" y="101822"/>
                    </a:lnTo>
                    <a:lnTo>
                      <a:pt x="77152" y="105728"/>
                    </a:lnTo>
                    <a:lnTo>
                      <a:pt x="73342" y="112395"/>
                    </a:lnTo>
                    <a:lnTo>
                      <a:pt x="60007" y="109537"/>
                    </a:lnTo>
                    <a:lnTo>
                      <a:pt x="41910" y="105728"/>
                    </a:lnTo>
                    <a:lnTo>
                      <a:pt x="35242" y="98965"/>
                    </a:lnTo>
                    <a:lnTo>
                      <a:pt x="35242" y="88583"/>
                    </a:lnTo>
                    <a:lnTo>
                      <a:pt x="27622" y="88583"/>
                    </a:lnTo>
                    <a:lnTo>
                      <a:pt x="20955" y="88583"/>
                    </a:lnTo>
                    <a:lnTo>
                      <a:pt x="20955" y="98965"/>
                    </a:lnTo>
                    <a:lnTo>
                      <a:pt x="2857" y="91440"/>
                    </a:lnTo>
                    <a:lnTo>
                      <a:pt x="2857" y="8096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753B2543-4A33-86DB-F0A0-94741B3E4DDC}"/>
                  </a:ext>
                </a:extLst>
              </p:cNvPr>
              <p:cNvSpPr/>
              <p:nvPr/>
            </p:nvSpPr>
            <p:spPr>
              <a:xfrm>
                <a:off x="4335558" y="6092800"/>
                <a:ext cx="31746" cy="30813"/>
              </a:xfrm>
              <a:custGeom>
                <a:avLst/>
                <a:gdLst>
                  <a:gd name="connsiteX0" fmla="*/ 10477 w 32384"/>
                  <a:gd name="connsiteY0" fmla="*/ 7620 h 31432"/>
                  <a:gd name="connsiteX1" fmla="*/ 20955 w 32384"/>
                  <a:gd name="connsiteY1" fmla="*/ 0 h 31432"/>
                  <a:gd name="connsiteX2" fmla="*/ 32385 w 32384"/>
                  <a:gd name="connsiteY2" fmla="*/ 3715 h 31432"/>
                  <a:gd name="connsiteX3" fmla="*/ 32385 w 32384"/>
                  <a:gd name="connsiteY3" fmla="*/ 10382 h 31432"/>
                  <a:gd name="connsiteX4" fmla="*/ 24765 w 32384"/>
                  <a:gd name="connsiteY4" fmla="*/ 18002 h 31432"/>
                  <a:gd name="connsiteX5" fmla="*/ 14288 w 32384"/>
                  <a:gd name="connsiteY5" fmla="*/ 28575 h 31432"/>
                  <a:gd name="connsiteX6" fmla="*/ 7620 w 32384"/>
                  <a:gd name="connsiteY6" fmla="*/ 31432 h 31432"/>
                  <a:gd name="connsiteX7" fmla="*/ 0 w 32384"/>
                  <a:gd name="connsiteY7" fmla="*/ 28575 h 31432"/>
                  <a:gd name="connsiteX8" fmla="*/ 0 w 32384"/>
                  <a:gd name="connsiteY8" fmla="*/ 20955 h 31432"/>
                  <a:gd name="connsiteX9" fmla="*/ 7620 w 32384"/>
                  <a:gd name="connsiteY9" fmla="*/ 14288 h 31432"/>
                  <a:gd name="connsiteX10" fmla="*/ 10477 w 32384"/>
                  <a:gd name="connsiteY10" fmla="*/ 7620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2384" h="31432">
                    <a:moveTo>
                      <a:pt x="10477" y="7620"/>
                    </a:moveTo>
                    <a:lnTo>
                      <a:pt x="20955" y="0"/>
                    </a:lnTo>
                    <a:lnTo>
                      <a:pt x="32385" y="3715"/>
                    </a:lnTo>
                    <a:lnTo>
                      <a:pt x="32385" y="10382"/>
                    </a:lnTo>
                    <a:lnTo>
                      <a:pt x="24765" y="18002"/>
                    </a:lnTo>
                    <a:lnTo>
                      <a:pt x="14288" y="28575"/>
                    </a:lnTo>
                    <a:lnTo>
                      <a:pt x="7620" y="31432"/>
                    </a:lnTo>
                    <a:lnTo>
                      <a:pt x="0" y="28575"/>
                    </a:lnTo>
                    <a:lnTo>
                      <a:pt x="0" y="20955"/>
                    </a:lnTo>
                    <a:lnTo>
                      <a:pt x="7620" y="14288"/>
                    </a:lnTo>
                    <a:lnTo>
                      <a:pt x="10477" y="762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973A4C03-26F5-2548-A97E-238E22E4FFB3}"/>
                  </a:ext>
                </a:extLst>
              </p:cNvPr>
              <p:cNvSpPr/>
              <p:nvPr/>
            </p:nvSpPr>
            <p:spPr>
              <a:xfrm>
                <a:off x="4335558" y="6092800"/>
                <a:ext cx="31746" cy="30813"/>
              </a:xfrm>
              <a:custGeom>
                <a:avLst/>
                <a:gdLst>
                  <a:gd name="connsiteX0" fmla="*/ 10477 w 32384"/>
                  <a:gd name="connsiteY0" fmla="*/ 7620 h 31432"/>
                  <a:gd name="connsiteX1" fmla="*/ 20955 w 32384"/>
                  <a:gd name="connsiteY1" fmla="*/ 0 h 31432"/>
                  <a:gd name="connsiteX2" fmla="*/ 32385 w 32384"/>
                  <a:gd name="connsiteY2" fmla="*/ 3715 h 31432"/>
                  <a:gd name="connsiteX3" fmla="*/ 32385 w 32384"/>
                  <a:gd name="connsiteY3" fmla="*/ 10382 h 31432"/>
                  <a:gd name="connsiteX4" fmla="*/ 24765 w 32384"/>
                  <a:gd name="connsiteY4" fmla="*/ 18002 h 31432"/>
                  <a:gd name="connsiteX5" fmla="*/ 14288 w 32384"/>
                  <a:gd name="connsiteY5" fmla="*/ 28575 h 31432"/>
                  <a:gd name="connsiteX6" fmla="*/ 7620 w 32384"/>
                  <a:gd name="connsiteY6" fmla="*/ 31432 h 31432"/>
                  <a:gd name="connsiteX7" fmla="*/ 0 w 32384"/>
                  <a:gd name="connsiteY7" fmla="*/ 28575 h 31432"/>
                  <a:gd name="connsiteX8" fmla="*/ 0 w 32384"/>
                  <a:gd name="connsiteY8" fmla="*/ 20955 h 31432"/>
                  <a:gd name="connsiteX9" fmla="*/ 7620 w 32384"/>
                  <a:gd name="connsiteY9" fmla="*/ 14288 h 31432"/>
                  <a:gd name="connsiteX10" fmla="*/ 10477 w 32384"/>
                  <a:gd name="connsiteY10" fmla="*/ 7620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2384" h="31432">
                    <a:moveTo>
                      <a:pt x="10477" y="7620"/>
                    </a:moveTo>
                    <a:lnTo>
                      <a:pt x="20955" y="0"/>
                    </a:lnTo>
                    <a:lnTo>
                      <a:pt x="32385" y="3715"/>
                    </a:lnTo>
                    <a:lnTo>
                      <a:pt x="32385" y="10382"/>
                    </a:lnTo>
                    <a:lnTo>
                      <a:pt x="24765" y="18002"/>
                    </a:lnTo>
                    <a:lnTo>
                      <a:pt x="14288" y="28575"/>
                    </a:lnTo>
                    <a:lnTo>
                      <a:pt x="7620" y="31432"/>
                    </a:lnTo>
                    <a:lnTo>
                      <a:pt x="0" y="28575"/>
                    </a:lnTo>
                    <a:lnTo>
                      <a:pt x="0" y="20955"/>
                    </a:lnTo>
                    <a:lnTo>
                      <a:pt x="7620" y="14288"/>
                    </a:lnTo>
                    <a:lnTo>
                      <a:pt x="10477" y="762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8E110F9E-294D-0B52-5934-B9B8DDD13CFD}"/>
                  </a:ext>
                </a:extLst>
              </p:cNvPr>
              <p:cNvSpPr/>
              <p:nvPr/>
            </p:nvSpPr>
            <p:spPr>
              <a:xfrm>
                <a:off x="4363569" y="6096441"/>
                <a:ext cx="48553" cy="34548"/>
              </a:xfrm>
              <a:custGeom>
                <a:avLst/>
                <a:gdLst>
                  <a:gd name="connsiteX0" fmla="*/ 10477 w 49529"/>
                  <a:gd name="connsiteY0" fmla="*/ 14288 h 35242"/>
                  <a:gd name="connsiteX1" fmla="*/ 17145 w 49529"/>
                  <a:gd name="connsiteY1" fmla="*/ 0 h 35242"/>
                  <a:gd name="connsiteX2" fmla="*/ 27622 w 49529"/>
                  <a:gd name="connsiteY2" fmla="*/ 0 h 35242"/>
                  <a:gd name="connsiteX3" fmla="*/ 39052 w 49529"/>
                  <a:gd name="connsiteY3" fmla="*/ 0 h 35242"/>
                  <a:gd name="connsiteX4" fmla="*/ 49530 w 49529"/>
                  <a:gd name="connsiteY4" fmla="*/ 3905 h 35242"/>
                  <a:gd name="connsiteX5" fmla="*/ 49530 w 49529"/>
                  <a:gd name="connsiteY5" fmla="*/ 10573 h 35242"/>
                  <a:gd name="connsiteX6" fmla="*/ 39052 w 49529"/>
                  <a:gd name="connsiteY6" fmla="*/ 14288 h 35242"/>
                  <a:gd name="connsiteX7" fmla="*/ 31432 w 49529"/>
                  <a:gd name="connsiteY7" fmla="*/ 17240 h 35242"/>
                  <a:gd name="connsiteX8" fmla="*/ 27622 w 49529"/>
                  <a:gd name="connsiteY8" fmla="*/ 17240 h 35242"/>
                  <a:gd name="connsiteX9" fmla="*/ 20955 w 49529"/>
                  <a:gd name="connsiteY9" fmla="*/ 24860 h 35242"/>
                  <a:gd name="connsiteX10" fmla="*/ 14288 w 49529"/>
                  <a:gd name="connsiteY10" fmla="*/ 27717 h 35242"/>
                  <a:gd name="connsiteX11" fmla="*/ 10477 w 49529"/>
                  <a:gd name="connsiteY11" fmla="*/ 35242 h 35242"/>
                  <a:gd name="connsiteX12" fmla="*/ 0 w 49529"/>
                  <a:gd name="connsiteY12" fmla="*/ 31528 h 35242"/>
                  <a:gd name="connsiteX13" fmla="*/ 0 w 49529"/>
                  <a:gd name="connsiteY13" fmla="*/ 20955 h 35242"/>
                  <a:gd name="connsiteX14" fmla="*/ 3810 w 49529"/>
                  <a:gd name="connsiteY14" fmla="*/ 17240 h 35242"/>
                  <a:gd name="connsiteX15" fmla="*/ 10477 w 49529"/>
                  <a:gd name="connsiteY15" fmla="*/ 14288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9529" h="35242">
                    <a:moveTo>
                      <a:pt x="10477" y="14288"/>
                    </a:moveTo>
                    <a:lnTo>
                      <a:pt x="17145" y="0"/>
                    </a:lnTo>
                    <a:lnTo>
                      <a:pt x="27622" y="0"/>
                    </a:lnTo>
                    <a:lnTo>
                      <a:pt x="39052" y="0"/>
                    </a:lnTo>
                    <a:lnTo>
                      <a:pt x="49530" y="3905"/>
                    </a:lnTo>
                    <a:lnTo>
                      <a:pt x="49530" y="10573"/>
                    </a:lnTo>
                    <a:lnTo>
                      <a:pt x="39052" y="14288"/>
                    </a:lnTo>
                    <a:lnTo>
                      <a:pt x="31432" y="17240"/>
                    </a:lnTo>
                    <a:lnTo>
                      <a:pt x="27622" y="17240"/>
                    </a:lnTo>
                    <a:lnTo>
                      <a:pt x="20955" y="24860"/>
                    </a:lnTo>
                    <a:lnTo>
                      <a:pt x="14288" y="27717"/>
                    </a:lnTo>
                    <a:lnTo>
                      <a:pt x="10477" y="35242"/>
                    </a:lnTo>
                    <a:lnTo>
                      <a:pt x="0" y="31528"/>
                    </a:lnTo>
                    <a:lnTo>
                      <a:pt x="0" y="20955"/>
                    </a:lnTo>
                    <a:lnTo>
                      <a:pt x="3810" y="17240"/>
                    </a:lnTo>
                    <a:lnTo>
                      <a:pt x="10477" y="142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E06B3B14-A481-55A0-30BD-847F48B002DD}"/>
                  </a:ext>
                </a:extLst>
              </p:cNvPr>
              <p:cNvSpPr/>
              <p:nvPr/>
            </p:nvSpPr>
            <p:spPr>
              <a:xfrm>
                <a:off x="4363569" y="6096441"/>
                <a:ext cx="48553" cy="34548"/>
              </a:xfrm>
              <a:custGeom>
                <a:avLst/>
                <a:gdLst>
                  <a:gd name="connsiteX0" fmla="*/ 10477 w 49529"/>
                  <a:gd name="connsiteY0" fmla="*/ 14288 h 35242"/>
                  <a:gd name="connsiteX1" fmla="*/ 17145 w 49529"/>
                  <a:gd name="connsiteY1" fmla="*/ 0 h 35242"/>
                  <a:gd name="connsiteX2" fmla="*/ 27622 w 49529"/>
                  <a:gd name="connsiteY2" fmla="*/ 0 h 35242"/>
                  <a:gd name="connsiteX3" fmla="*/ 39052 w 49529"/>
                  <a:gd name="connsiteY3" fmla="*/ 0 h 35242"/>
                  <a:gd name="connsiteX4" fmla="*/ 49530 w 49529"/>
                  <a:gd name="connsiteY4" fmla="*/ 3905 h 35242"/>
                  <a:gd name="connsiteX5" fmla="*/ 49530 w 49529"/>
                  <a:gd name="connsiteY5" fmla="*/ 10573 h 35242"/>
                  <a:gd name="connsiteX6" fmla="*/ 39052 w 49529"/>
                  <a:gd name="connsiteY6" fmla="*/ 14288 h 35242"/>
                  <a:gd name="connsiteX7" fmla="*/ 31432 w 49529"/>
                  <a:gd name="connsiteY7" fmla="*/ 17240 h 35242"/>
                  <a:gd name="connsiteX8" fmla="*/ 27622 w 49529"/>
                  <a:gd name="connsiteY8" fmla="*/ 17240 h 35242"/>
                  <a:gd name="connsiteX9" fmla="*/ 20955 w 49529"/>
                  <a:gd name="connsiteY9" fmla="*/ 24860 h 35242"/>
                  <a:gd name="connsiteX10" fmla="*/ 14288 w 49529"/>
                  <a:gd name="connsiteY10" fmla="*/ 27717 h 35242"/>
                  <a:gd name="connsiteX11" fmla="*/ 10477 w 49529"/>
                  <a:gd name="connsiteY11" fmla="*/ 35242 h 35242"/>
                  <a:gd name="connsiteX12" fmla="*/ 0 w 49529"/>
                  <a:gd name="connsiteY12" fmla="*/ 31528 h 35242"/>
                  <a:gd name="connsiteX13" fmla="*/ 0 w 49529"/>
                  <a:gd name="connsiteY13" fmla="*/ 20955 h 35242"/>
                  <a:gd name="connsiteX14" fmla="*/ 3810 w 49529"/>
                  <a:gd name="connsiteY14" fmla="*/ 17240 h 35242"/>
                  <a:gd name="connsiteX15" fmla="*/ 10477 w 49529"/>
                  <a:gd name="connsiteY15" fmla="*/ 14288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9529" h="35242">
                    <a:moveTo>
                      <a:pt x="10477" y="14288"/>
                    </a:moveTo>
                    <a:lnTo>
                      <a:pt x="17145" y="0"/>
                    </a:lnTo>
                    <a:lnTo>
                      <a:pt x="27622" y="0"/>
                    </a:lnTo>
                    <a:lnTo>
                      <a:pt x="39052" y="0"/>
                    </a:lnTo>
                    <a:lnTo>
                      <a:pt x="49530" y="3905"/>
                    </a:lnTo>
                    <a:lnTo>
                      <a:pt x="49530" y="10573"/>
                    </a:lnTo>
                    <a:lnTo>
                      <a:pt x="39052" y="14288"/>
                    </a:lnTo>
                    <a:lnTo>
                      <a:pt x="31432" y="17240"/>
                    </a:lnTo>
                    <a:lnTo>
                      <a:pt x="27622" y="17240"/>
                    </a:lnTo>
                    <a:lnTo>
                      <a:pt x="20955" y="24860"/>
                    </a:lnTo>
                    <a:lnTo>
                      <a:pt x="14288" y="27717"/>
                    </a:lnTo>
                    <a:lnTo>
                      <a:pt x="10477" y="35242"/>
                    </a:lnTo>
                    <a:lnTo>
                      <a:pt x="0" y="31528"/>
                    </a:lnTo>
                    <a:lnTo>
                      <a:pt x="0" y="20955"/>
                    </a:lnTo>
                    <a:lnTo>
                      <a:pt x="3810" y="17240"/>
                    </a:lnTo>
                    <a:lnTo>
                      <a:pt x="10477" y="142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3ED8BF40-3ED1-646F-7038-A7A08BC55E1C}"/>
                  </a:ext>
                </a:extLst>
              </p:cNvPr>
              <p:cNvSpPr/>
              <p:nvPr/>
            </p:nvSpPr>
            <p:spPr>
              <a:xfrm>
                <a:off x="6674538" y="3645488"/>
                <a:ext cx="296923" cy="296833"/>
              </a:xfrm>
              <a:custGeom>
                <a:avLst/>
                <a:gdLst>
                  <a:gd name="connsiteX0" fmla="*/ 10477 w 302894"/>
                  <a:gd name="connsiteY0" fmla="*/ 0 h 302799"/>
                  <a:gd name="connsiteX1" fmla="*/ 28575 w 302894"/>
                  <a:gd name="connsiteY1" fmla="*/ 6572 h 302799"/>
                  <a:gd name="connsiteX2" fmla="*/ 42863 w 302894"/>
                  <a:gd name="connsiteY2" fmla="*/ 3810 h 302799"/>
                  <a:gd name="connsiteX3" fmla="*/ 84772 w 302894"/>
                  <a:gd name="connsiteY3" fmla="*/ 20860 h 302799"/>
                  <a:gd name="connsiteX4" fmla="*/ 116205 w 302894"/>
                  <a:gd name="connsiteY4" fmla="*/ 28575 h 302799"/>
                  <a:gd name="connsiteX5" fmla="*/ 140970 w 302894"/>
                  <a:gd name="connsiteY5" fmla="*/ 24765 h 302799"/>
                  <a:gd name="connsiteX6" fmla="*/ 159068 w 302894"/>
                  <a:gd name="connsiteY6" fmla="*/ 14288 h 302799"/>
                  <a:gd name="connsiteX7" fmla="*/ 197168 w 302894"/>
                  <a:gd name="connsiteY7" fmla="*/ 10478 h 302799"/>
                  <a:gd name="connsiteX8" fmla="*/ 215265 w 302894"/>
                  <a:gd name="connsiteY8" fmla="*/ 20860 h 302799"/>
                  <a:gd name="connsiteX9" fmla="*/ 236220 w 302894"/>
                  <a:gd name="connsiteY9" fmla="*/ 18098 h 302799"/>
                  <a:gd name="connsiteX10" fmla="*/ 264795 w 302894"/>
                  <a:gd name="connsiteY10" fmla="*/ 20860 h 302799"/>
                  <a:gd name="connsiteX11" fmla="*/ 271463 w 302894"/>
                  <a:gd name="connsiteY11" fmla="*/ 35147 h 302799"/>
                  <a:gd name="connsiteX12" fmla="*/ 285750 w 302894"/>
                  <a:gd name="connsiteY12" fmla="*/ 70485 h 302799"/>
                  <a:gd name="connsiteX13" fmla="*/ 278130 w 302894"/>
                  <a:gd name="connsiteY13" fmla="*/ 77153 h 302799"/>
                  <a:gd name="connsiteX14" fmla="*/ 267652 w 302894"/>
                  <a:gd name="connsiteY14" fmla="*/ 99060 h 302799"/>
                  <a:gd name="connsiteX15" fmla="*/ 264795 w 302894"/>
                  <a:gd name="connsiteY15" fmla="*/ 116110 h 302799"/>
                  <a:gd name="connsiteX16" fmla="*/ 257175 w 302894"/>
                  <a:gd name="connsiteY16" fmla="*/ 123825 h 302799"/>
                  <a:gd name="connsiteX17" fmla="*/ 246697 w 302894"/>
                  <a:gd name="connsiteY17" fmla="*/ 105728 h 302799"/>
                  <a:gd name="connsiteX18" fmla="*/ 240030 w 302894"/>
                  <a:gd name="connsiteY18" fmla="*/ 84773 h 302799"/>
                  <a:gd name="connsiteX19" fmla="*/ 229552 w 302894"/>
                  <a:gd name="connsiteY19" fmla="*/ 70485 h 302799"/>
                  <a:gd name="connsiteX20" fmla="*/ 221932 w 302894"/>
                  <a:gd name="connsiteY20" fmla="*/ 49435 h 302799"/>
                  <a:gd name="connsiteX21" fmla="*/ 215265 w 302894"/>
                  <a:gd name="connsiteY21" fmla="*/ 28575 h 302799"/>
                  <a:gd name="connsiteX22" fmla="*/ 215265 w 302894"/>
                  <a:gd name="connsiteY22" fmla="*/ 41910 h 302799"/>
                  <a:gd name="connsiteX23" fmla="*/ 219075 w 302894"/>
                  <a:gd name="connsiteY23" fmla="*/ 74200 h 302799"/>
                  <a:gd name="connsiteX24" fmla="*/ 225743 w 302894"/>
                  <a:gd name="connsiteY24" fmla="*/ 95250 h 302799"/>
                  <a:gd name="connsiteX25" fmla="*/ 240030 w 302894"/>
                  <a:gd name="connsiteY25" fmla="*/ 112300 h 302799"/>
                  <a:gd name="connsiteX26" fmla="*/ 250507 w 302894"/>
                  <a:gd name="connsiteY26" fmla="*/ 126587 h 302799"/>
                  <a:gd name="connsiteX27" fmla="*/ 264795 w 302894"/>
                  <a:gd name="connsiteY27" fmla="*/ 169450 h 302799"/>
                  <a:gd name="connsiteX28" fmla="*/ 300038 w 302894"/>
                  <a:gd name="connsiteY28" fmla="*/ 229553 h 302799"/>
                  <a:gd name="connsiteX29" fmla="*/ 302895 w 302894"/>
                  <a:gd name="connsiteY29" fmla="*/ 239935 h 302799"/>
                  <a:gd name="connsiteX30" fmla="*/ 302895 w 302894"/>
                  <a:gd name="connsiteY30" fmla="*/ 267653 h 302799"/>
                  <a:gd name="connsiteX31" fmla="*/ 288607 w 302894"/>
                  <a:gd name="connsiteY31" fmla="*/ 267653 h 302799"/>
                  <a:gd name="connsiteX32" fmla="*/ 254318 w 302894"/>
                  <a:gd name="connsiteY32" fmla="*/ 302800 h 302799"/>
                  <a:gd name="connsiteX33" fmla="*/ 236220 w 302894"/>
                  <a:gd name="connsiteY33" fmla="*/ 292322 h 302799"/>
                  <a:gd name="connsiteX34" fmla="*/ 10477 w 302894"/>
                  <a:gd name="connsiteY34" fmla="*/ 289560 h 302799"/>
                  <a:gd name="connsiteX35" fmla="*/ 10477 w 302894"/>
                  <a:gd name="connsiteY35" fmla="*/ 66675 h 302799"/>
                  <a:gd name="connsiteX36" fmla="*/ 3810 w 302894"/>
                  <a:gd name="connsiteY36" fmla="*/ 63722 h 302799"/>
                  <a:gd name="connsiteX37" fmla="*/ 0 w 302894"/>
                  <a:gd name="connsiteY37" fmla="*/ 41910 h 302799"/>
                  <a:gd name="connsiteX38" fmla="*/ 10477 w 302894"/>
                  <a:gd name="connsiteY38" fmla="*/ 35147 h 302799"/>
                  <a:gd name="connsiteX39" fmla="*/ 10477 w 302894"/>
                  <a:gd name="connsiteY39" fmla="*/ 0 h 302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302894" h="302799">
                    <a:moveTo>
                      <a:pt x="10477" y="0"/>
                    </a:moveTo>
                    <a:lnTo>
                      <a:pt x="28575" y="6572"/>
                    </a:lnTo>
                    <a:lnTo>
                      <a:pt x="42863" y="3810"/>
                    </a:lnTo>
                    <a:lnTo>
                      <a:pt x="84772" y="20860"/>
                    </a:lnTo>
                    <a:lnTo>
                      <a:pt x="116205" y="28575"/>
                    </a:lnTo>
                    <a:lnTo>
                      <a:pt x="140970" y="24765"/>
                    </a:lnTo>
                    <a:lnTo>
                      <a:pt x="159068" y="14288"/>
                    </a:lnTo>
                    <a:lnTo>
                      <a:pt x="197168" y="10478"/>
                    </a:lnTo>
                    <a:lnTo>
                      <a:pt x="215265" y="20860"/>
                    </a:lnTo>
                    <a:lnTo>
                      <a:pt x="236220" y="18098"/>
                    </a:lnTo>
                    <a:lnTo>
                      <a:pt x="264795" y="20860"/>
                    </a:lnTo>
                    <a:lnTo>
                      <a:pt x="271463" y="35147"/>
                    </a:lnTo>
                    <a:lnTo>
                      <a:pt x="285750" y="70485"/>
                    </a:lnTo>
                    <a:lnTo>
                      <a:pt x="278130" y="77153"/>
                    </a:lnTo>
                    <a:lnTo>
                      <a:pt x="267652" y="99060"/>
                    </a:lnTo>
                    <a:lnTo>
                      <a:pt x="264795" y="116110"/>
                    </a:lnTo>
                    <a:lnTo>
                      <a:pt x="257175" y="123825"/>
                    </a:lnTo>
                    <a:lnTo>
                      <a:pt x="246697" y="105728"/>
                    </a:lnTo>
                    <a:lnTo>
                      <a:pt x="240030" y="84773"/>
                    </a:lnTo>
                    <a:lnTo>
                      <a:pt x="229552" y="70485"/>
                    </a:lnTo>
                    <a:lnTo>
                      <a:pt x="221932" y="49435"/>
                    </a:lnTo>
                    <a:lnTo>
                      <a:pt x="215265" y="28575"/>
                    </a:lnTo>
                    <a:lnTo>
                      <a:pt x="215265" y="41910"/>
                    </a:lnTo>
                    <a:lnTo>
                      <a:pt x="219075" y="74200"/>
                    </a:lnTo>
                    <a:lnTo>
                      <a:pt x="225743" y="95250"/>
                    </a:lnTo>
                    <a:lnTo>
                      <a:pt x="240030" y="112300"/>
                    </a:lnTo>
                    <a:lnTo>
                      <a:pt x="250507" y="126587"/>
                    </a:lnTo>
                    <a:lnTo>
                      <a:pt x="264795" y="169450"/>
                    </a:lnTo>
                    <a:lnTo>
                      <a:pt x="300038" y="229553"/>
                    </a:lnTo>
                    <a:lnTo>
                      <a:pt x="302895" y="239935"/>
                    </a:lnTo>
                    <a:lnTo>
                      <a:pt x="302895" y="267653"/>
                    </a:lnTo>
                    <a:lnTo>
                      <a:pt x="288607" y="267653"/>
                    </a:lnTo>
                    <a:lnTo>
                      <a:pt x="254318" y="302800"/>
                    </a:lnTo>
                    <a:lnTo>
                      <a:pt x="236220" y="292322"/>
                    </a:lnTo>
                    <a:lnTo>
                      <a:pt x="10477" y="289560"/>
                    </a:lnTo>
                    <a:lnTo>
                      <a:pt x="10477" y="66675"/>
                    </a:lnTo>
                    <a:lnTo>
                      <a:pt x="3810" y="63722"/>
                    </a:lnTo>
                    <a:lnTo>
                      <a:pt x="0" y="41910"/>
                    </a:lnTo>
                    <a:lnTo>
                      <a:pt x="10477" y="35147"/>
                    </a:lnTo>
                    <a:lnTo>
                      <a:pt x="10477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79ACEE19-086D-CD8D-9B12-06B42CDC7EF8}"/>
                  </a:ext>
                </a:extLst>
              </p:cNvPr>
              <p:cNvSpPr/>
              <p:nvPr/>
            </p:nvSpPr>
            <p:spPr>
              <a:xfrm>
                <a:off x="6255295" y="3604403"/>
                <a:ext cx="429513" cy="383670"/>
              </a:xfrm>
              <a:custGeom>
                <a:avLst/>
                <a:gdLst>
                  <a:gd name="connsiteX0" fmla="*/ 61913 w 438150"/>
                  <a:gd name="connsiteY0" fmla="*/ 0 h 391382"/>
                  <a:gd name="connsiteX1" fmla="*/ 89535 w 438150"/>
                  <a:gd name="connsiteY1" fmla="*/ 6572 h 391382"/>
                  <a:gd name="connsiteX2" fmla="*/ 139065 w 438150"/>
                  <a:gd name="connsiteY2" fmla="*/ 13335 h 391382"/>
                  <a:gd name="connsiteX3" fmla="*/ 163830 w 438150"/>
                  <a:gd name="connsiteY3" fmla="*/ 27622 h 391382"/>
                  <a:gd name="connsiteX4" fmla="*/ 174307 w 438150"/>
                  <a:gd name="connsiteY4" fmla="*/ 48482 h 391382"/>
                  <a:gd name="connsiteX5" fmla="*/ 188595 w 438150"/>
                  <a:gd name="connsiteY5" fmla="*/ 60008 h 391382"/>
                  <a:gd name="connsiteX6" fmla="*/ 220028 w 438150"/>
                  <a:gd name="connsiteY6" fmla="*/ 60008 h 391382"/>
                  <a:gd name="connsiteX7" fmla="*/ 240982 w 438150"/>
                  <a:gd name="connsiteY7" fmla="*/ 73247 h 391382"/>
                  <a:gd name="connsiteX8" fmla="*/ 276225 w 438150"/>
                  <a:gd name="connsiteY8" fmla="*/ 95250 h 391382"/>
                  <a:gd name="connsiteX9" fmla="*/ 300990 w 438150"/>
                  <a:gd name="connsiteY9" fmla="*/ 70485 h 391382"/>
                  <a:gd name="connsiteX10" fmla="*/ 304800 w 438150"/>
                  <a:gd name="connsiteY10" fmla="*/ 52388 h 391382"/>
                  <a:gd name="connsiteX11" fmla="*/ 294323 w 438150"/>
                  <a:gd name="connsiteY11" fmla="*/ 38100 h 391382"/>
                  <a:gd name="connsiteX12" fmla="*/ 311468 w 438150"/>
                  <a:gd name="connsiteY12" fmla="*/ 20860 h 391382"/>
                  <a:gd name="connsiteX13" fmla="*/ 336232 w 438150"/>
                  <a:gd name="connsiteY13" fmla="*/ 10382 h 391382"/>
                  <a:gd name="connsiteX14" fmla="*/ 367665 w 438150"/>
                  <a:gd name="connsiteY14" fmla="*/ 13335 h 391382"/>
                  <a:gd name="connsiteX15" fmla="*/ 392430 w 438150"/>
                  <a:gd name="connsiteY15" fmla="*/ 27622 h 391382"/>
                  <a:gd name="connsiteX16" fmla="*/ 417195 w 438150"/>
                  <a:gd name="connsiteY16" fmla="*/ 38100 h 391382"/>
                  <a:gd name="connsiteX17" fmla="*/ 438150 w 438150"/>
                  <a:gd name="connsiteY17" fmla="*/ 41910 h 391382"/>
                  <a:gd name="connsiteX18" fmla="*/ 438150 w 438150"/>
                  <a:gd name="connsiteY18" fmla="*/ 77057 h 391382"/>
                  <a:gd name="connsiteX19" fmla="*/ 427673 w 438150"/>
                  <a:gd name="connsiteY19" fmla="*/ 83820 h 391382"/>
                  <a:gd name="connsiteX20" fmla="*/ 431482 w 438150"/>
                  <a:gd name="connsiteY20" fmla="*/ 105632 h 391382"/>
                  <a:gd name="connsiteX21" fmla="*/ 438150 w 438150"/>
                  <a:gd name="connsiteY21" fmla="*/ 108585 h 391382"/>
                  <a:gd name="connsiteX22" fmla="*/ 438150 w 438150"/>
                  <a:gd name="connsiteY22" fmla="*/ 331470 h 391382"/>
                  <a:gd name="connsiteX23" fmla="*/ 438150 w 438150"/>
                  <a:gd name="connsiteY23" fmla="*/ 391382 h 391382"/>
                  <a:gd name="connsiteX24" fmla="*/ 406718 w 438150"/>
                  <a:gd name="connsiteY24" fmla="*/ 391382 h 391382"/>
                  <a:gd name="connsiteX25" fmla="*/ 170498 w 438150"/>
                  <a:gd name="connsiteY25" fmla="*/ 296132 h 391382"/>
                  <a:gd name="connsiteX26" fmla="*/ 160020 w 438150"/>
                  <a:gd name="connsiteY26" fmla="*/ 306610 h 391382"/>
                  <a:gd name="connsiteX27" fmla="*/ 139065 w 438150"/>
                  <a:gd name="connsiteY27" fmla="*/ 317182 h 391382"/>
                  <a:gd name="connsiteX28" fmla="*/ 121920 w 438150"/>
                  <a:gd name="connsiteY28" fmla="*/ 302895 h 391382"/>
                  <a:gd name="connsiteX29" fmla="*/ 103823 w 438150"/>
                  <a:gd name="connsiteY29" fmla="*/ 296132 h 391382"/>
                  <a:gd name="connsiteX30" fmla="*/ 76200 w 438150"/>
                  <a:gd name="connsiteY30" fmla="*/ 288607 h 391382"/>
                  <a:gd name="connsiteX31" fmla="*/ 64770 w 438150"/>
                  <a:gd name="connsiteY31" fmla="*/ 278035 h 391382"/>
                  <a:gd name="connsiteX32" fmla="*/ 58103 w 438150"/>
                  <a:gd name="connsiteY32" fmla="*/ 263747 h 391382"/>
                  <a:gd name="connsiteX33" fmla="*/ 24765 w 438150"/>
                  <a:gd name="connsiteY33" fmla="*/ 260985 h 391382"/>
                  <a:gd name="connsiteX34" fmla="*/ 14288 w 438150"/>
                  <a:gd name="connsiteY34" fmla="*/ 238982 h 391382"/>
                  <a:gd name="connsiteX35" fmla="*/ 6668 w 438150"/>
                  <a:gd name="connsiteY35" fmla="*/ 221932 h 391382"/>
                  <a:gd name="connsiteX36" fmla="*/ 0 w 438150"/>
                  <a:gd name="connsiteY36" fmla="*/ 203835 h 391382"/>
                  <a:gd name="connsiteX37" fmla="*/ 14288 w 438150"/>
                  <a:gd name="connsiteY37" fmla="*/ 197072 h 391382"/>
                  <a:gd name="connsiteX38" fmla="*/ 14288 w 438150"/>
                  <a:gd name="connsiteY38" fmla="*/ 116110 h 391382"/>
                  <a:gd name="connsiteX39" fmla="*/ 6668 w 438150"/>
                  <a:gd name="connsiteY39" fmla="*/ 83820 h 391382"/>
                  <a:gd name="connsiteX40" fmla="*/ 20955 w 438150"/>
                  <a:gd name="connsiteY40" fmla="*/ 73247 h 391382"/>
                  <a:gd name="connsiteX41" fmla="*/ 20955 w 438150"/>
                  <a:gd name="connsiteY41" fmla="*/ 45720 h 391382"/>
                  <a:gd name="connsiteX42" fmla="*/ 58103 w 438150"/>
                  <a:gd name="connsiteY42" fmla="*/ 20860 h 391382"/>
                  <a:gd name="connsiteX43" fmla="*/ 61913 w 438150"/>
                  <a:gd name="connsiteY43" fmla="*/ 17145 h 391382"/>
                  <a:gd name="connsiteX44" fmla="*/ 61913 w 438150"/>
                  <a:gd name="connsiteY44" fmla="*/ 0 h 391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438150" h="391382">
                    <a:moveTo>
                      <a:pt x="61913" y="0"/>
                    </a:moveTo>
                    <a:lnTo>
                      <a:pt x="89535" y="6572"/>
                    </a:lnTo>
                    <a:lnTo>
                      <a:pt x="139065" y="13335"/>
                    </a:lnTo>
                    <a:lnTo>
                      <a:pt x="163830" y="27622"/>
                    </a:lnTo>
                    <a:lnTo>
                      <a:pt x="174307" y="48482"/>
                    </a:lnTo>
                    <a:lnTo>
                      <a:pt x="188595" y="60008"/>
                    </a:lnTo>
                    <a:lnTo>
                      <a:pt x="220028" y="60008"/>
                    </a:lnTo>
                    <a:lnTo>
                      <a:pt x="240982" y="73247"/>
                    </a:lnTo>
                    <a:lnTo>
                      <a:pt x="276225" y="95250"/>
                    </a:lnTo>
                    <a:lnTo>
                      <a:pt x="300990" y="70485"/>
                    </a:lnTo>
                    <a:lnTo>
                      <a:pt x="304800" y="52388"/>
                    </a:lnTo>
                    <a:lnTo>
                      <a:pt x="294323" y="38100"/>
                    </a:lnTo>
                    <a:lnTo>
                      <a:pt x="311468" y="20860"/>
                    </a:lnTo>
                    <a:lnTo>
                      <a:pt x="336232" y="10382"/>
                    </a:lnTo>
                    <a:lnTo>
                      <a:pt x="367665" y="13335"/>
                    </a:lnTo>
                    <a:lnTo>
                      <a:pt x="392430" y="27622"/>
                    </a:lnTo>
                    <a:lnTo>
                      <a:pt x="417195" y="38100"/>
                    </a:lnTo>
                    <a:lnTo>
                      <a:pt x="438150" y="41910"/>
                    </a:lnTo>
                    <a:lnTo>
                      <a:pt x="438150" y="77057"/>
                    </a:lnTo>
                    <a:lnTo>
                      <a:pt x="427673" y="83820"/>
                    </a:lnTo>
                    <a:lnTo>
                      <a:pt x="431482" y="105632"/>
                    </a:lnTo>
                    <a:lnTo>
                      <a:pt x="438150" y="108585"/>
                    </a:lnTo>
                    <a:lnTo>
                      <a:pt x="438150" y="331470"/>
                    </a:lnTo>
                    <a:lnTo>
                      <a:pt x="438150" y="391382"/>
                    </a:lnTo>
                    <a:lnTo>
                      <a:pt x="406718" y="391382"/>
                    </a:lnTo>
                    <a:lnTo>
                      <a:pt x="170498" y="296132"/>
                    </a:lnTo>
                    <a:lnTo>
                      <a:pt x="160020" y="306610"/>
                    </a:lnTo>
                    <a:lnTo>
                      <a:pt x="139065" y="317182"/>
                    </a:lnTo>
                    <a:lnTo>
                      <a:pt x="121920" y="302895"/>
                    </a:lnTo>
                    <a:lnTo>
                      <a:pt x="103823" y="296132"/>
                    </a:lnTo>
                    <a:lnTo>
                      <a:pt x="76200" y="288607"/>
                    </a:lnTo>
                    <a:lnTo>
                      <a:pt x="64770" y="278035"/>
                    </a:lnTo>
                    <a:lnTo>
                      <a:pt x="58103" y="263747"/>
                    </a:lnTo>
                    <a:lnTo>
                      <a:pt x="24765" y="260985"/>
                    </a:lnTo>
                    <a:lnTo>
                      <a:pt x="14288" y="238982"/>
                    </a:lnTo>
                    <a:lnTo>
                      <a:pt x="6668" y="221932"/>
                    </a:lnTo>
                    <a:lnTo>
                      <a:pt x="0" y="203835"/>
                    </a:lnTo>
                    <a:lnTo>
                      <a:pt x="14288" y="197072"/>
                    </a:lnTo>
                    <a:lnTo>
                      <a:pt x="14288" y="116110"/>
                    </a:lnTo>
                    <a:lnTo>
                      <a:pt x="6668" y="83820"/>
                    </a:lnTo>
                    <a:lnTo>
                      <a:pt x="20955" y="73247"/>
                    </a:lnTo>
                    <a:lnTo>
                      <a:pt x="20955" y="45720"/>
                    </a:lnTo>
                    <a:lnTo>
                      <a:pt x="58103" y="20860"/>
                    </a:lnTo>
                    <a:lnTo>
                      <a:pt x="61913" y="17145"/>
                    </a:lnTo>
                    <a:lnTo>
                      <a:pt x="61913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6652F0EA-1FF8-DBB5-8DD6-8EAEC2B2C7F0}"/>
                  </a:ext>
                </a:extLst>
              </p:cNvPr>
              <p:cNvSpPr/>
              <p:nvPr/>
            </p:nvSpPr>
            <p:spPr>
              <a:xfrm>
                <a:off x="6203939" y="3476483"/>
                <a:ext cx="112047" cy="210089"/>
              </a:xfrm>
              <a:custGeom>
                <a:avLst/>
                <a:gdLst>
                  <a:gd name="connsiteX0" fmla="*/ 27623 w 114300"/>
                  <a:gd name="connsiteY0" fmla="*/ 10477 h 214312"/>
                  <a:gd name="connsiteX1" fmla="*/ 52388 w 114300"/>
                  <a:gd name="connsiteY1" fmla="*/ 0 h 214312"/>
                  <a:gd name="connsiteX2" fmla="*/ 66675 w 114300"/>
                  <a:gd name="connsiteY2" fmla="*/ 0 h 214312"/>
                  <a:gd name="connsiteX3" fmla="*/ 73343 w 114300"/>
                  <a:gd name="connsiteY3" fmla="*/ 13240 h 214312"/>
                  <a:gd name="connsiteX4" fmla="*/ 83820 w 114300"/>
                  <a:gd name="connsiteY4" fmla="*/ 17145 h 214312"/>
                  <a:gd name="connsiteX5" fmla="*/ 94298 w 114300"/>
                  <a:gd name="connsiteY5" fmla="*/ 10477 h 214312"/>
                  <a:gd name="connsiteX6" fmla="*/ 101918 w 114300"/>
                  <a:gd name="connsiteY6" fmla="*/ 13240 h 214312"/>
                  <a:gd name="connsiteX7" fmla="*/ 98107 w 114300"/>
                  <a:gd name="connsiteY7" fmla="*/ 24765 h 214312"/>
                  <a:gd name="connsiteX8" fmla="*/ 87630 w 114300"/>
                  <a:gd name="connsiteY8" fmla="*/ 27527 h 214312"/>
                  <a:gd name="connsiteX9" fmla="*/ 80963 w 114300"/>
                  <a:gd name="connsiteY9" fmla="*/ 41815 h 214312"/>
                  <a:gd name="connsiteX10" fmla="*/ 87630 w 114300"/>
                  <a:gd name="connsiteY10" fmla="*/ 48577 h 214312"/>
                  <a:gd name="connsiteX11" fmla="*/ 101918 w 114300"/>
                  <a:gd name="connsiteY11" fmla="*/ 56102 h 214312"/>
                  <a:gd name="connsiteX12" fmla="*/ 101918 w 114300"/>
                  <a:gd name="connsiteY12" fmla="*/ 66675 h 214312"/>
                  <a:gd name="connsiteX13" fmla="*/ 91440 w 114300"/>
                  <a:gd name="connsiteY13" fmla="*/ 77152 h 214312"/>
                  <a:gd name="connsiteX14" fmla="*/ 80963 w 114300"/>
                  <a:gd name="connsiteY14" fmla="*/ 80963 h 214312"/>
                  <a:gd name="connsiteX15" fmla="*/ 70485 w 114300"/>
                  <a:gd name="connsiteY15" fmla="*/ 95250 h 214312"/>
                  <a:gd name="connsiteX16" fmla="*/ 77153 w 114300"/>
                  <a:gd name="connsiteY16" fmla="*/ 112300 h 214312"/>
                  <a:gd name="connsiteX17" fmla="*/ 94298 w 114300"/>
                  <a:gd name="connsiteY17" fmla="*/ 112300 h 214312"/>
                  <a:gd name="connsiteX18" fmla="*/ 101918 w 114300"/>
                  <a:gd name="connsiteY18" fmla="*/ 122777 h 214312"/>
                  <a:gd name="connsiteX19" fmla="*/ 114300 w 114300"/>
                  <a:gd name="connsiteY19" fmla="*/ 130492 h 214312"/>
                  <a:gd name="connsiteX20" fmla="*/ 114300 w 114300"/>
                  <a:gd name="connsiteY20" fmla="*/ 147638 h 214312"/>
                  <a:gd name="connsiteX21" fmla="*/ 73343 w 114300"/>
                  <a:gd name="connsiteY21" fmla="*/ 176213 h 214312"/>
                  <a:gd name="connsiteX22" fmla="*/ 73343 w 114300"/>
                  <a:gd name="connsiteY22" fmla="*/ 203740 h 214312"/>
                  <a:gd name="connsiteX23" fmla="*/ 59055 w 114300"/>
                  <a:gd name="connsiteY23" fmla="*/ 214313 h 214312"/>
                  <a:gd name="connsiteX24" fmla="*/ 48578 w 114300"/>
                  <a:gd name="connsiteY24" fmla="*/ 211455 h 214312"/>
                  <a:gd name="connsiteX25" fmla="*/ 45720 w 114300"/>
                  <a:gd name="connsiteY25" fmla="*/ 190500 h 214312"/>
                  <a:gd name="connsiteX26" fmla="*/ 41910 w 114300"/>
                  <a:gd name="connsiteY26" fmla="*/ 161925 h 214312"/>
                  <a:gd name="connsiteX27" fmla="*/ 17145 w 114300"/>
                  <a:gd name="connsiteY27" fmla="*/ 133350 h 214312"/>
                  <a:gd name="connsiteX28" fmla="*/ 0 w 114300"/>
                  <a:gd name="connsiteY28" fmla="*/ 112300 h 214312"/>
                  <a:gd name="connsiteX29" fmla="*/ 0 w 114300"/>
                  <a:gd name="connsiteY29" fmla="*/ 98012 h 214312"/>
                  <a:gd name="connsiteX30" fmla="*/ 20955 w 114300"/>
                  <a:gd name="connsiteY30" fmla="*/ 80963 h 214312"/>
                  <a:gd name="connsiteX31" fmla="*/ 20955 w 114300"/>
                  <a:gd name="connsiteY31" fmla="*/ 17145 h 214312"/>
                  <a:gd name="connsiteX32" fmla="*/ 27623 w 114300"/>
                  <a:gd name="connsiteY32" fmla="*/ 10477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14300" h="214312">
                    <a:moveTo>
                      <a:pt x="27623" y="10477"/>
                    </a:moveTo>
                    <a:lnTo>
                      <a:pt x="52388" y="0"/>
                    </a:lnTo>
                    <a:lnTo>
                      <a:pt x="66675" y="0"/>
                    </a:lnTo>
                    <a:lnTo>
                      <a:pt x="73343" y="13240"/>
                    </a:lnTo>
                    <a:lnTo>
                      <a:pt x="83820" y="17145"/>
                    </a:lnTo>
                    <a:lnTo>
                      <a:pt x="94298" y="10477"/>
                    </a:lnTo>
                    <a:lnTo>
                      <a:pt x="101918" y="13240"/>
                    </a:lnTo>
                    <a:lnTo>
                      <a:pt x="98107" y="24765"/>
                    </a:lnTo>
                    <a:lnTo>
                      <a:pt x="87630" y="27527"/>
                    </a:lnTo>
                    <a:lnTo>
                      <a:pt x="80963" y="41815"/>
                    </a:lnTo>
                    <a:lnTo>
                      <a:pt x="87630" y="48577"/>
                    </a:lnTo>
                    <a:lnTo>
                      <a:pt x="101918" y="56102"/>
                    </a:lnTo>
                    <a:lnTo>
                      <a:pt x="101918" y="66675"/>
                    </a:lnTo>
                    <a:lnTo>
                      <a:pt x="91440" y="77152"/>
                    </a:lnTo>
                    <a:lnTo>
                      <a:pt x="80963" y="80963"/>
                    </a:lnTo>
                    <a:lnTo>
                      <a:pt x="70485" y="95250"/>
                    </a:lnTo>
                    <a:lnTo>
                      <a:pt x="77153" y="112300"/>
                    </a:lnTo>
                    <a:lnTo>
                      <a:pt x="94298" y="112300"/>
                    </a:lnTo>
                    <a:lnTo>
                      <a:pt x="101918" y="122777"/>
                    </a:lnTo>
                    <a:lnTo>
                      <a:pt x="114300" y="130492"/>
                    </a:lnTo>
                    <a:lnTo>
                      <a:pt x="114300" y="147638"/>
                    </a:lnTo>
                    <a:lnTo>
                      <a:pt x="73343" y="176213"/>
                    </a:lnTo>
                    <a:lnTo>
                      <a:pt x="73343" y="203740"/>
                    </a:lnTo>
                    <a:lnTo>
                      <a:pt x="59055" y="214313"/>
                    </a:lnTo>
                    <a:lnTo>
                      <a:pt x="48578" y="211455"/>
                    </a:lnTo>
                    <a:lnTo>
                      <a:pt x="45720" y="190500"/>
                    </a:lnTo>
                    <a:lnTo>
                      <a:pt x="41910" y="161925"/>
                    </a:lnTo>
                    <a:lnTo>
                      <a:pt x="17145" y="133350"/>
                    </a:lnTo>
                    <a:lnTo>
                      <a:pt x="0" y="112300"/>
                    </a:lnTo>
                    <a:lnTo>
                      <a:pt x="0" y="98012"/>
                    </a:lnTo>
                    <a:lnTo>
                      <a:pt x="20955" y="80963"/>
                    </a:lnTo>
                    <a:lnTo>
                      <a:pt x="20955" y="17145"/>
                    </a:lnTo>
                    <a:lnTo>
                      <a:pt x="27623" y="1047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C272B0B5-BED5-CAEF-37D5-56B881099E6F}"/>
                  </a:ext>
                </a:extLst>
              </p:cNvPr>
              <p:cNvSpPr/>
              <p:nvPr/>
            </p:nvSpPr>
            <p:spPr>
              <a:xfrm>
                <a:off x="6203939" y="3476483"/>
                <a:ext cx="112047" cy="210089"/>
              </a:xfrm>
              <a:custGeom>
                <a:avLst/>
                <a:gdLst>
                  <a:gd name="connsiteX0" fmla="*/ 27623 w 114300"/>
                  <a:gd name="connsiteY0" fmla="*/ 10477 h 214312"/>
                  <a:gd name="connsiteX1" fmla="*/ 52388 w 114300"/>
                  <a:gd name="connsiteY1" fmla="*/ 0 h 214312"/>
                  <a:gd name="connsiteX2" fmla="*/ 66675 w 114300"/>
                  <a:gd name="connsiteY2" fmla="*/ 0 h 214312"/>
                  <a:gd name="connsiteX3" fmla="*/ 73343 w 114300"/>
                  <a:gd name="connsiteY3" fmla="*/ 13240 h 214312"/>
                  <a:gd name="connsiteX4" fmla="*/ 83820 w 114300"/>
                  <a:gd name="connsiteY4" fmla="*/ 17145 h 214312"/>
                  <a:gd name="connsiteX5" fmla="*/ 94298 w 114300"/>
                  <a:gd name="connsiteY5" fmla="*/ 10477 h 214312"/>
                  <a:gd name="connsiteX6" fmla="*/ 101918 w 114300"/>
                  <a:gd name="connsiteY6" fmla="*/ 13240 h 214312"/>
                  <a:gd name="connsiteX7" fmla="*/ 98107 w 114300"/>
                  <a:gd name="connsiteY7" fmla="*/ 24765 h 214312"/>
                  <a:gd name="connsiteX8" fmla="*/ 87630 w 114300"/>
                  <a:gd name="connsiteY8" fmla="*/ 27527 h 214312"/>
                  <a:gd name="connsiteX9" fmla="*/ 80963 w 114300"/>
                  <a:gd name="connsiteY9" fmla="*/ 41815 h 214312"/>
                  <a:gd name="connsiteX10" fmla="*/ 87630 w 114300"/>
                  <a:gd name="connsiteY10" fmla="*/ 48577 h 214312"/>
                  <a:gd name="connsiteX11" fmla="*/ 101918 w 114300"/>
                  <a:gd name="connsiteY11" fmla="*/ 56102 h 214312"/>
                  <a:gd name="connsiteX12" fmla="*/ 101918 w 114300"/>
                  <a:gd name="connsiteY12" fmla="*/ 66675 h 214312"/>
                  <a:gd name="connsiteX13" fmla="*/ 91440 w 114300"/>
                  <a:gd name="connsiteY13" fmla="*/ 77152 h 214312"/>
                  <a:gd name="connsiteX14" fmla="*/ 80963 w 114300"/>
                  <a:gd name="connsiteY14" fmla="*/ 80963 h 214312"/>
                  <a:gd name="connsiteX15" fmla="*/ 70485 w 114300"/>
                  <a:gd name="connsiteY15" fmla="*/ 95250 h 214312"/>
                  <a:gd name="connsiteX16" fmla="*/ 77153 w 114300"/>
                  <a:gd name="connsiteY16" fmla="*/ 112300 h 214312"/>
                  <a:gd name="connsiteX17" fmla="*/ 94298 w 114300"/>
                  <a:gd name="connsiteY17" fmla="*/ 112300 h 214312"/>
                  <a:gd name="connsiteX18" fmla="*/ 101918 w 114300"/>
                  <a:gd name="connsiteY18" fmla="*/ 122777 h 214312"/>
                  <a:gd name="connsiteX19" fmla="*/ 114300 w 114300"/>
                  <a:gd name="connsiteY19" fmla="*/ 130492 h 214312"/>
                  <a:gd name="connsiteX20" fmla="*/ 114300 w 114300"/>
                  <a:gd name="connsiteY20" fmla="*/ 147638 h 214312"/>
                  <a:gd name="connsiteX21" fmla="*/ 73343 w 114300"/>
                  <a:gd name="connsiteY21" fmla="*/ 176213 h 214312"/>
                  <a:gd name="connsiteX22" fmla="*/ 73343 w 114300"/>
                  <a:gd name="connsiteY22" fmla="*/ 203740 h 214312"/>
                  <a:gd name="connsiteX23" fmla="*/ 59055 w 114300"/>
                  <a:gd name="connsiteY23" fmla="*/ 214313 h 214312"/>
                  <a:gd name="connsiteX24" fmla="*/ 48578 w 114300"/>
                  <a:gd name="connsiteY24" fmla="*/ 211455 h 214312"/>
                  <a:gd name="connsiteX25" fmla="*/ 45720 w 114300"/>
                  <a:gd name="connsiteY25" fmla="*/ 190500 h 214312"/>
                  <a:gd name="connsiteX26" fmla="*/ 41910 w 114300"/>
                  <a:gd name="connsiteY26" fmla="*/ 161925 h 214312"/>
                  <a:gd name="connsiteX27" fmla="*/ 17145 w 114300"/>
                  <a:gd name="connsiteY27" fmla="*/ 133350 h 214312"/>
                  <a:gd name="connsiteX28" fmla="*/ 0 w 114300"/>
                  <a:gd name="connsiteY28" fmla="*/ 112300 h 214312"/>
                  <a:gd name="connsiteX29" fmla="*/ 0 w 114300"/>
                  <a:gd name="connsiteY29" fmla="*/ 98012 h 214312"/>
                  <a:gd name="connsiteX30" fmla="*/ 20955 w 114300"/>
                  <a:gd name="connsiteY30" fmla="*/ 80963 h 214312"/>
                  <a:gd name="connsiteX31" fmla="*/ 20955 w 114300"/>
                  <a:gd name="connsiteY31" fmla="*/ 17145 h 214312"/>
                  <a:gd name="connsiteX32" fmla="*/ 27623 w 114300"/>
                  <a:gd name="connsiteY32" fmla="*/ 10477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14300" h="214312">
                    <a:moveTo>
                      <a:pt x="27623" y="10477"/>
                    </a:moveTo>
                    <a:lnTo>
                      <a:pt x="52388" y="0"/>
                    </a:lnTo>
                    <a:lnTo>
                      <a:pt x="66675" y="0"/>
                    </a:lnTo>
                    <a:lnTo>
                      <a:pt x="73343" y="13240"/>
                    </a:lnTo>
                    <a:lnTo>
                      <a:pt x="83820" y="17145"/>
                    </a:lnTo>
                    <a:lnTo>
                      <a:pt x="94298" y="10477"/>
                    </a:lnTo>
                    <a:lnTo>
                      <a:pt x="101918" y="13240"/>
                    </a:lnTo>
                    <a:lnTo>
                      <a:pt x="98107" y="24765"/>
                    </a:lnTo>
                    <a:lnTo>
                      <a:pt x="87630" y="27527"/>
                    </a:lnTo>
                    <a:lnTo>
                      <a:pt x="80963" y="41815"/>
                    </a:lnTo>
                    <a:lnTo>
                      <a:pt x="87630" y="48577"/>
                    </a:lnTo>
                    <a:lnTo>
                      <a:pt x="101918" y="56102"/>
                    </a:lnTo>
                    <a:lnTo>
                      <a:pt x="101918" y="66675"/>
                    </a:lnTo>
                    <a:lnTo>
                      <a:pt x="91440" y="77152"/>
                    </a:lnTo>
                    <a:lnTo>
                      <a:pt x="80963" y="80963"/>
                    </a:lnTo>
                    <a:lnTo>
                      <a:pt x="70485" y="95250"/>
                    </a:lnTo>
                    <a:lnTo>
                      <a:pt x="77153" y="112300"/>
                    </a:lnTo>
                    <a:lnTo>
                      <a:pt x="94298" y="112300"/>
                    </a:lnTo>
                    <a:lnTo>
                      <a:pt x="101918" y="122777"/>
                    </a:lnTo>
                    <a:lnTo>
                      <a:pt x="114300" y="130492"/>
                    </a:lnTo>
                    <a:lnTo>
                      <a:pt x="114300" y="147638"/>
                    </a:lnTo>
                    <a:lnTo>
                      <a:pt x="73343" y="176213"/>
                    </a:lnTo>
                    <a:lnTo>
                      <a:pt x="73343" y="203740"/>
                    </a:lnTo>
                    <a:lnTo>
                      <a:pt x="59055" y="214313"/>
                    </a:lnTo>
                    <a:lnTo>
                      <a:pt x="48578" y="211455"/>
                    </a:lnTo>
                    <a:lnTo>
                      <a:pt x="45720" y="190500"/>
                    </a:lnTo>
                    <a:lnTo>
                      <a:pt x="41910" y="161925"/>
                    </a:lnTo>
                    <a:lnTo>
                      <a:pt x="17145" y="133350"/>
                    </a:lnTo>
                    <a:lnTo>
                      <a:pt x="0" y="112300"/>
                    </a:lnTo>
                    <a:lnTo>
                      <a:pt x="0" y="98012"/>
                    </a:lnTo>
                    <a:lnTo>
                      <a:pt x="20955" y="80963"/>
                    </a:lnTo>
                    <a:lnTo>
                      <a:pt x="20955" y="17145"/>
                    </a:lnTo>
                    <a:lnTo>
                      <a:pt x="27623" y="1047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105546A8-B62E-B026-410E-0899C6BD4B35}"/>
                  </a:ext>
                </a:extLst>
              </p:cNvPr>
              <p:cNvSpPr/>
              <p:nvPr/>
            </p:nvSpPr>
            <p:spPr>
              <a:xfrm>
                <a:off x="5758553" y="3486753"/>
                <a:ext cx="571438" cy="535961"/>
              </a:xfrm>
              <a:custGeom>
                <a:avLst/>
                <a:gdLst>
                  <a:gd name="connsiteX0" fmla="*/ 0 w 582929"/>
                  <a:gd name="connsiteY0" fmla="*/ 288512 h 546734"/>
                  <a:gd name="connsiteX1" fmla="*/ 0 w 582929"/>
                  <a:gd name="connsiteY1" fmla="*/ 257175 h 546734"/>
                  <a:gd name="connsiteX2" fmla="*/ 56197 w 582929"/>
                  <a:gd name="connsiteY2" fmla="*/ 221837 h 546734"/>
                  <a:gd name="connsiteX3" fmla="*/ 94297 w 582929"/>
                  <a:gd name="connsiteY3" fmla="*/ 218123 h 546734"/>
                  <a:gd name="connsiteX4" fmla="*/ 137160 w 582929"/>
                  <a:gd name="connsiteY4" fmla="*/ 182785 h 546734"/>
                  <a:gd name="connsiteX5" fmla="*/ 140970 w 582929"/>
                  <a:gd name="connsiteY5" fmla="*/ 168497 h 546734"/>
                  <a:gd name="connsiteX6" fmla="*/ 168592 w 582929"/>
                  <a:gd name="connsiteY6" fmla="*/ 151448 h 546734"/>
                  <a:gd name="connsiteX7" fmla="*/ 210503 w 582929"/>
                  <a:gd name="connsiteY7" fmla="*/ 147638 h 546734"/>
                  <a:gd name="connsiteX8" fmla="*/ 210503 w 582929"/>
                  <a:gd name="connsiteY8" fmla="*/ 133350 h 546734"/>
                  <a:gd name="connsiteX9" fmla="*/ 197167 w 582929"/>
                  <a:gd name="connsiteY9" fmla="*/ 116110 h 546734"/>
                  <a:gd name="connsiteX10" fmla="*/ 197167 w 582929"/>
                  <a:gd name="connsiteY10" fmla="*/ 70485 h 546734"/>
                  <a:gd name="connsiteX11" fmla="*/ 193357 w 582929"/>
                  <a:gd name="connsiteY11" fmla="*/ 59912 h 546734"/>
                  <a:gd name="connsiteX12" fmla="*/ 221932 w 582929"/>
                  <a:gd name="connsiteY12" fmla="*/ 38100 h 546734"/>
                  <a:gd name="connsiteX13" fmla="*/ 242888 w 582929"/>
                  <a:gd name="connsiteY13" fmla="*/ 35243 h 546734"/>
                  <a:gd name="connsiteX14" fmla="*/ 270510 w 582929"/>
                  <a:gd name="connsiteY14" fmla="*/ 17050 h 546734"/>
                  <a:gd name="connsiteX15" fmla="*/ 316230 w 582929"/>
                  <a:gd name="connsiteY15" fmla="*/ 10382 h 546734"/>
                  <a:gd name="connsiteX16" fmla="*/ 359092 w 582929"/>
                  <a:gd name="connsiteY16" fmla="*/ 2762 h 546734"/>
                  <a:gd name="connsiteX17" fmla="*/ 383857 w 582929"/>
                  <a:gd name="connsiteY17" fmla="*/ 6668 h 546734"/>
                  <a:gd name="connsiteX18" fmla="*/ 397192 w 582929"/>
                  <a:gd name="connsiteY18" fmla="*/ 10382 h 546734"/>
                  <a:gd name="connsiteX19" fmla="*/ 419100 w 582929"/>
                  <a:gd name="connsiteY19" fmla="*/ 0 h 546734"/>
                  <a:gd name="connsiteX20" fmla="*/ 446722 w 582929"/>
                  <a:gd name="connsiteY20" fmla="*/ 0 h 546734"/>
                  <a:gd name="connsiteX21" fmla="*/ 461010 w 582929"/>
                  <a:gd name="connsiteY21" fmla="*/ 0 h 546734"/>
                  <a:gd name="connsiteX22" fmla="*/ 475297 w 582929"/>
                  <a:gd name="connsiteY22" fmla="*/ 6668 h 546734"/>
                  <a:gd name="connsiteX23" fmla="*/ 475297 w 582929"/>
                  <a:gd name="connsiteY23" fmla="*/ 70485 h 546734"/>
                  <a:gd name="connsiteX24" fmla="*/ 454342 w 582929"/>
                  <a:gd name="connsiteY24" fmla="*/ 87535 h 546734"/>
                  <a:gd name="connsiteX25" fmla="*/ 454342 w 582929"/>
                  <a:gd name="connsiteY25" fmla="*/ 101822 h 546734"/>
                  <a:gd name="connsiteX26" fmla="*/ 496253 w 582929"/>
                  <a:gd name="connsiteY26" fmla="*/ 151448 h 546734"/>
                  <a:gd name="connsiteX27" fmla="*/ 502920 w 582929"/>
                  <a:gd name="connsiteY27" fmla="*/ 200978 h 546734"/>
                  <a:gd name="connsiteX28" fmla="*/ 513397 w 582929"/>
                  <a:gd name="connsiteY28" fmla="*/ 203835 h 546734"/>
                  <a:gd name="connsiteX29" fmla="*/ 517208 w 582929"/>
                  <a:gd name="connsiteY29" fmla="*/ 232410 h 546734"/>
                  <a:gd name="connsiteX30" fmla="*/ 521017 w 582929"/>
                  <a:gd name="connsiteY30" fmla="*/ 317087 h 546734"/>
                  <a:gd name="connsiteX31" fmla="*/ 506730 w 582929"/>
                  <a:gd name="connsiteY31" fmla="*/ 323850 h 546734"/>
                  <a:gd name="connsiteX32" fmla="*/ 513397 w 582929"/>
                  <a:gd name="connsiteY32" fmla="*/ 341947 h 546734"/>
                  <a:gd name="connsiteX33" fmla="*/ 531495 w 582929"/>
                  <a:gd name="connsiteY33" fmla="*/ 381000 h 546734"/>
                  <a:gd name="connsiteX34" fmla="*/ 564833 w 582929"/>
                  <a:gd name="connsiteY34" fmla="*/ 383762 h 546734"/>
                  <a:gd name="connsiteX35" fmla="*/ 571500 w 582929"/>
                  <a:gd name="connsiteY35" fmla="*/ 398050 h 546734"/>
                  <a:gd name="connsiteX36" fmla="*/ 582930 w 582929"/>
                  <a:gd name="connsiteY36" fmla="*/ 408622 h 546734"/>
                  <a:gd name="connsiteX37" fmla="*/ 464820 w 582929"/>
                  <a:gd name="connsiteY37" fmla="*/ 479012 h 546734"/>
                  <a:gd name="connsiteX38" fmla="*/ 397192 w 582929"/>
                  <a:gd name="connsiteY38" fmla="*/ 535210 h 546734"/>
                  <a:gd name="connsiteX39" fmla="*/ 361950 w 582929"/>
                  <a:gd name="connsiteY39" fmla="*/ 542925 h 546734"/>
                  <a:gd name="connsiteX40" fmla="*/ 330517 w 582929"/>
                  <a:gd name="connsiteY40" fmla="*/ 546735 h 546734"/>
                  <a:gd name="connsiteX41" fmla="*/ 334328 w 582929"/>
                  <a:gd name="connsiteY41" fmla="*/ 518160 h 546734"/>
                  <a:gd name="connsiteX42" fmla="*/ 299085 w 582929"/>
                  <a:gd name="connsiteY42" fmla="*/ 503872 h 546734"/>
                  <a:gd name="connsiteX43" fmla="*/ 280988 w 582929"/>
                  <a:gd name="connsiteY43" fmla="*/ 486728 h 546734"/>
                  <a:gd name="connsiteX44" fmla="*/ 0 w 582929"/>
                  <a:gd name="connsiteY44" fmla="*/ 288512 h 546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582929" h="546734">
                    <a:moveTo>
                      <a:pt x="0" y="288512"/>
                    </a:moveTo>
                    <a:lnTo>
                      <a:pt x="0" y="257175"/>
                    </a:lnTo>
                    <a:lnTo>
                      <a:pt x="56197" y="221837"/>
                    </a:lnTo>
                    <a:lnTo>
                      <a:pt x="94297" y="218123"/>
                    </a:lnTo>
                    <a:lnTo>
                      <a:pt x="137160" y="182785"/>
                    </a:lnTo>
                    <a:lnTo>
                      <a:pt x="140970" y="168497"/>
                    </a:lnTo>
                    <a:lnTo>
                      <a:pt x="168592" y="151448"/>
                    </a:lnTo>
                    <a:lnTo>
                      <a:pt x="210503" y="147638"/>
                    </a:lnTo>
                    <a:lnTo>
                      <a:pt x="210503" y="133350"/>
                    </a:lnTo>
                    <a:lnTo>
                      <a:pt x="197167" y="116110"/>
                    </a:lnTo>
                    <a:lnTo>
                      <a:pt x="197167" y="70485"/>
                    </a:lnTo>
                    <a:lnTo>
                      <a:pt x="193357" y="59912"/>
                    </a:lnTo>
                    <a:lnTo>
                      <a:pt x="221932" y="38100"/>
                    </a:lnTo>
                    <a:lnTo>
                      <a:pt x="242888" y="35243"/>
                    </a:lnTo>
                    <a:lnTo>
                      <a:pt x="270510" y="17050"/>
                    </a:lnTo>
                    <a:lnTo>
                      <a:pt x="316230" y="10382"/>
                    </a:lnTo>
                    <a:lnTo>
                      <a:pt x="359092" y="2762"/>
                    </a:lnTo>
                    <a:lnTo>
                      <a:pt x="383857" y="6668"/>
                    </a:lnTo>
                    <a:lnTo>
                      <a:pt x="397192" y="10382"/>
                    </a:lnTo>
                    <a:lnTo>
                      <a:pt x="419100" y="0"/>
                    </a:lnTo>
                    <a:lnTo>
                      <a:pt x="446722" y="0"/>
                    </a:lnTo>
                    <a:lnTo>
                      <a:pt x="461010" y="0"/>
                    </a:lnTo>
                    <a:lnTo>
                      <a:pt x="475297" y="6668"/>
                    </a:lnTo>
                    <a:lnTo>
                      <a:pt x="475297" y="70485"/>
                    </a:lnTo>
                    <a:lnTo>
                      <a:pt x="454342" y="87535"/>
                    </a:lnTo>
                    <a:lnTo>
                      <a:pt x="454342" y="101822"/>
                    </a:lnTo>
                    <a:lnTo>
                      <a:pt x="496253" y="151448"/>
                    </a:lnTo>
                    <a:lnTo>
                      <a:pt x="502920" y="200978"/>
                    </a:lnTo>
                    <a:lnTo>
                      <a:pt x="513397" y="203835"/>
                    </a:lnTo>
                    <a:lnTo>
                      <a:pt x="517208" y="232410"/>
                    </a:lnTo>
                    <a:lnTo>
                      <a:pt x="521017" y="317087"/>
                    </a:lnTo>
                    <a:lnTo>
                      <a:pt x="506730" y="323850"/>
                    </a:lnTo>
                    <a:lnTo>
                      <a:pt x="513397" y="341947"/>
                    </a:lnTo>
                    <a:lnTo>
                      <a:pt x="531495" y="381000"/>
                    </a:lnTo>
                    <a:lnTo>
                      <a:pt x="564833" y="383762"/>
                    </a:lnTo>
                    <a:lnTo>
                      <a:pt x="571500" y="398050"/>
                    </a:lnTo>
                    <a:lnTo>
                      <a:pt x="582930" y="408622"/>
                    </a:lnTo>
                    <a:lnTo>
                      <a:pt x="464820" y="479012"/>
                    </a:lnTo>
                    <a:lnTo>
                      <a:pt x="397192" y="535210"/>
                    </a:lnTo>
                    <a:lnTo>
                      <a:pt x="361950" y="542925"/>
                    </a:lnTo>
                    <a:lnTo>
                      <a:pt x="330517" y="546735"/>
                    </a:lnTo>
                    <a:lnTo>
                      <a:pt x="334328" y="518160"/>
                    </a:lnTo>
                    <a:lnTo>
                      <a:pt x="299085" y="503872"/>
                    </a:lnTo>
                    <a:lnTo>
                      <a:pt x="280988" y="486728"/>
                    </a:lnTo>
                    <a:lnTo>
                      <a:pt x="0" y="28851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29B98EF3-3850-475E-0F56-D6F956EBCE26}"/>
                  </a:ext>
                </a:extLst>
              </p:cNvPr>
              <p:cNvSpPr/>
              <p:nvPr/>
            </p:nvSpPr>
            <p:spPr>
              <a:xfrm>
                <a:off x="5640904" y="3521302"/>
                <a:ext cx="324002" cy="248279"/>
              </a:xfrm>
              <a:custGeom>
                <a:avLst/>
                <a:gdLst>
                  <a:gd name="connsiteX0" fmla="*/ 120015 w 330517"/>
                  <a:gd name="connsiteY0" fmla="*/ 253270 h 253269"/>
                  <a:gd name="connsiteX1" fmla="*/ 0 w 330517"/>
                  <a:gd name="connsiteY1" fmla="*/ 253270 h 253269"/>
                  <a:gd name="connsiteX2" fmla="*/ 17145 w 330517"/>
                  <a:gd name="connsiteY2" fmla="*/ 242792 h 253269"/>
                  <a:gd name="connsiteX3" fmla="*/ 49530 w 330517"/>
                  <a:gd name="connsiteY3" fmla="*/ 225742 h 253269"/>
                  <a:gd name="connsiteX4" fmla="*/ 87630 w 330517"/>
                  <a:gd name="connsiteY4" fmla="*/ 193357 h 253269"/>
                  <a:gd name="connsiteX5" fmla="*/ 91440 w 330517"/>
                  <a:gd name="connsiteY5" fmla="*/ 182880 h 253269"/>
                  <a:gd name="connsiteX6" fmla="*/ 91440 w 330517"/>
                  <a:gd name="connsiteY6" fmla="*/ 119920 h 253269"/>
                  <a:gd name="connsiteX7" fmla="*/ 109538 w 330517"/>
                  <a:gd name="connsiteY7" fmla="*/ 98107 h 253269"/>
                  <a:gd name="connsiteX8" fmla="*/ 130493 w 330517"/>
                  <a:gd name="connsiteY8" fmla="*/ 77057 h 253269"/>
                  <a:gd name="connsiteX9" fmla="*/ 155257 w 330517"/>
                  <a:gd name="connsiteY9" fmla="*/ 70485 h 253269"/>
                  <a:gd name="connsiteX10" fmla="*/ 179070 w 330517"/>
                  <a:gd name="connsiteY10" fmla="*/ 52292 h 253269"/>
                  <a:gd name="connsiteX11" fmla="*/ 190500 w 330517"/>
                  <a:gd name="connsiteY11" fmla="*/ 24670 h 253269"/>
                  <a:gd name="connsiteX12" fmla="*/ 197168 w 330517"/>
                  <a:gd name="connsiteY12" fmla="*/ 6667 h 253269"/>
                  <a:gd name="connsiteX13" fmla="*/ 203835 w 330517"/>
                  <a:gd name="connsiteY13" fmla="*/ 0 h 253269"/>
                  <a:gd name="connsiteX14" fmla="*/ 214313 w 330517"/>
                  <a:gd name="connsiteY14" fmla="*/ 0 h 253269"/>
                  <a:gd name="connsiteX15" fmla="*/ 221932 w 330517"/>
                  <a:gd name="connsiteY15" fmla="*/ 14288 h 253269"/>
                  <a:gd name="connsiteX16" fmla="*/ 232410 w 330517"/>
                  <a:gd name="connsiteY16" fmla="*/ 20955 h 253269"/>
                  <a:gd name="connsiteX17" fmla="*/ 271463 w 330517"/>
                  <a:gd name="connsiteY17" fmla="*/ 17145 h 253269"/>
                  <a:gd name="connsiteX18" fmla="*/ 288607 w 330517"/>
                  <a:gd name="connsiteY18" fmla="*/ 17145 h 253269"/>
                  <a:gd name="connsiteX19" fmla="*/ 295275 w 330517"/>
                  <a:gd name="connsiteY19" fmla="*/ 24670 h 253269"/>
                  <a:gd name="connsiteX20" fmla="*/ 313372 w 330517"/>
                  <a:gd name="connsiteY20" fmla="*/ 24670 h 253269"/>
                  <a:gd name="connsiteX21" fmla="*/ 317182 w 330517"/>
                  <a:gd name="connsiteY21" fmla="*/ 35242 h 253269"/>
                  <a:gd name="connsiteX22" fmla="*/ 317182 w 330517"/>
                  <a:gd name="connsiteY22" fmla="*/ 80867 h 253269"/>
                  <a:gd name="connsiteX23" fmla="*/ 330518 w 330517"/>
                  <a:gd name="connsiteY23" fmla="*/ 98107 h 253269"/>
                  <a:gd name="connsiteX24" fmla="*/ 330518 w 330517"/>
                  <a:gd name="connsiteY24" fmla="*/ 112395 h 253269"/>
                  <a:gd name="connsiteX25" fmla="*/ 288607 w 330517"/>
                  <a:gd name="connsiteY25" fmla="*/ 116205 h 253269"/>
                  <a:gd name="connsiteX26" fmla="*/ 260985 w 330517"/>
                  <a:gd name="connsiteY26" fmla="*/ 133255 h 253269"/>
                  <a:gd name="connsiteX27" fmla="*/ 257175 w 330517"/>
                  <a:gd name="connsiteY27" fmla="*/ 147542 h 253269"/>
                  <a:gd name="connsiteX28" fmla="*/ 214313 w 330517"/>
                  <a:gd name="connsiteY28" fmla="*/ 182880 h 253269"/>
                  <a:gd name="connsiteX29" fmla="*/ 176213 w 330517"/>
                  <a:gd name="connsiteY29" fmla="*/ 186595 h 253269"/>
                  <a:gd name="connsiteX30" fmla="*/ 120015 w 330517"/>
                  <a:gd name="connsiteY30" fmla="*/ 221932 h 253269"/>
                  <a:gd name="connsiteX31" fmla="*/ 120015 w 330517"/>
                  <a:gd name="connsiteY31" fmla="*/ 253270 h 253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0517" h="253269">
                    <a:moveTo>
                      <a:pt x="120015" y="253270"/>
                    </a:moveTo>
                    <a:lnTo>
                      <a:pt x="0" y="253270"/>
                    </a:lnTo>
                    <a:lnTo>
                      <a:pt x="17145" y="242792"/>
                    </a:lnTo>
                    <a:lnTo>
                      <a:pt x="49530" y="225742"/>
                    </a:lnTo>
                    <a:lnTo>
                      <a:pt x="87630" y="193357"/>
                    </a:lnTo>
                    <a:lnTo>
                      <a:pt x="91440" y="182880"/>
                    </a:lnTo>
                    <a:lnTo>
                      <a:pt x="91440" y="119920"/>
                    </a:lnTo>
                    <a:lnTo>
                      <a:pt x="109538" y="98107"/>
                    </a:lnTo>
                    <a:lnTo>
                      <a:pt x="130493" y="77057"/>
                    </a:lnTo>
                    <a:lnTo>
                      <a:pt x="155257" y="70485"/>
                    </a:lnTo>
                    <a:lnTo>
                      <a:pt x="179070" y="52292"/>
                    </a:lnTo>
                    <a:lnTo>
                      <a:pt x="190500" y="24670"/>
                    </a:lnTo>
                    <a:lnTo>
                      <a:pt x="197168" y="6667"/>
                    </a:lnTo>
                    <a:lnTo>
                      <a:pt x="203835" y="0"/>
                    </a:lnTo>
                    <a:lnTo>
                      <a:pt x="214313" y="0"/>
                    </a:lnTo>
                    <a:lnTo>
                      <a:pt x="221932" y="14288"/>
                    </a:lnTo>
                    <a:lnTo>
                      <a:pt x="232410" y="20955"/>
                    </a:lnTo>
                    <a:lnTo>
                      <a:pt x="271463" y="17145"/>
                    </a:lnTo>
                    <a:lnTo>
                      <a:pt x="288607" y="17145"/>
                    </a:lnTo>
                    <a:lnTo>
                      <a:pt x="295275" y="24670"/>
                    </a:lnTo>
                    <a:lnTo>
                      <a:pt x="313372" y="24670"/>
                    </a:lnTo>
                    <a:lnTo>
                      <a:pt x="317182" y="35242"/>
                    </a:lnTo>
                    <a:lnTo>
                      <a:pt x="317182" y="80867"/>
                    </a:lnTo>
                    <a:lnTo>
                      <a:pt x="330518" y="98107"/>
                    </a:lnTo>
                    <a:lnTo>
                      <a:pt x="330518" y="112395"/>
                    </a:lnTo>
                    <a:lnTo>
                      <a:pt x="288607" y="116205"/>
                    </a:lnTo>
                    <a:lnTo>
                      <a:pt x="260985" y="133255"/>
                    </a:lnTo>
                    <a:lnTo>
                      <a:pt x="257175" y="147542"/>
                    </a:lnTo>
                    <a:lnTo>
                      <a:pt x="214313" y="182880"/>
                    </a:lnTo>
                    <a:lnTo>
                      <a:pt x="176213" y="186595"/>
                    </a:lnTo>
                    <a:lnTo>
                      <a:pt x="120015" y="221932"/>
                    </a:lnTo>
                    <a:lnTo>
                      <a:pt x="120015" y="2532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3497254C-B9E7-01D8-8C76-E442B90A445A}"/>
                  </a:ext>
                </a:extLst>
              </p:cNvPr>
              <p:cNvSpPr/>
              <p:nvPr/>
            </p:nvSpPr>
            <p:spPr>
              <a:xfrm>
                <a:off x="5530725" y="3769581"/>
                <a:ext cx="227828" cy="184038"/>
              </a:xfrm>
              <a:custGeom>
                <a:avLst/>
                <a:gdLst>
                  <a:gd name="connsiteX0" fmla="*/ 0 w 232409"/>
                  <a:gd name="connsiteY0" fmla="*/ 187738 h 187737"/>
                  <a:gd name="connsiteX1" fmla="*/ 6667 w 232409"/>
                  <a:gd name="connsiteY1" fmla="*/ 165735 h 187737"/>
                  <a:gd name="connsiteX2" fmla="*/ 23813 w 232409"/>
                  <a:gd name="connsiteY2" fmla="*/ 138113 h 187737"/>
                  <a:gd name="connsiteX3" fmla="*/ 35242 w 232409"/>
                  <a:gd name="connsiteY3" fmla="*/ 109538 h 187737"/>
                  <a:gd name="connsiteX4" fmla="*/ 52388 w 232409"/>
                  <a:gd name="connsiteY4" fmla="*/ 95250 h 187737"/>
                  <a:gd name="connsiteX5" fmla="*/ 62865 w 232409"/>
                  <a:gd name="connsiteY5" fmla="*/ 67723 h 187737"/>
                  <a:gd name="connsiteX6" fmla="*/ 80963 w 232409"/>
                  <a:gd name="connsiteY6" fmla="*/ 42863 h 187737"/>
                  <a:gd name="connsiteX7" fmla="*/ 91440 w 232409"/>
                  <a:gd name="connsiteY7" fmla="*/ 32385 h 187737"/>
                  <a:gd name="connsiteX8" fmla="*/ 105727 w 232409"/>
                  <a:gd name="connsiteY8" fmla="*/ 14288 h 187737"/>
                  <a:gd name="connsiteX9" fmla="*/ 112395 w 232409"/>
                  <a:gd name="connsiteY9" fmla="*/ 0 h 187737"/>
                  <a:gd name="connsiteX10" fmla="*/ 232410 w 232409"/>
                  <a:gd name="connsiteY10" fmla="*/ 0 h 187737"/>
                  <a:gd name="connsiteX11" fmla="*/ 232410 w 232409"/>
                  <a:gd name="connsiteY11" fmla="*/ 49625 h 187737"/>
                  <a:gd name="connsiteX12" fmla="*/ 143827 w 232409"/>
                  <a:gd name="connsiteY12" fmla="*/ 49625 h 187737"/>
                  <a:gd name="connsiteX13" fmla="*/ 143827 w 232409"/>
                  <a:gd name="connsiteY13" fmla="*/ 123825 h 187737"/>
                  <a:gd name="connsiteX14" fmla="*/ 126682 w 232409"/>
                  <a:gd name="connsiteY14" fmla="*/ 123825 h 187737"/>
                  <a:gd name="connsiteX15" fmla="*/ 112395 w 232409"/>
                  <a:gd name="connsiteY15" fmla="*/ 130588 h 187737"/>
                  <a:gd name="connsiteX16" fmla="*/ 112395 w 232409"/>
                  <a:gd name="connsiteY16" fmla="*/ 144875 h 187737"/>
                  <a:gd name="connsiteX17" fmla="*/ 112395 w 232409"/>
                  <a:gd name="connsiteY17" fmla="*/ 187738 h 187737"/>
                  <a:gd name="connsiteX18" fmla="*/ 0 w 232409"/>
                  <a:gd name="connsiteY18" fmla="*/ 187738 h 187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32409" h="187737">
                    <a:moveTo>
                      <a:pt x="0" y="187738"/>
                    </a:moveTo>
                    <a:lnTo>
                      <a:pt x="6667" y="165735"/>
                    </a:lnTo>
                    <a:lnTo>
                      <a:pt x="23813" y="138113"/>
                    </a:lnTo>
                    <a:lnTo>
                      <a:pt x="35242" y="109538"/>
                    </a:lnTo>
                    <a:lnTo>
                      <a:pt x="52388" y="95250"/>
                    </a:lnTo>
                    <a:lnTo>
                      <a:pt x="62865" y="67723"/>
                    </a:lnTo>
                    <a:lnTo>
                      <a:pt x="80963" y="42863"/>
                    </a:lnTo>
                    <a:lnTo>
                      <a:pt x="91440" y="32385"/>
                    </a:lnTo>
                    <a:lnTo>
                      <a:pt x="105727" y="14288"/>
                    </a:lnTo>
                    <a:lnTo>
                      <a:pt x="112395" y="0"/>
                    </a:lnTo>
                    <a:lnTo>
                      <a:pt x="232410" y="0"/>
                    </a:lnTo>
                    <a:lnTo>
                      <a:pt x="232410" y="49625"/>
                    </a:lnTo>
                    <a:lnTo>
                      <a:pt x="143827" y="49625"/>
                    </a:lnTo>
                    <a:lnTo>
                      <a:pt x="143827" y="123825"/>
                    </a:lnTo>
                    <a:lnTo>
                      <a:pt x="126682" y="123825"/>
                    </a:lnTo>
                    <a:lnTo>
                      <a:pt x="112395" y="130588"/>
                    </a:lnTo>
                    <a:lnTo>
                      <a:pt x="112395" y="144875"/>
                    </a:lnTo>
                    <a:lnTo>
                      <a:pt x="112395" y="187738"/>
                    </a:lnTo>
                    <a:lnTo>
                      <a:pt x="0" y="1877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94049131-4AC7-88C0-7258-4FB50B30100B}"/>
                  </a:ext>
                </a:extLst>
              </p:cNvPr>
              <p:cNvSpPr/>
              <p:nvPr/>
            </p:nvSpPr>
            <p:spPr>
              <a:xfrm>
                <a:off x="5530725" y="3769581"/>
                <a:ext cx="227828" cy="184038"/>
              </a:xfrm>
              <a:custGeom>
                <a:avLst/>
                <a:gdLst>
                  <a:gd name="connsiteX0" fmla="*/ 0 w 232409"/>
                  <a:gd name="connsiteY0" fmla="*/ 187738 h 187737"/>
                  <a:gd name="connsiteX1" fmla="*/ 6667 w 232409"/>
                  <a:gd name="connsiteY1" fmla="*/ 165735 h 187737"/>
                  <a:gd name="connsiteX2" fmla="*/ 23813 w 232409"/>
                  <a:gd name="connsiteY2" fmla="*/ 138113 h 187737"/>
                  <a:gd name="connsiteX3" fmla="*/ 35242 w 232409"/>
                  <a:gd name="connsiteY3" fmla="*/ 109538 h 187737"/>
                  <a:gd name="connsiteX4" fmla="*/ 52388 w 232409"/>
                  <a:gd name="connsiteY4" fmla="*/ 95250 h 187737"/>
                  <a:gd name="connsiteX5" fmla="*/ 62865 w 232409"/>
                  <a:gd name="connsiteY5" fmla="*/ 67723 h 187737"/>
                  <a:gd name="connsiteX6" fmla="*/ 80963 w 232409"/>
                  <a:gd name="connsiteY6" fmla="*/ 42863 h 187737"/>
                  <a:gd name="connsiteX7" fmla="*/ 91440 w 232409"/>
                  <a:gd name="connsiteY7" fmla="*/ 32385 h 187737"/>
                  <a:gd name="connsiteX8" fmla="*/ 105727 w 232409"/>
                  <a:gd name="connsiteY8" fmla="*/ 14288 h 187737"/>
                  <a:gd name="connsiteX9" fmla="*/ 112395 w 232409"/>
                  <a:gd name="connsiteY9" fmla="*/ 0 h 187737"/>
                  <a:gd name="connsiteX10" fmla="*/ 232410 w 232409"/>
                  <a:gd name="connsiteY10" fmla="*/ 0 h 187737"/>
                  <a:gd name="connsiteX11" fmla="*/ 232410 w 232409"/>
                  <a:gd name="connsiteY11" fmla="*/ 49625 h 187737"/>
                  <a:gd name="connsiteX12" fmla="*/ 143827 w 232409"/>
                  <a:gd name="connsiteY12" fmla="*/ 49625 h 187737"/>
                  <a:gd name="connsiteX13" fmla="*/ 143827 w 232409"/>
                  <a:gd name="connsiteY13" fmla="*/ 123825 h 187737"/>
                  <a:gd name="connsiteX14" fmla="*/ 126682 w 232409"/>
                  <a:gd name="connsiteY14" fmla="*/ 123825 h 187737"/>
                  <a:gd name="connsiteX15" fmla="*/ 112395 w 232409"/>
                  <a:gd name="connsiteY15" fmla="*/ 130588 h 187737"/>
                  <a:gd name="connsiteX16" fmla="*/ 112395 w 232409"/>
                  <a:gd name="connsiteY16" fmla="*/ 144875 h 187737"/>
                  <a:gd name="connsiteX17" fmla="*/ 112395 w 232409"/>
                  <a:gd name="connsiteY17" fmla="*/ 187738 h 187737"/>
                  <a:gd name="connsiteX18" fmla="*/ 0 w 232409"/>
                  <a:gd name="connsiteY18" fmla="*/ 187738 h 187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32409" h="187737">
                    <a:moveTo>
                      <a:pt x="0" y="187738"/>
                    </a:moveTo>
                    <a:lnTo>
                      <a:pt x="6667" y="165735"/>
                    </a:lnTo>
                    <a:lnTo>
                      <a:pt x="23813" y="138113"/>
                    </a:lnTo>
                    <a:lnTo>
                      <a:pt x="35242" y="109538"/>
                    </a:lnTo>
                    <a:lnTo>
                      <a:pt x="52388" y="95250"/>
                    </a:lnTo>
                    <a:lnTo>
                      <a:pt x="62865" y="67723"/>
                    </a:lnTo>
                    <a:lnTo>
                      <a:pt x="80963" y="42863"/>
                    </a:lnTo>
                    <a:lnTo>
                      <a:pt x="91440" y="32385"/>
                    </a:lnTo>
                    <a:lnTo>
                      <a:pt x="105727" y="14288"/>
                    </a:lnTo>
                    <a:lnTo>
                      <a:pt x="112395" y="0"/>
                    </a:lnTo>
                    <a:lnTo>
                      <a:pt x="232410" y="0"/>
                    </a:lnTo>
                    <a:lnTo>
                      <a:pt x="232410" y="49625"/>
                    </a:lnTo>
                    <a:lnTo>
                      <a:pt x="143827" y="49625"/>
                    </a:lnTo>
                    <a:lnTo>
                      <a:pt x="143827" y="123825"/>
                    </a:lnTo>
                    <a:lnTo>
                      <a:pt x="126682" y="123825"/>
                    </a:lnTo>
                    <a:lnTo>
                      <a:pt x="112395" y="130588"/>
                    </a:lnTo>
                    <a:lnTo>
                      <a:pt x="112395" y="144875"/>
                    </a:lnTo>
                    <a:lnTo>
                      <a:pt x="112395" y="187738"/>
                    </a:lnTo>
                    <a:lnTo>
                      <a:pt x="0" y="1877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75B39A67-E94A-56F3-19F2-F7E8B016F716}"/>
                  </a:ext>
                </a:extLst>
              </p:cNvPr>
              <p:cNvSpPr/>
              <p:nvPr/>
            </p:nvSpPr>
            <p:spPr>
              <a:xfrm>
                <a:off x="5543797" y="4195456"/>
                <a:ext cx="83101" cy="47620"/>
              </a:xfrm>
              <a:custGeom>
                <a:avLst/>
                <a:gdLst>
                  <a:gd name="connsiteX0" fmla="*/ 0 w 84772"/>
                  <a:gd name="connsiteY0" fmla="*/ 10478 h 48577"/>
                  <a:gd name="connsiteX1" fmla="*/ 32385 w 84772"/>
                  <a:gd name="connsiteY1" fmla="*/ 6668 h 48577"/>
                  <a:gd name="connsiteX2" fmla="*/ 39053 w 84772"/>
                  <a:gd name="connsiteY2" fmla="*/ 0 h 48577"/>
                  <a:gd name="connsiteX3" fmla="*/ 84772 w 84772"/>
                  <a:gd name="connsiteY3" fmla="*/ 0 h 48577"/>
                  <a:gd name="connsiteX4" fmla="*/ 78105 w 84772"/>
                  <a:gd name="connsiteY4" fmla="*/ 17050 h 48577"/>
                  <a:gd name="connsiteX5" fmla="*/ 74295 w 84772"/>
                  <a:gd name="connsiteY5" fmla="*/ 27527 h 48577"/>
                  <a:gd name="connsiteX6" fmla="*/ 53340 w 84772"/>
                  <a:gd name="connsiteY6" fmla="*/ 35243 h 48577"/>
                  <a:gd name="connsiteX7" fmla="*/ 39053 w 84772"/>
                  <a:gd name="connsiteY7" fmla="*/ 48578 h 48577"/>
                  <a:gd name="connsiteX8" fmla="*/ 28575 w 84772"/>
                  <a:gd name="connsiteY8" fmla="*/ 38100 h 48577"/>
                  <a:gd name="connsiteX9" fmla="*/ 14288 w 84772"/>
                  <a:gd name="connsiteY9" fmla="*/ 24765 h 48577"/>
                  <a:gd name="connsiteX10" fmla="*/ 10478 w 84772"/>
                  <a:gd name="connsiteY10" fmla="*/ 20955 h 48577"/>
                  <a:gd name="connsiteX11" fmla="*/ 0 w 84772"/>
                  <a:gd name="connsiteY11" fmla="*/ 10478 h 4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4772" h="48577">
                    <a:moveTo>
                      <a:pt x="0" y="10478"/>
                    </a:moveTo>
                    <a:lnTo>
                      <a:pt x="32385" y="6668"/>
                    </a:lnTo>
                    <a:lnTo>
                      <a:pt x="39053" y="0"/>
                    </a:lnTo>
                    <a:lnTo>
                      <a:pt x="84772" y="0"/>
                    </a:lnTo>
                    <a:lnTo>
                      <a:pt x="78105" y="17050"/>
                    </a:lnTo>
                    <a:lnTo>
                      <a:pt x="74295" y="27527"/>
                    </a:lnTo>
                    <a:lnTo>
                      <a:pt x="53340" y="35243"/>
                    </a:lnTo>
                    <a:lnTo>
                      <a:pt x="39053" y="48578"/>
                    </a:lnTo>
                    <a:lnTo>
                      <a:pt x="28575" y="38100"/>
                    </a:lnTo>
                    <a:lnTo>
                      <a:pt x="14288" y="24765"/>
                    </a:lnTo>
                    <a:lnTo>
                      <a:pt x="10478" y="20955"/>
                    </a:lnTo>
                    <a:lnTo>
                      <a:pt x="0" y="1047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EFEE1CFB-AA0B-CD02-E909-1118FAD65EE4}"/>
                  </a:ext>
                </a:extLst>
              </p:cNvPr>
              <p:cNvSpPr/>
              <p:nvPr/>
            </p:nvSpPr>
            <p:spPr>
              <a:xfrm>
                <a:off x="5543797" y="4195456"/>
                <a:ext cx="83101" cy="47620"/>
              </a:xfrm>
              <a:custGeom>
                <a:avLst/>
                <a:gdLst>
                  <a:gd name="connsiteX0" fmla="*/ 0 w 84772"/>
                  <a:gd name="connsiteY0" fmla="*/ 10478 h 48577"/>
                  <a:gd name="connsiteX1" fmla="*/ 32385 w 84772"/>
                  <a:gd name="connsiteY1" fmla="*/ 6668 h 48577"/>
                  <a:gd name="connsiteX2" fmla="*/ 39053 w 84772"/>
                  <a:gd name="connsiteY2" fmla="*/ 0 h 48577"/>
                  <a:gd name="connsiteX3" fmla="*/ 84772 w 84772"/>
                  <a:gd name="connsiteY3" fmla="*/ 0 h 48577"/>
                  <a:gd name="connsiteX4" fmla="*/ 78105 w 84772"/>
                  <a:gd name="connsiteY4" fmla="*/ 17050 h 48577"/>
                  <a:gd name="connsiteX5" fmla="*/ 74295 w 84772"/>
                  <a:gd name="connsiteY5" fmla="*/ 27527 h 48577"/>
                  <a:gd name="connsiteX6" fmla="*/ 53340 w 84772"/>
                  <a:gd name="connsiteY6" fmla="*/ 35243 h 48577"/>
                  <a:gd name="connsiteX7" fmla="*/ 39053 w 84772"/>
                  <a:gd name="connsiteY7" fmla="*/ 48578 h 48577"/>
                  <a:gd name="connsiteX8" fmla="*/ 28575 w 84772"/>
                  <a:gd name="connsiteY8" fmla="*/ 38100 h 48577"/>
                  <a:gd name="connsiteX9" fmla="*/ 14288 w 84772"/>
                  <a:gd name="connsiteY9" fmla="*/ 24765 h 48577"/>
                  <a:gd name="connsiteX10" fmla="*/ 10478 w 84772"/>
                  <a:gd name="connsiteY10" fmla="*/ 20955 h 48577"/>
                  <a:gd name="connsiteX11" fmla="*/ 0 w 84772"/>
                  <a:gd name="connsiteY11" fmla="*/ 10478 h 4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4772" h="48577">
                    <a:moveTo>
                      <a:pt x="0" y="10478"/>
                    </a:moveTo>
                    <a:lnTo>
                      <a:pt x="32385" y="6668"/>
                    </a:lnTo>
                    <a:lnTo>
                      <a:pt x="39053" y="0"/>
                    </a:lnTo>
                    <a:lnTo>
                      <a:pt x="84772" y="0"/>
                    </a:lnTo>
                    <a:lnTo>
                      <a:pt x="78105" y="17050"/>
                    </a:lnTo>
                    <a:lnTo>
                      <a:pt x="74295" y="27527"/>
                    </a:lnTo>
                    <a:lnTo>
                      <a:pt x="53340" y="35243"/>
                    </a:lnTo>
                    <a:lnTo>
                      <a:pt x="39053" y="48578"/>
                    </a:lnTo>
                    <a:lnTo>
                      <a:pt x="28575" y="38100"/>
                    </a:lnTo>
                    <a:lnTo>
                      <a:pt x="14288" y="24765"/>
                    </a:lnTo>
                    <a:lnTo>
                      <a:pt x="10478" y="20955"/>
                    </a:lnTo>
                    <a:lnTo>
                      <a:pt x="0" y="1047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F9A3366C-136B-8A9E-D722-F05E2025880E}"/>
                  </a:ext>
                </a:extLst>
              </p:cNvPr>
              <p:cNvSpPr/>
              <p:nvPr/>
            </p:nvSpPr>
            <p:spPr>
              <a:xfrm>
                <a:off x="5637169" y="4271088"/>
                <a:ext cx="76564" cy="83102"/>
              </a:xfrm>
              <a:custGeom>
                <a:avLst/>
                <a:gdLst>
                  <a:gd name="connsiteX0" fmla="*/ 0 w 78104"/>
                  <a:gd name="connsiteY0" fmla="*/ 28575 h 84772"/>
                  <a:gd name="connsiteX1" fmla="*/ 14288 w 78104"/>
                  <a:gd name="connsiteY1" fmla="*/ 14288 h 84772"/>
                  <a:gd name="connsiteX2" fmla="*/ 28575 w 78104"/>
                  <a:gd name="connsiteY2" fmla="*/ 3810 h 84772"/>
                  <a:gd name="connsiteX3" fmla="*/ 53340 w 78104"/>
                  <a:gd name="connsiteY3" fmla="*/ 0 h 84772"/>
                  <a:gd name="connsiteX4" fmla="*/ 66675 w 78104"/>
                  <a:gd name="connsiteY4" fmla="*/ 14288 h 84772"/>
                  <a:gd name="connsiteX5" fmla="*/ 78105 w 78104"/>
                  <a:gd name="connsiteY5" fmla="*/ 28575 h 84772"/>
                  <a:gd name="connsiteX6" fmla="*/ 74295 w 78104"/>
                  <a:gd name="connsiteY6" fmla="*/ 42863 h 84772"/>
                  <a:gd name="connsiteX7" fmla="*/ 70485 w 78104"/>
                  <a:gd name="connsiteY7" fmla="*/ 56197 h 84772"/>
                  <a:gd name="connsiteX8" fmla="*/ 60007 w 78104"/>
                  <a:gd name="connsiteY8" fmla="*/ 70485 h 84772"/>
                  <a:gd name="connsiteX9" fmla="*/ 42863 w 78104"/>
                  <a:gd name="connsiteY9" fmla="*/ 84772 h 84772"/>
                  <a:gd name="connsiteX10" fmla="*/ 28575 w 78104"/>
                  <a:gd name="connsiteY10" fmla="*/ 78010 h 84772"/>
                  <a:gd name="connsiteX11" fmla="*/ 7620 w 78104"/>
                  <a:gd name="connsiteY11" fmla="*/ 56197 h 84772"/>
                  <a:gd name="connsiteX12" fmla="*/ 0 w 78104"/>
                  <a:gd name="connsiteY12" fmla="*/ 42863 h 84772"/>
                  <a:gd name="connsiteX13" fmla="*/ 0 w 78104"/>
                  <a:gd name="connsiteY13" fmla="*/ 28575 h 8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8104" h="84772">
                    <a:moveTo>
                      <a:pt x="0" y="28575"/>
                    </a:moveTo>
                    <a:lnTo>
                      <a:pt x="14288" y="14288"/>
                    </a:lnTo>
                    <a:lnTo>
                      <a:pt x="28575" y="3810"/>
                    </a:lnTo>
                    <a:lnTo>
                      <a:pt x="53340" y="0"/>
                    </a:lnTo>
                    <a:lnTo>
                      <a:pt x="66675" y="14288"/>
                    </a:lnTo>
                    <a:lnTo>
                      <a:pt x="78105" y="28575"/>
                    </a:lnTo>
                    <a:lnTo>
                      <a:pt x="74295" y="42863"/>
                    </a:lnTo>
                    <a:lnTo>
                      <a:pt x="70485" y="56197"/>
                    </a:lnTo>
                    <a:lnTo>
                      <a:pt x="60007" y="70485"/>
                    </a:lnTo>
                    <a:lnTo>
                      <a:pt x="42863" y="84772"/>
                    </a:lnTo>
                    <a:lnTo>
                      <a:pt x="28575" y="78010"/>
                    </a:lnTo>
                    <a:lnTo>
                      <a:pt x="7620" y="56197"/>
                    </a:lnTo>
                    <a:lnTo>
                      <a:pt x="0" y="42863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3AB4FE4A-F723-CE38-1AF2-1A673EC4DC6E}"/>
                  </a:ext>
                </a:extLst>
              </p:cNvPr>
              <p:cNvSpPr/>
              <p:nvPr/>
            </p:nvSpPr>
            <p:spPr>
              <a:xfrm>
                <a:off x="5637169" y="4271088"/>
                <a:ext cx="76564" cy="83102"/>
              </a:xfrm>
              <a:custGeom>
                <a:avLst/>
                <a:gdLst>
                  <a:gd name="connsiteX0" fmla="*/ 0 w 78104"/>
                  <a:gd name="connsiteY0" fmla="*/ 28575 h 84772"/>
                  <a:gd name="connsiteX1" fmla="*/ 14288 w 78104"/>
                  <a:gd name="connsiteY1" fmla="*/ 14288 h 84772"/>
                  <a:gd name="connsiteX2" fmla="*/ 28575 w 78104"/>
                  <a:gd name="connsiteY2" fmla="*/ 3810 h 84772"/>
                  <a:gd name="connsiteX3" fmla="*/ 53340 w 78104"/>
                  <a:gd name="connsiteY3" fmla="*/ 0 h 84772"/>
                  <a:gd name="connsiteX4" fmla="*/ 66675 w 78104"/>
                  <a:gd name="connsiteY4" fmla="*/ 14288 h 84772"/>
                  <a:gd name="connsiteX5" fmla="*/ 78105 w 78104"/>
                  <a:gd name="connsiteY5" fmla="*/ 28575 h 84772"/>
                  <a:gd name="connsiteX6" fmla="*/ 74295 w 78104"/>
                  <a:gd name="connsiteY6" fmla="*/ 42863 h 84772"/>
                  <a:gd name="connsiteX7" fmla="*/ 70485 w 78104"/>
                  <a:gd name="connsiteY7" fmla="*/ 56197 h 84772"/>
                  <a:gd name="connsiteX8" fmla="*/ 60007 w 78104"/>
                  <a:gd name="connsiteY8" fmla="*/ 70485 h 84772"/>
                  <a:gd name="connsiteX9" fmla="*/ 42863 w 78104"/>
                  <a:gd name="connsiteY9" fmla="*/ 84772 h 84772"/>
                  <a:gd name="connsiteX10" fmla="*/ 28575 w 78104"/>
                  <a:gd name="connsiteY10" fmla="*/ 78010 h 84772"/>
                  <a:gd name="connsiteX11" fmla="*/ 7620 w 78104"/>
                  <a:gd name="connsiteY11" fmla="*/ 56197 h 84772"/>
                  <a:gd name="connsiteX12" fmla="*/ 0 w 78104"/>
                  <a:gd name="connsiteY12" fmla="*/ 42863 h 84772"/>
                  <a:gd name="connsiteX13" fmla="*/ 0 w 78104"/>
                  <a:gd name="connsiteY13" fmla="*/ 28575 h 8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8104" h="84772">
                    <a:moveTo>
                      <a:pt x="0" y="28575"/>
                    </a:moveTo>
                    <a:lnTo>
                      <a:pt x="14288" y="14288"/>
                    </a:lnTo>
                    <a:lnTo>
                      <a:pt x="28575" y="3810"/>
                    </a:lnTo>
                    <a:lnTo>
                      <a:pt x="53340" y="0"/>
                    </a:lnTo>
                    <a:lnTo>
                      <a:pt x="66675" y="14288"/>
                    </a:lnTo>
                    <a:lnTo>
                      <a:pt x="78105" y="28575"/>
                    </a:lnTo>
                    <a:lnTo>
                      <a:pt x="74295" y="42863"/>
                    </a:lnTo>
                    <a:lnTo>
                      <a:pt x="70485" y="56197"/>
                    </a:lnTo>
                    <a:lnTo>
                      <a:pt x="60007" y="70485"/>
                    </a:lnTo>
                    <a:lnTo>
                      <a:pt x="42863" y="84772"/>
                    </a:lnTo>
                    <a:lnTo>
                      <a:pt x="28575" y="78010"/>
                    </a:lnTo>
                    <a:lnTo>
                      <a:pt x="7620" y="56197"/>
                    </a:lnTo>
                    <a:lnTo>
                      <a:pt x="0" y="42863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3B439557-B1E6-CC43-7F9F-B21A7FF4F0F0}"/>
                  </a:ext>
                </a:extLst>
              </p:cNvPr>
              <p:cNvSpPr/>
              <p:nvPr/>
            </p:nvSpPr>
            <p:spPr>
              <a:xfrm>
                <a:off x="5530725" y="3769581"/>
                <a:ext cx="341742" cy="369851"/>
              </a:xfrm>
              <a:custGeom>
                <a:avLst/>
                <a:gdLst>
                  <a:gd name="connsiteX0" fmla="*/ 0 w 348614"/>
                  <a:gd name="connsiteY0" fmla="*/ 187738 h 377285"/>
                  <a:gd name="connsiteX1" fmla="*/ 112395 w 348614"/>
                  <a:gd name="connsiteY1" fmla="*/ 187738 h 377285"/>
                  <a:gd name="connsiteX2" fmla="*/ 112395 w 348614"/>
                  <a:gd name="connsiteY2" fmla="*/ 144875 h 377285"/>
                  <a:gd name="connsiteX3" fmla="*/ 112395 w 348614"/>
                  <a:gd name="connsiteY3" fmla="*/ 130588 h 377285"/>
                  <a:gd name="connsiteX4" fmla="*/ 119063 w 348614"/>
                  <a:gd name="connsiteY4" fmla="*/ 127635 h 377285"/>
                  <a:gd name="connsiteX5" fmla="*/ 126682 w 348614"/>
                  <a:gd name="connsiteY5" fmla="*/ 123825 h 377285"/>
                  <a:gd name="connsiteX6" fmla="*/ 143827 w 348614"/>
                  <a:gd name="connsiteY6" fmla="*/ 123825 h 377285"/>
                  <a:gd name="connsiteX7" fmla="*/ 143827 w 348614"/>
                  <a:gd name="connsiteY7" fmla="*/ 49625 h 377285"/>
                  <a:gd name="connsiteX8" fmla="*/ 232410 w 348614"/>
                  <a:gd name="connsiteY8" fmla="*/ 49625 h 377285"/>
                  <a:gd name="connsiteX9" fmla="*/ 232410 w 348614"/>
                  <a:gd name="connsiteY9" fmla="*/ 0 h 377285"/>
                  <a:gd name="connsiteX10" fmla="*/ 348615 w 348614"/>
                  <a:gd name="connsiteY10" fmla="*/ 84772 h 377285"/>
                  <a:gd name="connsiteX11" fmla="*/ 295275 w 348614"/>
                  <a:gd name="connsiteY11" fmla="*/ 84772 h 377285"/>
                  <a:gd name="connsiteX12" fmla="*/ 316230 w 348614"/>
                  <a:gd name="connsiteY12" fmla="*/ 324898 h 377285"/>
                  <a:gd name="connsiteX13" fmla="*/ 326707 w 348614"/>
                  <a:gd name="connsiteY13" fmla="*/ 339185 h 377285"/>
                  <a:gd name="connsiteX14" fmla="*/ 323850 w 348614"/>
                  <a:gd name="connsiteY14" fmla="*/ 356235 h 377285"/>
                  <a:gd name="connsiteX15" fmla="*/ 147638 w 348614"/>
                  <a:gd name="connsiteY15" fmla="*/ 353473 h 377285"/>
                  <a:gd name="connsiteX16" fmla="*/ 137160 w 348614"/>
                  <a:gd name="connsiteY16" fmla="*/ 377285 h 377285"/>
                  <a:gd name="connsiteX17" fmla="*/ 119063 w 348614"/>
                  <a:gd name="connsiteY17" fmla="*/ 363950 h 377285"/>
                  <a:gd name="connsiteX18" fmla="*/ 105727 w 348614"/>
                  <a:gd name="connsiteY18" fmla="*/ 341947 h 377285"/>
                  <a:gd name="connsiteX19" fmla="*/ 91440 w 348614"/>
                  <a:gd name="connsiteY19" fmla="*/ 331565 h 377285"/>
                  <a:gd name="connsiteX20" fmla="*/ 70485 w 348614"/>
                  <a:gd name="connsiteY20" fmla="*/ 321088 h 377285"/>
                  <a:gd name="connsiteX21" fmla="*/ 45720 w 348614"/>
                  <a:gd name="connsiteY21" fmla="*/ 321088 h 377285"/>
                  <a:gd name="connsiteX22" fmla="*/ 20955 w 348614"/>
                  <a:gd name="connsiteY22" fmla="*/ 324898 h 377285"/>
                  <a:gd name="connsiteX23" fmla="*/ 20955 w 348614"/>
                  <a:gd name="connsiteY23" fmla="*/ 303847 h 377285"/>
                  <a:gd name="connsiteX24" fmla="*/ 31432 w 348614"/>
                  <a:gd name="connsiteY24" fmla="*/ 268700 h 377285"/>
                  <a:gd name="connsiteX25" fmla="*/ 20955 w 348614"/>
                  <a:gd name="connsiteY25" fmla="*/ 254413 h 377285"/>
                  <a:gd name="connsiteX26" fmla="*/ 13335 w 348614"/>
                  <a:gd name="connsiteY26" fmla="*/ 243935 h 377285"/>
                  <a:gd name="connsiteX27" fmla="*/ 20955 w 348614"/>
                  <a:gd name="connsiteY27" fmla="*/ 229648 h 377285"/>
                  <a:gd name="connsiteX28" fmla="*/ 20955 w 348614"/>
                  <a:gd name="connsiteY28" fmla="*/ 215360 h 377285"/>
                  <a:gd name="connsiteX29" fmla="*/ 13335 w 348614"/>
                  <a:gd name="connsiteY29" fmla="*/ 204788 h 377285"/>
                  <a:gd name="connsiteX30" fmla="*/ 0 w 348614"/>
                  <a:gd name="connsiteY30" fmla="*/ 198215 h 377285"/>
                  <a:gd name="connsiteX31" fmla="*/ 0 w 348614"/>
                  <a:gd name="connsiteY31" fmla="*/ 187738 h 377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48614" h="377285">
                    <a:moveTo>
                      <a:pt x="0" y="187738"/>
                    </a:moveTo>
                    <a:lnTo>
                      <a:pt x="112395" y="187738"/>
                    </a:lnTo>
                    <a:lnTo>
                      <a:pt x="112395" y="144875"/>
                    </a:lnTo>
                    <a:lnTo>
                      <a:pt x="112395" y="130588"/>
                    </a:lnTo>
                    <a:lnTo>
                      <a:pt x="119063" y="127635"/>
                    </a:lnTo>
                    <a:lnTo>
                      <a:pt x="126682" y="123825"/>
                    </a:lnTo>
                    <a:lnTo>
                      <a:pt x="143827" y="123825"/>
                    </a:lnTo>
                    <a:lnTo>
                      <a:pt x="143827" y="49625"/>
                    </a:lnTo>
                    <a:lnTo>
                      <a:pt x="232410" y="49625"/>
                    </a:lnTo>
                    <a:lnTo>
                      <a:pt x="232410" y="0"/>
                    </a:lnTo>
                    <a:lnTo>
                      <a:pt x="348615" y="84772"/>
                    </a:lnTo>
                    <a:lnTo>
                      <a:pt x="295275" y="84772"/>
                    </a:lnTo>
                    <a:lnTo>
                      <a:pt x="316230" y="324898"/>
                    </a:lnTo>
                    <a:lnTo>
                      <a:pt x="326707" y="339185"/>
                    </a:lnTo>
                    <a:lnTo>
                      <a:pt x="323850" y="356235"/>
                    </a:lnTo>
                    <a:lnTo>
                      <a:pt x="147638" y="353473"/>
                    </a:lnTo>
                    <a:lnTo>
                      <a:pt x="137160" y="377285"/>
                    </a:lnTo>
                    <a:lnTo>
                      <a:pt x="119063" y="363950"/>
                    </a:lnTo>
                    <a:lnTo>
                      <a:pt x="105727" y="341947"/>
                    </a:lnTo>
                    <a:lnTo>
                      <a:pt x="91440" y="331565"/>
                    </a:lnTo>
                    <a:lnTo>
                      <a:pt x="70485" y="321088"/>
                    </a:lnTo>
                    <a:lnTo>
                      <a:pt x="45720" y="321088"/>
                    </a:lnTo>
                    <a:lnTo>
                      <a:pt x="20955" y="324898"/>
                    </a:lnTo>
                    <a:lnTo>
                      <a:pt x="20955" y="303847"/>
                    </a:lnTo>
                    <a:lnTo>
                      <a:pt x="31432" y="268700"/>
                    </a:lnTo>
                    <a:lnTo>
                      <a:pt x="20955" y="254413"/>
                    </a:lnTo>
                    <a:lnTo>
                      <a:pt x="13335" y="243935"/>
                    </a:lnTo>
                    <a:lnTo>
                      <a:pt x="20955" y="229648"/>
                    </a:lnTo>
                    <a:lnTo>
                      <a:pt x="20955" y="215360"/>
                    </a:lnTo>
                    <a:lnTo>
                      <a:pt x="13335" y="204788"/>
                    </a:lnTo>
                    <a:lnTo>
                      <a:pt x="0" y="198215"/>
                    </a:lnTo>
                    <a:lnTo>
                      <a:pt x="0" y="1877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D49E587C-2A01-592F-F9F6-DEEC12B33550}"/>
                  </a:ext>
                </a:extLst>
              </p:cNvPr>
              <p:cNvSpPr/>
              <p:nvPr/>
            </p:nvSpPr>
            <p:spPr>
              <a:xfrm>
                <a:off x="5582080" y="4195456"/>
                <a:ext cx="200750" cy="152105"/>
              </a:xfrm>
              <a:custGeom>
                <a:avLst/>
                <a:gdLst>
                  <a:gd name="connsiteX0" fmla="*/ 105727 w 204787"/>
                  <a:gd name="connsiteY0" fmla="*/ 10478 h 155162"/>
                  <a:gd name="connsiteX1" fmla="*/ 105727 w 204787"/>
                  <a:gd name="connsiteY1" fmla="*/ 13240 h 155162"/>
                  <a:gd name="connsiteX2" fmla="*/ 126682 w 204787"/>
                  <a:gd name="connsiteY2" fmla="*/ 20955 h 155162"/>
                  <a:gd name="connsiteX3" fmla="*/ 147638 w 204787"/>
                  <a:gd name="connsiteY3" fmla="*/ 13240 h 155162"/>
                  <a:gd name="connsiteX4" fmla="*/ 172402 w 204787"/>
                  <a:gd name="connsiteY4" fmla="*/ 10478 h 155162"/>
                  <a:gd name="connsiteX5" fmla="*/ 176213 w 204787"/>
                  <a:gd name="connsiteY5" fmla="*/ 24765 h 155162"/>
                  <a:gd name="connsiteX6" fmla="*/ 186690 w 204787"/>
                  <a:gd name="connsiteY6" fmla="*/ 41815 h 155162"/>
                  <a:gd name="connsiteX7" fmla="*/ 197167 w 204787"/>
                  <a:gd name="connsiteY7" fmla="*/ 66675 h 155162"/>
                  <a:gd name="connsiteX8" fmla="*/ 193357 w 204787"/>
                  <a:gd name="connsiteY8" fmla="*/ 80963 h 155162"/>
                  <a:gd name="connsiteX9" fmla="*/ 197167 w 204787"/>
                  <a:gd name="connsiteY9" fmla="*/ 87630 h 155162"/>
                  <a:gd name="connsiteX10" fmla="*/ 200977 w 204787"/>
                  <a:gd name="connsiteY10" fmla="*/ 95250 h 155162"/>
                  <a:gd name="connsiteX11" fmla="*/ 204788 w 204787"/>
                  <a:gd name="connsiteY11" fmla="*/ 120015 h 155162"/>
                  <a:gd name="connsiteX12" fmla="*/ 193357 w 204787"/>
                  <a:gd name="connsiteY12" fmla="*/ 122777 h 155162"/>
                  <a:gd name="connsiteX13" fmla="*/ 197167 w 204787"/>
                  <a:gd name="connsiteY13" fmla="*/ 140875 h 155162"/>
                  <a:gd name="connsiteX14" fmla="*/ 186690 w 204787"/>
                  <a:gd name="connsiteY14" fmla="*/ 147638 h 155162"/>
                  <a:gd name="connsiteX15" fmla="*/ 176213 w 204787"/>
                  <a:gd name="connsiteY15" fmla="*/ 143828 h 155162"/>
                  <a:gd name="connsiteX16" fmla="*/ 169545 w 204787"/>
                  <a:gd name="connsiteY16" fmla="*/ 155162 h 155162"/>
                  <a:gd name="connsiteX17" fmla="*/ 158115 w 204787"/>
                  <a:gd name="connsiteY17" fmla="*/ 151352 h 155162"/>
                  <a:gd name="connsiteX18" fmla="*/ 155257 w 204787"/>
                  <a:gd name="connsiteY18" fmla="*/ 126587 h 155162"/>
                  <a:gd name="connsiteX19" fmla="*/ 144780 w 204787"/>
                  <a:gd name="connsiteY19" fmla="*/ 122777 h 155162"/>
                  <a:gd name="connsiteX20" fmla="*/ 130492 w 204787"/>
                  <a:gd name="connsiteY20" fmla="*/ 120015 h 155162"/>
                  <a:gd name="connsiteX21" fmla="*/ 134302 w 204787"/>
                  <a:gd name="connsiteY21" fmla="*/ 105728 h 155162"/>
                  <a:gd name="connsiteX22" fmla="*/ 122872 w 204787"/>
                  <a:gd name="connsiteY22" fmla="*/ 91440 h 155162"/>
                  <a:gd name="connsiteX23" fmla="*/ 109538 w 204787"/>
                  <a:gd name="connsiteY23" fmla="*/ 77153 h 155162"/>
                  <a:gd name="connsiteX24" fmla="*/ 84772 w 204787"/>
                  <a:gd name="connsiteY24" fmla="*/ 80963 h 155162"/>
                  <a:gd name="connsiteX25" fmla="*/ 70485 w 204787"/>
                  <a:gd name="connsiteY25" fmla="*/ 91440 h 155162"/>
                  <a:gd name="connsiteX26" fmla="*/ 56197 w 204787"/>
                  <a:gd name="connsiteY26" fmla="*/ 105728 h 155162"/>
                  <a:gd name="connsiteX27" fmla="*/ 41910 w 204787"/>
                  <a:gd name="connsiteY27" fmla="*/ 87630 h 155162"/>
                  <a:gd name="connsiteX28" fmla="*/ 24765 w 204787"/>
                  <a:gd name="connsiteY28" fmla="*/ 70390 h 155162"/>
                  <a:gd name="connsiteX29" fmla="*/ 10477 w 204787"/>
                  <a:gd name="connsiteY29" fmla="*/ 66675 h 155162"/>
                  <a:gd name="connsiteX30" fmla="*/ 0 w 204787"/>
                  <a:gd name="connsiteY30" fmla="*/ 48578 h 155162"/>
                  <a:gd name="connsiteX31" fmla="*/ 14288 w 204787"/>
                  <a:gd name="connsiteY31" fmla="*/ 35243 h 155162"/>
                  <a:gd name="connsiteX32" fmla="*/ 35242 w 204787"/>
                  <a:gd name="connsiteY32" fmla="*/ 27527 h 155162"/>
                  <a:gd name="connsiteX33" fmla="*/ 39052 w 204787"/>
                  <a:gd name="connsiteY33" fmla="*/ 17050 h 155162"/>
                  <a:gd name="connsiteX34" fmla="*/ 45720 w 204787"/>
                  <a:gd name="connsiteY34" fmla="*/ 0 h 155162"/>
                  <a:gd name="connsiteX35" fmla="*/ 56197 w 204787"/>
                  <a:gd name="connsiteY35" fmla="*/ 0 h 155162"/>
                  <a:gd name="connsiteX36" fmla="*/ 66675 w 204787"/>
                  <a:gd name="connsiteY36" fmla="*/ 6668 h 155162"/>
                  <a:gd name="connsiteX37" fmla="*/ 87630 w 204787"/>
                  <a:gd name="connsiteY37" fmla="*/ 6668 h 155162"/>
                  <a:gd name="connsiteX38" fmla="*/ 105727 w 204787"/>
                  <a:gd name="connsiteY38" fmla="*/ 10478 h 155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04787" h="155162">
                    <a:moveTo>
                      <a:pt x="105727" y="10478"/>
                    </a:moveTo>
                    <a:lnTo>
                      <a:pt x="105727" y="13240"/>
                    </a:lnTo>
                    <a:lnTo>
                      <a:pt x="126682" y="20955"/>
                    </a:lnTo>
                    <a:lnTo>
                      <a:pt x="147638" y="13240"/>
                    </a:lnTo>
                    <a:lnTo>
                      <a:pt x="172402" y="10478"/>
                    </a:lnTo>
                    <a:lnTo>
                      <a:pt x="176213" y="24765"/>
                    </a:lnTo>
                    <a:lnTo>
                      <a:pt x="186690" y="41815"/>
                    </a:lnTo>
                    <a:lnTo>
                      <a:pt x="197167" y="66675"/>
                    </a:lnTo>
                    <a:lnTo>
                      <a:pt x="193357" y="80963"/>
                    </a:lnTo>
                    <a:lnTo>
                      <a:pt x="197167" y="87630"/>
                    </a:lnTo>
                    <a:lnTo>
                      <a:pt x="200977" y="95250"/>
                    </a:lnTo>
                    <a:lnTo>
                      <a:pt x="204788" y="120015"/>
                    </a:lnTo>
                    <a:lnTo>
                      <a:pt x="193357" y="122777"/>
                    </a:lnTo>
                    <a:lnTo>
                      <a:pt x="197167" y="140875"/>
                    </a:lnTo>
                    <a:lnTo>
                      <a:pt x="186690" y="147638"/>
                    </a:lnTo>
                    <a:lnTo>
                      <a:pt x="176213" y="143828"/>
                    </a:lnTo>
                    <a:lnTo>
                      <a:pt x="169545" y="155162"/>
                    </a:lnTo>
                    <a:lnTo>
                      <a:pt x="158115" y="151352"/>
                    </a:lnTo>
                    <a:lnTo>
                      <a:pt x="155257" y="126587"/>
                    </a:lnTo>
                    <a:lnTo>
                      <a:pt x="144780" y="122777"/>
                    </a:lnTo>
                    <a:lnTo>
                      <a:pt x="130492" y="120015"/>
                    </a:lnTo>
                    <a:lnTo>
                      <a:pt x="134302" y="105728"/>
                    </a:lnTo>
                    <a:lnTo>
                      <a:pt x="122872" y="91440"/>
                    </a:lnTo>
                    <a:lnTo>
                      <a:pt x="109538" y="77153"/>
                    </a:lnTo>
                    <a:lnTo>
                      <a:pt x="84772" y="80963"/>
                    </a:lnTo>
                    <a:lnTo>
                      <a:pt x="70485" y="91440"/>
                    </a:lnTo>
                    <a:lnTo>
                      <a:pt x="56197" y="105728"/>
                    </a:lnTo>
                    <a:lnTo>
                      <a:pt x="41910" y="87630"/>
                    </a:lnTo>
                    <a:lnTo>
                      <a:pt x="24765" y="70390"/>
                    </a:lnTo>
                    <a:lnTo>
                      <a:pt x="10477" y="66675"/>
                    </a:lnTo>
                    <a:lnTo>
                      <a:pt x="0" y="48578"/>
                    </a:lnTo>
                    <a:lnTo>
                      <a:pt x="14288" y="35243"/>
                    </a:lnTo>
                    <a:lnTo>
                      <a:pt x="35242" y="27527"/>
                    </a:lnTo>
                    <a:lnTo>
                      <a:pt x="39052" y="17050"/>
                    </a:lnTo>
                    <a:lnTo>
                      <a:pt x="45720" y="0"/>
                    </a:lnTo>
                    <a:lnTo>
                      <a:pt x="56197" y="0"/>
                    </a:lnTo>
                    <a:lnTo>
                      <a:pt x="66675" y="6668"/>
                    </a:lnTo>
                    <a:lnTo>
                      <a:pt x="87630" y="6668"/>
                    </a:lnTo>
                    <a:lnTo>
                      <a:pt x="105727" y="1047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70BFE9BA-C668-898B-03BE-97A63C60699F}"/>
                  </a:ext>
                </a:extLst>
              </p:cNvPr>
              <p:cNvSpPr/>
              <p:nvPr/>
            </p:nvSpPr>
            <p:spPr>
              <a:xfrm>
                <a:off x="5582080" y="4195456"/>
                <a:ext cx="200750" cy="152105"/>
              </a:xfrm>
              <a:custGeom>
                <a:avLst/>
                <a:gdLst>
                  <a:gd name="connsiteX0" fmla="*/ 105727 w 204787"/>
                  <a:gd name="connsiteY0" fmla="*/ 10478 h 155162"/>
                  <a:gd name="connsiteX1" fmla="*/ 105727 w 204787"/>
                  <a:gd name="connsiteY1" fmla="*/ 13240 h 155162"/>
                  <a:gd name="connsiteX2" fmla="*/ 126682 w 204787"/>
                  <a:gd name="connsiteY2" fmla="*/ 20955 h 155162"/>
                  <a:gd name="connsiteX3" fmla="*/ 147638 w 204787"/>
                  <a:gd name="connsiteY3" fmla="*/ 13240 h 155162"/>
                  <a:gd name="connsiteX4" fmla="*/ 172402 w 204787"/>
                  <a:gd name="connsiteY4" fmla="*/ 10478 h 155162"/>
                  <a:gd name="connsiteX5" fmla="*/ 176213 w 204787"/>
                  <a:gd name="connsiteY5" fmla="*/ 24765 h 155162"/>
                  <a:gd name="connsiteX6" fmla="*/ 186690 w 204787"/>
                  <a:gd name="connsiteY6" fmla="*/ 41815 h 155162"/>
                  <a:gd name="connsiteX7" fmla="*/ 197167 w 204787"/>
                  <a:gd name="connsiteY7" fmla="*/ 66675 h 155162"/>
                  <a:gd name="connsiteX8" fmla="*/ 193357 w 204787"/>
                  <a:gd name="connsiteY8" fmla="*/ 80963 h 155162"/>
                  <a:gd name="connsiteX9" fmla="*/ 197167 w 204787"/>
                  <a:gd name="connsiteY9" fmla="*/ 87630 h 155162"/>
                  <a:gd name="connsiteX10" fmla="*/ 200977 w 204787"/>
                  <a:gd name="connsiteY10" fmla="*/ 95250 h 155162"/>
                  <a:gd name="connsiteX11" fmla="*/ 204788 w 204787"/>
                  <a:gd name="connsiteY11" fmla="*/ 120015 h 155162"/>
                  <a:gd name="connsiteX12" fmla="*/ 193357 w 204787"/>
                  <a:gd name="connsiteY12" fmla="*/ 122777 h 155162"/>
                  <a:gd name="connsiteX13" fmla="*/ 197167 w 204787"/>
                  <a:gd name="connsiteY13" fmla="*/ 140875 h 155162"/>
                  <a:gd name="connsiteX14" fmla="*/ 186690 w 204787"/>
                  <a:gd name="connsiteY14" fmla="*/ 147638 h 155162"/>
                  <a:gd name="connsiteX15" fmla="*/ 176213 w 204787"/>
                  <a:gd name="connsiteY15" fmla="*/ 143828 h 155162"/>
                  <a:gd name="connsiteX16" fmla="*/ 169545 w 204787"/>
                  <a:gd name="connsiteY16" fmla="*/ 155162 h 155162"/>
                  <a:gd name="connsiteX17" fmla="*/ 158115 w 204787"/>
                  <a:gd name="connsiteY17" fmla="*/ 151352 h 155162"/>
                  <a:gd name="connsiteX18" fmla="*/ 155257 w 204787"/>
                  <a:gd name="connsiteY18" fmla="*/ 126587 h 155162"/>
                  <a:gd name="connsiteX19" fmla="*/ 144780 w 204787"/>
                  <a:gd name="connsiteY19" fmla="*/ 122777 h 155162"/>
                  <a:gd name="connsiteX20" fmla="*/ 130492 w 204787"/>
                  <a:gd name="connsiteY20" fmla="*/ 120015 h 155162"/>
                  <a:gd name="connsiteX21" fmla="*/ 134302 w 204787"/>
                  <a:gd name="connsiteY21" fmla="*/ 105728 h 155162"/>
                  <a:gd name="connsiteX22" fmla="*/ 122872 w 204787"/>
                  <a:gd name="connsiteY22" fmla="*/ 91440 h 155162"/>
                  <a:gd name="connsiteX23" fmla="*/ 109538 w 204787"/>
                  <a:gd name="connsiteY23" fmla="*/ 77153 h 155162"/>
                  <a:gd name="connsiteX24" fmla="*/ 84772 w 204787"/>
                  <a:gd name="connsiteY24" fmla="*/ 80963 h 155162"/>
                  <a:gd name="connsiteX25" fmla="*/ 70485 w 204787"/>
                  <a:gd name="connsiteY25" fmla="*/ 91440 h 155162"/>
                  <a:gd name="connsiteX26" fmla="*/ 56197 w 204787"/>
                  <a:gd name="connsiteY26" fmla="*/ 105728 h 155162"/>
                  <a:gd name="connsiteX27" fmla="*/ 41910 w 204787"/>
                  <a:gd name="connsiteY27" fmla="*/ 87630 h 155162"/>
                  <a:gd name="connsiteX28" fmla="*/ 24765 w 204787"/>
                  <a:gd name="connsiteY28" fmla="*/ 70390 h 155162"/>
                  <a:gd name="connsiteX29" fmla="*/ 10477 w 204787"/>
                  <a:gd name="connsiteY29" fmla="*/ 66675 h 155162"/>
                  <a:gd name="connsiteX30" fmla="*/ 0 w 204787"/>
                  <a:gd name="connsiteY30" fmla="*/ 48578 h 155162"/>
                  <a:gd name="connsiteX31" fmla="*/ 14288 w 204787"/>
                  <a:gd name="connsiteY31" fmla="*/ 35243 h 155162"/>
                  <a:gd name="connsiteX32" fmla="*/ 35242 w 204787"/>
                  <a:gd name="connsiteY32" fmla="*/ 27527 h 155162"/>
                  <a:gd name="connsiteX33" fmla="*/ 39052 w 204787"/>
                  <a:gd name="connsiteY33" fmla="*/ 17050 h 155162"/>
                  <a:gd name="connsiteX34" fmla="*/ 45720 w 204787"/>
                  <a:gd name="connsiteY34" fmla="*/ 0 h 155162"/>
                  <a:gd name="connsiteX35" fmla="*/ 56197 w 204787"/>
                  <a:gd name="connsiteY35" fmla="*/ 0 h 155162"/>
                  <a:gd name="connsiteX36" fmla="*/ 66675 w 204787"/>
                  <a:gd name="connsiteY36" fmla="*/ 6668 h 155162"/>
                  <a:gd name="connsiteX37" fmla="*/ 87630 w 204787"/>
                  <a:gd name="connsiteY37" fmla="*/ 6668 h 155162"/>
                  <a:gd name="connsiteX38" fmla="*/ 105727 w 204787"/>
                  <a:gd name="connsiteY38" fmla="*/ 10478 h 155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04787" h="155162">
                    <a:moveTo>
                      <a:pt x="105727" y="10478"/>
                    </a:moveTo>
                    <a:lnTo>
                      <a:pt x="105727" y="13240"/>
                    </a:lnTo>
                    <a:lnTo>
                      <a:pt x="126682" y="20955"/>
                    </a:lnTo>
                    <a:lnTo>
                      <a:pt x="147638" y="13240"/>
                    </a:lnTo>
                    <a:lnTo>
                      <a:pt x="172402" y="10478"/>
                    </a:lnTo>
                    <a:lnTo>
                      <a:pt x="176213" y="24765"/>
                    </a:lnTo>
                    <a:lnTo>
                      <a:pt x="186690" y="41815"/>
                    </a:lnTo>
                    <a:lnTo>
                      <a:pt x="197167" y="66675"/>
                    </a:lnTo>
                    <a:lnTo>
                      <a:pt x="193357" y="80963"/>
                    </a:lnTo>
                    <a:lnTo>
                      <a:pt x="197167" y="87630"/>
                    </a:lnTo>
                    <a:lnTo>
                      <a:pt x="200977" y="95250"/>
                    </a:lnTo>
                    <a:lnTo>
                      <a:pt x="204788" y="120015"/>
                    </a:lnTo>
                    <a:lnTo>
                      <a:pt x="193357" y="122777"/>
                    </a:lnTo>
                    <a:lnTo>
                      <a:pt x="197167" y="140875"/>
                    </a:lnTo>
                    <a:lnTo>
                      <a:pt x="186690" y="147638"/>
                    </a:lnTo>
                    <a:lnTo>
                      <a:pt x="176213" y="143828"/>
                    </a:lnTo>
                    <a:lnTo>
                      <a:pt x="169545" y="155162"/>
                    </a:lnTo>
                    <a:lnTo>
                      <a:pt x="158115" y="151352"/>
                    </a:lnTo>
                    <a:lnTo>
                      <a:pt x="155257" y="126587"/>
                    </a:lnTo>
                    <a:lnTo>
                      <a:pt x="144780" y="122777"/>
                    </a:lnTo>
                    <a:lnTo>
                      <a:pt x="130492" y="120015"/>
                    </a:lnTo>
                    <a:lnTo>
                      <a:pt x="134302" y="105728"/>
                    </a:lnTo>
                    <a:lnTo>
                      <a:pt x="122872" y="91440"/>
                    </a:lnTo>
                    <a:lnTo>
                      <a:pt x="109538" y="77153"/>
                    </a:lnTo>
                    <a:lnTo>
                      <a:pt x="84772" y="80963"/>
                    </a:lnTo>
                    <a:lnTo>
                      <a:pt x="70485" y="91440"/>
                    </a:lnTo>
                    <a:lnTo>
                      <a:pt x="56197" y="105728"/>
                    </a:lnTo>
                    <a:lnTo>
                      <a:pt x="41910" y="87630"/>
                    </a:lnTo>
                    <a:lnTo>
                      <a:pt x="24765" y="70390"/>
                    </a:lnTo>
                    <a:lnTo>
                      <a:pt x="10477" y="66675"/>
                    </a:lnTo>
                    <a:lnTo>
                      <a:pt x="0" y="48578"/>
                    </a:lnTo>
                    <a:lnTo>
                      <a:pt x="14288" y="35243"/>
                    </a:lnTo>
                    <a:lnTo>
                      <a:pt x="35242" y="27527"/>
                    </a:lnTo>
                    <a:lnTo>
                      <a:pt x="39052" y="17050"/>
                    </a:lnTo>
                    <a:lnTo>
                      <a:pt x="45720" y="0"/>
                    </a:lnTo>
                    <a:lnTo>
                      <a:pt x="56197" y="0"/>
                    </a:lnTo>
                    <a:lnTo>
                      <a:pt x="66675" y="6668"/>
                    </a:lnTo>
                    <a:lnTo>
                      <a:pt x="87630" y="6668"/>
                    </a:lnTo>
                    <a:lnTo>
                      <a:pt x="105727" y="1047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8D20203A-DD48-C828-1685-61CEF1BABC10}"/>
                  </a:ext>
                </a:extLst>
              </p:cNvPr>
              <p:cNvSpPr/>
              <p:nvPr/>
            </p:nvSpPr>
            <p:spPr>
              <a:xfrm>
                <a:off x="5679187" y="4313106"/>
                <a:ext cx="113913" cy="113821"/>
              </a:xfrm>
              <a:custGeom>
                <a:avLst/>
                <a:gdLst>
                  <a:gd name="connsiteX0" fmla="*/ 87630 w 116204"/>
                  <a:gd name="connsiteY0" fmla="*/ 27622 h 116109"/>
                  <a:gd name="connsiteX1" fmla="*/ 87630 w 116204"/>
                  <a:gd name="connsiteY1" fmla="*/ 45625 h 116109"/>
                  <a:gd name="connsiteX2" fmla="*/ 87630 w 116204"/>
                  <a:gd name="connsiteY2" fmla="*/ 58960 h 116109"/>
                  <a:gd name="connsiteX3" fmla="*/ 101917 w 116204"/>
                  <a:gd name="connsiteY3" fmla="*/ 62865 h 116109"/>
                  <a:gd name="connsiteX4" fmla="*/ 112395 w 116204"/>
                  <a:gd name="connsiteY4" fmla="*/ 70485 h 116109"/>
                  <a:gd name="connsiteX5" fmla="*/ 116205 w 116204"/>
                  <a:gd name="connsiteY5" fmla="*/ 80963 h 116109"/>
                  <a:gd name="connsiteX6" fmla="*/ 116205 w 116204"/>
                  <a:gd name="connsiteY6" fmla="*/ 95250 h 116109"/>
                  <a:gd name="connsiteX7" fmla="*/ 108585 w 116204"/>
                  <a:gd name="connsiteY7" fmla="*/ 116110 h 116109"/>
                  <a:gd name="connsiteX8" fmla="*/ 87630 w 116204"/>
                  <a:gd name="connsiteY8" fmla="*/ 108585 h 116109"/>
                  <a:gd name="connsiteX9" fmla="*/ 66675 w 116204"/>
                  <a:gd name="connsiteY9" fmla="*/ 95250 h 116109"/>
                  <a:gd name="connsiteX10" fmla="*/ 52388 w 116204"/>
                  <a:gd name="connsiteY10" fmla="*/ 77153 h 116109"/>
                  <a:gd name="connsiteX11" fmla="*/ 31432 w 116204"/>
                  <a:gd name="connsiteY11" fmla="*/ 62865 h 116109"/>
                  <a:gd name="connsiteX12" fmla="*/ 13335 w 116204"/>
                  <a:gd name="connsiteY12" fmla="*/ 56197 h 116109"/>
                  <a:gd name="connsiteX13" fmla="*/ 0 w 116204"/>
                  <a:gd name="connsiteY13" fmla="*/ 41910 h 116109"/>
                  <a:gd name="connsiteX14" fmla="*/ 27622 w 116204"/>
                  <a:gd name="connsiteY14" fmla="*/ 13335 h 116109"/>
                  <a:gd name="connsiteX15" fmla="*/ 31432 w 116204"/>
                  <a:gd name="connsiteY15" fmla="*/ 0 h 116109"/>
                  <a:gd name="connsiteX16" fmla="*/ 41910 w 116204"/>
                  <a:gd name="connsiteY16" fmla="*/ 0 h 116109"/>
                  <a:gd name="connsiteX17" fmla="*/ 56197 w 116204"/>
                  <a:gd name="connsiteY17" fmla="*/ 6572 h 116109"/>
                  <a:gd name="connsiteX18" fmla="*/ 59055 w 116204"/>
                  <a:gd name="connsiteY18" fmla="*/ 31337 h 116109"/>
                  <a:gd name="connsiteX19" fmla="*/ 70485 w 116204"/>
                  <a:gd name="connsiteY19" fmla="*/ 35147 h 116109"/>
                  <a:gd name="connsiteX20" fmla="*/ 77153 w 116204"/>
                  <a:gd name="connsiteY20" fmla="*/ 23813 h 116109"/>
                  <a:gd name="connsiteX21" fmla="*/ 87630 w 116204"/>
                  <a:gd name="connsiteY21" fmla="*/ 27622 h 116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6204" h="116109">
                    <a:moveTo>
                      <a:pt x="87630" y="27622"/>
                    </a:moveTo>
                    <a:lnTo>
                      <a:pt x="87630" y="45625"/>
                    </a:lnTo>
                    <a:lnTo>
                      <a:pt x="87630" y="58960"/>
                    </a:lnTo>
                    <a:lnTo>
                      <a:pt x="101917" y="62865"/>
                    </a:lnTo>
                    <a:lnTo>
                      <a:pt x="112395" y="70485"/>
                    </a:lnTo>
                    <a:lnTo>
                      <a:pt x="116205" y="80963"/>
                    </a:lnTo>
                    <a:lnTo>
                      <a:pt x="116205" y="95250"/>
                    </a:lnTo>
                    <a:lnTo>
                      <a:pt x="108585" y="116110"/>
                    </a:lnTo>
                    <a:lnTo>
                      <a:pt x="87630" y="108585"/>
                    </a:lnTo>
                    <a:lnTo>
                      <a:pt x="66675" y="95250"/>
                    </a:lnTo>
                    <a:lnTo>
                      <a:pt x="52388" y="77153"/>
                    </a:lnTo>
                    <a:lnTo>
                      <a:pt x="31432" y="62865"/>
                    </a:lnTo>
                    <a:lnTo>
                      <a:pt x="13335" y="56197"/>
                    </a:lnTo>
                    <a:lnTo>
                      <a:pt x="0" y="41910"/>
                    </a:lnTo>
                    <a:lnTo>
                      <a:pt x="27622" y="13335"/>
                    </a:lnTo>
                    <a:lnTo>
                      <a:pt x="31432" y="0"/>
                    </a:lnTo>
                    <a:lnTo>
                      <a:pt x="41910" y="0"/>
                    </a:lnTo>
                    <a:lnTo>
                      <a:pt x="56197" y="6572"/>
                    </a:lnTo>
                    <a:lnTo>
                      <a:pt x="59055" y="31337"/>
                    </a:lnTo>
                    <a:lnTo>
                      <a:pt x="70485" y="35147"/>
                    </a:lnTo>
                    <a:lnTo>
                      <a:pt x="77153" y="23813"/>
                    </a:lnTo>
                    <a:lnTo>
                      <a:pt x="87630" y="2762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1C242339-BB31-F711-F069-3C872AC3C7FA}"/>
                  </a:ext>
                </a:extLst>
              </p:cNvPr>
              <p:cNvSpPr/>
              <p:nvPr/>
            </p:nvSpPr>
            <p:spPr>
              <a:xfrm>
                <a:off x="5679187" y="4313106"/>
                <a:ext cx="113913" cy="113821"/>
              </a:xfrm>
              <a:custGeom>
                <a:avLst/>
                <a:gdLst>
                  <a:gd name="connsiteX0" fmla="*/ 87630 w 116204"/>
                  <a:gd name="connsiteY0" fmla="*/ 27622 h 116109"/>
                  <a:gd name="connsiteX1" fmla="*/ 87630 w 116204"/>
                  <a:gd name="connsiteY1" fmla="*/ 45625 h 116109"/>
                  <a:gd name="connsiteX2" fmla="*/ 87630 w 116204"/>
                  <a:gd name="connsiteY2" fmla="*/ 58960 h 116109"/>
                  <a:gd name="connsiteX3" fmla="*/ 101917 w 116204"/>
                  <a:gd name="connsiteY3" fmla="*/ 62865 h 116109"/>
                  <a:gd name="connsiteX4" fmla="*/ 112395 w 116204"/>
                  <a:gd name="connsiteY4" fmla="*/ 70485 h 116109"/>
                  <a:gd name="connsiteX5" fmla="*/ 116205 w 116204"/>
                  <a:gd name="connsiteY5" fmla="*/ 80963 h 116109"/>
                  <a:gd name="connsiteX6" fmla="*/ 116205 w 116204"/>
                  <a:gd name="connsiteY6" fmla="*/ 95250 h 116109"/>
                  <a:gd name="connsiteX7" fmla="*/ 108585 w 116204"/>
                  <a:gd name="connsiteY7" fmla="*/ 116110 h 116109"/>
                  <a:gd name="connsiteX8" fmla="*/ 87630 w 116204"/>
                  <a:gd name="connsiteY8" fmla="*/ 108585 h 116109"/>
                  <a:gd name="connsiteX9" fmla="*/ 66675 w 116204"/>
                  <a:gd name="connsiteY9" fmla="*/ 95250 h 116109"/>
                  <a:gd name="connsiteX10" fmla="*/ 52388 w 116204"/>
                  <a:gd name="connsiteY10" fmla="*/ 77153 h 116109"/>
                  <a:gd name="connsiteX11" fmla="*/ 31432 w 116204"/>
                  <a:gd name="connsiteY11" fmla="*/ 62865 h 116109"/>
                  <a:gd name="connsiteX12" fmla="*/ 13335 w 116204"/>
                  <a:gd name="connsiteY12" fmla="*/ 56197 h 116109"/>
                  <a:gd name="connsiteX13" fmla="*/ 0 w 116204"/>
                  <a:gd name="connsiteY13" fmla="*/ 41910 h 116109"/>
                  <a:gd name="connsiteX14" fmla="*/ 27622 w 116204"/>
                  <a:gd name="connsiteY14" fmla="*/ 13335 h 116109"/>
                  <a:gd name="connsiteX15" fmla="*/ 31432 w 116204"/>
                  <a:gd name="connsiteY15" fmla="*/ 0 h 116109"/>
                  <a:gd name="connsiteX16" fmla="*/ 41910 w 116204"/>
                  <a:gd name="connsiteY16" fmla="*/ 0 h 116109"/>
                  <a:gd name="connsiteX17" fmla="*/ 56197 w 116204"/>
                  <a:gd name="connsiteY17" fmla="*/ 6572 h 116109"/>
                  <a:gd name="connsiteX18" fmla="*/ 59055 w 116204"/>
                  <a:gd name="connsiteY18" fmla="*/ 31337 h 116109"/>
                  <a:gd name="connsiteX19" fmla="*/ 70485 w 116204"/>
                  <a:gd name="connsiteY19" fmla="*/ 35147 h 116109"/>
                  <a:gd name="connsiteX20" fmla="*/ 77153 w 116204"/>
                  <a:gd name="connsiteY20" fmla="*/ 23813 h 116109"/>
                  <a:gd name="connsiteX21" fmla="*/ 87630 w 116204"/>
                  <a:gd name="connsiteY21" fmla="*/ 27622 h 116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6204" h="116109">
                    <a:moveTo>
                      <a:pt x="87630" y="27622"/>
                    </a:moveTo>
                    <a:lnTo>
                      <a:pt x="87630" y="45625"/>
                    </a:lnTo>
                    <a:lnTo>
                      <a:pt x="87630" y="58960"/>
                    </a:lnTo>
                    <a:lnTo>
                      <a:pt x="101917" y="62865"/>
                    </a:lnTo>
                    <a:lnTo>
                      <a:pt x="112395" y="70485"/>
                    </a:lnTo>
                    <a:lnTo>
                      <a:pt x="116205" y="80963"/>
                    </a:lnTo>
                    <a:lnTo>
                      <a:pt x="116205" y="95250"/>
                    </a:lnTo>
                    <a:lnTo>
                      <a:pt x="108585" y="116110"/>
                    </a:lnTo>
                    <a:lnTo>
                      <a:pt x="87630" y="108585"/>
                    </a:lnTo>
                    <a:lnTo>
                      <a:pt x="66675" y="95250"/>
                    </a:lnTo>
                    <a:lnTo>
                      <a:pt x="52388" y="77153"/>
                    </a:lnTo>
                    <a:lnTo>
                      <a:pt x="31432" y="62865"/>
                    </a:lnTo>
                    <a:lnTo>
                      <a:pt x="13335" y="56197"/>
                    </a:lnTo>
                    <a:lnTo>
                      <a:pt x="0" y="41910"/>
                    </a:lnTo>
                    <a:lnTo>
                      <a:pt x="27622" y="13335"/>
                    </a:lnTo>
                    <a:lnTo>
                      <a:pt x="31432" y="0"/>
                    </a:lnTo>
                    <a:lnTo>
                      <a:pt x="41910" y="0"/>
                    </a:lnTo>
                    <a:lnTo>
                      <a:pt x="56197" y="6572"/>
                    </a:lnTo>
                    <a:lnTo>
                      <a:pt x="59055" y="31337"/>
                    </a:lnTo>
                    <a:lnTo>
                      <a:pt x="70485" y="35147"/>
                    </a:lnTo>
                    <a:lnTo>
                      <a:pt x="77153" y="23813"/>
                    </a:lnTo>
                    <a:lnTo>
                      <a:pt x="87630" y="2762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C17AD239-8D3B-89DB-6C99-DDE41911EE5A}"/>
                  </a:ext>
                </a:extLst>
              </p:cNvPr>
              <p:cNvSpPr/>
              <p:nvPr/>
            </p:nvSpPr>
            <p:spPr>
              <a:xfrm>
                <a:off x="6364540" y="3894700"/>
                <a:ext cx="289455" cy="445483"/>
              </a:xfrm>
              <a:custGeom>
                <a:avLst/>
                <a:gdLst>
                  <a:gd name="connsiteX0" fmla="*/ 291465 w 295275"/>
                  <a:gd name="connsiteY0" fmla="*/ 225838 h 454437"/>
                  <a:gd name="connsiteX1" fmla="*/ 267652 w 295275"/>
                  <a:gd name="connsiteY1" fmla="*/ 228600 h 454437"/>
                  <a:gd name="connsiteX2" fmla="*/ 260032 w 295275"/>
                  <a:gd name="connsiteY2" fmla="*/ 249650 h 454437"/>
                  <a:gd name="connsiteX3" fmla="*/ 239077 w 295275"/>
                  <a:gd name="connsiteY3" fmla="*/ 299180 h 454437"/>
                  <a:gd name="connsiteX4" fmla="*/ 253365 w 295275"/>
                  <a:gd name="connsiteY4" fmla="*/ 313468 h 454437"/>
                  <a:gd name="connsiteX5" fmla="*/ 260032 w 295275"/>
                  <a:gd name="connsiteY5" fmla="*/ 359188 h 454437"/>
                  <a:gd name="connsiteX6" fmla="*/ 239077 w 295275"/>
                  <a:gd name="connsiteY6" fmla="*/ 362903 h 454437"/>
                  <a:gd name="connsiteX7" fmla="*/ 197168 w 295275"/>
                  <a:gd name="connsiteY7" fmla="*/ 404813 h 454437"/>
                  <a:gd name="connsiteX8" fmla="*/ 154305 w 295275"/>
                  <a:gd name="connsiteY8" fmla="*/ 412528 h 454437"/>
                  <a:gd name="connsiteX9" fmla="*/ 151448 w 295275"/>
                  <a:gd name="connsiteY9" fmla="*/ 433388 h 454437"/>
                  <a:gd name="connsiteX10" fmla="*/ 69532 w 295275"/>
                  <a:gd name="connsiteY10" fmla="*/ 454438 h 454437"/>
                  <a:gd name="connsiteX11" fmla="*/ 52388 w 295275"/>
                  <a:gd name="connsiteY11" fmla="*/ 433388 h 454437"/>
                  <a:gd name="connsiteX12" fmla="*/ 17145 w 295275"/>
                  <a:gd name="connsiteY12" fmla="*/ 398240 h 454437"/>
                  <a:gd name="connsiteX13" fmla="*/ 20955 w 295275"/>
                  <a:gd name="connsiteY13" fmla="*/ 380143 h 454437"/>
                  <a:gd name="connsiteX14" fmla="*/ 56198 w 295275"/>
                  <a:gd name="connsiteY14" fmla="*/ 380143 h 454437"/>
                  <a:gd name="connsiteX15" fmla="*/ 45720 w 295275"/>
                  <a:gd name="connsiteY15" fmla="*/ 362903 h 454437"/>
                  <a:gd name="connsiteX16" fmla="*/ 41910 w 295275"/>
                  <a:gd name="connsiteY16" fmla="*/ 320040 h 454437"/>
                  <a:gd name="connsiteX17" fmla="*/ 27623 w 295275"/>
                  <a:gd name="connsiteY17" fmla="*/ 299180 h 454437"/>
                  <a:gd name="connsiteX18" fmla="*/ 2857 w 295275"/>
                  <a:gd name="connsiteY18" fmla="*/ 274415 h 454437"/>
                  <a:gd name="connsiteX19" fmla="*/ 0 w 295275"/>
                  <a:gd name="connsiteY19" fmla="*/ 253365 h 454437"/>
                  <a:gd name="connsiteX20" fmla="*/ 56198 w 295275"/>
                  <a:gd name="connsiteY20" fmla="*/ 186690 h 454437"/>
                  <a:gd name="connsiteX21" fmla="*/ 62865 w 295275"/>
                  <a:gd name="connsiteY21" fmla="*/ 116300 h 454437"/>
                  <a:gd name="connsiteX22" fmla="*/ 69532 w 295275"/>
                  <a:gd name="connsiteY22" fmla="*/ 87725 h 454437"/>
                  <a:gd name="connsiteX23" fmla="*/ 48577 w 295275"/>
                  <a:gd name="connsiteY23" fmla="*/ 10478 h 454437"/>
                  <a:gd name="connsiteX24" fmla="*/ 59055 w 295275"/>
                  <a:gd name="connsiteY24" fmla="*/ 0 h 454437"/>
                  <a:gd name="connsiteX25" fmla="*/ 295275 w 295275"/>
                  <a:gd name="connsiteY25" fmla="*/ 95250 h 454437"/>
                  <a:gd name="connsiteX26" fmla="*/ 291465 w 295275"/>
                  <a:gd name="connsiteY26" fmla="*/ 225838 h 454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5275" h="454437">
                    <a:moveTo>
                      <a:pt x="291465" y="225838"/>
                    </a:moveTo>
                    <a:lnTo>
                      <a:pt x="267652" y="228600"/>
                    </a:lnTo>
                    <a:lnTo>
                      <a:pt x="260032" y="249650"/>
                    </a:lnTo>
                    <a:lnTo>
                      <a:pt x="239077" y="299180"/>
                    </a:lnTo>
                    <a:lnTo>
                      <a:pt x="253365" y="313468"/>
                    </a:lnTo>
                    <a:lnTo>
                      <a:pt x="260032" y="359188"/>
                    </a:lnTo>
                    <a:lnTo>
                      <a:pt x="239077" y="362903"/>
                    </a:lnTo>
                    <a:lnTo>
                      <a:pt x="197168" y="404813"/>
                    </a:lnTo>
                    <a:lnTo>
                      <a:pt x="154305" y="412528"/>
                    </a:lnTo>
                    <a:lnTo>
                      <a:pt x="151448" y="433388"/>
                    </a:lnTo>
                    <a:lnTo>
                      <a:pt x="69532" y="454438"/>
                    </a:lnTo>
                    <a:lnTo>
                      <a:pt x="52388" y="433388"/>
                    </a:lnTo>
                    <a:lnTo>
                      <a:pt x="17145" y="398240"/>
                    </a:lnTo>
                    <a:lnTo>
                      <a:pt x="20955" y="380143"/>
                    </a:lnTo>
                    <a:lnTo>
                      <a:pt x="56198" y="380143"/>
                    </a:lnTo>
                    <a:lnTo>
                      <a:pt x="45720" y="362903"/>
                    </a:lnTo>
                    <a:lnTo>
                      <a:pt x="41910" y="320040"/>
                    </a:lnTo>
                    <a:lnTo>
                      <a:pt x="27623" y="299180"/>
                    </a:lnTo>
                    <a:lnTo>
                      <a:pt x="2857" y="274415"/>
                    </a:lnTo>
                    <a:lnTo>
                      <a:pt x="0" y="253365"/>
                    </a:lnTo>
                    <a:lnTo>
                      <a:pt x="56198" y="186690"/>
                    </a:lnTo>
                    <a:lnTo>
                      <a:pt x="62865" y="116300"/>
                    </a:lnTo>
                    <a:lnTo>
                      <a:pt x="69532" y="87725"/>
                    </a:lnTo>
                    <a:lnTo>
                      <a:pt x="48577" y="10478"/>
                    </a:lnTo>
                    <a:lnTo>
                      <a:pt x="59055" y="0"/>
                    </a:lnTo>
                    <a:lnTo>
                      <a:pt x="295275" y="95250"/>
                    </a:lnTo>
                    <a:lnTo>
                      <a:pt x="291465" y="2258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15F2618E-7C99-9D4A-891B-9074B0545A62}"/>
                  </a:ext>
                </a:extLst>
              </p:cNvPr>
              <p:cNvSpPr/>
              <p:nvPr/>
            </p:nvSpPr>
            <p:spPr>
              <a:xfrm>
                <a:off x="5999454" y="3887325"/>
                <a:ext cx="433247" cy="335116"/>
              </a:xfrm>
              <a:custGeom>
                <a:avLst/>
                <a:gdLst>
                  <a:gd name="connsiteX0" fmla="*/ 7620 w 441959"/>
                  <a:gd name="connsiteY0" fmla="*/ 250412 h 341852"/>
                  <a:gd name="connsiteX1" fmla="*/ 32385 w 441959"/>
                  <a:gd name="connsiteY1" fmla="*/ 250412 h 341852"/>
                  <a:gd name="connsiteX2" fmla="*/ 92393 w 441959"/>
                  <a:gd name="connsiteY2" fmla="*/ 240030 h 341852"/>
                  <a:gd name="connsiteX3" fmla="*/ 113347 w 441959"/>
                  <a:gd name="connsiteY3" fmla="*/ 208502 h 341852"/>
                  <a:gd name="connsiteX4" fmla="*/ 116205 w 441959"/>
                  <a:gd name="connsiteY4" fmla="*/ 134303 h 341852"/>
                  <a:gd name="connsiteX5" fmla="*/ 151447 w 441959"/>
                  <a:gd name="connsiteY5" fmla="*/ 126587 h 341852"/>
                  <a:gd name="connsiteX6" fmla="*/ 219075 w 441959"/>
                  <a:gd name="connsiteY6" fmla="*/ 70390 h 341852"/>
                  <a:gd name="connsiteX7" fmla="*/ 337185 w 441959"/>
                  <a:gd name="connsiteY7" fmla="*/ 0 h 341852"/>
                  <a:gd name="connsiteX8" fmla="*/ 350520 w 441959"/>
                  <a:gd name="connsiteY8" fmla="*/ 3715 h 341852"/>
                  <a:gd name="connsiteX9" fmla="*/ 364808 w 441959"/>
                  <a:gd name="connsiteY9" fmla="*/ 7525 h 341852"/>
                  <a:gd name="connsiteX10" fmla="*/ 382905 w 441959"/>
                  <a:gd name="connsiteY10" fmla="*/ 14288 h 341852"/>
                  <a:gd name="connsiteX11" fmla="*/ 400050 w 441959"/>
                  <a:gd name="connsiteY11" fmla="*/ 28575 h 341852"/>
                  <a:gd name="connsiteX12" fmla="*/ 421005 w 441959"/>
                  <a:gd name="connsiteY12" fmla="*/ 18002 h 341852"/>
                  <a:gd name="connsiteX13" fmla="*/ 441960 w 441959"/>
                  <a:gd name="connsiteY13" fmla="*/ 95250 h 341852"/>
                  <a:gd name="connsiteX14" fmla="*/ 435292 w 441959"/>
                  <a:gd name="connsiteY14" fmla="*/ 123825 h 341852"/>
                  <a:gd name="connsiteX15" fmla="*/ 428625 w 441959"/>
                  <a:gd name="connsiteY15" fmla="*/ 194215 h 341852"/>
                  <a:gd name="connsiteX16" fmla="*/ 372428 w 441959"/>
                  <a:gd name="connsiteY16" fmla="*/ 260890 h 341852"/>
                  <a:gd name="connsiteX17" fmla="*/ 375285 w 441959"/>
                  <a:gd name="connsiteY17" fmla="*/ 281940 h 341852"/>
                  <a:gd name="connsiteX18" fmla="*/ 337185 w 441959"/>
                  <a:gd name="connsiteY18" fmla="*/ 306705 h 341852"/>
                  <a:gd name="connsiteX19" fmla="*/ 275272 w 441959"/>
                  <a:gd name="connsiteY19" fmla="*/ 300038 h 341852"/>
                  <a:gd name="connsiteX20" fmla="*/ 264795 w 441959"/>
                  <a:gd name="connsiteY20" fmla="*/ 314325 h 341852"/>
                  <a:gd name="connsiteX21" fmla="*/ 215265 w 441959"/>
                  <a:gd name="connsiteY21" fmla="*/ 296228 h 341852"/>
                  <a:gd name="connsiteX22" fmla="*/ 197167 w 441959"/>
                  <a:gd name="connsiteY22" fmla="*/ 306705 h 341852"/>
                  <a:gd name="connsiteX23" fmla="*/ 169545 w 441959"/>
                  <a:gd name="connsiteY23" fmla="*/ 285750 h 341852"/>
                  <a:gd name="connsiteX24" fmla="*/ 116205 w 441959"/>
                  <a:gd name="connsiteY24" fmla="*/ 285750 h 341852"/>
                  <a:gd name="connsiteX25" fmla="*/ 95250 w 441959"/>
                  <a:gd name="connsiteY25" fmla="*/ 341852 h 341852"/>
                  <a:gd name="connsiteX26" fmla="*/ 78105 w 441959"/>
                  <a:gd name="connsiteY26" fmla="*/ 324803 h 341852"/>
                  <a:gd name="connsiteX27" fmla="*/ 53340 w 441959"/>
                  <a:gd name="connsiteY27" fmla="*/ 327565 h 341852"/>
                  <a:gd name="connsiteX28" fmla="*/ 28575 w 441959"/>
                  <a:gd name="connsiteY28" fmla="*/ 314325 h 341852"/>
                  <a:gd name="connsiteX29" fmla="*/ 21908 w 441959"/>
                  <a:gd name="connsiteY29" fmla="*/ 310515 h 341852"/>
                  <a:gd name="connsiteX30" fmla="*/ 24765 w 441959"/>
                  <a:gd name="connsiteY30" fmla="*/ 300038 h 341852"/>
                  <a:gd name="connsiteX31" fmla="*/ 7620 w 441959"/>
                  <a:gd name="connsiteY31" fmla="*/ 278987 h 341852"/>
                  <a:gd name="connsiteX32" fmla="*/ 0 w 441959"/>
                  <a:gd name="connsiteY32" fmla="*/ 264700 h 341852"/>
                  <a:gd name="connsiteX33" fmla="*/ 7620 w 441959"/>
                  <a:gd name="connsiteY33" fmla="*/ 250412 h 34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41959" h="341852">
                    <a:moveTo>
                      <a:pt x="7620" y="250412"/>
                    </a:moveTo>
                    <a:lnTo>
                      <a:pt x="32385" y="250412"/>
                    </a:lnTo>
                    <a:lnTo>
                      <a:pt x="92393" y="240030"/>
                    </a:lnTo>
                    <a:lnTo>
                      <a:pt x="113347" y="208502"/>
                    </a:lnTo>
                    <a:lnTo>
                      <a:pt x="116205" y="134303"/>
                    </a:lnTo>
                    <a:lnTo>
                      <a:pt x="151447" y="126587"/>
                    </a:lnTo>
                    <a:lnTo>
                      <a:pt x="219075" y="70390"/>
                    </a:lnTo>
                    <a:lnTo>
                      <a:pt x="337185" y="0"/>
                    </a:lnTo>
                    <a:lnTo>
                      <a:pt x="350520" y="3715"/>
                    </a:lnTo>
                    <a:lnTo>
                      <a:pt x="364808" y="7525"/>
                    </a:lnTo>
                    <a:lnTo>
                      <a:pt x="382905" y="14288"/>
                    </a:lnTo>
                    <a:lnTo>
                      <a:pt x="400050" y="28575"/>
                    </a:lnTo>
                    <a:lnTo>
                      <a:pt x="421005" y="18002"/>
                    </a:lnTo>
                    <a:lnTo>
                      <a:pt x="441960" y="95250"/>
                    </a:lnTo>
                    <a:lnTo>
                      <a:pt x="435292" y="123825"/>
                    </a:lnTo>
                    <a:lnTo>
                      <a:pt x="428625" y="194215"/>
                    </a:lnTo>
                    <a:lnTo>
                      <a:pt x="372428" y="260890"/>
                    </a:lnTo>
                    <a:lnTo>
                      <a:pt x="375285" y="281940"/>
                    </a:lnTo>
                    <a:lnTo>
                      <a:pt x="337185" y="306705"/>
                    </a:lnTo>
                    <a:lnTo>
                      <a:pt x="275272" y="300038"/>
                    </a:lnTo>
                    <a:lnTo>
                      <a:pt x="264795" y="314325"/>
                    </a:lnTo>
                    <a:lnTo>
                      <a:pt x="215265" y="296228"/>
                    </a:lnTo>
                    <a:lnTo>
                      <a:pt x="197167" y="306705"/>
                    </a:lnTo>
                    <a:lnTo>
                      <a:pt x="169545" y="285750"/>
                    </a:lnTo>
                    <a:lnTo>
                      <a:pt x="116205" y="285750"/>
                    </a:lnTo>
                    <a:lnTo>
                      <a:pt x="95250" y="341852"/>
                    </a:lnTo>
                    <a:lnTo>
                      <a:pt x="78105" y="324803"/>
                    </a:lnTo>
                    <a:lnTo>
                      <a:pt x="53340" y="327565"/>
                    </a:lnTo>
                    <a:lnTo>
                      <a:pt x="28575" y="314325"/>
                    </a:lnTo>
                    <a:lnTo>
                      <a:pt x="21908" y="310515"/>
                    </a:lnTo>
                    <a:lnTo>
                      <a:pt x="24765" y="300038"/>
                    </a:lnTo>
                    <a:lnTo>
                      <a:pt x="7620" y="278987"/>
                    </a:lnTo>
                    <a:lnTo>
                      <a:pt x="0" y="264700"/>
                    </a:lnTo>
                    <a:lnTo>
                      <a:pt x="7620" y="25041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EAFD89DA-1513-420B-BD85-CEE34DC4F2F5}"/>
                  </a:ext>
                </a:extLst>
              </p:cNvPr>
              <p:cNvSpPr/>
              <p:nvPr/>
            </p:nvSpPr>
            <p:spPr>
              <a:xfrm>
                <a:off x="6398154" y="4246811"/>
                <a:ext cx="349213" cy="221294"/>
              </a:xfrm>
              <a:custGeom>
                <a:avLst/>
                <a:gdLst>
                  <a:gd name="connsiteX0" fmla="*/ 35243 w 356235"/>
                  <a:gd name="connsiteY0" fmla="*/ 95250 h 225742"/>
                  <a:gd name="connsiteX1" fmla="*/ 117158 w 356235"/>
                  <a:gd name="connsiteY1" fmla="*/ 74200 h 225742"/>
                  <a:gd name="connsiteX2" fmla="*/ 120015 w 356235"/>
                  <a:gd name="connsiteY2" fmla="*/ 53340 h 225742"/>
                  <a:gd name="connsiteX3" fmla="*/ 162878 w 356235"/>
                  <a:gd name="connsiteY3" fmla="*/ 45625 h 225742"/>
                  <a:gd name="connsiteX4" fmla="*/ 204788 w 356235"/>
                  <a:gd name="connsiteY4" fmla="*/ 3715 h 225742"/>
                  <a:gd name="connsiteX5" fmla="*/ 225743 w 356235"/>
                  <a:gd name="connsiteY5" fmla="*/ 0 h 225742"/>
                  <a:gd name="connsiteX6" fmla="*/ 246698 w 356235"/>
                  <a:gd name="connsiteY6" fmla="*/ 14288 h 225742"/>
                  <a:gd name="connsiteX7" fmla="*/ 250508 w 356235"/>
                  <a:gd name="connsiteY7" fmla="*/ 39053 h 225742"/>
                  <a:gd name="connsiteX8" fmla="*/ 250508 w 356235"/>
                  <a:gd name="connsiteY8" fmla="*/ 59912 h 225742"/>
                  <a:gd name="connsiteX9" fmla="*/ 317183 w 356235"/>
                  <a:gd name="connsiteY9" fmla="*/ 105728 h 225742"/>
                  <a:gd name="connsiteX10" fmla="*/ 356235 w 356235"/>
                  <a:gd name="connsiteY10" fmla="*/ 162878 h 225742"/>
                  <a:gd name="connsiteX11" fmla="*/ 302895 w 356235"/>
                  <a:gd name="connsiteY11" fmla="*/ 159068 h 225742"/>
                  <a:gd name="connsiteX12" fmla="*/ 243840 w 356235"/>
                  <a:gd name="connsiteY12" fmla="*/ 176213 h 225742"/>
                  <a:gd name="connsiteX13" fmla="*/ 221933 w 356235"/>
                  <a:gd name="connsiteY13" fmla="*/ 190500 h 225742"/>
                  <a:gd name="connsiteX14" fmla="*/ 183833 w 356235"/>
                  <a:gd name="connsiteY14" fmla="*/ 186690 h 225742"/>
                  <a:gd name="connsiteX15" fmla="*/ 162878 w 356235"/>
                  <a:gd name="connsiteY15" fmla="*/ 179927 h 225742"/>
                  <a:gd name="connsiteX16" fmla="*/ 138113 w 356235"/>
                  <a:gd name="connsiteY16" fmla="*/ 155162 h 225742"/>
                  <a:gd name="connsiteX17" fmla="*/ 113348 w 356235"/>
                  <a:gd name="connsiteY17" fmla="*/ 183737 h 225742"/>
                  <a:gd name="connsiteX18" fmla="*/ 109538 w 356235"/>
                  <a:gd name="connsiteY18" fmla="*/ 208502 h 225742"/>
                  <a:gd name="connsiteX19" fmla="*/ 57150 w 356235"/>
                  <a:gd name="connsiteY19" fmla="*/ 204788 h 225742"/>
                  <a:gd name="connsiteX20" fmla="*/ 42863 w 356235"/>
                  <a:gd name="connsiteY20" fmla="*/ 225743 h 225742"/>
                  <a:gd name="connsiteX21" fmla="*/ 18098 w 356235"/>
                  <a:gd name="connsiteY21" fmla="*/ 198025 h 225742"/>
                  <a:gd name="connsiteX22" fmla="*/ 0 w 356235"/>
                  <a:gd name="connsiteY22" fmla="*/ 151352 h 225742"/>
                  <a:gd name="connsiteX23" fmla="*/ 0 w 356235"/>
                  <a:gd name="connsiteY23" fmla="*/ 123825 h 225742"/>
                  <a:gd name="connsiteX24" fmla="*/ 35243 w 356235"/>
                  <a:gd name="connsiteY24" fmla="*/ 95250 h 225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56235" h="225742">
                    <a:moveTo>
                      <a:pt x="35243" y="95250"/>
                    </a:moveTo>
                    <a:lnTo>
                      <a:pt x="117158" y="74200"/>
                    </a:lnTo>
                    <a:lnTo>
                      <a:pt x="120015" y="53340"/>
                    </a:lnTo>
                    <a:lnTo>
                      <a:pt x="162878" y="45625"/>
                    </a:lnTo>
                    <a:lnTo>
                      <a:pt x="204788" y="3715"/>
                    </a:lnTo>
                    <a:lnTo>
                      <a:pt x="225743" y="0"/>
                    </a:lnTo>
                    <a:lnTo>
                      <a:pt x="246698" y="14288"/>
                    </a:lnTo>
                    <a:lnTo>
                      <a:pt x="250508" y="39053"/>
                    </a:lnTo>
                    <a:lnTo>
                      <a:pt x="250508" y="59912"/>
                    </a:lnTo>
                    <a:lnTo>
                      <a:pt x="317183" y="105728"/>
                    </a:lnTo>
                    <a:lnTo>
                      <a:pt x="356235" y="162878"/>
                    </a:lnTo>
                    <a:lnTo>
                      <a:pt x="302895" y="159068"/>
                    </a:lnTo>
                    <a:lnTo>
                      <a:pt x="243840" y="176213"/>
                    </a:lnTo>
                    <a:lnTo>
                      <a:pt x="221933" y="190500"/>
                    </a:lnTo>
                    <a:lnTo>
                      <a:pt x="183833" y="186690"/>
                    </a:lnTo>
                    <a:lnTo>
                      <a:pt x="162878" y="179927"/>
                    </a:lnTo>
                    <a:lnTo>
                      <a:pt x="138113" y="155162"/>
                    </a:lnTo>
                    <a:lnTo>
                      <a:pt x="113348" y="183737"/>
                    </a:lnTo>
                    <a:lnTo>
                      <a:pt x="109538" y="208502"/>
                    </a:lnTo>
                    <a:lnTo>
                      <a:pt x="57150" y="204788"/>
                    </a:lnTo>
                    <a:lnTo>
                      <a:pt x="42863" y="225743"/>
                    </a:lnTo>
                    <a:lnTo>
                      <a:pt x="18098" y="198025"/>
                    </a:lnTo>
                    <a:lnTo>
                      <a:pt x="0" y="151352"/>
                    </a:lnTo>
                    <a:lnTo>
                      <a:pt x="0" y="123825"/>
                    </a:lnTo>
                    <a:lnTo>
                      <a:pt x="35243" y="9525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90EA20BE-AD35-19DA-C5BD-9584E952EE3F}"/>
                  </a:ext>
                </a:extLst>
              </p:cNvPr>
              <p:cNvSpPr/>
              <p:nvPr/>
            </p:nvSpPr>
            <p:spPr>
              <a:xfrm>
                <a:off x="6598905" y="3907867"/>
                <a:ext cx="455657" cy="533067"/>
              </a:xfrm>
              <a:custGeom>
                <a:avLst/>
                <a:gdLst>
                  <a:gd name="connsiteX0" fmla="*/ 331470 w 464820"/>
                  <a:gd name="connsiteY0" fmla="*/ 35147 h 543782"/>
                  <a:gd name="connsiteX1" fmla="*/ 365760 w 464820"/>
                  <a:gd name="connsiteY1" fmla="*/ 0 h 543782"/>
                  <a:gd name="connsiteX2" fmla="*/ 380048 w 464820"/>
                  <a:gd name="connsiteY2" fmla="*/ 0 h 543782"/>
                  <a:gd name="connsiteX3" fmla="*/ 419100 w 464820"/>
                  <a:gd name="connsiteY3" fmla="*/ 32385 h 543782"/>
                  <a:gd name="connsiteX4" fmla="*/ 425768 w 464820"/>
                  <a:gd name="connsiteY4" fmla="*/ 57150 h 543782"/>
                  <a:gd name="connsiteX5" fmla="*/ 422910 w 464820"/>
                  <a:gd name="connsiteY5" fmla="*/ 105632 h 543782"/>
                  <a:gd name="connsiteX6" fmla="*/ 464820 w 464820"/>
                  <a:gd name="connsiteY6" fmla="*/ 152400 h 543782"/>
                  <a:gd name="connsiteX7" fmla="*/ 415290 w 464820"/>
                  <a:gd name="connsiteY7" fmla="*/ 173260 h 543782"/>
                  <a:gd name="connsiteX8" fmla="*/ 404813 w 464820"/>
                  <a:gd name="connsiteY8" fmla="*/ 225647 h 543782"/>
                  <a:gd name="connsiteX9" fmla="*/ 404813 w 464820"/>
                  <a:gd name="connsiteY9" fmla="*/ 250507 h 543782"/>
                  <a:gd name="connsiteX10" fmla="*/ 362903 w 464820"/>
                  <a:gd name="connsiteY10" fmla="*/ 318135 h 543782"/>
                  <a:gd name="connsiteX11" fmla="*/ 362903 w 464820"/>
                  <a:gd name="connsiteY11" fmla="*/ 345757 h 543782"/>
                  <a:gd name="connsiteX12" fmla="*/ 341948 w 464820"/>
                  <a:gd name="connsiteY12" fmla="*/ 349472 h 543782"/>
                  <a:gd name="connsiteX13" fmla="*/ 341948 w 464820"/>
                  <a:gd name="connsiteY13" fmla="*/ 413385 h 543782"/>
                  <a:gd name="connsiteX14" fmla="*/ 306705 w 464820"/>
                  <a:gd name="connsiteY14" fmla="*/ 413385 h 543782"/>
                  <a:gd name="connsiteX15" fmla="*/ 313373 w 464820"/>
                  <a:gd name="connsiteY15" fmla="*/ 437197 h 543782"/>
                  <a:gd name="connsiteX16" fmla="*/ 331470 w 464820"/>
                  <a:gd name="connsiteY16" fmla="*/ 441007 h 543782"/>
                  <a:gd name="connsiteX17" fmla="*/ 373380 w 464820"/>
                  <a:gd name="connsiteY17" fmla="*/ 497110 h 543782"/>
                  <a:gd name="connsiteX18" fmla="*/ 383858 w 464820"/>
                  <a:gd name="connsiteY18" fmla="*/ 497110 h 543782"/>
                  <a:gd name="connsiteX19" fmla="*/ 383858 w 464820"/>
                  <a:gd name="connsiteY19" fmla="*/ 521970 h 543782"/>
                  <a:gd name="connsiteX20" fmla="*/ 348615 w 464820"/>
                  <a:gd name="connsiteY20" fmla="*/ 521970 h 543782"/>
                  <a:gd name="connsiteX21" fmla="*/ 334328 w 464820"/>
                  <a:gd name="connsiteY21" fmla="*/ 536257 h 543782"/>
                  <a:gd name="connsiteX22" fmla="*/ 242888 w 464820"/>
                  <a:gd name="connsiteY22" fmla="*/ 543782 h 543782"/>
                  <a:gd name="connsiteX23" fmla="*/ 214313 w 464820"/>
                  <a:gd name="connsiteY23" fmla="*/ 521970 h 543782"/>
                  <a:gd name="connsiteX24" fmla="*/ 165735 w 464820"/>
                  <a:gd name="connsiteY24" fmla="*/ 525685 h 543782"/>
                  <a:gd name="connsiteX25" fmla="*/ 151448 w 464820"/>
                  <a:gd name="connsiteY25" fmla="*/ 508635 h 543782"/>
                  <a:gd name="connsiteX26" fmla="*/ 112395 w 464820"/>
                  <a:gd name="connsiteY26" fmla="*/ 451485 h 543782"/>
                  <a:gd name="connsiteX27" fmla="*/ 45720 w 464820"/>
                  <a:gd name="connsiteY27" fmla="*/ 405670 h 543782"/>
                  <a:gd name="connsiteX28" fmla="*/ 41910 w 464820"/>
                  <a:gd name="connsiteY28" fmla="*/ 360045 h 543782"/>
                  <a:gd name="connsiteX29" fmla="*/ 20955 w 464820"/>
                  <a:gd name="connsiteY29" fmla="*/ 345757 h 543782"/>
                  <a:gd name="connsiteX30" fmla="*/ 14288 w 464820"/>
                  <a:gd name="connsiteY30" fmla="*/ 300038 h 543782"/>
                  <a:gd name="connsiteX31" fmla="*/ 0 w 464820"/>
                  <a:gd name="connsiteY31" fmla="*/ 285750 h 543782"/>
                  <a:gd name="connsiteX32" fmla="*/ 28575 w 464820"/>
                  <a:gd name="connsiteY32" fmla="*/ 215170 h 543782"/>
                  <a:gd name="connsiteX33" fmla="*/ 52388 w 464820"/>
                  <a:gd name="connsiteY33" fmla="*/ 212407 h 543782"/>
                  <a:gd name="connsiteX34" fmla="*/ 56198 w 464820"/>
                  <a:gd name="connsiteY34" fmla="*/ 81820 h 543782"/>
                  <a:gd name="connsiteX35" fmla="*/ 87630 w 464820"/>
                  <a:gd name="connsiteY35" fmla="*/ 81820 h 543782"/>
                  <a:gd name="connsiteX36" fmla="*/ 87630 w 464820"/>
                  <a:gd name="connsiteY36" fmla="*/ 21907 h 543782"/>
                  <a:gd name="connsiteX37" fmla="*/ 313373 w 464820"/>
                  <a:gd name="connsiteY37" fmla="*/ 24670 h 543782"/>
                  <a:gd name="connsiteX38" fmla="*/ 331470 w 464820"/>
                  <a:gd name="connsiteY38" fmla="*/ 35147 h 543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64820" h="543782">
                    <a:moveTo>
                      <a:pt x="331470" y="35147"/>
                    </a:moveTo>
                    <a:lnTo>
                      <a:pt x="365760" y="0"/>
                    </a:lnTo>
                    <a:lnTo>
                      <a:pt x="380048" y="0"/>
                    </a:lnTo>
                    <a:lnTo>
                      <a:pt x="419100" y="32385"/>
                    </a:lnTo>
                    <a:lnTo>
                      <a:pt x="425768" y="57150"/>
                    </a:lnTo>
                    <a:lnTo>
                      <a:pt x="422910" y="105632"/>
                    </a:lnTo>
                    <a:lnTo>
                      <a:pt x="464820" y="152400"/>
                    </a:lnTo>
                    <a:lnTo>
                      <a:pt x="415290" y="173260"/>
                    </a:lnTo>
                    <a:lnTo>
                      <a:pt x="404813" y="225647"/>
                    </a:lnTo>
                    <a:lnTo>
                      <a:pt x="404813" y="250507"/>
                    </a:lnTo>
                    <a:lnTo>
                      <a:pt x="362903" y="318135"/>
                    </a:lnTo>
                    <a:lnTo>
                      <a:pt x="362903" y="345757"/>
                    </a:lnTo>
                    <a:lnTo>
                      <a:pt x="341948" y="349472"/>
                    </a:lnTo>
                    <a:lnTo>
                      <a:pt x="341948" y="413385"/>
                    </a:lnTo>
                    <a:lnTo>
                      <a:pt x="306705" y="413385"/>
                    </a:lnTo>
                    <a:lnTo>
                      <a:pt x="313373" y="437197"/>
                    </a:lnTo>
                    <a:lnTo>
                      <a:pt x="331470" y="441007"/>
                    </a:lnTo>
                    <a:lnTo>
                      <a:pt x="373380" y="497110"/>
                    </a:lnTo>
                    <a:lnTo>
                      <a:pt x="383858" y="497110"/>
                    </a:lnTo>
                    <a:lnTo>
                      <a:pt x="383858" y="521970"/>
                    </a:lnTo>
                    <a:lnTo>
                      <a:pt x="348615" y="521970"/>
                    </a:lnTo>
                    <a:lnTo>
                      <a:pt x="334328" y="536257"/>
                    </a:lnTo>
                    <a:lnTo>
                      <a:pt x="242888" y="543782"/>
                    </a:lnTo>
                    <a:lnTo>
                      <a:pt x="214313" y="521970"/>
                    </a:lnTo>
                    <a:lnTo>
                      <a:pt x="165735" y="525685"/>
                    </a:lnTo>
                    <a:lnTo>
                      <a:pt x="151448" y="508635"/>
                    </a:lnTo>
                    <a:lnTo>
                      <a:pt x="112395" y="451485"/>
                    </a:lnTo>
                    <a:lnTo>
                      <a:pt x="45720" y="405670"/>
                    </a:lnTo>
                    <a:lnTo>
                      <a:pt x="41910" y="360045"/>
                    </a:lnTo>
                    <a:lnTo>
                      <a:pt x="20955" y="345757"/>
                    </a:lnTo>
                    <a:lnTo>
                      <a:pt x="14288" y="300038"/>
                    </a:lnTo>
                    <a:lnTo>
                      <a:pt x="0" y="285750"/>
                    </a:lnTo>
                    <a:lnTo>
                      <a:pt x="28575" y="215170"/>
                    </a:lnTo>
                    <a:lnTo>
                      <a:pt x="52388" y="212407"/>
                    </a:lnTo>
                    <a:lnTo>
                      <a:pt x="56198" y="81820"/>
                    </a:lnTo>
                    <a:lnTo>
                      <a:pt x="87630" y="81820"/>
                    </a:lnTo>
                    <a:lnTo>
                      <a:pt x="87630" y="21907"/>
                    </a:lnTo>
                    <a:lnTo>
                      <a:pt x="313373" y="24670"/>
                    </a:lnTo>
                    <a:lnTo>
                      <a:pt x="331470" y="3514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BCF9DEF0-CEF8-BCB2-2FC0-89CE17DA367B}"/>
                  </a:ext>
                </a:extLst>
              </p:cNvPr>
              <p:cNvSpPr/>
              <p:nvPr/>
            </p:nvSpPr>
            <p:spPr>
              <a:xfrm>
                <a:off x="6995738" y="4057264"/>
                <a:ext cx="172739" cy="148463"/>
              </a:xfrm>
              <a:custGeom>
                <a:avLst/>
                <a:gdLst>
                  <a:gd name="connsiteX0" fmla="*/ 60008 w 176212"/>
                  <a:gd name="connsiteY0" fmla="*/ 0 h 151447"/>
                  <a:gd name="connsiteX1" fmla="*/ 74295 w 176212"/>
                  <a:gd name="connsiteY1" fmla="*/ 20860 h 151447"/>
                  <a:gd name="connsiteX2" fmla="*/ 84773 w 176212"/>
                  <a:gd name="connsiteY2" fmla="*/ 45720 h 151447"/>
                  <a:gd name="connsiteX3" fmla="*/ 88583 w 176212"/>
                  <a:gd name="connsiteY3" fmla="*/ 77057 h 151447"/>
                  <a:gd name="connsiteX4" fmla="*/ 112395 w 176212"/>
                  <a:gd name="connsiteY4" fmla="*/ 77057 h 151447"/>
                  <a:gd name="connsiteX5" fmla="*/ 176213 w 176212"/>
                  <a:gd name="connsiteY5" fmla="*/ 133350 h 151447"/>
                  <a:gd name="connsiteX6" fmla="*/ 165735 w 176212"/>
                  <a:gd name="connsiteY6" fmla="*/ 151447 h 151447"/>
                  <a:gd name="connsiteX7" fmla="*/ 134303 w 176212"/>
                  <a:gd name="connsiteY7" fmla="*/ 119063 h 151447"/>
                  <a:gd name="connsiteX8" fmla="*/ 101918 w 176212"/>
                  <a:gd name="connsiteY8" fmla="*/ 91345 h 151447"/>
                  <a:gd name="connsiteX9" fmla="*/ 42863 w 176212"/>
                  <a:gd name="connsiteY9" fmla="*/ 87535 h 151447"/>
                  <a:gd name="connsiteX10" fmla="*/ 39053 w 176212"/>
                  <a:gd name="connsiteY10" fmla="*/ 98107 h 151447"/>
                  <a:gd name="connsiteX11" fmla="*/ 0 w 176212"/>
                  <a:gd name="connsiteY11" fmla="*/ 98107 h 151447"/>
                  <a:gd name="connsiteX12" fmla="*/ 0 w 176212"/>
                  <a:gd name="connsiteY12" fmla="*/ 73247 h 151447"/>
                  <a:gd name="connsiteX13" fmla="*/ 7620 w 176212"/>
                  <a:gd name="connsiteY13" fmla="*/ 48482 h 151447"/>
                  <a:gd name="connsiteX14" fmla="*/ 10478 w 176212"/>
                  <a:gd name="connsiteY14" fmla="*/ 20860 h 151447"/>
                  <a:gd name="connsiteX15" fmla="*/ 60008 w 176212"/>
                  <a:gd name="connsiteY15" fmla="*/ 0 h 151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212" h="151447">
                    <a:moveTo>
                      <a:pt x="60008" y="0"/>
                    </a:moveTo>
                    <a:lnTo>
                      <a:pt x="74295" y="20860"/>
                    </a:lnTo>
                    <a:lnTo>
                      <a:pt x="84773" y="45720"/>
                    </a:lnTo>
                    <a:lnTo>
                      <a:pt x="88583" y="77057"/>
                    </a:lnTo>
                    <a:lnTo>
                      <a:pt x="112395" y="77057"/>
                    </a:lnTo>
                    <a:lnTo>
                      <a:pt x="176213" y="133350"/>
                    </a:lnTo>
                    <a:lnTo>
                      <a:pt x="165735" y="151447"/>
                    </a:lnTo>
                    <a:lnTo>
                      <a:pt x="134303" y="119063"/>
                    </a:lnTo>
                    <a:lnTo>
                      <a:pt x="101918" y="91345"/>
                    </a:lnTo>
                    <a:lnTo>
                      <a:pt x="42863" y="87535"/>
                    </a:lnTo>
                    <a:lnTo>
                      <a:pt x="39053" y="98107"/>
                    </a:lnTo>
                    <a:lnTo>
                      <a:pt x="0" y="98107"/>
                    </a:lnTo>
                    <a:lnTo>
                      <a:pt x="0" y="73247"/>
                    </a:lnTo>
                    <a:lnTo>
                      <a:pt x="7620" y="48482"/>
                    </a:lnTo>
                    <a:lnTo>
                      <a:pt x="10478" y="20860"/>
                    </a:lnTo>
                    <a:lnTo>
                      <a:pt x="6000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224B1FE9-998C-2FD9-3094-508CC2C9A3A0}"/>
                  </a:ext>
                </a:extLst>
              </p:cNvPr>
              <p:cNvSpPr/>
              <p:nvPr/>
            </p:nvSpPr>
            <p:spPr>
              <a:xfrm>
                <a:off x="6995738" y="4057264"/>
                <a:ext cx="172739" cy="148463"/>
              </a:xfrm>
              <a:custGeom>
                <a:avLst/>
                <a:gdLst>
                  <a:gd name="connsiteX0" fmla="*/ 60008 w 176212"/>
                  <a:gd name="connsiteY0" fmla="*/ 0 h 151447"/>
                  <a:gd name="connsiteX1" fmla="*/ 74295 w 176212"/>
                  <a:gd name="connsiteY1" fmla="*/ 20860 h 151447"/>
                  <a:gd name="connsiteX2" fmla="*/ 84773 w 176212"/>
                  <a:gd name="connsiteY2" fmla="*/ 45720 h 151447"/>
                  <a:gd name="connsiteX3" fmla="*/ 88583 w 176212"/>
                  <a:gd name="connsiteY3" fmla="*/ 77057 h 151447"/>
                  <a:gd name="connsiteX4" fmla="*/ 112395 w 176212"/>
                  <a:gd name="connsiteY4" fmla="*/ 77057 h 151447"/>
                  <a:gd name="connsiteX5" fmla="*/ 176213 w 176212"/>
                  <a:gd name="connsiteY5" fmla="*/ 133350 h 151447"/>
                  <a:gd name="connsiteX6" fmla="*/ 165735 w 176212"/>
                  <a:gd name="connsiteY6" fmla="*/ 151447 h 151447"/>
                  <a:gd name="connsiteX7" fmla="*/ 134303 w 176212"/>
                  <a:gd name="connsiteY7" fmla="*/ 119063 h 151447"/>
                  <a:gd name="connsiteX8" fmla="*/ 101918 w 176212"/>
                  <a:gd name="connsiteY8" fmla="*/ 91345 h 151447"/>
                  <a:gd name="connsiteX9" fmla="*/ 42863 w 176212"/>
                  <a:gd name="connsiteY9" fmla="*/ 87535 h 151447"/>
                  <a:gd name="connsiteX10" fmla="*/ 39053 w 176212"/>
                  <a:gd name="connsiteY10" fmla="*/ 98107 h 151447"/>
                  <a:gd name="connsiteX11" fmla="*/ 0 w 176212"/>
                  <a:gd name="connsiteY11" fmla="*/ 98107 h 151447"/>
                  <a:gd name="connsiteX12" fmla="*/ 0 w 176212"/>
                  <a:gd name="connsiteY12" fmla="*/ 73247 h 151447"/>
                  <a:gd name="connsiteX13" fmla="*/ 7620 w 176212"/>
                  <a:gd name="connsiteY13" fmla="*/ 48482 h 151447"/>
                  <a:gd name="connsiteX14" fmla="*/ 10478 w 176212"/>
                  <a:gd name="connsiteY14" fmla="*/ 20860 h 151447"/>
                  <a:gd name="connsiteX15" fmla="*/ 60008 w 176212"/>
                  <a:gd name="connsiteY15" fmla="*/ 0 h 151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212" h="151447">
                    <a:moveTo>
                      <a:pt x="60008" y="0"/>
                    </a:moveTo>
                    <a:lnTo>
                      <a:pt x="74295" y="20860"/>
                    </a:lnTo>
                    <a:lnTo>
                      <a:pt x="84773" y="45720"/>
                    </a:lnTo>
                    <a:lnTo>
                      <a:pt x="88583" y="77057"/>
                    </a:lnTo>
                    <a:lnTo>
                      <a:pt x="112395" y="77057"/>
                    </a:lnTo>
                    <a:lnTo>
                      <a:pt x="176213" y="133350"/>
                    </a:lnTo>
                    <a:lnTo>
                      <a:pt x="165735" y="151447"/>
                    </a:lnTo>
                    <a:lnTo>
                      <a:pt x="134303" y="119063"/>
                    </a:lnTo>
                    <a:lnTo>
                      <a:pt x="101918" y="91345"/>
                    </a:lnTo>
                    <a:lnTo>
                      <a:pt x="42863" y="87535"/>
                    </a:lnTo>
                    <a:lnTo>
                      <a:pt x="39053" y="98107"/>
                    </a:lnTo>
                    <a:lnTo>
                      <a:pt x="0" y="98107"/>
                    </a:lnTo>
                    <a:lnTo>
                      <a:pt x="0" y="73247"/>
                    </a:lnTo>
                    <a:lnTo>
                      <a:pt x="7620" y="48482"/>
                    </a:lnTo>
                    <a:lnTo>
                      <a:pt x="10478" y="20860"/>
                    </a:lnTo>
                    <a:lnTo>
                      <a:pt x="6000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2AC824E3-879E-17F4-1F0E-A845F40BE80C}"/>
                  </a:ext>
                </a:extLst>
              </p:cNvPr>
              <p:cNvSpPr/>
              <p:nvPr/>
            </p:nvSpPr>
            <p:spPr>
              <a:xfrm>
                <a:off x="7144200" y="4187986"/>
                <a:ext cx="38282" cy="58825"/>
              </a:xfrm>
              <a:custGeom>
                <a:avLst/>
                <a:gdLst>
                  <a:gd name="connsiteX0" fmla="*/ 39052 w 39052"/>
                  <a:gd name="connsiteY0" fmla="*/ 28575 h 60007"/>
                  <a:gd name="connsiteX1" fmla="*/ 24765 w 39052"/>
                  <a:gd name="connsiteY1" fmla="*/ 38957 h 60007"/>
                  <a:gd name="connsiteX2" fmla="*/ 28575 w 39052"/>
                  <a:gd name="connsiteY2" fmla="*/ 60007 h 60007"/>
                  <a:gd name="connsiteX3" fmla="*/ 0 w 39052"/>
                  <a:gd name="connsiteY3" fmla="*/ 56197 h 60007"/>
                  <a:gd name="connsiteX4" fmla="*/ 0 w 39052"/>
                  <a:gd name="connsiteY4" fmla="*/ 35147 h 60007"/>
                  <a:gd name="connsiteX5" fmla="*/ 14288 w 39052"/>
                  <a:gd name="connsiteY5" fmla="*/ 18097 h 60007"/>
                  <a:gd name="connsiteX6" fmla="*/ 24765 w 39052"/>
                  <a:gd name="connsiteY6" fmla="*/ 0 h 60007"/>
                  <a:gd name="connsiteX7" fmla="*/ 39052 w 39052"/>
                  <a:gd name="connsiteY7" fmla="*/ 28575 h 60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052" h="60007">
                    <a:moveTo>
                      <a:pt x="39052" y="28575"/>
                    </a:moveTo>
                    <a:lnTo>
                      <a:pt x="24765" y="38957"/>
                    </a:lnTo>
                    <a:lnTo>
                      <a:pt x="28575" y="60007"/>
                    </a:lnTo>
                    <a:lnTo>
                      <a:pt x="0" y="56197"/>
                    </a:lnTo>
                    <a:lnTo>
                      <a:pt x="0" y="35147"/>
                    </a:lnTo>
                    <a:lnTo>
                      <a:pt x="14288" y="18097"/>
                    </a:lnTo>
                    <a:lnTo>
                      <a:pt x="24765" y="0"/>
                    </a:lnTo>
                    <a:lnTo>
                      <a:pt x="39052" y="2857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6A31E804-D787-06DE-A2A5-BFBB06C17C13}"/>
                  </a:ext>
                </a:extLst>
              </p:cNvPr>
              <p:cNvSpPr/>
              <p:nvPr/>
            </p:nvSpPr>
            <p:spPr>
              <a:xfrm>
                <a:off x="7144200" y="4187986"/>
                <a:ext cx="38282" cy="58825"/>
              </a:xfrm>
              <a:custGeom>
                <a:avLst/>
                <a:gdLst>
                  <a:gd name="connsiteX0" fmla="*/ 39052 w 39052"/>
                  <a:gd name="connsiteY0" fmla="*/ 28575 h 60007"/>
                  <a:gd name="connsiteX1" fmla="*/ 24765 w 39052"/>
                  <a:gd name="connsiteY1" fmla="*/ 38957 h 60007"/>
                  <a:gd name="connsiteX2" fmla="*/ 28575 w 39052"/>
                  <a:gd name="connsiteY2" fmla="*/ 60007 h 60007"/>
                  <a:gd name="connsiteX3" fmla="*/ 0 w 39052"/>
                  <a:gd name="connsiteY3" fmla="*/ 56197 h 60007"/>
                  <a:gd name="connsiteX4" fmla="*/ 0 w 39052"/>
                  <a:gd name="connsiteY4" fmla="*/ 35147 h 60007"/>
                  <a:gd name="connsiteX5" fmla="*/ 14288 w 39052"/>
                  <a:gd name="connsiteY5" fmla="*/ 18097 h 60007"/>
                  <a:gd name="connsiteX6" fmla="*/ 24765 w 39052"/>
                  <a:gd name="connsiteY6" fmla="*/ 0 h 60007"/>
                  <a:gd name="connsiteX7" fmla="*/ 39052 w 39052"/>
                  <a:gd name="connsiteY7" fmla="*/ 28575 h 60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052" h="60007">
                    <a:moveTo>
                      <a:pt x="39052" y="28575"/>
                    </a:moveTo>
                    <a:lnTo>
                      <a:pt x="24765" y="38957"/>
                    </a:lnTo>
                    <a:lnTo>
                      <a:pt x="28575" y="60007"/>
                    </a:lnTo>
                    <a:lnTo>
                      <a:pt x="0" y="56197"/>
                    </a:lnTo>
                    <a:lnTo>
                      <a:pt x="0" y="35147"/>
                    </a:lnTo>
                    <a:lnTo>
                      <a:pt x="14288" y="18097"/>
                    </a:lnTo>
                    <a:lnTo>
                      <a:pt x="24765" y="0"/>
                    </a:lnTo>
                    <a:lnTo>
                      <a:pt x="39052" y="2857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CE892CE3-0754-7323-AE98-1F96D59D3BF9}"/>
                  </a:ext>
                </a:extLst>
              </p:cNvPr>
              <p:cNvSpPr/>
              <p:nvPr/>
            </p:nvSpPr>
            <p:spPr>
              <a:xfrm>
                <a:off x="7117122" y="4219733"/>
                <a:ext cx="285720" cy="372559"/>
              </a:xfrm>
              <a:custGeom>
                <a:avLst/>
                <a:gdLst>
                  <a:gd name="connsiteX0" fmla="*/ 104775 w 291465"/>
                  <a:gd name="connsiteY0" fmla="*/ 45625 h 380047"/>
                  <a:gd name="connsiteX1" fmla="*/ 137160 w 291465"/>
                  <a:gd name="connsiteY1" fmla="*/ 31337 h 380047"/>
                  <a:gd name="connsiteX2" fmla="*/ 256223 w 291465"/>
                  <a:gd name="connsiteY2" fmla="*/ 13335 h 380047"/>
                  <a:gd name="connsiteX3" fmla="*/ 288608 w 291465"/>
                  <a:gd name="connsiteY3" fmla="*/ 0 h 380047"/>
                  <a:gd name="connsiteX4" fmla="*/ 291465 w 291465"/>
                  <a:gd name="connsiteY4" fmla="*/ 38100 h 380047"/>
                  <a:gd name="connsiteX5" fmla="*/ 278130 w 291465"/>
                  <a:gd name="connsiteY5" fmla="*/ 52388 h 380047"/>
                  <a:gd name="connsiteX6" fmla="*/ 232410 w 291465"/>
                  <a:gd name="connsiteY6" fmla="*/ 140875 h 380047"/>
                  <a:gd name="connsiteX7" fmla="*/ 140018 w 291465"/>
                  <a:gd name="connsiteY7" fmla="*/ 267653 h 380047"/>
                  <a:gd name="connsiteX8" fmla="*/ 20955 w 291465"/>
                  <a:gd name="connsiteY8" fmla="*/ 380047 h 380047"/>
                  <a:gd name="connsiteX9" fmla="*/ 2858 w 291465"/>
                  <a:gd name="connsiteY9" fmla="*/ 356235 h 380047"/>
                  <a:gd name="connsiteX10" fmla="*/ 0 w 291465"/>
                  <a:gd name="connsiteY10" fmla="*/ 257175 h 380047"/>
                  <a:gd name="connsiteX11" fmla="*/ 27623 w 291465"/>
                  <a:gd name="connsiteY11" fmla="*/ 239078 h 380047"/>
                  <a:gd name="connsiteX12" fmla="*/ 27623 w 291465"/>
                  <a:gd name="connsiteY12" fmla="*/ 221837 h 380047"/>
                  <a:gd name="connsiteX13" fmla="*/ 70485 w 291465"/>
                  <a:gd name="connsiteY13" fmla="*/ 197072 h 380047"/>
                  <a:gd name="connsiteX14" fmla="*/ 116205 w 291465"/>
                  <a:gd name="connsiteY14" fmla="*/ 190500 h 380047"/>
                  <a:gd name="connsiteX15" fmla="*/ 189548 w 291465"/>
                  <a:gd name="connsiteY15" fmla="*/ 108585 h 380047"/>
                  <a:gd name="connsiteX16" fmla="*/ 91440 w 291465"/>
                  <a:gd name="connsiteY16" fmla="*/ 83725 h 380047"/>
                  <a:gd name="connsiteX17" fmla="*/ 56198 w 291465"/>
                  <a:gd name="connsiteY17" fmla="*/ 45625 h 380047"/>
                  <a:gd name="connsiteX18" fmla="*/ 56198 w 291465"/>
                  <a:gd name="connsiteY18" fmla="*/ 27622 h 380047"/>
                  <a:gd name="connsiteX19" fmla="*/ 70485 w 291465"/>
                  <a:gd name="connsiteY19" fmla="*/ 13335 h 380047"/>
                  <a:gd name="connsiteX20" fmla="*/ 104775 w 291465"/>
                  <a:gd name="connsiteY20" fmla="*/ 45625 h 380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91465" h="380047">
                    <a:moveTo>
                      <a:pt x="104775" y="45625"/>
                    </a:moveTo>
                    <a:lnTo>
                      <a:pt x="137160" y="31337"/>
                    </a:lnTo>
                    <a:lnTo>
                      <a:pt x="256223" y="13335"/>
                    </a:lnTo>
                    <a:lnTo>
                      <a:pt x="288608" y="0"/>
                    </a:lnTo>
                    <a:lnTo>
                      <a:pt x="291465" y="38100"/>
                    </a:lnTo>
                    <a:lnTo>
                      <a:pt x="278130" y="52388"/>
                    </a:lnTo>
                    <a:lnTo>
                      <a:pt x="232410" y="140875"/>
                    </a:lnTo>
                    <a:lnTo>
                      <a:pt x="140018" y="267653"/>
                    </a:lnTo>
                    <a:lnTo>
                      <a:pt x="20955" y="380047"/>
                    </a:lnTo>
                    <a:lnTo>
                      <a:pt x="2858" y="356235"/>
                    </a:lnTo>
                    <a:lnTo>
                      <a:pt x="0" y="257175"/>
                    </a:lnTo>
                    <a:lnTo>
                      <a:pt x="27623" y="239078"/>
                    </a:lnTo>
                    <a:lnTo>
                      <a:pt x="27623" y="221837"/>
                    </a:lnTo>
                    <a:lnTo>
                      <a:pt x="70485" y="197072"/>
                    </a:lnTo>
                    <a:lnTo>
                      <a:pt x="116205" y="190500"/>
                    </a:lnTo>
                    <a:lnTo>
                      <a:pt x="189548" y="108585"/>
                    </a:lnTo>
                    <a:lnTo>
                      <a:pt x="91440" y="83725"/>
                    </a:lnTo>
                    <a:lnTo>
                      <a:pt x="56198" y="45625"/>
                    </a:lnTo>
                    <a:lnTo>
                      <a:pt x="56198" y="27622"/>
                    </a:lnTo>
                    <a:lnTo>
                      <a:pt x="70485" y="13335"/>
                    </a:lnTo>
                    <a:lnTo>
                      <a:pt x="104775" y="4562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C234BA1-7977-8643-A4E5-F3B5E169BC98}"/>
                  </a:ext>
                </a:extLst>
              </p:cNvPr>
              <p:cNvSpPr/>
              <p:nvPr/>
            </p:nvSpPr>
            <p:spPr>
              <a:xfrm>
                <a:off x="6899565" y="4143074"/>
                <a:ext cx="403369" cy="308132"/>
              </a:xfrm>
              <a:custGeom>
                <a:avLst/>
                <a:gdLst>
                  <a:gd name="connsiteX0" fmla="*/ 98107 w 411480"/>
                  <a:gd name="connsiteY0" fmla="*/ 10573 h 314325"/>
                  <a:gd name="connsiteX1" fmla="*/ 137160 w 411480"/>
                  <a:gd name="connsiteY1" fmla="*/ 10573 h 314325"/>
                  <a:gd name="connsiteX2" fmla="*/ 140970 w 411480"/>
                  <a:gd name="connsiteY2" fmla="*/ 0 h 314325"/>
                  <a:gd name="connsiteX3" fmla="*/ 200025 w 411480"/>
                  <a:gd name="connsiteY3" fmla="*/ 3810 h 314325"/>
                  <a:gd name="connsiteX4" fmla="*/ 263843 w 411480"/>
                  <a:gd name="connsiteY4" fmla="*/ 63913 h 314325"/>
                  <a:gd name="connsiteX5" fmla="*/ 249555 w 411480"/>
                  <a:gd name="connsiteY5" fmla="*/ 80963 h 314325"/>
                  <a:gd name="connsiteX6" fmla="*/ 249555 w 411480"/>
                  <a:gd name="connsiteY6" fmla="*/ 102013 h 314325"/>
                  <a:gd name="connsiteX7" fmla="*/ 278130 w 411480"/>
                  <a:gd name="connsiteY7" fmla="*/ 105823 h 314325"/>
                  <a:gd name="connsiteX8" fmla="*/ 278130 w 411480"/>
                  <a:gd name="connsiteY8" fmla="*/ 123825 h 314325"/>
                  <a:gd name="connsiteX9" fmla="*/ 313373 w 411480"/>
                  <a:gd name="connsiteY9" fmla="*/ 161925 h 314325"/>
                  <a:gd name="connsiteX10" fmla="*/ 411480 w 411480"/>
                  <a:gd name="connsiteY10" fmla="*/ 186785 h 314325"/>
                  <a:gd name="connsiteX11" fmla="*/ 338138 w 411480"/>
                  <a:gd name="connsiteY11" fmla="*/ 268700 h 314325"/>
                  <a:gd name="connsiteX12" fmla="*/ 292418 w 411480"/>
                  <a:gd name="connsiteY12" fmla="*/ 275272 h 314325"/>
                  <a:gd name="connsiteX13" fmla="*/ 249555 w 411480"/>
                  <a:gd name="connsiteY13" fmla="*/ 300038 h 314325"/>
                  <a:gd name="connsiteX14" fmla="*/ 228600 w 411480"/>
                  <a:gd name="connsiteY14" fmla="*/ 306800 h 314325"/>
                  <a:gd name="connsiteX15" fmla="*/ 218123 w 411480"/>
                  <a:gd name="connsiteY15" fmla="*/ 292513 h 314325"/>
                  <a:gd name="connsiteX16" fmla="*/ 182880 w 411480"/>
                  <a:gd name="connsiteY16" fmla="*/ 314325 h 314325"/>
                  <a:gd name="connsiteX17" fmla="*/ 140970 w 411480"/>
                  <a:gd name="connsiteY17" fmla="*/ 310610 h 314325"/>
                  <a:gd name="connsiteX18" fmla="*/ 77153 w 411480"/>
                  <a:gd name="connsiteY18" fmla="*/ 282035 h 314325"/>
                  <a:gd name="connsiteX19" fmla="*/ 77153 w 411480"/>
                  <a:gd name="connsiteY19" fmla="*/ 257175 h 314325"/>
                  <a:gd name="connsiteX20" fmla="*/ 66675 w 411480"/>
                  <a:gd name="connsiteY20" fmla="*/ 257175 h 314325"/>
                  <a:gd name="connsiteX21" fmla="*/ 24765 w 411480"/>
                  <a:gd name="connsiteY21" fmla="*/ 201073 h 314325"/>
                  <a:gd name="connsiteX22" fmla="*/ 6668 w 411480"/>
                  <a:gd name="connsiteY22" fmla="*/ 197263 h 314325"/>
                  <a:gd name="connsiteX23" fmla="*/ 0 w 411480"/>
                  <a:gd name="connsiteY23" fmla="*/ 173450 h 314325"/>
                  <a:gd name="connsiteX24" fmla="*/ 35243 w 411480"/>
                  <a:gd name="connsiteY24" fmla="*/ 173450 h 314325"/>
                  <a:gd name="connsiteX25" fmla="*/ 35243 w 411480"/>
                  <a:gd name="connsiteY25" fmla="*/ 109538 h 314325"/>
                  <a:gd name="connsiteX26" fmla="*/ 56198 w 411480"/>
                  <a:gd name="connsiteY26" fmla="*/ 105823 h 314325"/>
                  <a:gd name="connsiteX27" fmla="*/ 56198 w 411480"/>
                  <a:gd name="connsiteY27" fmla="*/ 78200 h 314325"/>
                  <a:gd name="connsiteX28" fmla="*/ 98107 w 411480"/>
                  <a:gd name="connsiteY28" fmla="*/ 10573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411480" h="314325">
                    <a:moveTo>
                      <a:pt x="98107" y="10573"/>
                    </a:moveTo>
                    <a:lnTo>
                      <a:pt x="137160" y="10573"/>
                    </a:lnTo>
                    <a:lnTo>
                      <a:pt x="140970" y="0"/>
                    </a:lnTo>
                    <a:lnTo>
                      <a:pt x="200025" y="3810"/>
                    </a:lnTo>
                    <a:lnTo>
                      <a:pt x="263843" y="63913"/>
                    </a:lnTo>
                    <a:lnTo>
                      <a:pt x="249555" y="80963"/>
                    </a:lnTo>
                    <a:lnTo>
                      <a:pt x="249555" y="102013"/>
                    </a:lnTo>
                    <a:lnTo>
                      <a:pt x="278130" y="105823"/>
                    </a:lnTo>
                    <a:lnTo>
                      <a:pt x="278130" y="123825"/>
                    </a:lnTo>
                    <a:lnTo>
                      <a:pt x="313373" y="161925"/>
                    </a:lnTo>
                    <a:lnTo>
                      <a:pt x="411480" y="186785"/>
                    </a:lnTo>
                    <a:lnTo>
                      <a:pt x="338138" y="268700"/>
                    </a:lnTo>
                    <a:lnTo>
                      <a:pt x="292418" y="275272"/>
                    </a:lnTo>
                    <a:lnTo>
                      <a:pt x="249555" y="300038"/>
                    </a:lnTo>
                    <a:lnTo>
                      <a:pt x="228600" y="306800"/>
                    </a:lnTo>
                    <a:lnTo>
                      <a:pt x="218123" y="292513"/>
                    </a:lnTo>
                    <a:lnTo>
                      <a:pt x="182880" y="314325"/>
                    </a:lnTo>
                    <a:lnTo>
                      <a:pt x="140970" y="310610"/>
                    </a:lnTo>
                    <a:lnTo>
                      <a:pt x="77153" y="282035"/>
                    </a:lnTo>
                    <a:lnTo>
                      <a:pt x="77153" y="257175"/>
                    </a:lnTo>
                    <a:lnTo>
                      <a:pt x="66675" y="257175"/>
                    </a:lnTo>
                    <a:lnTo>
                      <a:pt x="24765" y="201073"/>
                    </a:lnTo>
                    <a:lnTo>
                      <a:pt x="6668" y="197263"/>
                    </a:lnTo>
                    <a:lnTo>
                      <a:pt x="0" y="173450"/>
                    </a:lnTo>
                    <a:lnTo>
                      <a:pt x="35243" y="173450"/>
                    </a:lnTo>
                    <a:lnTo>
                      <a:pt x="35243" y="109538"/>
                    </a:lnTo>
                    <a:lnTo>
                      <a:pt x="56198" y="105823"/>
                    </a:lnTo>
                    <a:lnTo>
                      <a:pt x="56198" y="78200"/>
                    </a:lnTo>
                    <a:lnTo>
                      <a:pt x="98107" y="1057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B314AAB9-587E-3A37-C3D0-73D822A93955}"/>
                  </a:ext>
                </a:extLst>
              </p:cNvPr>
              <p:cNvSpPr/>
              <p:nvPr/>
            </p:nvSpPr>
            <p:spPr>
              <a:xfrm>
                <a:off x="6234753" y="4187986"/>
                <a:ext cx="205419" cy="308132"/>
              </a:xfrm>
              <a:custGeom>
                <a:avLst/>
                <a:gdLst>
                  <a:gd name="connsiteX0" fmla="*/ 160020 w 209550"/>
                  <a:gd name="connsiteY0" fmla="*/ 0 h 314325"/>
                  <a:gd name="connsiteX1" fmla="*/ 174308 w 209550"/>
                  <a:gd name="connsiteY1" fmla="*/ 20860 h 314325"/>
                  <a:gd name="connsiteX2" fmla="*/ 178118 w 209550"/>
                  <a:gd name="connsiteY2" fmla="*/ 63722 h 314325"/>
                  <a:gd name="connsiteX3" fmla="*/ 188595 w 209550"/>
                  <a:gd name="connsiteY3" fmla="*/ 80963 h 314325"/>
                  <a:gd name="connsiteX4" fmla="*/ 153353 w 209550"/>
                  <a:gd name="connsiteY4" fmla="*/ 80963 h 314325"/>
                  <a:gd name="connsiteX5" fmla="*/ 149543 w 209550"/>
                  <a:gd name="connsiteY5" fmla="*/ 99060 h 314325"/>
                  <a:gd name="connsiteX6" fmla="*/ 201930 w 209550"/>
                  <a:gd name="connsiteY6" fmla="*/ 155257 h 314325"/>
                  <a:gd name="connsiteX7" fmla="*/ 166688 w 209550"/>
                  <a:gd name="connsiteY7" fmla="*/ 183832 h 314325"/>
                  <a:gd name="connsiteX8" fmla="*/ 166688 w 209550"/>
                  <a:gd name="connsiteY8" fmla="*/ 211360 h 314325"/>
                  <a:gd name="connsiteX9" fmla="*/ 184785 w 209550"/>
                  <a:gd name="connsiteY9" fmla="*/ 258032 h 314325"/>
                  <a:gd name="connsiteX10" fmla="*/ 209550 w 209550"/>
                  <a:gd name="connsiteY10" fmla="*/ 285750 h 314325"/>
                  <a:gd name="connsiteX11" fmla="*/ 205740 w 209550"/>
                  <a:gd name="connsiteY11" fmla="*/ 310420 h 314325"/>
                  <a:gd name="connsiteX12" fmla="*/ 174308 w 209550"/>
                  <a:gd name="connsiteY12" fmla="*/ 314325 h 314325"/>
                  <a:gd name="connsiteX13" fmla="*/ 174308 w 209550"/>
                  <a:gd name="connsiteY13" fmla="*/ 300038 h 314325"/>
                  <a:gd name="connsiteX14" fmla="*/ 31433 w 209550"/>
                  <a:gd name="connsiteY14" fmla="*/ 300038 h 314325"/>
                  <a:gd name="connsiteX15" fmla="*/ 31433 w 209550"/>
                  <a:gd name="connsiteY15" fmla="*/ 258032 h 314325"/>
                  <a:gd name="connsiteX16" fmla="*/ 17145 w 209550"/>
                  <a:gd name="connsiteY16" fmla="*/ 243745 h 314325"/>
                  <a:gd name="connsiteX17" fmla="*/ 0 w 209550"/>
                  <a:gd name="connsiteY17" fmla="*/ 233363 h 314325"/>
                  <a:gd name="connsiteX18" fmla="*/ 3810 w 209550"/>
                  <a:gd name="connsiteY18" fmla="*/ 200882 h 314325"/>
                  <a:gd name="connsiteX19" fmla="*/ 39053 w 209550"/>
                  <a:gd name="connsiteY19" fmla="*/ 169545 h 314325"/>
                  <a:gd name="connsiteX20" fmla="*/ 56198 w 209550"/>
                  <a:gd name="connsiteY20" fmla="*/ 169545 h 314325"/>
                  <a:gd name="connsiteX21" fmla="*/ 75248 w 209550"/>
                  <a:gd name="connsiteY21" fmla="*/ 183832 h 314325"/>
                  <a:gd name="connsiteX22" fmla="*/ 145733 w 209550"/>
                  <a:gd name="connsiteY22" fmla="*/ 49435 h 314325"/>
                  <a:gd name="connsiteX23" fmla="*/ 163830 w 209550"/>
                  <a:gd name="connsiteY23" fmla="*/ 45720 h 314325"/>
                  <a:gd name="connsiteX24" fmla="*/ 160020 w 209550"/>
                  <a:gd name="connsiteY24" fmla="*/ 20860 h 314325"/>
                  <a:gd name="connsiteX25" fmla="*/ 160020 w 209550"/>
                  <a:gd name="connsiteY25" fmla="*/ 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09550" h="314325">
                    <a:moveTo>
                      <a:pt x="160020" y="0"/>
                    </a:moveTo>
                    <a:lnTo>
                      <a:pt x="174308" y="20860"/>
                    </a:lnTo>
                    <a:lnTo>
                      <a:pt x="178118" y="63722"/>
                    </a:lnTo>
                    <a:lnTo>
                      <a:pt x="188595" y="80963"/>
                    </a:lnTo>
                    <a:lnTo>
                      <a:pt x="153353" y="80963"/>
                    </a:lnTo>
                    <a:lnTo>
                      <a:pt x="149543" y="99060"/>
                    </a:lnTo>
                    <a:lnTo>
                      <a:pt x="201930" y="155257"/>
                    </a:lnTo>
                    <a:lnTo>
                      <a:pt x="166688" y="183832"/>
                    </a:lnTo>
                    <a:lnTo>
                      <a:pt x="166688" y="211360"/>
                    </a:lnTo>
                    <a:lnTo>
                      <a:pt x="184785" y="258032"/>
                    </a:lnTo>
                    <a:lnTo>
                      <a:pt x="209550" y="285750"/>
                    </a:lnTo>
                    <a:lnTo>
                      <a:pt x="205740" y="310420"/>
                    </a:lnTo>
                    <a:lnTo>
                      <a:pt x="174308" y="314325"/>
                    </a:lnTo>
                    <a:lnTo>
                      <a:pt x="174308" y="300038"/>
                    </a:lnTo>
                    <a:lnTo>
                      <a:pt x="31433" y="300038"/>
                    </a:lnTo>
                    <a:lnTo>
                      <a:pt x="31433" y="258032"/>
                    </a:lnTo>
                    <a:lnTo>
                      <a:pt x="17145" y="243745"/>
                    </a:lnTo>
                    <a:lnTo>
                      <a:pt x="0" y="233363"/>
                    </a:lnTo>
                    <a:lnTo>
                      <a:pt x="3810" y="200882"/>
                    </a:lnTo>
                    <a:lnTo>
                      <a:pt x="39053" y="169545"/>
                    </a:lnTo>
                    <a:lnTo>
                      <a:pt x="56198" y="169545"/>
                    </a:lnTo>
                    <a:lnTo>
                      <a:pt x="75248" y="183832"/>
                    </a:lnTo>
                    <a:lnTo>
                      <a:pt x="145733" y="49435"/>
                    </a:lnTo>
                    <a:lnTo>
                      <a:pt x="163830" y="45720"/>
                    </a:lnTo>
                    <a:lnTo>
                      <a:pt x="160020" y="20860"/>
                    </a:lnTo>
                    <a:lnTo>
                      <a:pt x="16002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DF35F682-EB72-DBCB-2161-49C90D316B13}"/>
                  </a:ext>
                </a:extLst>
              </p:cNvPr>
              <p:cNvSpPr/>
              <p:nvPr/>
            </p:nvSpPr>
            <p:spPr>
              <a:xfrm>
                <a:off x="6234753" y="4187986"/>
                <a:ext cx="205419" cy="308132"/>
              </a:xfrm>
              <a:custGeom>
                <a:avLst/>
                <a:gdLst>
                  <a:gd name="connsiteX0" fmla="*/ 160020 w 209550"/>
                  <a:gd name="connsiteY0" fmla="*/ 0 h 314325"/>
                  <a:gd name="connsiteX1" fmla="*/ 174308 w 209550"/>
                  <a:gd name="connsiteY1" fmla="*/ 20860 h 314325"/>
                  <a:gd name="connsiteX2" fmla="*/ 178118 w 209550"/>
                  <a:gd name="connsiteY2" fmla="*/ 63722 h 314325"/>
                  <a:gd name="connsiteX3" fmla="*/ 188595 w 209550"/>
                  <a:gd name="connsiteY3" fmla="*/ 80963 h 314325"/>
                  <a:gd name="connsiteX4" fmla="*/ 153353 w 209550"/>
                  <a:gd name="connsiteY4" fmla="*/ 80963 h 314325"/>
                  <a:gd name="connsiteX5" fmla="*/ 149543 w 209550"/>
                  <a:gd name="connsiteY5" fmla="*/ 99060 h 314325"/>
                  <a:gd name="connsiteX6" fmla="*/ 201930 w 209550"/>
                  <a:gd name="connsiteY6" fmla="*/ 155257 h 314325"/>
                  <a:gd name="connsiteX7" fmla="*/ 166688 w 209550"/>
                  <a:gd name="connsiteY7" fmla="*/ 183832 h 314325"/>
                  <a:gd name="connsiteX8" fmla="*/ 166688 w 209550"/>
                  <a:gd name="connsiteY8" fmla="*/ 211360 h 314325"/>
                  <a:gd name="connsiteX9" fmla="*/ 184785 w 209550"/>
                  <a:gd name="connsiteY9" fmla="*/ 258032 h 314325"/>
                  <a:gd name="connsiteX10" fmla="*/ 209550 w 209550"/>
                  <a:gd name="connsiteY10" fmla="*/ 285750 h 314325"/>
                  <a:gd name="connsiteX11" fmla="*/ 205740 w 209550"/>
                  <a:gd name="connsiteY11" fmla="*/ 310420 h 314325"/>
                  <a:gd name="connsiteX12" fmla="*/ 174308 w 209550"/>
                  <a:gd name="connsiteY12" fmla="*/ 314325 h 314325"/>
                  <a:gd name="connsiteX13" fmla="*/ 174308 w 209550"/>
                  <a:gd name="connsiteY13" fmla="*/ 300038 h 314325"/>
                  <a:gd name="connsiteX14" fmla="*/ 31433 w 209550"/>
                  <a:gd name="connsiteY14" fmla="*/ 300038 h 314325"/>
                  <a:gd name="connsiteX15" fmla="*/ 31433 w 209550"/>
                  <a:gd name="connsiteY15" fmla="*/ 258032 h 314325"/>
                  <a:gd name="connsiteX16" fmla="*/ 17145 w 209550"/>
                  <a:gd name="connsiteY16" fmla="*/ 243745 h 314325"/>
                  <a:gd name="connsiteX17" fmla="*/ 0 w 209550"/>
                  <a:gd name="connsiteY17" fmla="*/ 233363 h 314325"/>
                  <a:gd name="connsiteX18" fmla="*/ 3810 w 209550"/>
                  <a:gd name="connsiteY18" fmla="*/ 200882 h 314325"/>
                  <a:gd name="connsiteX19" fmla="*/ 39053 w 209550"/>
                  <a:gd name="connsiteY19" fmla="*/ 169545 h 314325"/>
                  <a:gd name="connsiteX20" fmla="*/ 56198 w 209550"/>
                  <a:gd name="connsiteY20" fmla="*/ 169545 h 314325"/>
                  <a:gd name="connsiteX21" fmla="*/ 75248 w 209550"/>
                  <a:gd name="connsiteY21" fmla="*/ 183832 h 314325"/>
                  <a:gd name="connsiteX22" fmla="*/ 145733 w 209550"/>
                  <a:gd name="connsiteY22" fmla="*/ 49435 h 314325"/>
                  <a:gd name="connsiteX23" fmla="*/ 163830 w 209550"/>
                  <a:gd name="connsiteY23" fmla="*/ 45720 h 314325"/>
                  <a:gd name="connsiteX24" fmla="*/ 160020 w 209550"/>
                  <a:gd name="connsiteY24" fmla="*/ 20860 h 314325"/>
                  <a:gd name="connsiteX25" fmla="*/ 160020 w 209550"/>
                  <a:gd name="connsiteY25" fmla="*/ 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09550" h="314325">
                    <a:moveTo>
                      <a:pt x="160020" y="0"/>
                    </a:moveTo>
                    <a:lnTo>
                      <a:pt x="174308" y="20860"/>
                    </a:lnTo>
                    <a:lnTo>
                      <a:pt x="178118" y="63722"/>
                    </a:lnTo>
                    <a:lnTo>
                      <a:pt x="188595" y="80963"/>
                    </a:lnTo>
                    <a:lnTo>
                      <a:pt x="153353" y="80963"/>
                    </a:lnTo>
                    <a:lnTo>
                      <a:pt x="149543" y="99060"/>
                    </a:lnTo>
                    <a:lnTo>
                      <a:pt x="201930" y="155257"/>
                    </a:lnTo>
                    <a:lnTo>
                      <a:pt x="166688" y="183832"/>
                    </a:lnTo>
                    <a:lnTo>
                      <a:pt x="166688" y="211360"/>
                    </a:lnTo>
                    <a:lnTo>
                      <a:pt x="184785" y="258032"/>
                    </a:lnTo>
                    <a:lnTo>
                      <a:pt x="209550" y="285750"/>
                    </a:lnTo>
                    <a:lnTo>
                      <a:pt x="205740" y="310420"/>
                    </a:lnTo>
                    <a:lnTo>
                      <a:pt x="174308" y="314325"/>
                    </a:lnTo>
                    <a:lnTo>
                      <a:pt x="174308" y="300038"/>
                    </a:lnTo>
                    <a:lnTo>
                      <a:pt x="31433" y="300038"/>
                    </a:lnTo>
                    <a:lnTo>
                      <a:pt x="31433" y="258032"/>
                    </a:lnTo>
                    <a:lnTo>
                      <a:pt x="17145" y="243745"/>
                    </a:lnTo>
                    <a:lnTo>
                      <a:pt x="0" y="233363"/>
                    </a:lnTo>
                    <a:lnTo>
                      <a:pt x="3810" y="200882"/>
                    </a:lnTo>
                    <a:lnTo>
                      <a:pt x="39053" y="169545"/>
                    </a:lnTo>
                    <a:lnTo>
                      <a:pt x="56198" y="169545"/>
                    </a:lnTo>
                    <a:lnTo>
                      <a:pt x="75248" y="183832"/>
                    </a:lnTo>
                    <a:lnTo>
                      <a:pt x="145733" y="49435"/>
                    </a:lnTo>
                    <a:lnTo>
                      <a:pt x="163830" y="45720"/>
                    </a:lnTo>
                    <a:lnTo>
                      <a:pt x="160020" y="20860"/>
                    </a:lnTo>
                    <a:lnTo>
                      <a:pt x="16002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A3337A1F-44C3-D408-372C-21C4CE28B825}"/>
                  </a:ext>
                </a:extLst>
              </p:cNvPr>
              <p:cNvSpPr/>
              <p:nvPr/>
            </p:nvSpPr>
            <p:spPr>
              <a:xfrm>
                <a:off x="6072285" y="4163709"/>
                <a:ext cx="323068" cy="259483"/>
              </a:xfrm>
              <a:custGeom>
                <a:avLst/>
                <a:gdLst>
                  <a:gd name="connsiteX0" fmla="*/ 165735 w 329564"/>
                  <a:gd name="connsiteY0" fmla="*/ 258128 h 264699"/>
                  <a:gd name="connsiteX1" fmla="*/ 112395 w 329564"/>
                  <a:gd name="connsiteY1" fmla="*/ 264700 h 264699"/>
                  <a:gd name="connsiteX2" fmla="*/ 77152 w 329564"/>
                  <a:gd name="connsiteY2" fmla="*/ 260985 h 264699"/>
                  <a:gd name="connsiteX3" fmla="*/ 80963 w 329564"/>
                  <a:gd name="connsiteY3" fmla="*/ 233363 h 264699"/>
                  <a:gd name="connsiteX4" fmla="*/ 39052 w 329564"/>
                  <a:gd name="connsiteY4" fmla="*/ 208597 h 264699"/>
                  <a:gd name="connsiteX5" fmla="*/ 3810 w 329564"/>
                  <a:gd name="connsiteY5" fmla="*/ 204788 h 264699"/>
                  <a:gd name="connsiteX6" fmla="*/ 0 w 329564"/>
                  <a:gd name="connsiteY6" fmla="*/ 138113 h 264699"/>
                  <a:gd name="connsiteX7" fmla="*/ 39052 w 329564"/>
                  <a:gd name="connsiteY7" fmla="*/ 92297 h 264699"/>
                  <a:gd name="connsiteX8" fmla="*/ 18097 w 329564"/>
                  <a:gd name="connsiteY8" fmla="*/ 74200 h 264699"/>
                  <a:gd name="connsiteX9" fmla="*/ 20955 w 329564"/>
                  <a:gd name="connsiteY9" fmla="*/ 59912 h 264699"/>
                  <a:gd name="connsiteX10" fmla="*/ 41910 w 329564"/>
                  <a:gd name="connsiteY10" fmla="*/ 3810 h 264699"/>
                  <a:gd name="connsiteX11" fmla="*/ 95250 w 329564"/>
                  <a:gd name="connsiteY11" fmla="*/ 3810 h 264699"/>
                  <a:gd name="connsiteX12" fmla="*/ 122872 w 329564"/>
                  <a:gd name="connsiteY12" fmla="*/ 24765 h 264699"/>
                  <a:gd name="connsiteX13" fmla="*/ 140970 w 329564"/>
                  <a:gd name="connsiteY13" fmla="*/ 14288 h 264699"/>
                  <a:gd name="connsiteX14" fmla="*/ 190500 w 329564"/>
                  <a:gd name="connsiteY14" fmla="*/ 32385 h 264699"/>
                  <a:gd name="connsiteX15" fmla="*/ 200977 w 329564"/>
                  <a:gd name="connsiteY15" fmla="*/ 18097 h 264699"/>
                  <a:gd name="connsiteX16" fmla="*/ 262890 w 329564"/>
                  <a:gd name="connsiteY16" fmla="*/ 24765 h 264699"/>
                  <a:gd name="connsiteX17" fmla="*/ 300990 w 329564"/>
                  <a:gd name="connsiteY17" fmla="*/ 0 h 264699"/>
                  <a:gd name="connsiteX18" fmla="*/ 325755 w 329564"/>
                  <a:gd name="connsiteY18" fmla="*/ 24765 h 264699"/>
                  <a:gd name="connsiteX19" fmla="*/ 329565 w 329564"/>
                  <a:gd name="connsiteY19" fmla="*/ 70485 h 264699"/>
                  <a:gd name="connsiteX20" fmla="*/ 311468 w 329564"/>
                  <a:gd name="connsiteY20" fmla="*/ 74200 h 264699"/>
                  <a:gd name="connsiteX21" fmla="*/ 240982 w 329564"/>
                  <a:gd name="connsiteY21" fmla="*/ 208597 h 264699"/>
                  <a:gd name="connsiteX22" fmla="*/ 221932 w 329564"/>
                  <a:gd name="connsiteY22" fmla="*/ 194310 h 264699"/>
                  <a:gd name="connsiteX23" fmla="*/ 204788 w 329564"/>
                  <a:gd name="connsiteY23" fmla="*/ 194310 h 264699"/>
                  <a:gd name="connsiteX24" fmla="*/ 169545 w 329564"/>
                  <a:gd name="connsiteY24" fmla="*/ 225647 h 264699"/>
                  <a:gd name="connsiteX25" fmla="*/ 165735 w 329564"/>
                  <a:gd name="connsiteY25" fmla="*/ 258128 h 264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29564" h="264699">
                    <a:moveTo>
                      <a:pt x="165735" y="258128"/>
                    </a:moveTo>
                    <a:lnTo>
                      <a:pt x="112395" y="264700"/>
                    </a:lnTo>
                    <a:lnTo>
                      <a:pt x="77152" y="260985"/>
                    </a:lnTo>
                    <a:lnTo>
                      <a:pt x="80963" y="233363"/>
                    </a:lnTo>
                    <a:lnTo>
                      <a:pt x="39052" y="208597"/>
                    </a:lnTo>
                    <a:lnTo>
                      <a:pt x="3810" y="204788"/>
                    </a:lnTo>
                    <a:lnTo>
                      <a:pt x="0" y="138113"/>
                    </a:lnTo>
                    <a:lnTo>
                      <a:pt x="39052" y="92297"/>
                    </a:lnTo>
                    <a:lnTo>
                      <a:pt x="18097" y="74200"/>
                    </a:lnTo>
                    <a:lnTo>
                      <a:pt x="20955" y="59912"/>
                    </a:lnTo>
                    <a:lnTo>
                      <a:pt x="41910" y="3810"/>
                    </a:lnTo>
                    <a:lnTo>
                      <a:pt x="95250" y="3810"/>
                    </a:lnTo>
                    <a:lnTo>
                      <a:pt x="122872" y="24765"/>
                    </a:lnTo>
                    <a:lnTo>
                      <a:pt x="140970" y="14288"/>
                    </a:lnTo>
                    <a:lnTo>
                      <a:pt x="190500" y="32385"/>
                    </a:lnTo>
                    <a:lnTo>
                      <a:pt x="200977" y="18097"/>
                    </a:lnTo>
                    <a:lnTo>
                      <a:pt x="262890" y="24765"/>
                    </a:lnTo>
                    <a:lnTo>
                      <a:pt x="300990" y="0"/>
                    </a:lnTo>
                    <a:lnTo>
                      <a:pt x="325755" y="24765"/>
                    </a:lnTo>
                    <a:lnTo>
                      <a:pt x="329565" y="70485"/>
                    </a:lnTo>
                    <a:lnTo>
                      <a:pt x="311468" y="74200"/>
                    </a:lnTo>
                    <a:lnTo>
                      <a:pt x="240982" y="208597"/>
                    </a:lnTo>
                    <a:lnTo>
                      <a:pt x="221932" y="194310"/>
                    </a:lnTo>
                    <a:lnTo>
                      <a:pt x="204788" y="194310"/>
                    </a:lnTo>
                    <a:lnTo>
                      <a:pt x="169545" y="225647"/>
                    </a:lnTo>
                    <a:lnTo>
                      <a:pt x="165735" y="25812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514118E8-8677-47A3-3238-24681E310500}"/>
                  </a:ext>
                </a:extLst>
              </p:cNvPr>
              <p:cNvSpPr/>
              <p:nvPr/>
            </p:nvSpPr>
            <p:spPr>
              <a:xfrm>
                <a:off x="6072285" y="4163709"/>
                <a:ext cx="323068" cy="259483"/>
              </a:xfrm>
              <a:custGeom>
                <a:avLst/>
                <a:gdLst>
                  <a:gd name="connsiteX0" fmla="*/ 165735 w 329564"/>
                  <a:gd name="connsiteY0" fmla="*/ 258128 h 264699"/>
                  <a:gd name="connsiteX1" fmla="*/ 112395 w 329564"/>
                  <a:gd name="connsiteY1" fmla="*/ 264700 h 264699"/>
                  <a:gd name="connsiteX2" fmla="*/ 77152 w 329564"/>
                  <a:gd name="connsiteY2" fmla="*/ 260985 h 264699"/>
                  <a:gd name="connsiteX3" fmla="*/ 80963 w 329564"/>
                  <a:gd name="connsiteY3" fmla="*/ 233363 h 264699"/>
                  <a:gd name="connsiteX4" fmla="*/ 39052 w 329564"/>
                  <a:gd name="connsiteY4" fmla="*/ 208597 h 264699"/>
                  <a:gd name="connsiteX5" fmla="*/ 3810 w 329564"/>
                  <a:gd name="connsiteY5" fmla="*/ 204788 h 264699"/>
                  <a:gd name="connsiteX6" fmla="*/ 0 w 329564"/>
                  <a:gd name="connsiteY6" fmla="*/ 138113 h 264699"/>
                  <a:gd name="connsiteX7" fmla="*/ 39052 w 329564"/>
                  <a:gd name="connsiteY7" fmla="*/ 92297 h 264699"/>
                  <a:gd name="connsiteX8" fmla="*/ 18097 w 329564"/>
                  <a:gd name="connsiteY8" fmla="*/ 74200 h 264699"/>
                  <a:gd name="connsiteX9" fmla="*/ 20955 w 329564"/>
                  <a:gd name="connsiteY9" fmla="*/ 59912 h 264699"/>
                  <a:gd name="connsiteX10" fmla="*/ 41910 w 329564"/>
                  <a:gd name="connsiteY10" fmla="*/ 3810 h 264699"/>
                  <a:gd name="connsiteX11" fmla="*/ 95250 w 329564"/>
                  <a:gd name="connsiteY11" fmla="*/ 3810 h 264699"/>
                  <a:gd name="connsiteX12" fmla="*/ 122872 w 329564"/>
                  <a:gd name="connsiteY12" fmla="*/ 24765 h 264699"/>
                  <a:gd name="connsiteX13" fmla="*/ 140970 w 329564"/>
                  <a:gd name="connsiteY13" fmla="*/ 14288 h 264699"/>
                  <a:gd name="connsiteX14" fmla="*/ 190500 w 329564"/>
                  <a:gd name="connsiteY14" fmla="*/ 32385 h 264699"/>
                  <a:gd name="connsiteX15" fmla="*/ 200977 w 329564"/>
                  <a:gd name="connsiteY15" fmla="*/ 18097 h 264699"/>
                  <a:gd name="connsiteX16" fmla="*/ 262890 w 329564"/>
                  <a:gd name="connsiteY16" fmla="*/ 24765 h 264699"/>
                  <a:gd name="connsiteX17" fmla="*/ 300990 w 329564"/>
                  <a:gd name="connsiteY17" fmla="*/ 0 h 264699"/>
                  <a:gd name="connsiteX18" fmla="*/ 325755 w 329564"/>
                  <a:gd name="connsiteY18" fmla="*/ 24765 h 264699"/>
                  <a:gd name="connsiteX19" fmla="*/ 329565 w 329564"/>
                  <a:gd name="connsiteY19" fmla="*/ 70485 h 264699"/>
                  <a:gd name="connsiteX20" fmla="*/ 311468 w 329564"/>
                  <a:gd name="connsiteY20" fmla="*/ 74200 h 264699"/>
                  <a:gd name="connsiteX21" fmla="*/ 240982 w 329564"/>
                  <a:gd name="connsiteY21" fmla="*/ 208597 h 264699"/>
                  <a:gd name="connsiteX22" fmla="*/ 221932 w 329564"/>
                  <a:gd name="connsiteY22" fmla="*/ 194310 h 264699"/>
                  <a:gd name="connsiteX23" fmla="*/ 204788 w 329564"/>
                  <a:gd name="connsiteY23" fmla="*/ 194310 h 264699"/>
                  <a:gd name="connsiteX24" fmla="*/ 169545 w 329564"/>
                  <a:gd name="connsiteY24" fmla="*/ 225647 h 264699"/>
                  <a:gd name="connsiteX25" fmla="*/ 165735 w 329564"/>
                  <a:gd name="connsiteY25" fmla="*/ 258128 h 264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29564" h="264699">
                    <a:moveTo>
                      <a:pt x="165735" y="258128"/>
                    </a:moveTo>
                    <a:lnTo>
                      <a:pt x="112395" y="264700"/>
                    </a:lnTo>
                    <a:lnTo>
                      <a:pt x="77152" y="260985"/>
                    </a:lnTo>
                    <a:lnTo>
                      <a:pt x="80963" y="233363"/>
                    </a:lnTo>
                    <a:lnTo>
                      <a:pt x="39052" y="208597"/>
                    </a:lnTo>
                    <a:lnTo>
                      <a:pt x="3810" y="204788"/>
                    </a:lnTo>
                    <a:lnTo>
                      <a:pt x="0" y="138113"/>
                    </a:lnTo>
                    <a:lnTo>
                      <a:pt x="39052" y="92297"/>
                    </a:lnTo>
                    <a:lnTo>
                      <a:pt x="18097" y="74200"/>
                    </a:lnTo>
                    <a:lnTo>
                      <a:pt x="20955" y="59912"/>
                    </a:lnTo>
                    <a:lnTo>
                      <a:pt x="41910" y="3810"/>
                    </a:lnTo>
                    <a:lnTo>
                      <a:pt x="95250" y="3810"/>
                    </a:lnTo>
                    <a:lnTo>
                      <a:pt x="122872" y="24765"/>
                    </a:lnTo>
                    <a:lnTo>
                      <a:pt x="140970" y="14288"/>
                    </a:lnTo>
                    <a:lnTo>
                      <a:pt x="190500" y="32385"/>
                    </a:lnTo>
                    <a:lnTo>
                      <a:pt x="200977" y="18097"/>
                    </a:lnTo>
                    <a:lnTo>
                      <a:pt x="262890" y="24765"/>
                    </a:lnTo>
                    <a:lnTo>
                      <a:pt x="300990" y="0"/>
                    </a:lnTo>
                    <a:lnTo>
                      <a:pt x="325755" y="24765"/>
                    </a:lnTo>
                    <a:lnTo>
                      <a:pt x="329565" y="70485"/>
                    </a:lnTo>
                    <a:lnTo>
                      <a:pt x="311468" y="74200"/>
                    </a:lnTo>
                    <a:lnTo>
                      <a:pt x="240982" y="208597"/>
                    </a:lnTo>
                    <a:lnTo>
                      <a:pt x="221932" y="194310"/>
                    </a:lnTo>
                    <a:lnTo>
                      <a:pt x="204788" y="194310"/>
                    </a:lnTo>
                    <a:lnTo>
                      <a:pt x="169545" y="225647"/>
                    </a:lnTo>
                    <a:lnTo>
                      <a:pt x="165735" y="25812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944B8922-C130-A577-3599-DC7B5F76B6F1}"/>
                  </a:ext>
                </a:extLst>
              </p:cNvPr>
              <p:cNvSpPr/>
              <p:nvPr/>
            </p:nvSpPr>
            <p:spPr>
              <a:xfrm>
                <a:off x="6017195" y="4205727"/>
                <a:ext cx="93372" cy="165177"/>
              </a:xfrm>
              <a:custGeom>
                <a:avLst/>
                <a:gdLst>
                  <a:gd name="connsiteX0" fmla="*/ 35243 w 95250"/>
                  <a:gd name="connsiteY0" fmla="*/ 2762 h 168497"/>
                  <a:gd name="connsiteX1" fmla="*/ 60008 w 95250"/>
                  <a:gd name="connsiteY1" fmla="*/ 0 h 168497"/>
                  <a:gd name="connsiteX2" fmla="*/ 77153 w 95250"/>
                  <a:gd name="connsiteY2" fmla="*/ 17050 h 168497"/>
                  <a:gd name="connsiteX3" fmla="*/ 74295 w 95250"/>
                  <a:gd name="connsiteY3" fmla="*/ 31337 h 168497"/>
                  <a:gd name="connsiteX4" fmla="*/ 95250 w 95250"/>
                  <a:gd name="connsiteY4" fmla="*/ 49435 h 168497"/>
                  <a:gd name="connsiteX5" fmla="*/ 56198 w 95250"/>
                  <a:gd name="connsiteY5" fmla="*/ 95250 h 168497"/>
                  <a:gd name="connsiteX6" fmla="*/ 60008 w 95250"/>
                  <a:gd name="connsiteY6" fmla="*/ 161925 h 168497"/>
                  <a:gd name="connsiteX7" fmla="*/ 20955 w 95250"/>
                  <a:gd name="connsiteY7" fmla="*/ 168497 h 168497"/>
                  <a:gd name="connsiteX8" fmla="*/ 20955 w 95250"/>
                  <a:gd name="connsiteY8" fmla="*/ 84772 h 168497"/>
                  <a:gd name="connsiteX9" fmla="*/ 0 w 95250"/>
                  <a:gd name="connsiteY9" fmla="*/ 56197 h 168497"/>
                  <a:gd name="connsiteX10" fmla="*/ 6668 w 95250"/>
                  <a:gd name="connsiteY10" fmla="*/ 35147 h 168497"/>
                  <a:gd name="connsiteX11" fmla="*/ 35243 w 95250"/>
                  <a:gd name="connsiteY11" fmla="*/ 27622 h 168497"/>
                  <a:gd name="connsiteX12" fmla="*/ 35243 w 95250"/>
                  <a:gd name="connsiteY12" fmla="*/ 2762 h 16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168497">
                    <a:moveTo>
                      <a:pt x="35243" y="2762"/>
                    </a:moveTo>
                    <a:lnTo>
                      <a:pt x="60008" y="0"/>
                    </a:lnTo>
                    <a:lnTo>
                      <a:pt x="77153" y="17050"/>
                    </a:lnTo>
                    <a:lnTo>
                      <a:pt x="74295" y="31337"/>
                    </a:lnTo>
                    <a:lnTo>
                      <a:pt x="95250" y="49435"/>
                    </a:lnTo>
                    <a:lnTo>
                      <a:pt x="56198" y="95250"/>
                    </a:lnTo>
                    <a:lnTo>
                      <a:pt x="60008" y="161925"/>
                    </a:lnTo>
                    <a:lnTo>
                      <a:pt x="20955" y="168497"/>
                    </a:lnTo>
                    <a:lnTo>
                      <a:pt x="20955" y="84772"/>
                    </a:lnTo>
                    <a:lnTo>
                      <a:pt x="0" y="56197"/>
                    </a:lnTo>
                    <a:lnTo>
                      <a:pt x="6668" y="35147"/>
                    </a:lnTo>
                    <a:lnTo>
                      <a:pt x="35243" y="27622"/>
                    </a:lnTo>
                    <a:lnTo>
                      <a:pt x="35243" y="276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488FF7FA-0EE9-30A2-BC11-E0AD687F5997}"/>
                  </a:ext>
                </a:extLst>
              </p:cNvPr>
              <p:cNvSpPr/>
              <p:nvPr/>
            </p:nvSpPr>
            <p:spPr>
              <a:xfrm>
                <a:off x="6017195" y="4205727"/>
                <a:ext cx="93372" cy="165177"/>
              </a:xfrm>
              <a:custGeom>
                <a:avLst/>
                <a:gdLst>
                  <a:gd name="connsiteX0" fmla="*/ 35243 w 95250"/>
                  <a:gd name="connsiteY0" fmla="*/ 2762 h 168497"/>
                  <a:gd name="connsiteX1" fmla="*/ 60008 w 95250"/>
                  <a:gd name="connsiteY1" fmla="*/ 0 h 168497"/>
                  <a:gd name="connsiteX2" fmla="*/ 77153 w 95250"/>
                  <a:gd name="connsiteY2" fmla="*/ 17050 h 168497"/>
                  <a:gd name="connsiteX3" fmla="*/ 74295 w 95250"/>
                  <a:gd name="connsiteY3" fmla="*/ 31337 h 168497"/>
                  <a:gd name="connsiteX4" fmla="*/ 95250 w 95250"/>
                  <a:gd name="connsiteY4" fmla="*/ 49435 h 168497"/>
                  <a:gd name="connsiteX5" fmla="*/ 56198 w 95250"/>
                  <a:gd name="connsiteY5" fmla="*/ 95250 h 168497"/>
                  <a:gd name="connsiteX6" fmla="*/ 60008 w 95250"/>
                  <a:gd name="connsiteY6" fmla="*/ 161925 h 168497"/>
                  <a:gd name="connsiteX7" fmla="*/ 20955 w 95250"/>
                  <a:gd name="connsiteY7" fmla="*/ 168497 h 168497"/>
                  <a:gd name="connsiteX8" fmla="*/ 20955 w 95250"/>
                  <a:gd name="connsiteY8" fmla="*/ 84772 h 168497"/>
                  <a:gd name="connsiteX9" fmla="*/ 0 w 95250"/>
                  <a:gd name="connsiteY9" fmla="*/ 56197 h 168497"/>
                  <a:gd name="connsiteX10" fmla="*/ 6668 w 95250"/>
                  <a:gd name="connsiteY10" fmla="*/ 35147 h 168497"/>
                  <a:gd name="connsiteX11" fmla="*/ 35243 w 95250"/>
                  <a:gd name="connsiteY11" fmla="*/ 27622 h 168497"/>
                  <a:gd name="connsiteX12" fmla="*/ 35243 w 95250"/>
                  <a:gd name="connsiteY12" fmla="*/ 2762 h 16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168497">
                    <a:moveTo>
                      <a:pt x="35243" y="2762"/>
                    </a:moveTo>
                    <a:lnTo>
                      <a:pt x="60008" y="0"/>
                    </a:lnTo>
                    <a:lnTo>
                      <a:pt x="77153" y="17050"/>
                    </a:lnTo>
                    <a:lnTo>
                      <a:pt x="74295" y="31337"/>
                    </a:lnTo>
                    <a:lnTo>
                      <a:pt x="95250" y="49435"/>
                    </a:lnTo>
                    <a:lnTo>
                      <a:pt x="56198" y="95250"/>
                    </a:lnTo>
                    <a:lnTo>
                      <a:pt x="60008" y="161925"/>
                    </a:lnTo>
                    <a:lnTo>
                      <a:pt x="20955" y="168497"/>
                    </a:lnTo>
                    <a:lnTo>
                      <a:pt x="20955" y="84772"/>
                    </a:lnTo>
                    <a:lnTo>
                      <a:pt x="0" y="56197"/>
                    </a:lnTo>
                    <a:lnTo>
                      <a:pt x="6668" y="35147"/>
                    </a:lnTo>
                    <a:lnTo>
                      <a:pt x="35243" y="27622"/>
                    </a:lnTo>
                    <a:lnTo>
                      <a:pt x="35243" y="276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2BF1B628-8A83-3A30-0AAD-8C4A5AE169EB}"/>
                  </a:ext>
                </a:extLst>
              </p:cNvPr>
              <p:cNvSpPr/>
              <p:nvPr/>
            </p:nvSpPr>
            <p:spPr>
              <a:xfrm>
                <a:off x="5986382" y="4240181"/>
                <a:ext cx="51354" cy="138285"/>
              </a:xfrm>
              <a:custGeom>
                <a:avLst/>
                <a:gdLst>
                  <a:gd name="connsiteX0" fmla="*/ 52388 w 52387"/>
                  <a:gd name="connsiteY0" fmla="*/ 133350 h 141065"/>
                  <a:gd name="connsiteX1" fmla="*/ 27622 w 52387"/>
                  <a:gd name="connsiteY1" fmla="*/ 141065 h 141065"/>
                  <a:gd name="connsiteX2" fmla="*/ 20955 w 52387"/>
                  <a:gd name="connsiteY2" fmla="*/ 84868 h 141065"/>
                  <a:gd name="connsiteX3" fmla="*/ 13335 w 52387"/>
                  <a:gd name="connsiteY3" fmla="*/ 60103 h 141065"/>
                  <a:gd name="connsiteX4" fmla="*/ 20955 w 52387"/>
                  <a:gd name="connsiteY4" fmla="*/ 31528 h 141065"/>
                  <a:gd name="connsiteX5" fmla="*/ 0 w 52387"/>
                  <a:gd name="connsiteY5" fmla="*/ 0 h 141065"/>
                  <a:gd name="connsiteX6" fmla="*/ 38100 w 52387"/>
                  <a:gd name="connsiteY6" fmla="*/ 0 h 141065"/>
                  <a:gd name="connsiteX7" fmla="*/ 31432 w 52387"/>
                  <a:gd name="connsiteY7" fmla="*/ 21050 h 141065"/>
                  <a:gd name="connsiteX8" fmla="*/ 52388 w 52387"/>
                  <a:gd name="connsiteY8" fmla="*/ 49625 h 141065"/>
                  <a:gd name="connsiteX9" fmla="*/ 52388 w 52387"/>
                  <a:gd name="connsiteY9" fmla="*/ 133350 h 141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387" h="141065">
                    <a:moveTo>
                      <a:pt x="52388" y="133350"/>
                    </a:moveTo>
                    <a:lnTo>
                      <a:pt x="27622" y="141065"/>
                    </a:lnTo>
                    <a:lnTo>
                      <a:pt x="20955" y="84868"/>
                    </a:lnTo>
                    <a:lnTo>
                      <a:pt x="13335" y="60103"/>
                    </a:lnTo>
                    <a:lnTo>
                      <a:pt x="20955" y="31528"/>
                    </a:lnTo>
                    <a:lnTo>
                      <a:pt x="0" y="0"/>
                    </a:lnTo>
                    <a:lnTo>
                      <a:pt x="38100" y="0"/>
                    </a:lnTo>
                    <a:lnTo>
                      <a:pt x="31432" y="21050"/>
                    </a:lnTo>
                    <a:lnTo>
                      <a:pt x="52388" y="49625"/>
                    </a:lnTo>
                    <a:lnTo>
                      <a:pt x="52388" y="13335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171E87E0-A2FA-8F43-1EAB-875999320390}"/>
                  </a:ext>
                </a:extLst>
              </p:cNvPr>
              <p:cNvSpPr/>
              <p:nvPr/>
            </p:nvSpPr>
            <p:spPr>
              <a:xfrm>
                <a:off x="5986382" y="4240181"/>
                <a:ext cx="51354" cy="138285"/>
              </a:xfrm>
              <a:custGeom>
                <a:avLst/>
                <a:gdLst>
                  <a:gd name="connsiteX0" fmla="*/ 52388 w 52387"/>
                  <a:gd name="connsiteY0" fmla="*/ 133350 h 141065"/>
                  <a:gd name="connsiteX1" fmla="*/ 27622 w 52387"/>
                  <a:gd name="connsiteY1" fmla="*/ 141065 h 141065"/>
                  <a:gd name="connsiteX2" fmla="*/ 20955 w 52387"/>
                  <a:gd name="connsiteY2" fmla="*/ 84868 h 141065"/>
                  <a:gd name="connsiteX3" fmla="*/ 13335 w 52387"/>
                  <a:gd name="connsiteY3" fmla="*/ 60103 h 141065"/>
                  <a:gd name="connsiteX4" fmla="*/ 20955 w 52387"/>
                  <a:gd name="connsiteY4" fmla="*/ 31528 h 141065"/>
                  <a:gd name="connsiteX5" fmla="*/ 0 w 52387"/>
                  <a:gd name="connsiteY5" fmla="*/ 0 h 141065"/>
                  <a:gd name="connsiteX6" fmla="*/ 38100 w 52387"/>
                  <a:gd name="connsiteY6" fmla="*/ 0 h 141065"/>
                  <a:gd name="connsiteX7" fmla="*/ 31432 w 52387"/>
                  <a:gd name="connsiteY7" fmla="*/ 21050 h 141065"/>
                  <a:gd name="connsiteX8" fmla="*/ 52388 w 52387"/>
                  <a:gd name="connsiteY8" fmla="*/ 49625 h 141065"/>
                  <a:gd name="connsiteX9" fmla="*/ 52388 w 52387"/>
                  <a:gd name="connsiteY9" fmla="*/ 133350 h 141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387" h="141065">
                    <a:moveTo>
                      <a:pt x="52388" y="133350"/>
                    </a:moveTo>
                    <a:lnTo>
                      <a:pt x="27622" y="141065"/>
                    </a:lnTo>
                    <a:lnTo>
                      <a:pt x="20955" y="84868"/>
                    </a:lnTo>
                    <a:lnTo>
                      <a:pt x="13335" y="60103"/>
                    </a:lnTo>
                    <a:lnTo>
                      <a:pt x="20955" y="31528"/>
                    </a:lnTo>
                    <a:lnTo>
                      <a:pt x="0" y="0"/>
                    </a:lnTo>
                    <a:lnTo>
                      <a:pt x="38100" y="0"/>
                    </a:lnTo>
                    <a:lnTo>
                      <a:pt x="31432" y="21050"/>
                    </a:lnTo>
                    <a:lnTo>
                      <a:pt x="52388" y="49625"/>
                    </a:lnTo>
                    <a:lnTo>
                      <a:pt x="52388" y="13335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1D70C151-D9C4-E8A1-2BB0-4B34DC6AC6B4}"/>
                  </a:ext>
                </a:extLst>
              </p:cNvPr>
              <p:cNvSpPr/>
              <p:nvPr/>
            </p:nvSpPr>
            <p:spPr>
              <a:xfrm>
                <a:off x="5665181" y="3852683"/>
                <a:ext cx="445386" cy="408134"/>
              </a:xfrm>
              <a:custGeom>
                <a:avLst/>
                <a:gdLst>
                  <a:gd name="connsiteX0" fmla="*/ 211455 w 454342"/>
                  <a:gd name="connsiteY0" fmla="*/ 0 h 416337"/>
                  <a:gd name="connsiteX1" fmla="*/ 369570 w 454342"/>
                  <a:gd name="connsiteY1" fmla="*/ 105728 h 416337"/>
                  <a:gd name="connsiteX2" fmla="*/ 394335 w 454342"/>
                  <a:gd name="connsiteY2" fmla="*/ 130588 h 416337"/>
                  <a:gd name="connsiteX3" fmla="*/ 429578 w 454342"/>
                  <a:gd name="connsiteY3" fmla="*/ 144875 h 416337"/>
                  <a:gd name="connsiteX4" fmla="*/ 425767 w 454342"/>
                  <a:gd name="connsiteY4" fmla="*/ 173450 h 416337"/>
                  <a:gd name="connsiteX5" fmla="*/ 454342 w 454342"/>
                  <a:gd name="connsiteY5" fmla="*/ 169640 h 416337"/>
                  <a:gd name="connsiteX6" fmla="*/ 454342 w 454342"/>
                  <a:gd name="connsiteY6" fmla="*/ 243840 h 416337"/>
                  <a:gd name="connsiteX7" fmla="*/ 433388 w 454342"/>
                  <a:gd name="connsiteY7" fmla="*/ 275368 h 416337"/>
                  <a:gd name="connsiteX8" fmla="*/ 373380 w 454342"/>
                  <a:gd name="connsiteY8" fmla="*/ 285750 h 416337"/>
                  <a:gd name="connsiteX9" fmla="*/ 348615 w 454342"/>
                  <a:gd name="connsiteY9" fmla="*/ 285750 h 416337"/>
                  <a:gd name="connsiteX10" fmla="*/ 313372 w 454342"/>
                  <a:gd name="connsiteY10" fmla="*/ 285750 h 416337"/>
                  <a:gd name="connsiteX11" fmla="*/ 270510 w 454342"/>
                  <a:gd name="connsiteY11" fmla="*/ 303943 h 416337"/>
                  <a:gd name="connsiteX12" fmla="*/ 239078 w 454342"/>
                  <a:gd name="connsiteY12" fmla="*/ 335375 h 416337"/>
                  <a:gd name="connsiteX13" fmla="*/ 224790 w 454342"/>
                  <a:gd name="connsiteY13" fmla="*/ 327755 h 416337"/>
                  <a:gd name="connsiteX14" fmla="*/ 207645 w 454342"/>
                  <a:gd name="connsiteY14" fmla="*/ 370618 h 416337"/>
                  <a:gd name="connsiteX15" fmla="*/ 189547 w 454342"/>
                  <a:gd name="connsiteY15" fmla="*/ 374428 h 416337"/>
                  <a:gd name="connsiteX16" fmla="*/ 182880 w 454342"/>
                  <a:gd name="connsiteY16" fmla="*/ 412528 h 416337"/>
                  <a:gd name="connsiteX17" fmla="*/ 112395 w 454342"/>
                  <a:gd name="connsiteY17" fmla="*/ 416338 h 416337"/>
                  <a:gd name="connsiteX18" fmla="*/ 98107 w 454342"/>
                  <a:gd name="connsiteY18" fmla="*/ 384905 h 416337"/>
                  <a:gd name="connsiteX19" fmla="*/ 87630 w 454342"/>
                  <a:gd name="connsiteY19" fmla="*/ 360140 h 416337"/>
                  <a:gd name="connsiteX20" fmla="*/ 41910 w 454342"/>
                  <a:gd name="connsiteY20" fmla="*/ 370618 h 416337"/>
                  <a:gd name="connsiteX21" fmla="*/ 20955 w 454342"/>
                  <a:gd name="connsiteY21" fmla="*/ 362903 h 416337"/>
                  <a:gd name="connsiteX22" fmla="*/ 20955 w 454342"/>
                  <a:gd name="connsiteY22" fmla="*/ 360140 h 416337"/>
                  <a:gd name="connsiteX23" fmla="*/ 20955 w 454342"/>
                  <a:gd name="connsiteY23" fmla="*/ 352425 h 416337"/>
                  <a:gd name="connsiteX24" fmla="*/ 17145 w 454342"/>
                  <a:gd name="connsiteY24" fmla="*/ 339090 h 416337"/>
                  <a:gd name="connsiteX25" fmla="*/ 6667 w 454342"/>
                  <a:gd name="connsiteY25" fmla="*/ 324803 h 416337"/>
                  <a:gd name="connsiteX26" fmla="*/ 2857 w 454342"/>
                  <a:gd name="connsiteY26" fmla="*/ 303943 h 416337"/>
                  <a:gd name="connsiteX27" fmla="*/ 0 w 454342"/>
                  <a:gd name="connsiteY27" fmla="*/ 292513 h 416337"/>
                  <a:gd name="connsiteX28" fmla="*/ 10478 w 454342"/>
                  <a:gd name="connsiteY28" fmla="*/ 268700 h 416337"/>
                  <a:gd name="connsiteX29" fmla="*/ 186690 w 454342"/>
                  <a:gd name="connsiteY29" fmla="*/ 271463 h 416337"/>
                  <a:gd name="connsiteX30" fmla="*/ 189547 w 454342"/>
                  <a:gd name="connsiteY30" fmla="*/ 254413 h 416337"/>
                  <a:gd name="connsiteX31" fmla="*/ 179070 w 454342"/>
                  <a:gd name="connsiteY31" fmla="*/ 240125 h 416337"/>
                  <a:gd name="connsiteX32" fmla="*/ 158115 w 454342"/>
                  <a:gd name="connsiteY32" fmla="*/ 0 h 416337"/>
                  <a:gd name="connsiteX33" fmla="*/ 211455 w 454342"/>
                  <a:gd name="connsiteY33" fmla="*/ 0 h 416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54342" h="416337">
                    <a:moveTo>
                      <a:pt x="211455" y="0"/>
                    </a:moveTo>
                    <a:lnTo>
                      <a:pt x="369570" y="105728"/>
                    </a:lnTo>
                    <a:lnTo>
                      <a:pt x="394335" y="130588"/>
                    </a:lnTo>
                    <a:lnTo>
                      <a:pt x="429578" y="144875"/>
                    </a:lnTo>
                    <a:lnTo>
                      <a:pt x="425767" y="173450"/>
                    </a:lnTo>
                    <a:lnTo>
                      <a:pt x="454342" y="169640"/>
                    </a:lnTo>
                    <a:lnTo>
                      <a:pt x="454342" y="243840"/>
                    </a:lnTo>
                    <a:lnTo>
                      <a:pt x="433388" y="275368"/>
                    </a:lnTo>
                    <a:lnTo>
                      <a:pt x="373380" y="285750"/>
                    </a:lnTo>
                    <a:lnTo>
                      <a:pt x="348615" y="285750"/>
                    </a:lnTo>
                    <a:lnTo>
                      <a:pt x="313372" y="285750"/>
                    </a:lnTo>
                    <a:lnTo>
                      <a:pt x="270510" y="303943"/>
                    </a:lnTo>
                    <a:lnTo>
                      <a:pt x="239078" y="335375"/>
                    </a:lnTo>
                    <a:lnTo>
                      <a:pt x="224790" y="327755"/>
                    </a:lnTo>
                    <a:lnTo>
                      <a:pt x="207645" y="370618"/>
                    </a:lnTo>
                    <a:lnTo>
                      <a:pt x="189547" y="374428"/>
                    </a:lnTo>
                    <a:lnTo>
                      <a:pt x="182880" y="412528"/>
                    </a:lnTo>
                    <a:lnTo>
                      <a:pt x="112395" y="416338"/>
                    </a:lnTo>
                    <a:lnTo>
                      <a:pt x="98107" y="384905"/>
                    </a:lnTo>
                    <a:lnTo>
                      <a:pt x="87630" y="360140"/>
                    </a:lnTo>
                    <a:lnTo>
                      <a:pt x="41910" y="370618"/>
                    </a:lnTo>
                    <a:lnTo>
                      <a:pt x="20955" y="362903"/>
                    </a:lnTo>
                    <a:lnTo>
                      <a:pt x="20955" y="360140"/>
                    </a:lnTo>
                    <a:lnTo>
                      <a:pt x="20955" y="352425"/>
                    </a:lnTo>
                    <a:lnTo>
                      <a:pt x="17145" y="339090"/>
                    </a:lnTo>
                    <a:lnTo>
                      <a:pt x="6667" y="324803"/>
                    </a:lnTo>
                    <a:lnTo>
                      <a:pt x="2857" y="303943"/>
                    </a:lnTo>
                    <a:lnTo>
                      <a:pt x="0" y="292513"/>
                    </a:lnTo>
                    <a:lnTo>
                      <a:pt x="10478" y="268700"/>
                    </a:lnTo>
                    <a:lnTo>
                      <a:pt x="186690" y="271463"/>
                    </a:lnTo>
                    <a:lnTo>
                      <a:pt x="189547" y="254413"/>
                    </a:lnTo>
                    <a:lnTo>
                      <a:pt x="179070" y="240125"/>
                    </a:lnTo>
                    <a:lnTo>
                      <a:pt x="158115" y="0"/>
                    </a:lnTo>
                    <a:lnTo>
                      <a:pt x="21145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8AB0B359-60F5-271E-A629-DF8D84D41DD0}"/>
                  </a:ext>
                </a:extLst>
              </p:cNvPr>
              <p:cNvSpPr/>
              <p:nvPr/>
            </p:nvSpPr>
            <p:spPr>
              <a:xfrm>
                <a:off x="5844456" y="4132803"/>
                <a:ext cx="207287" cy="148556"/>
              </a:xfrm>
              <a:custGeom>
                <a:avLst/>
                <a:gdLst>
                  <a:gd name="connsiteX0" fmla="*/ 77153 w 211455"/>
                  <a:gd name="connsiteY0" fmla="*/ 109538 h 151542"/>
                  <a:gd name="connsiteX1" fmla="*/ 77153 w 211455"/>
                  <a:gd name="connsiteY1" fmla="*/ 148590 h 151542"/>
                  <a:gd name="connsiteX2" fmla="*/ 53340 w 211455"/>
                  <a:gd name="connsiteY2" fmla="*/ 137255 h 151542"/>
                  <a:gd name="connsiteX3" fmla="*/ 35243 w 211455"/>
                  <a:gd name="connsiteY3" fmla="*/ 151543 h 151542"/>
                  <a:gd name="connsiteX4" fmla="*/ 0 w 211455"/>
                  <a:gd name="connsiteY4" fmla="*/ 126778 h 151542"/>
                  <a:gd name="connsiteX5" fmla="*/ 6668 w 211455"/>
                  <a:gd name="connsiteY5" fmla="*/ 88678 h 151542"/>
                  <a:gd name="connsiteX6" fmla="*/ 24765 w 211455"/>
                  <a:gd name="connsiteY6" fmla="*/ 84868 h 151542"/>
                  <a:gd name="connsiteX7" fmla="*/ 41910 w 211455"/>
                  <a:gd name="connsiteY7" fmla="*/ 42005 h 151542"/>
                  <a:gd name="connsiteX8" fmla="*/ 56198 w 211455"/>
                  <a:gd name="connsiteY8" fmla="*/ 49625 h 151542"/>
                  <a:gd name="connsiteX9" fmla="*/ 87630 w 211455"/>
                  <a:gd name="connsiteY9" fmla="*/ 18193 h 151542"/>
                  <a:gd name="connsiteX10" fmla="*/ 130493 w 211455"/>
                  <a:gd name="connsiteY10" fmla="*/ 0 h 151542"/>
                  <a:gd name="connsiteX11" fmla="*/ 165735 w 211455"/>
                  <a:gd name="connsiteY11" fmla="*/ 0 h 151542"/>
                  <a:gd name="connsiteX12" fmla="*/ 158115 w 211455"/>
                  <a:gd name="connsiteY12" fmla="*/ 14288 h 151542"/>
                  <a:gd name="connsiteX13" fmla="*/ 161925 w 211455"/>
                  <a:gd name="connsiteY13" fmla="*/ 24765 h 151542"/>
                  <a:gd name="connsiteX14" fmla="*/ 182880 w 211455"/>
                  <a:gd name="connsiteY14" fmla="*/ 49625 h 151542"/>
                  <a:gd name="connsiteX15" fmla="*/ 180023 w 211455"/>
                  <a:gd name="connsiteY15" fmla="*/ 60103 h 151542"/>
                  <a:gd name="connsiteX16" fmla="*/ 211455 w 211455"/>
                  <a:gd name="connsiteY16" fmla="*/ 77153 h 151542"/>
                  <a:gd name="connsiteX17" fmla="*/ 211455 w 211455"/>
                  <a:gd name="connsiteY17" fmla="*/ 102013 h 151542"/>
                  <a:gd name="connsiteX18" fmla="*/ 182880 w 211455"/>
                  <a:gd name="connsiteY18" fmla="*/ 109538 h 151542"/>
                  <a:gd name="connsiteX19" fmla="*/ 144780 w 211455"/>
                  <a:gd name="connsiteY19" fmla="*/ 109538 h 151542"/>
                  <a:gd name="connsiteX20" fmla="*/ 77153 w 211455"/>
                  <a:gd name="connsiteY20" fmla="*/ 109538 h 151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1455" h="151542">
                    <a:moveTo>
                      <a:pt x="77153" y="109538"/>
                    </a:moveTo>
                    <a:lnTo>
                      <a:pt x="77153" y="148590"/>
                    </a:lnTo>
                    <a:lnTo>
                      <a:pt x="53340" y="137255"/>
                    </a:lnTo>
                    <a:lnTo>
                      <a:pt x="35243" y="151543"/>
                    </a:lnTo>
                    <a:lnTo>
                      <a:pt x="0" y="126778"/>
                    </a:lnTo>
                    <a:lnTo>
                      <a:pt x="6668" y="88678"/>
                    </a:lnTo>
                    <a:lnTo>
                      <a:pt x="24765" y="84868"/>
                    </a:lnTo>
                    <a:lnTo>
                      <a:pt x="41910" y="42005"/>
                    </a:lnTo>
                    <a:lnTo>
                      <a:pt x="56198" y="49625"/>
                    </a:lnTo>
                    <a:lnTo>
                      <a:pt x="87630" y="18193"/>
                    </a:lnTo>
                    <a:lnTo>
                      <a:pt x="130493" y="0"/>
                    </a:lnTo>
                    <a:lnTo>
                      <a:pt x="165735" y="0"/>
                    </a:lnTo>
                    <a:lnTo>
                      <a:pt x="158115" y="14288"/>
                    </a:lnTo>
                    <a:lnTo>
                      <a:pt x="161925" y="24765"/>
                    </a:lnTo>
                    <a:lnTo>
                      <a:pt x="182880" y="49625"/>
                    </a:lnTo>
                    <a:lnTo>
                      <a:pt x="180023" y="60103"/>
                    </a:lnTo>
                    <a:lnTo>
                      <a:pt x="211455" y="77153"/>
                    </a:lnTo>
                    <a:lnTo>
                      <a:pt x="211455" y="102013"/>
                    </a:lnTo>
                    <a:lnTo>
                      <a:pt x="182880" y="109538"/>
                    </a:lnTo>
                    <a:lnTo>
                      <a:pt x="144780" y="109538"/>
                    </a:lnTo>
                    <a:lnTo>
                      <a:pt x="77153" y="1095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755B1496-2C2C-E90B-42F0-CB96F81D6073}"/>
                  </a:ext>
                </a:extLst>
              </p:cNvPr>
              <p:cNvSpPr/>
              <p:nvPr/>
            </p:nvSpPr>
            <p:spPr>
              <a:xfrm>
                <a:off x="5844456" y="4132803"/>
                <a:ext cx="207287" cy="148556"/>
              </a:xfrm>
              <a:custGeom>
                <a:avLst/>
                <a:gdLst>
                  <a:gd name="connsiteX0" fmla="*/ 77153 w 211455"/>
                  <a:gd name="connsiteY0" fmla="*/ 109538 h 151542"/>
                  <a:gd name="connsiteX1" fmla="*/ 77153 w 211455"/>
                  <a:gd name="connsiteY1" fmla="*/ 148590 h 151542"/>
                  <a:gd name="connsiteX2" fmla="*/ 53340 w 211455"/>
                  <a:gd name="connsiteY2" fmla="*/ 137255 h 151542"/>
                  <a:gd name="connsiteX3" fmla="*/ 35243 w 211455"/>
                  <a:gd name="connsiteY3" fmla="*/ 151543 h 151542"/>
                  <a:gd name="connsiteX4" fmla="*/ 0 w 211455"/>
                  <a:gd name="connsiteY4" fmla="*/ 126778 h 151542"/>
                  <a:gd name="connsiteX5" fmla="*/ 6668 w 211455"/>
                  <a:gd name="connsiteY5" fmla="*/ 88678 h 151542"/>
                  <a:gd name="connsiteX6" fmla="*/ 24765 w 211455"/>
                  <a:gd name="connsiteY6" fmla="*/ 84868 h 151542"/>
                  <a:gd name="connsiteX7" fmla="*/ 41910 w 211455"/>
                  <a:gd name="connsiteY7" fmla="*/ 42005 h 151542"/>
                  <a:gd name="connsiteX8" fmla="*/ 56198 w 211455"/>
                  <a:gd name="connsiteY8" fmla="*/ 49625 h 151542"/>
                  <a:gd name="connsiteX9" fmla="*/ 87630 w 211455"/>
                  <a:gd name="connsiteY9" fmla="*/ 18193 h 151542"/>
                  <a:gd name="connsiteX10" fmla="*/ 130493 w 211455"/>
                  <a:gd name="connsiteY10" fmla="*/ 0 h 151542"/>
                  <a:gd name="connsiteX11" fmla="*/ 165735 w 211455"/>
                  <a:gd name="connsiteY11" fmla="*/ 0 h 151542"/>
                  <a:gd name="connsiteX12" fmla="*/ 158115 w 211455"/>
                  <a:gd name="connsiteY12" fmla="*/ 14288 h 151542"/>
                  <a:gd name="connsiteX13" fmla="*/ 161925 w 211455"/>
                  <a:gd name="connsiteY13" fmla="*/ 24765 h 151542"/>
                  <a:gd name="connsiteX14" fmla="*/ 182880 w 211455"/>
                  <a:gd name="connsiteY14" fmla="*/ 49625 h 151542"/>
                  <a:gd name="connsiteX15" fmla="*/ 180023 w 211455"/>
                  <a:gd name="connsiteY15" fmla="*/ 60103 h 151542"/>
                  <a:gd name="connsiteX16" fmla="*/ 211455 w 211455"/>
                  <a:gd name="connsiteY16" fmla="*/ 77153 h 151542"/>
                  <a:gd name="connsiteX17" fmla="*/ 211455 w 211455"/>
                  <a:gd name="connsiteY17" fmla="*/ 102013 h 151542"/>
                  <a:gd name="connsiteX18" fmla="*/ 182880 w 211455"/>
                  <a:gd name="connsiteY18" fmla="*/ 109538 h 151542"/>
                  <a:gd name="connsiteX19" fmla="*/ 144780 w 211455"/>
                  <a:gd name="connsiteY19" fmla="*/ 109538 h 151542"/>
                  <a:gd name="connsiteX20" fmla="*/ 77153 w 211455"/>
                  <a:gd name="connsiteY20" fmla="*/ 109538 h 151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1455" h="151542">
                    <a:moveTo>
                      <a:pt x="77153" y="109538"/>
                    </a:moveTo>
                    <a:lnTo>
                      <a:pt x="77153" y="148590"/>
                    </a:lnTo>
                    <a:lnTo>
                      <a:pt x="53340" y="137255"/>
                    </a:lnTo>
                    <a:lnTo>
                      <a:pt x="35243" y="151543"/>
                    </a:lnTo>
                    <a:lnTo>
                      <a:pt x="0" y="126778"/>
                    </a:lnTo>
                    <a:lnTo>
                      <a:pt x="6668" y="88678"/>
                    </a:lnTo>
                    <a:lnTo>
                      <a:pt x="24765" y="84868"/>
                    </a:lnTo>
                    <a:lnTo>
                      <a:pt x="41910" y="42005"/>
                    </a:lnTo>
                    <a:lnTo>
                      <a:pt x="56198" y="49625"/>
                    </a:lnTo>
                    <a:lnTo>
                      <a:pt x="87630" y="18193"/>
                    </a:lnTo>
                    <a:lnTo>
                      <a:pt x="130493" y="0"/>
                    </a:lnTo>
                    <a:lnTo>
                      <a:pt x="165735" y="0"/>
                    </a:lnTo>
                    <a:lnTo>
                      <a:pt x="158115" y="14288"/>
                    </a:lnTo>
                    <a:lnTo>
                      <a:pt x="161925" y="24765"/>
                    </a:lnTo>
                    <a:lnTo>
                      <a:pt x="182880" y="49625"/>
                    </a:lnTo>
                    <a:lnTo>
                      <a:pt x="180023" y="60103"/>
                    </a:lnTo>
                    <a:lnTo>
                      <a:pt x="211455" y="77153"/>
                    </a:lnTo>
                    <a:lnTo>
                      <a:pt x="211455" y="102013"/>
                    </a:lnTo>
                    <a:lnTo>
                      <a:pt x="182880" y="109538"/>
                    </a:lnTo>
                    <a:lnTo>
                      <a:pt x="144780" y="109538"/>
                    </a:lnTo>
                    <a:lnTo>
                      <a:pt x="77153" y="1095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98D59186-D980-6A80-3A2E-067EC502A8C4}"/>
                  </a:ext>
                </a:extLst>
              </p:cNvPr>
              <p:cNvSpPr/>
              <p:nvPr/>
            </p:nvSpPr>
            <p:spPr>
              <a:xfrm>
                <a:off x="5909817" y="4240181"/>
                <a:ext cx="103643" cy="172740"/>
              </a:xfrm>
              <a:custGeom>
                <a:avLst/>
                <a:gdLst>
                  <a:gd name="connsiteX0" fmla="*/ 105728 w 105727"/>
                  <a:gd name="connsiteY0" fmla="*/ 141065 h 176212"/>
                  <a:gd name="connsiteX1" fmla="*/ 84773 w 105727"/>
                  <a:gd name="connsiteY1" fmla="*/ 151543 h 176212"/>
                  <a:gd name="connsiteX2" fmla="*/ 63818 w 105727"/>
                  <a:gd name="connsiteY2" fmla="*/ 169640 h 176212"/>
                  <a:gd name="connsiteX3" fmla="*/ 35243 w 105727"/>
                  <a:gd name="connsiteY3" fmla="*/ 176213 h 176212"/>
                  <a:gd name="connsiteX4" fmla="*/ 14288 w 105727"/>
                  <a:gd name="connsiteY4" fmla="*/ 165830 h 176212"/>
                  <a:gd name="connsiteX5" fmla="*/ 0 w 105727"/>
                  <a:gd name="connsiteY5" fmla="*/ 126778 h 176212"/>
                  <a:gd name="connsiteX6" fmla="*/ 18098 w 105727"/>
                  <a:gd name="connsiteY6" fmla="*/ 87725 h 176212"/>
                  <a:gd name="connsiteX7" fmla="*/ 10478 w 105727"/>
                  <a:gd name="connsiteY7" fmla="*/ 39053 h 176212"/>
                  <a:gd name="connsiteX8" fmla="*/ 10478 w 105727"/>
                  <a:gd name="connsiteY8" fmla="*/ 0 h 176212"/>
                  <a:gd name="connsiteX9" fmla="*/ 78105 w 105727"/>
                  <a:gd name="connsiteY9" fmla="*/ 0 h 176212"/>
                  <a:gd name="connsiteX10" fmla="*/ 99060 w 105727"/>
                  <a:gd name="connsiteY10" fmla="*/ 31528 h 176212"/>
                  <a:gd name="connsiteX11" fmla="*/ 91440 w 105727"/>
                  <a:gd name="connsiteY11" fmla="*/ 52388 h 176212"/>
                  <a:gd name="connsiteX12" fmla="*/ 95250 w 105727"/>
                  <a:gd name="connsiteY12" fmla="*/ 70580 h 176212"/>
                  <a:gd name="connsiteX13" fmla="*/ 99060 w 105727"/>
                  <a:gd name="connsiteY13" fmla="*/ 84868 h 176212"/>
                  <a:gd name="connsiteX14" fmla="*/ 105728 w 105727"/>
                  <a:gd name="connsiteY14" fmla="*/ 141065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5727" h="176212">
                    <a:moveTo>
                      <a:pt x="105728" y="141065"/>
                    </a:moveTo>
                    <a:lnTo>
                      <a:pt x="84773" y="151543"/>
                    </a:lnTo>
                    <a:lnTo>
                      <a:pt x="63818" y="169640"/>
                    </a:lnTo>
                    <a:lnTo>
                      <a:pt x="35243" y="176213"/>
                    </a:lnTo>
                    <a:lnTo>
                      <a:pt x="14288" y="165830"/>
                    </a:lnTo>
                    <a:lnTo>
                      <a:pt x="0" y="126778"/>
                    </a:lnTo>
                    <a:lnTo>
                      <a:pt x="18098" y="87725"/>
                    </a:lnTo>
                    <a:lnTo>
                      <a:pt x="10478" y="39053"/>
                    </a:lnTo>
                    <a:lnTo>
                      <a:pt x="10478" y="0"/>
                    </a:lnTo>
                    <a:lnTo>
                      <a:pt x="78105" y="0"/>
                    </a:lnTo>
                    <a:lnTo>
                      <a:pt x="99060" y="31528"/>
                    </a:lnTo>
                    <a:lnTo>
                      <a:pt x="91440" y="52388"/>
                    </a:lnTo>
                    <a:lnTo>
                      <a:pt x="95250" y="70580"/>
                    </a:lnTo>
                    <a:lnTo>
                      <a:pt x="99060" y="84868"/>
                    </a:lnTo>
                    <a:lnTo>
                      <a:pt x="105728" y="14106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B3047459-C314-41AB-41F5-28BFFDEEC56F}"/>
                  </a:ext>
                </a:extLst>
              </p:cNvPr>
              <p:cNvSpPr/>
              <p:nvPr/>
            </p:nvSpPr>
            <p:spPr>
              <a:xfrm>
                <a:off x="5909817" y="4240181"/>
                <a:ext cx="103643" cy="172740"/>
              </a:xfrm>
              <a:custGeom>
                <a:avLst/>
                <a:gdLst>
                  <a:gd name="connsiteX0" fmla="*/ 105728 w 105727"/>
                  <a:gd name="connsiteY0" fmla="*/ 141065 h 176212"/>
                  <a:gd name="connsiteX1" fmla="*/ 84773 w 105727"/>
                  <a:gd name="connsiteY1" fmla="*/ 151543 h 176212"/>
                  <a:gd name="connsiteX2" fmla="*/ 63818 w 105727"/>
                  <a:gd name="connsiteY2" fmla="*/ 169640 h 176212"/>
                  <a:gd name="connsiteX3" fmla="*/ 35243 w 105727"/>
                  <a:gd name="connsiteY3" fmla="*/ 176213 h 176212"/>
                  <a:gd name="connsiteX4" fmla="*/ 14288 w 105727"/>
                  <a:gd name="connsiteY4" fmla="*/ 165830 h 176212"/>
                  <a:gd name="connsiteX5" fmla="*/ 0 w 105727"/>
                  <a:gd name="connsiteY5" fmla="*/ 126778 h 176212"/>
                  <a:gd name="connsiteX6" fmla="*/ 18098 w 105727"/>
                  <a:gd name="connsiteY6" fmla="*/ 87725 h 176212"/>
                  <a:gd name="connsiteX7" fmla="*/ 10478 w 105727"/>
                  <a:gd name="connsiteY7" fmla="*/ 39053 h 176212"/>
                  <a:gd name="connsiteX8" fmla="*/ 10478 w 105727"/>
                  <a:gd name="connsiteY8" fmla="*/ 0 h 176212"/>
                  <a:gd name="connsiteX9" fmla="*/ 78105 w 105727"/>
                  <a:gd name="connsiteY9" fmla="*/ 0 h 176212"/>
                  <a:gd name="connsiteX10" fmla="*/ 99060 w 105727"/>
                  <a:gd name="connsiteY10" fmla="*/ 31528 h 176212"/>
                  <a:gd name="connsiteX11" fmla="*/ 91440 w 105727"/>
                  <a:gd name="connsiteY11" fmla="*/ 52388 h 176212"/>
                  <a:gd name="connsiteX12" fmla="*/ 95250 w 105727"/>
                  <a:gd name="connsiteY12" fmla="*/ 70580 h 176212"/>
                  <a:gd name="connsiteX13" fmla="*/ 99060 w 105727"/>
                  <a:gd name="connsiteY13" fmla="*/ 84868 h 176212"/>
                  <a:gd name="connsiteX14" fmla="*/ 105728 w 105727"/>
                  <a:gd name="connsiteY14" fmla="*/ 141065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5727" h="176212">
                    <a:moveTo>
                      <a:pt x="105728" y="141065"/>
                    </a:moveTo>
                    <a:lnTo>
                      <a:pt x="84773" y="151543"/>
                    </a:lnTo>
                    <a:lnTo>
                      <a:pt x="63818" y="169640"/>
                    </a:lnTo>
                    <a:lnTo>
                      <a:pt x="35243" y="176213"/>
                    </a:lnTo>
                    <a:lnTo>
                      <a:pt x="14288" y="165830"/>
                    </a:lnTo>
                    <a:lnTo>
                      <a:pt x="0" y="126778"/>
                    </a:lnTo>
                    <a:lnTo>
                      <a:pt x="18098" y="87725"/>
                    </a:lnTo>
                    <a:lnTo>
                      <a:pt x="10478" y="39053"/>
                    </a:lnTo>
                    <a:lnTo>
                      <a:pt x="10478" y="0"/>
                    </a:lnTo>
                    <a:lnTo>
                      <a:pt x="78105" y="0"/>
                    </a:lnTo>
                    <a:lnTo>
                      <a:pt x="99060" y="31528"/>
                    </a:lnTo>
                    <a:lnTo>
                      <a:pt x="91440" y="52388"/>
                    </a:lnTo>
                    <a:lnTo>
                      <a:pt x="95250" y="70580"/>
                    </a:lnTo>
                    <a:lnTo>
                      <a:pt x="99060" y="84868"/>
                    </a:lnTo>
                    <a:lnTo>
                      <a:pt x="105728" y="14106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6983E4BC-D728-2FBA-69C3-F5BF967C7B65}"/>
                  </a:ext>
                </a:extLst>
              </p:cNvPr>
              <p:cNvSpPr/>
              <p:nvPr/>
            </p:nvSpPr>
            <p:spPr>
              <a:xfrm>
                <a:off x="5765089" y="4257083"/>
                <a:ext cx="162468" cy="169845"/>
              </a:xfrm>
              <a:custGeom>
                <a:avLst/>
                <a:gdLst>
                  <a:gd name="connsiteX0" fmla="*/ 161925 w 165735"/>
                  <a:gd name="connsiteY0" fmla="*/ 148590 h 173259"/>
                  <a:gd name="connsiteX1" fmla="*/ 87630 w 165735"/>
                  <a:gd name="connsiteY1" fmla="*/ 148590 h 173259"/>
                  <a:gd name="connsiteX2" fmla="*/ 41910 w 165735"/>
                  <a:gd name="connsiteY2" fmla="*/ 165735 h 173259"/>
                  <a:gd name="connsiteX3" fmla="*/ 20955 w 165735"/>
                  <a:gd name="connsiteY3" fmla="*/ 173260 h 173259"/>
                  <a:gd name="connsiteX4" fmla="*/ 28575 w 165735"/>
                  <a:gd name="connsiteY4" fmla="*/ 138113 h 173259"/>
                  <a:gd name="connsiteX5" fmla="*/ 24765 w 165735"/>
                  <a:gd name="connsiteY5" fmla="*/ 127635 h 173259"/>
                  <a:gd name="connsiteX6" fmla="*/ 14288 w 165735"/>
                  <a:gd name="connsiteY6" fmla="*/ 120015 h 173259"/>
                  <a:gd name="connsiteX7" fmla="*/ 0 w 165735"/>
                  <a:gd name="connsiteY7" fmla="*/ 116110 h 173259"/>
                  <a:gd name="connsiteX8" fmla="*/ 0 w 165735"/>
                  <a:gd name="connsiteY8" fmla="*/ 99060 h 173259"/>
                  <a:gd name="connsiteX9" fmla="*/ 0 w 165735"/>
                  <a:gd name="connsiteY9" fmla="*/ 84772 h 173259"/>
                  <a:gd name="connsiteX10" fmla="*/ 10478 w 165735"/>
                  <a:gd name="connsiteY10" fmla="*/ 78010 h 173259"/>
                  <a:gd name="connsiteX11" fmla="*/ 6668 w 165735"/>
                  <a:gd name="connsiteY11" fmla="*/ 59912 h 173259"/>
                  <a:gd name="connsiteX12" fmla="*/ 18098 w 165735"/>
                  <a:gd name="connsiteY12" fmla="*/ 57150 h 173259"/>
                  <a:gd name="connsiteX13" fmla="*/ 14288 w 165735"/>
                  <a:gd name="connsiteY13" fmla="*/ 32385 h 173259"/>
                  <a:gd name="connsiteX14" fmla="*/ 6668 w 165735"/>
                  <a:gd name="connsiteY14" fmla="*/ 18097 h 173259"/>
                  <a:gd name="connsiteX15" fmla="*/ 10478 w 165735"/>
                  <a:gd name="connsiteY15" fmla="*/ 3810 h 173259"/>
                  <a:gd name="connsiteX16" fmla="*/ 80963 w 165735"/>
                  <a:gd name="connsiteY16" fmla="*/ 0 h 173259"/>
                  <a:gd name="connsiteX17" fmla="*/ 116205 w 165735"/>
                  <a:gd name="connsiteY17" fmla="*/ 24765 h 173259"/>
                  <a:gd name="connsiteX18" fmla="*/ 134303 w 165735"/>
                  <a:gd name="connsiteY18" fmla="*/ 10478 h 173259"/>
                  <a:gd name="connsiteX19" fmla="*/ 158115 w 165735"/>
                  <a:gd name="connsiteY19" fmla="*/ 21812 h 173259"/>
                  <a:gd name="connsiteX20" fmla="*/ 165735 w 165735"/>
                  <a:gd name="connsiteY20" fmla="*/ 70485 h 173259"/>
                  <a:gd name="connsiteX21" fmla="*/ 147638 w 165735"/>
                  <a:gd name="connsiteY21" fmla="*/ 109538 h 173259"/>
                  <a:gd name="connsiteX22" fmla="*/ 161925 w 165735"/>
                  <a:gd name="connsiteY22" fmla="*/ 148590 h 17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65735" h="173259">
                    <a:moveTo>
                      <a:pt x="161925" y="148590"/>
                    </a:moveTo>
                    <a:lnTo>
                      <a:pt x="87630" y="148590"/>
                    </a:lnTo>
                    <a:lnTo>
                      <a:pt x="41910" y="165735"/>
                    </a:lnTo>
                    <a:lnTo>
                      <a:pt x="20955" y="173260"/>
                    </a:lnTo>
                    <a:lnTo>
                      <a:pt x="28575" y="138113"/>
                    </a:lnTo>
                    <a:lnTo>
                      <a:pt x="24765" y="127635"/>
                    </a:lnTo>
                    <a:lnTo>
                      <a:pt x="14288" y="120015"/>
                    </a:lnTo>
                    <a:lnTo>
                      <a:pt x="0" y="116110"/>
                    </a:lnTo>
                    <a:lnTo>
                      <a:pt x="0" y="99060"/>
                    </a:lnTo>
                    <a:lnTo>
                      <a:pt x="0" y="84772"/>
                    </a:lnTo>
                    <a:lnTo>
                      <a:pt x="10478" y="78010"/>
                    </a:lnTo>
                    <a:lnTo>
                      <a:pt x="6668" y="59912"/>
                    </a:lnTo>
                    <a:lnTo>
                      <a:pt x="18098" y="57150"/>
                    </a:lnTo>
                    <a:lnTo>
                      <a:pt x="14288" y="32385"/>
                    </a:lnTo>
                    <a:lnTo>
                      <a:pt x="6668" y="18097"/>
                    </a:lnTo>
                    <a:lnTo>
                      <a:pt x="10478" y="3810"/>
                    </a:lnTo>
                    <a:lnTo>
                      <a:pt x="80963" y="0"/>
                    </a:lnTo>
                    <a:lnTo>
                      <a:pt x="116205" y="24765"/>
                    </a:lnTo>
                    <a:lnTo>
                      <a:pt x="134303" y="10478"/>
                    </a:lnTo>
                    <a:lnTo>
                      <a:pt x="158115" y="21812"/>
                    </a:lnTo>
                    <a:lnTo>
                      <a:pt x="165735" y="70485"/>
                    </a:lnTo>
                    <a:lnTo>
                      <a:pt x="147638" y="109538"/>
                    </a:lnTo>
                    <a:lnTo>
                      <a:pt x="161925" y="1485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38FCED4E-D269-7494-6D20-1FD1208CBC7F}"/>
                  </a:ext>
                </a:extLst>
              </p:cNvPr>
              <p:cNvSpPr/>
              <p:nvPr/>
            </p:nvSpPr>
            <p:spPr>
              <a:xfrm>
                <a:off x="5765089" y="4257083"/>
                <a:ext cx="162468" cy="169845"/>
              </a:xfrm>
              <a:custGeom>
                <a:avLst/>
                <a:gdLst>
                  <a:gd name="connsiteX0" fmla="*/ 161925 w 165735"/>
                  <a:gd name="connsiteY0" fmla="*/ 148590 h 173259"/>
                  <a:gd name="connsiteX1" fmla="*/ 87630 w 165735"/>
                  <a:gd name="connsiteY1" fmla="*/ 148590 h 173259"/>
                  <a:gd name="connsiteX2" fmla="*/ 41910 w 165735"/>
                  <a:gd name="connsiteY2" fmla="*/ 165735 h 173259"/>
                  <a:gd name="connsiteX3" fmla="*/ 20955 w 165735"/>
                  <a:gd name="connsiteY3" fmla="*/ 173260 h 173259"/>
                  <a:gd name="connsiteX4" fmla="*/ 28575 w 165735"/>
                  <a:gd name="connsiteY4" fmla="*/ 138113 h 173259"/>
                  <a:gd name="connsiteX5" fmla="*/ 24765 w 165735"/>
                  <a:gd name="connsiteY5" fmla="*/ 127635 h 173259"/>
                  <a:gd name="connsiteX6" fmla="*/ 14288 w 165735"/>
                  <a:gd name="connsiteY6" fmla="*/ 120015 h 173259"/>
                  <a:gd name="connsiteX7" fmla="*/ 0 w 165735"/>
                  <a:gd name="connsiteY7" fmla="*/ 116110 h 173259"/>
                  <a:gd name="connsiteX8" fmla="*/ 0 w 165735"/>
                  <a:gd name="connsiteY8" fmla="*/ 99060 h 173259"/>
                  <a:gd name="connsiteX9" fmla="*/ 0 w 165735"/>
                  <a:gd name="connsiteY9" fmla="*/ 84772 h 173259"/>
                  <a:gd name="connsiteX10" fmla="*/ 10478 w 165735"/>
                  <a:gd name="connsiteY10" fmla="*/ 78010 h 173259"/>
                  <a:gd name="connsiteX11" fmla="*/ 6668 w 165735"/>
                  <a:gd name="connsiteY11" fmla="*/ 59912 h 173259"/>
                  <a:gd name="connsiteX12" fmla="*/ 18098 w 165735"/>
                  <a:gd name="connsiteY12" fmla="*/ 57150 h 173259"/>
                  <a:gd name="connsiteX13" fmla="*/ 14288 w 165735"/>
                  <a:gd name="connsiteY13" fmla="*/ 32385 h 173259"/>
                  <a:gd name="connsiteX14" fmla="*/ 6668 w 165735"/>
                  <a:gd name="connsiteY14" fmla="*/ 18097 h 173259"/>
                  <a:gd name="connsiteX15" fmla="*/ 10478 w 165735"/>
                  <a:gd name="connsiteY15" fmla="*/ 3810 h 173259"/>
                  <a:gd name="connsiteX16" fmla="*/ 80963 w 165735"/>
                  <a:gd name="connsiteY16" fmla="*/ 0 h 173259"/>
                  <a:gd name="connsiteX17" fmla="*/ 116205 w 165735"/>
                  <a:gd name="connsiteY17" fmla="*/ 24765 h 173259"/>
                  <a:gd name="connsiteX18" fmla="*/ 134303 w 165735"/>
                  <a:gd name="connsiteY18" fmla="*/ 10478 h 173259"/>
                  <a:gd name="connsiteX19" fmla="*/ 158115 w 165735"/>
                  <a:gd name="connsiteY19" fmla="*/ 21812 h 173259"/>
                  <a:gd name="connsiteX20" fmla="*/ 165735 w 165735"/>
                  <a:gd name="connsiteY20" fmla="*/ 70485 h 173259"/>
                  <a:gd name="connsiteX21" fmla="*/ 147638 w 165735"/>
                  <a:gd name="connsiteY21" fmla="*/ 109538 h 173259"/>
                  <a:gd name="connsiteX22" fmla="*/ 161925 w 165735"/>
                  <a:gd name="connsiteY22" fmla="*/ 148590 h 17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65735" h="173259">
                    <a:moveTo>
                      <a:pt x="161925" y="148590"/>
                    </a:moveTo>
                    <a:lnTo>
                      <a:pt x="87630" y="148590"/>
                    </a:lnTo>
                    <a:lnTo>
                      <a:pt x="41910" y="165735"/>
                    </a:lnTo>
                    <a:lnTo>
                      <a:pt x="20955" y="173260"/>
                    </a:lnTo>
                    <a:lnTo>
                      <a:pt x="28575" y="138113"/>
                    </a:lnTo>
                    <a:lnTo>
                      <a:pt x="24765" y="127635"/>
                    </a:lnTo>
                    <a:lnTo>
                      <a:pt x="14288" y="120015"/>
                    </a:lnTo>
                    <a:lnTo>
                      <a:pt x="0" y="116110"/>
                    </a:lnTo>
                    <a:lnTo>
                      <a:pt x="0" y="99060"/>
                    </a:lnTo>
                    <a:lnTo>
                      <a:pt x="0" y="84772"/>
                    </a:lnTo>
                    <a:lnTo>
                      <a:pt x="10478" y="78010"/>
                    </a:lnTo>
                    <a:lnTo>
                      <a:pt x="6668" y="59912"/>
                    </a:lnTo>
                    <a:lnTo>
                      <a:pt x="18098" y="57150"/>
                    </a:lnTo>
                    <a:lnTo>
                      <a:pt x="14288" y="32385"/>
                    </a:lnTo>
                    <a:lnTo>
                      <a:pt x="6668" y="18097"/>
                    </a:lnTo>
                    <a:lnTo>
                      <a:pt x="10478" y="3810"/>
                    </a:lnTo>
                    <a:lnTo>
                      <a:pt x="80963" y="0"/>
                    </a:lnTo>
                    <a:lnTo>
                      <a:pt x="116205" y="24765"/>
                    </a:lnTo>
                    <a:lnTo>
                      <a:pt x="134303" y="10478"/>
                    </a:lnTo>
                    <a:lnTo>
                      <a:pt x="158115" y="21812"/>
                    </a:lnTo>
                    <a:lnTo>
                      <a:pt x="165735" y="70485"/>
                    </a:lnTo>
                    <a:lnTo>
                      <a:pt x="147638" y="109538"/>
                    </a:lnTo>
                    <a:lnTo>
                      <a:pt x="161925" y="1485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6CA50A33-05D1-F29B-E3CB-7F8AC935923E}"/>
                  </a:ext>
                </a:extLst>
              </p:cNvPr>
              <p:cNvSpPr/>
              <p:nvPr/>
            </p:nvSpPr>
            <p:spPr>
              <a:xfrm>
                <a:off x="6259030" y="4482111"/>
                <a:ext cx="49487" cy="41083"/>
              </a:xfrm>
              <a:custGeom>
                <a:avLst/>
                <a:gdLst>
                  <a:gd name="connsiteX0" fmla="*/ 6668 w 50482"/>
                  <a:gd name="connsiteY0" fmla="*/ 0 h 41909"/>
                  <a:gd name="connsiteX1" fmla="*/ 50482 w 50482"/>
                  <a:gd name="connsiteY1" fmla="*/ 0 h 41909"/>
                  <a:gd name="connsiteX2" fmla="*/ 45720 w 50482"/>
                  <a:gd name="connsiteY2" fmla="*/ 38957 h 41909"/>
                  <a:gd name="connsiteX3" fmla="*/ 2857 w 50482"/>
                  <a:gd name="connsiteY3" fmla="*/ 41910 h 41909"/>
                  <a:gd name="connsiteX4" fmla="*/ 0 w 50482"/>
                  <a:gd name="connsiteY4" fmla="*/ 17145 h 41909"/>
                  <a:gd name="connsiteX5" fmla="*/ 6668 w 50482"/>
                  <a:gd name="connsiteY5" fmla="*/ 0 h 41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82" h="41909">
                    <a:moveTo>
                      <a:pt x="6668" y="0"/>
                    </a:moveTo>
                    <a:lnTo>
                      <a:pt x="50482" y="0"/>
                    </a:lnTo>
                    <a:lnTo>
                      <a:pt x="45720" y="38957"/>
                    </a:lnTo>
                    <a:lnTo>
                      <a:pt x="2857" y="41910"/>
                    </a:lnTo>
                    <a:lnTo>
                      <a:pt x="0" y="17145"/>
                    </a:lnTo>
                    <a:lnTo>
                      <a:pt x="666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F8CE926B-29A8-AC83-FBF1-7EF079FBFF08}"/>
                  </a:ext>
                </a:extLst>
              </p:cNvPr>
              <p:cNvSpPr/>
              <p:nvPr/>
            </p:nvSpPr>
            <p:spPr>
              <a:xfrm>
                <a:off x="6259030" y="4482111"/>
                <a:ext cx="49487" cy="41083"/>
              </a:xfrm>
              <a:custGeom>
                <a:avLst/>
                <a:gdLst>
                  <a:gd name="connsiteX0" fmla="*/ 6668 w 50482"/>
                  <a:gd name="connsiteY0" fmla="*/ 0 h 41909"/>
                  <a:gd name="connsiteX1" fmla="*/ 50482 w 50482"/>
                  <a:gd name="connsiteY1" fmla="*/ 0 h 41909"/>
                  <a:gd name="connsiteX2" fmla="*/ 45720 w 50482"/>
                  <a:gd name="connsiteY2" fmla="*/ 38957 h 41909"/>
                  <a:gd name="connsiteX3" fmla="*/ 2857 w 50482"/>
                  <a:gd name="connsiteY3" fmla="*/ 41910 h 41909"/>
                  <a:gd name="connsiteX4" fmla="*/ 0 w 50482"/>
                  <a:gd name="connsiteY4" fmla="*/ 17145 h 41909"/>
                  <a:gd name="connsiteX5" fmla="*/ 6668 w 50482"/>
                  <a:gd name="connsiteY5" fmla="*/ 0 h 41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82" h="41909">
                    <a:moveTo>
                      <a:pt x="6668" y="0"/>
                    </a:moveTo>
                    <a:lnTo>
                      <a:pt x="50482" y="0"/>
                    </a:lnTo>
                    <a:lnTo>
                      <a:pt x="45720" y="38957"/>
                    </a:lnTo>
                    <a:lnTo>
                      <a:pt x="2857" y="41910"/>
                    </a:lnTo>
                    <a:lnTo>
                      <a:pt x="0" y="17145"/>
                    </a:lnTo>
                    <a:lnTo>
                      <a:pt x="666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A29DD6CE-1CD2-4D15-17CE-35463BD9F0C8}"/>
                  </a:ext>
                </a:extLst>
              </p:cNvPr>
              <p:cNvSpPr/>
              <p:nvPr/>
            </p:nvSpPr>
            <p:spPr>
              <a:xfrm>
                <a:off x="7182483" y="4876053"/>
                <a:ext cx="197015" cy="387498"/>
              </a:xfrm>
              <a:custGeom>
                <a:avLst/>
                <a:gdLst>
                  <a:gd name="connsiteX0" fmla="*/ 38100 w 200977"/>
                  <a:gd name="connsiteY0" fmla="*/ 123825 h 395287"/>
                  <a:gd name="connsiteX1" fmla="*/ 80963 w 200977"/>
                  <a:gd name="connsiteY1" fmla="*/ 105823 h 395287"/>
                  <a:gd name="connsiteX2" fmla="*/ 122873 w 200977"/>
                  <a:gd name="connsiteY2" fmla="*/ 77248 h 395287"/>
                  <a:gd name="connsiteX3" fmla="*/ 137160 w 200977"/>
                  <a:gd name="connsiteY3" fmla="*/ 53435 h 395287"/>
                  <a:gd name="connsiteX4" fmla="*/ 151448 w 200977"/>
                  <a:gd name="connsiteY4" fmla="*/ 45815 h 395287"/>
                  <a:gd name="connsiteX5" fmla="*/ 165735 w 200977"/>
                  <a:gd name="connsiteY5" fmla="*/ 18097 h 395287"/>
                  <a:gd name="connsiteX6" fmla="*/ 168593 w 200977"/>
                  <a:gd name="connsiteY6" fmla="*/ 0 h 395287"/>
                  <a:gd name="connsiteX7" fmla="*/ 189548 w 200977"/>
                  <a:gd name="connsiteY7" fmla="*/ 35338 h 395287"/>
                  <a:gd name="connsiteX8" fmla="*/ 197168 w 200977"/>
                  <a:gd name="connsiteY8" fmla="*/ 70485 h 395287"/>
                  <a:gd name="connsiteX9" fmla="*/ 200978 w 200977"/>
                  <a:gd name="connsiteY9" fmla="*/ 91535 h 395287"/>
                  <a:gd name="connsiteX10" fmla="*/ 200978 w 200977"/>
                  <a:gd name="connsiteY10" fmla="*/ 112490 h 395287"/>
                  <a:gd name="connsiteX11" fmla="*/ 179070 w 200977"/>
                  <a:gd name="connsiteY11" fmla="*/ 116300 h 395287"/>
                  <a:gd name="connsiteX12" fmla="*/ 179070 w 200977"/>
                  <a:gd name="connsiteY12" fmla="*/ 144875 h 395287"/>
                  <a:gd name="connsiteX13" fmla="*/ 143828 w 200977"/>
                  <a:gd name="connsiteY13" fmla="*/ 264890 h 395287"/>
                  <a:gd name="connsiteX14" fmla="*/ 130493 w 200977"/>
                  <a:gd name="connsiteY14" fmla="*/ 321088 h 395287"/>
                  <a:gd name="connsiteX15" fmla="*/ 108585 w 200977"/>
                  <a:gd name="connsiteY15" fmla="*/ 377285 h 395287"/>
                  <a:gd name="connsiteX16" fmla="*/ 70485 w 200977"/>
                  <a:gd name="connsiteY16" fmla="*/ 395288 h 395287"/>
                  <a:gd name="connsiteX17" fmla="*/ 31433 w 200977"/>
                  <a:gd name="connsiteY17" fmla="*/ 391573 h 395287"/>
                  <a:gd name="connsiteX18" fmla="*/ 14288 w 200977"/>
                  <a:gd name="connsiteY18" fmla="*/ 356235 h 395287"/>
                  <a:gd name="connsiteX19" fmla="*/ 10478 w 200977"/>
                  <a:gd name="connsiteY19" fmla="*/ 321088 h 395287"/>
                  <a:gd name="connsiteX20" fmla="*/ 0 w 200977"/>
                  <a:gd name="connsiteY20" fmla="*/ 289560 h 395287"/>
                  <a:gd name="connsiteX21" fmla="*/ 27623 w 200977"/>
                  <a:gd name="connsiteY21" fmla="*/ 250603 h 395287"/>
                  <a:gd name="connsiteX22" fmla="*/ 35243 w 200977"/>
                  <a:gd name="connsiteY22" fmla="*/ 215360 h 395287"/>
                  <a:gd name="connsiteX23" fmla="*/ 27623 w 200977"/>
                  <a:gd name="connsiteY23" fmla="*/ 186785 h 395287"/>
                  <a:gd name="connsiteX24" fmla="*/ 17145 w 200977"/>
                  <a:gd name="connsiteY24" fmla="*/ 159163 h 395287"/>
                  <a:gd name="connsiteX25" fmla="*/ 31433 w 200977"/>
                  <a:gd name="connsiteY25" fmla="*/ 141065 h 395287"/>
                  <a:gd name="connsiteX26" fmla="*/ 38100 w 200977"/>
                  <a:gd name="connsiteY26" fmla="*/ 123825 h 395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00977" h="395287">
                    <a:moveTo>
                      <a:pt x="38100" y="123825"/>
                    </a:moveTo>
                    <a:lnTo>
                      <a:pt x="80963" y="105823"/>
                    </a:lnTo>
                    <a:lnTo>
                      <a:pt x="122873" y="77248"/>
                    </a:lnTo>
                    <a:lnTo>
                      <a:pt x="137160" y="53435"/>
                    </a:lnTo>
                    <a:lnTo>
                      <a:pt x="151448" y="45815"/>
                    </a:lnTo>
                    <a:lnTo>
                      <a:pt x="165735" y="18097"/>
                    </a:lnTo>
                    <a:lnTo>
                      <a:pt x="168593" y="0"/>
                    </a:lnTo>
                    <a:lnTo>
                      <a:pt x="189548" y="35338"/>
                    </a:lnTo>
                    <a:lnTo>
                      <a:pt x="197168" y="70485"/>
                    </a:lnTo>
                    <a:lnTo>
                      <a:pt x="200978" y="91535"/>
                    </a:lnTo>
                    <a:lnTo>
                      <a:pt x="200978" y="112490"/>
                    </a:lnTo>
                    <a:lnTo>
                      <a:pt x="179070" y="116300"/>
                    </a:lnTo>
                    <a:lnTo>
                      <a:pt x="179070" y="144875"/>
                    </a:lnTo>
                    <a:lnTo>
                      <a:pt x="143828" y="264890"/>
                    </a:lnTo>
                    <a:lnTo>
                      <a:pt x="130493" y="321088"/>
                    </a:lnTo>
                    <a:lnTo>
                      <a:pt x="108585" y="377285"/>
                    </a:lnTo>
                    <a:lnTo>
                      <a:pt x="70485" y="395288"/>
                    </a:lnTo>
                    <a:lnTo>
                      <a:pt x="31433" y="391573"/>
                    </a:lnTo>
                    <a:lnTo>
                      <a:pt x="14288" y="356235"/>
                    </a:lnTo>
                    <a:lnTo>
                      <a:pt x="10478" y="321088"/>
                    </a:lnTo>
                    <a:lnTo>
                      <a:pt x="0" y="289560"/>
                    </a:lnTo>
                    <a:lnTo>
                      <a:pt x="27623" y="250603"/>
                    </a:lnTo>
                    <a:lnTo>
                      <a:pt x="35243" y="215360"/>
                    </a:lnTo>
                    <a:lnTo>
                      <a:pt x="27623" y="186785"/>
                    </a:lnTo>
                    <a:lnTo>
                      <a:pt x="17145" y="159163"/>
                    </a:lnTo>
                    <a:lnTo>
                      <a:pt x="31433" y="141065"/>
                    </a:lnTo>
                    <a:lnTo>
                      <a:pt x="38100" y="12382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60C7EED2-559D-930A-CC78-179497E8FD3F}"/>
                  </a:ext>
                </a:extLst>
              </p:cNvPr>
              <p:cNvSpPr/>
              <p:nvPr/>
            </p:nvSpPr>
            <p:spPr>
              <a:xfrm>
                <a:off x="6692278" y="4983433"/>
                <a:ext cx="207287" cy="183105"/>
              </a:xfrm>
              <a:custGeom>
                <a:avLst/>
                <a:gdLst>
                  <a:gd name="connsiteX0" fmla="*/ 105728 w 211455"/>
                  <a:gd name="connsiteY0" fmla="*/ 182975 h 186785"/>
                  <a:gd name="connsiteX1" fmla="*/ 101918 w 211455"/>
                  <a:gd name="connsiteY1" fmla="*/ 172498 h 186785"/>
                  <a:gd name="connsiteX2" fmla="*/ 77153 w 211455"/>
                  <a:gd name="connsiteY2" fmla="*/ 168688 h 186785"/>
                  <a:gd name="connsiteX3" fmla="*/ 62865 w 211455"/>
                  <a:gd name="connsiteY3" fmla="*/ 133350 h 186785"/>
                  <a:gd name="connsiteX4" fmla="*/ 20955 w 211455"/>
                  <a:gd name="connsiteY4" fmla="*/ 112490 h 186785"/>
                  <a:gd name="connsiteX5" fmla="*/ 14288 w 211455"/>
                  <a:gd name="connsiteY5" fmla="*/ 84772 h 186785"/>
                  <a:gd name="connsiteX6" fmla="*/ 0 w 211455"/>
                  <a:gd name="connsiteY6" fmla="*/ 62960 h 186785"/>
                  <a:gd name="connsiteX7" fmla="*/ 49530 w 211455"/>
                  <a:gd name="connsiteY7" fmla="*/ 60103 h 186785"/>
                  <a:gd name="connsiteX8" fmla="*/ 73343 w 211455"/>
                  <a:gd name="connsiteY8" fmla="*/ 27622 h 186785"/>
                  <a:gd name="connsiteX9" fmla="*/ 95250 w 211455"/>
                  <a:gd name="connsiteY9" fmla="*/ 24860 h 186785"/>
                  <a:gd name="connsiteX10" fmla="*/ 108585 w 211455"/>
                  <a:gd name="connsiteY10" fmla="*/ 0 h 186785"/>
                  <a:gd name="connsiteX11" fmla="*/ 137160 w 211455"/>
                  <a:gd name="connsiteY11" fmla="*/ 0 h 186785"/>
                  <a:gd name="connsiteX12" fmla="*/ 207645 w 211455"/>
                  <a:gd name="connsiteY12" fmla="*/ 24860 h 186785"/>
                  <a:gd name="connsiteX13" fmla="*/ 211455 w 211455"/>
                  <a:gd name="connsiteY13" fmla="*/ 74390 h 186785"/>
                  <a:gd name="connsiteX14" fmla="*/ 211455 w 211455"/>
                  <a:gd name="connsiteY14" fmla="*/ 126778 h 186785"/>
                  <a:gd name="connsiteX15" fmla="*/ 197168 w 211455"/>
                  <a:gd name="connsiteY15" fmla="*/ 158210 h 186785"/>
                  <a:gd name="connsiteX16" fmla="*/ 158115 w 211455"/>
                  <a:gd name="connsiteY16" fmla="*/ 186785 h 186785"/>
                  <a:gd name="connsiteX17" fmla="*/ 105728 w 211455"/>
                  <a:gd name="connsiteY17" fmla="*/ 182975 h 186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1455" h="186785">
                    <a:moveTo>
                      <a:pt x="105728" y="182975"/>
                    </a:moveTo>
                    <a:lnTo>
                      <a:pt x="101918" y="172498"/>
                    </a:lnTo>
                    <a:lnTo>
                      <a:pt x="77153" y="168688"/>
                    </a:lnTo>
                    <a:lnTo>
                      <a:pt x="62865" y="133350"/>
                    </a:lnTo>
                    <a:lnTo>
                      <a:pt x="20955" y="112490"/>
                    </a:lnTo>
                    <a:lnTo>
                      <a:pt x="14288" y="84772"/>
                    </a:lnTo>
                    <a:lnTo>
                      <a:pt x="0" y="62960"/>
                    </a:lnTo>
                    <a:lnTo>
                      <a:pt x="49530" y="60103"/>
                    </a:lnTo>
                    <a:lnTo>
                      <a:pt x="73343" y="27622"/>
                    </a:lnTo>
                    <a:lnTo>
                      <a:pt x="95250" y="24860"/>
                    </a:lnTo>
                    <a:lnTo>
                      <a:pt x="108585" y="0"/>
                    </a:lnTo>
                    <a:lnTo>
                      <a:pt x="137160" y="0"/>
                    </a:lnTo>
                    <a:lnTo>
                      <a:pt x="207645" y="24860"/>
                    </a:lnTo>
                    <a:lnTo>
                      <a:pt x="211455" y="74390"/>
                    </a:lnTo>
                    <a:lnTo>
                      <a:pt x="211455" y="126778"/>
                    </a:lnTo>
                    <a:lnTo>
                      <a:pt x="197168" y="158210"/>
                    </a:lnTo>
                    <a:lnTo>
                      <a:pt x="158115" y="186785"/>
                    </a:lnTo>
                    <a:lnTo>
                      <a:pt x="105728" y="18297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1C9DAB46-C077-E939-E60A-ADDEF1CC3641}"/>
                  </a:ext>
                </a:extLst>
              </p:cNvPr>
              <p:cNvSpPr/>
              <p:nvPr/>
            </p:nvSpPr>
            <p:spPr>
              <a:xfrm>
                <a:off x="6546617" y="5045152"/>
                <a:ext cx="249304" cy="253041"/>
              </a:xfrm>
              <a:custGeom>
                <a:avLst/>
                <a:gdLst>
                  <a:gd name="connsiteX0" fmla="*/ 0 w 254317"/>
                  <a:gd name="connsiteY0" fmla="*/ 200978 h 258127"/>
                  <a:gd name="connsiteX1" fmla="*/ 0 w 254317"/>
                  <a:gd name="connsiteY1" fmla="*/ 117062 h 258127"/>
                  <a:gd name="connsiteX2" fmla="*/ 24765 w 254317"/>
                  <a:gd name="connsiteY2" fmla="*/ 117062 h 258127"/>
                  <a:gd name="connsiteX3" fmla="*/ 28575 w 254317"/>
                  <a:gd name="connsiteY3" fmla="*/ 7525 h 258127"/>
                  <a:gd name="connsiteX4" fmla="*/ 88582 w 254317"/>
                  <a:gd name="connsiteY4" fmla="*/ 0 h 258127"/>
                  <a:gd name="connsiteX5" fmla="*/ 99060 w 254317"/>
                  <a:gd name="connsiteY5" fmla="*/ 14288 h 258127"/>
                  <a:gd name="connsiteX6" fmla="*/ 148590 w 254317"/>
                  <a:gd name="connsiteY6" fmla="*/ 0 h 258127"/>
                  <a:gd name="connsiteX7" fmla="*/ 162877 w 254317"/>
                  <a:gd name="connsiteY7" fmla="*/ 21812 h 258127"/>
                  <a:gd name="connsiteX8" fmla="*/ 169545 w 254317"/>
                  <a:gd name="connsiteY8" fmla="*/ 49530 h 258127"/>
                  <a:gd name="connsiteX9" fmla="*/ 211455 w 254317"/>
                  <a:gd name="connsiteY9" fmla="*/ 70390 h 258127"/>
                  <a:gd name="connsiteX10" fmla="*/ 225743 w 254317"/>
                  <a:gd name="connsiteY10" fmla="*/ 105728 h 258127"/>
                  <a:gd name="connsiteX11" fmla="*/ 250507 w 254317"/>
                  <a:gd name="connsiteY11" fmla="*/ 109538 h 258127"/>
                  <a:gd name="connsiteX12" fmla="*/ 254318 w 254317"/>
                  <a:gd name="connsiteY12" fmla="*/ 123825 h 258127"/>
                  <a:gd name="connsiteX13" fmla="*/ 250507 w 254317"/>
                  <a:gd name="connsiteY13" fmla="*/ 130493 h 258127"/>
                  <a:gd name="connsiteX14" fmla="*/ 233363 w 254317"/>
                  <a:gd name="connsiteY14" fmla="*/ 130493 h 258127"/>
                  <a:gd name="connsiteX15" fmla="*/ 165735 w 254317"/>
                  <a:gd name="connsiteY15" fmla="*/ 200978 h 258127"/>
                  <a:gd name="connsiteX16" fmla="*/ 151448 w 254317"/>
                  <a:gd name="connsiteY16" fmla="*/ 225743 h 258127"/>
                  <a:gd name="connsiteX17" fmla="*/ 116205 w 254317"/>
                  <a:gd name="connsiteY17" fmla="*/ 229553 h 258127"/>
                  <a:gd name="connsiteX18" fmla="*/ 99060 w 254317"/>
                  <a:gd name="connsiteY18" fmla="*/ 215265 h 258127"/>
                  <a:gd name="connsiteX19" fmla="*/ 81915 w 254317"/>
                  <a:gd name="connsiteY19" fmla="*/ 215265 h 258127"/>
                  <a:gd name="connsiteX20" fmla="*/ 74295 w 254317"/>
                  <a:gd name="connsiteY20" fmla="*/ 236125 h 258127"/>
                  <a:gd name="connsiteX21" fmla="*/ 49530 w 254317"/>
                  <a:gd name="connsiteY21" fmla="*/ 258128 h 258127"/>
                  <a:gd name="connsiteX22" fmla="*/ 21907 w 254317"/>
                  <a:gd name="connsiteY22" fmla="*/ 258128 h 258127"/>
                  <a:gd name="connsiteX23" fmla="*/ 21907 w 254317"/>
                  <a:gd name="connsiteY23" fmla="*/ 222790 h 258127"/>
                  <a:gd name="connsiteX24" fmla="*/ 0 w 254317"/>
                  <a:gd name="connsiteY24" fmla="*/ 200978 h 258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54317" h="258127">
                    <a:moveTo>
                      <a:pt x="0" y="200978"/>
                    </a:moveTo>
                    <a:lnTo>
                      <a:pt x="0" y="117062"/>
                    </a:lnTo>
                    <a:lnTo>
                      <a:pt x="24765" y="117062"/>
                    </a:lnTo>
                    <a:lnTo>
                      <a:pt x="28575" y="7525"/>
                    </a:lnTo>
                    <a:lnTo>
                      <a:pt x="88582" y="0"/>
                    </a:lnTo>
                    <a:lnTo>
                      <a:pt x="99060" y="14288"/>
                    </a:lnTo>
                    <a:lnTo>
                      <a:pt x="148590" y="0"/>
                    </a:lnTo>
                    <a:lnTo>
                      <a:pt x="162877" y="21812"/>
                    </a:lnTo>
                    <a:lnTo>
                      <a:pt x="169545" y="49530"/>
                    </a:lnTo>
                    <a:lnTo>
                      <a:pt x="211455" y="70390"/>
                    </a:lnTo>
                    <a:lnTo>
                      <a:pt x="225743" y="105728"/>
                    </a:lnTo>
                    <a:lnTo>
                      <a:pt x="250507" y="109538"/>
                    </a:lnTo>
                    <a:lnTo>
                      <a:pt x="254318" y="123825"/>
                    </a:lnTo>
                    <a:lnTo>
                      <a:pt x="250507" y="130493"/>
                    </a:lnTo>
                    <a:lnTo>
                      <a:pt x="233363" y="130493"/>
                    </a:lnTo>
                    <a:lnTo>
                      <a:pt x="165735" y="200978"/>
                    </a:lnTo>
                    <a:lnTo>
                      <a:pt x="151448" y="225743"/>
                    </a:lnTo>
                    <a:lnTo>
                      <a:pt x="116205" y="229553"/>
                    </a:lnTo>
                    <a:lnTo>
                      <a:pt x="99060" y="215265"/>
                    </a:lnTo>
                    <a:lnTo>
                      <a:pt x="81915" y="215265"/>
                    </a:lnTo>
                    <a:lnTo>
                      <a:pt x="74295" y="236125"/>
                    </a:lnTo>
                    <a:lnTo>
                      <a:pt x="49530" y="258128"/>
                    </a:lnTo>
                    <a:lnTo>
                      <a:pt x="21907" y="258128"/>
                    </a:lnTo>
                    <a:lnTo>
                      <a:pt x="21907" y="222790"/>
                    </a:lnTo>
                    <a:lnTo>
                      <a:pt x="0" y="20097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CEA525B2-171F-6116-592E-3AB3ECE4450E}"/>
                  </a:ext>
                </a:extLst>
              </p:cNvPr>
              <p:cNvSpPr/>
              <p:nvPr/>
            </p:nvSpPr>
            <p:spPr>
              <a:xfrm>
                <a:off x="6329993" y="5028345"/>
                <a:ext cx="244636" cy="331474"/>
              </a:xfrm>
              <a:custGeom>
                <a:avLst/>
                <a:gdLst>
                  <a:gd name="connsiteX0" fmla="*/ 0 w 249555"/>
                  <a:gd name="connsiteY0" fmla="*/ 0 h 338137"/>
                  <a:gd name="connsiteX1" fmla="*/ 172403 w 249555"/>
                  <a:gd name="connsiteY1" fmla="*/ 0 h 338137"/>
                  <a:gd name="connsiteX2" fmla="*/ 186690 w 249555"/>
                  <a:gd name="connsiteY2" fmla="*/ 10382 h 338137"/>
                  <a:gd name="connsiteX3" fmla="*/ 235268 w 249555"/>
                  <a:gd name="connsiteY3" fmla="*/ 14288 h 338137"/>
                  <a:gd name="connsiteX4" fmla="*/ 249555 w 249555"/>
                  <a:gd name="connsiteY4" fmla="*/ 24670 h 338137"/>
                  <a:gd name="connsiteX5" fmla="*/ 245745 w 249555"/>
                  <a:gd name="connsiteY5" fmla="*/ 134207 h 338137"/>
                  <a:gd name="connsiteX6" fmla="*/ 220980 w 249555"/>
                  <a:gd name="connsiteY6" fmla="*/ 134207 h 338137"/>
                  <a:gd name="connsiteX7" fmla="*/ 220980 w 249555"/>
                  <a:gd name="connsiteY7" fmla="*/ 320897 h 338137"/>
                  <a:gd name="connsiteX8" fmla="*/ 193357 w 249555"/>
                  <a:gd name="connsiteY8" fmla="*/ 338138 h 338137"/>
                  <a:gd name="connsiteX9" fmla="*/ 164782 w 249555"/>
                  <a:gd name="connsiteY9" fmla="*/ 338138 h 338137"/>
                  <a:gd name="connsiteX10" fmla="*/ 151448 w 249555"/>
                  <a:gd name="connsiteY10" fmla="*/ 331470 h 338137"/>
                  <a:gd name="connsiteX11" fmla="*/ 140018 w 249555"/>
                  <a:gd name="connsiteY11" fmla="*/ 317182 h 338137"/>
                  <a:gd name="connsiteX12" fmla="*/ 126682 w 249555"/>
                  <a:gd name="connsiteY12" fmla="*/ 327660 h 338137"/>
                  <a:gd name="connsiteX13" fmla="*/ 91440 w 249555"/>
                  <a:gd name="connsiteY13" fmla="*/ 288607 h 338137"/>
                  <a:gd name="connsiteX14" fmla="*/ 77153 w 249555"/>
                  <a:gd name="connsiteY14" fmla="*/ 221932 h 338137"/>
                  <a:gd name="connsiteX15" fmla="*/ 66675 w 249555"/>
                  <a:gd name="connsiteY15" fmla="*/ 200882 h 338137"/>
                  <a:gd name="connsiteX16" fmla="*/ 66675 w 249555"/>
                  <a:gd name="connsiteY16" fmla="*/ 144685 h 338137"/>
                  <a:gd name="connsiteX17" fmla="*/ 20955 w 249555"/>
                  <a:gd name="connsiteY17" fmla="*/ 63722 h 338137"/>
                  <a:gd name="connsiteX18" fmla="*/ 0 w 249555"/>
                  <a:gd name="connsiteY18" fmla="*/ 28575 h 338137"/>
                  <a:gd name="connsiteX19" fmla="*/ 0 w 249555"/>
                  <a:gd name="connsiteY19" fmla="*/ 0 h 338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9555" h="338137">
                    <a:moveTo>
                      <a:pt x="0" y="0"/>
                    </a:moveTo>
                    <a:lnTo>
                      <a:pt x="172403" y="0"/>
                    </a:lnTo>
                    <a:lnTo>
                      <a:pt x="186690" y="10382"/>
                    </a:lnTo>
                    <a:lnTo>
                      <a:pt x="235268" y="14288"/>
                    </a:lnTo>
                    <a:lnTo>
                      <a:pt x="249555" y="24670"/>
                    </a:lnTo>
                    <a:lnTo>
                      <a:pt x="245745" y="134207"/>
                    </a:lnTo>
                    <a:lnTo>
                      <a:pt x="220980" y="134207"/>
                    </a:lnTo>
                    <a:lnTo>
                      <a:pt x="220980" y="320897"/>
                    </a:lnTo>
                    <a:lnTo>
                      <a:pt x="193357" y="338138"/>
                    </a:lnTo>
                    <a:lnTo>
                      <a:pt x="164782" y="338138"/>
                    </a:lnTo>
                    <a:lnTo>
                      <a:pt x="151448" y="331470"/>
                    </a:lnTo>
                    <a:lnTo>
                      <a:pt x="140018" y="317182"/>
                    </a:lnTo>
                    <a:lnTo>
                      <a:pt x="126682" y="327660"/>
                    </a:lnTo>
                    <a:lnTo>
                      <a:pt x="91440" y="288607"/>
                    </a:lnTo>
                    <a:lnTo>
                      <a:pt x="77153" y="221932"/>
                    </a:lnTo>
                    <a:lnTo>
                      <a:pt x="66675" y="200882"/>
                    </a:lnTo>
                    <a:lnTo>
                      <a:pt x="66675" y="144685"/>
                    </a:lnTo>
                    <a:lnTo>
                      <a:pt x="20955" y="63722"/>
                    </a:lnTo>
                    <a:lnTo>
                      <a:pt x="0" y="285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4B822878-1E60-1BB6-1811-9AA0CB7743FF}"/>
                  </a:ext>
                </a:extLst>
              </p:cNvPr>
              <p:cNvSpPr/>
              <p:nvPr/>
            </p:nvSpPr>
            <p:spPr>
              <a:xfrm>
                <a:off x="6833271" y="4835062"/>
                <a:ext cx="280117" cy="465839"/>
              </a:xfrm>
              <a:custGeom>
                <a:avLst/>
                <a:gdLst>
                  <a:gd name="connsiteX0" fmla="*/ 0 w 285750"/>
                  <a:gd name="connsiteY0" fmla="*/ 154305 h 475202"/>
                  <a:gd name="connsiteX1" fmla="*/ 0 w 285750"/>
                  <a:gd name="connsiteY1" fmla="*/ 126587 h 475202"/>
                  <a:gd name="connsiteX2" fmla="*/ 88582 w 285750"/>
                  <a:gd name="connsiteY2" fmla="*/ 112300 h 475202"/>
                  <a:gd name="connsiteX3" fmla="*/ 116205 w 285750"/>
                  <a:gd name="connsiteY3" fmla="*/ 112300 h 475202"/>
                  <a:gd name="connsiteX4" fmla="*/ 113347 w 285750"/>
                  <a:gd name="connsiteY4" fmla="*/ 165640 h 475202"/>
                  <a:gd name="connsiteX5" fmla="*/ 134302 w 285750"/>
                  <a:gd name="connsiteY5" fmla="*/ 186690 h 475202"/>
                  <a:gd name="connsiteX6" fmla="*/ 151447 w 285750"/>
                  <a:gd name="connsiteY6" fmla="*/ 161925 h 475202"/>
                  <a:gd name="connsiteX7" fmla="*/ 148590 w 285750"/>
                  <a:gd name="connsiteY7" fmla="*/ 112300 h 475202"/>
                  <a:gd name="connsiteX8" fmla="*/ 123825 w 285750"/>
                  <a:gd name="connsiteY8" fmla="*/ 83725 h 475202"/>
                  <a:gd name="connsiteX9" fmla="*/ 113347 w 285750"/>
                  <a:gd name="connsiteY9" fmla="*/ 56102 h 475202"/>
                  <a:gd name="connsiteX10" fmla="*/ 120015 w 285750"/>
                  <a:gd name="connsiteY10" fmla="*/ 27527 h 475202"/>
                  <a:gd name="connsiteX11" fmla="*/ 159068 w 285750"/>
                  <a:gd name="connsiteY11" fmla="*/ 31337 h 475202"/>
                  <a:gd name="connsiteX12" fmla="*/ 204788 w 285750"/>
                  <a:gd name="connsiteY12" fmla="*/ 35243 h 475202"/>
                  <a:gd name="connsiteX13" fmla="*/ 250507 w 285750"/>
                  <a:gd name="connsiteY13" fmla="*/ 17050 h 475202"/>
                  <a:gd name="connsiteX14" fmla="*/ 278130 w 285750"/>
                  <a:gd name="connsiteY14" fmla="*/ 0 h 475202"/>
                  <a:gd name="connsiteX15" fmla="*/ 278130 w 285750"/>
                  <a:gd name="connsiteY15" fmla="*/ 70390 h 475202"/>
                  <a:gd name="connsiteX16" fmla="*/ 285750 w 285750"/>
                  <a:gd name="connsiteY16" fmla="*/ 140875 h 475202"/>
                  <a:gd name="connsiteX17" fmla="*/ 254318 w 285750"/>
                  <a:gd name="connsiteY17" fmla="*/ 172403 h 475202"/>
                  <a:gd name="connsiteX18" fmla="*/ 197168 w 285750"/>
                  <a:gd name="connsiteY18" fmla="*/ 207550 h 475202"/>
                  <a:gd name="connsiteX19" fmla="*/ 134302 w 285750"/>
                  <a:gd name="connsiteY19" fmla="*/ 263843 h 475202"/>
                  <a:gd name="connsiteX20" fmla="*/ 120015 w 285750"/>
                  <a:gd name="connsiteY20" fmla="*/ 271463 h 475202"/>
                  <a:gd name="connsiteX21" fmla="*/ 123825 w 285750"/>
                  <a:gd name="connsiteY21" fmla="*/ 296228 h 475202"/>
                  <a:gd name="connsiteX22" fmla="*/ 140970 w 285750"/>
                  <a:gd name="connsiteY22" fmla="*/ 344805 h 475202"/>
                  <a:gd name="connsiteX23" fmla="*/ 134302 w 285750"/>
                  <a:gd name="connsiteY23" fmla="*/ 401955 h 475202"/>
                  <a:gd name="connsiteX24" fmla="*/ 67627 w 285750"/>
                  <a:gd name="connsiteY24" fmla="*/ 437102 h 475202"/>
                  <a:gd name="connsiteX25" fmla="*/ 60007 w 285750"/>
                  <a:gd name="connsiteY25" fmla="*/ 450437 h 475202"/>
                  <a:gd name="connsiteX26" fmla="*/ 67627 w 285750"/>
                  <a:gd name="connsiteY26" fmla="*/ 464725 h 475202"/>
                  <a:gd name="connsiteX27" fmla="*/ 70485 w 285750"/>
                  <a:gd name="connsiteY27" fmla="*/ 475202 h 475202"/>
                  <a:gd name="connsiteX28" fmla="*/ 42863 w 285750"/>
                  <a:gd name="connsiteY28" fmla="*/ 472440 h 475202"/>
                  <a:gd name="connsiteX29" fmla="*/ 42863 w 285750"/>
                  <a:gd name="connsiteY29" fmla="*/ 454343 h 475202"/>
                  <a:gd name="connsiteX30" fmla="*/ 42863 w 285750"/>
                  <a:gd name="connsiteY30" fmla="*/ 391478 h 475202"/>
                  <a:gd name="connsiteX31" fmla="*/ 28575 w 285750"/>
                  <a:gd name="connsiteY31" fmla="*/ 348615 h 475202"/>
                  <a:gd name="connsiteX32" fmla="*/ 14288 w 285750"/>
                  <a:gd name="connsiteY32" fmla="*/ 338138 h 475202"/>
                  <a:gd name="connsiteX33" fmla="*/ 53340 w 285750"/>
                  <a:gd name="connsiteY33" fmla="*/ 309563 h 475202"/>
                  <a:gd name="connsiteX34" fmla="*/ 67627 w 285750"/>
                  <a:gd name="connsiteY34" fmla="*/ 278130 h 475202"/>
                  <a:gd name="connsiteX35" fmla="*/ 67627 w 285750"/>
                  <a:gd name="connsiteY35" fmla="*/ 225743 h 475202"/>
                  <a:gd name="connsiteX36" fmla="*/ 63818 w 285750"/>
                  <a:gd name="connsiteY36" fmla="*/ 176213 h 475202"/>
                  <a:gd name="connsiteX37" fmla="*/ 0 w 285750"/>
                  <a:gd name="connsiteY37" fmla="*/ 154305 h 475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750" h="475202">
                    <a:moveTo>
                      <a:pt x="0" y="154305"/>
                    </a:moveTo>
                    <a:lnTo>
                      <a:pt x="0" y="126587"/>
                    </a:lnTo>
                    <a:lnTo>
                      <a:pt x="88582" y="112300"/>
                    </a:lnTo>
                    <a:lnTo>
                      <a:pt x="116205" y="112300"/>
                    </a:lnTo>
                    <a:lnTo>
                      <a:pt x="113347" y="165640"/>
                    </a:lnTo>
                    <a:lnTo>
                      <a:pt x="134302" y="186690"/>
                    </a:lnTo>
                    <a:lnTo>
                      <a:pt x="151447" y="161925"/>
                    </a:lnTo>
                    <a:lnTo>
                      <a:pt x="148590" y="112300"/>
                    </a:lnTo>
                    <a:lnTo>
                      <a:pt x="123825" y="83725"/>
                    </a:lnTo>
                    <a:lnTo>
                      <a:pt x="113347" y="56102"/>
                    </a:lnTo>
                    <a:lnTo>
                      <a:pt x="120015" y="27527"/>
                    </a:lnTo>
                    <a:lnTo>
                      <a:pt x="159068" y="31337"/>
                    </a:lnTo>
                    <a:lnTo>
                      <a:pt x="204788" y="35243"/>
                    </a:lnTo>
                    <a:lnTo>
                      <a:pt x="250507" y="17050"/>
                    </a:lnTo>
                    <a:lnTo>
                      <a:pt x="278130" y="0"/>
                    </a:lnTo>
                    <a:lnTo>
                      <a:pt x="278130" y="70390"/>
                    </a:lnTo>
                    <a:lnTo>
                      <a:pt x="285750" y="140875"/>
                    </a:lnTo>
                    <a:lnTo>
                      <a:pt x="254318" y="172403"/>
                    </a:lnTo>
                    <a:lnTo>
                      <a:pt x="197168" y="207550"/>
                    </a:lnTo>
                    <a:lnTo>
                      <a:pt x="134302" y="263843"/>
                    </a:lnTo>
                    <a:lnTo>
                      <a:pt x="120015" y="271463"/>
                    </a:lnTo>
                    <a:lnTo>
                      <a:pt x="123825" y="296228"/>
                    </a:lnTo>
                    <a:lnTo>
                      <a:pt x="140970" y="344805"/>
                    </a:lnTo>
                    <a:lnTo>
                      <a:pt x="134302" y="401955"/>
                    </a:lnTo>
                    <a:lnTo>
                      <a:pt x="67627" y="437102"/>
                    </a:lnTo>
                    <a:lnTo>
                      <a:pt x="60007" y="450437"/>
                    </a:lnTo>
                    <a:lnTo>
                      <a:pt x="67627" y="464725"/>
                    </a:lnTo>
                    <a:lnTo>
                      <a:pt x="70485" y="475202"/>
                    </a:lnTo>
                    <a:lnTo>
                      <a:pt x="42863" y="472440"/>
                    </a:lnTo>
                    <a:lnTo>
                      <a:pt x="42863" y="454343"/>
                    </a:lnTo>
                    <a:lnTo>
                      <a:pt x="42863" y="391478"/>
                    </a:lnTo>
                    <a:lnTo>
                      <a:pt x="28575" y="348615"/>
                    </a:lnTo>
                    <a:lnTo>
                      <a:pt x="14288" y="338138"/>
                    </a:lnTo>
                    <a:lnTo>
                      <a:pt x="53340" y="309563"/>
                    </a:lnTo>
                    <a:lnTo>
                      <a:pt x="67627" y="278130"/>
                    </a:lnTo>
                    <a:lnTo>
                      <a:pt x="67627" y="225743"/>
                    </a:lnTo>
                    <a:lnTo>
                      <a:pt x="63818" y="176213"/>
                    </a:lnTo>
                    <a:lnTo>
                      <a:pt x="0" y="1543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1687C2D4-9B5F-06CE-5C1D-B1160598751F}"/>
                  </a:ext>
                </a:extLst>
              </p:cNvPr>
              <p:cNvSpPr/>
              <p:nvPr/>
            </p:nvSpPr>
            <p:spPr>
              <a:xfrm>
                <a:off x="6895830" y="4810692"/>
                <a:ext cx="85902" cy="207382"/>
              </a:xfrm>
              <a:custGeom>
                <a:avLst/>
                <a:gdLst>
                  <a:gd name="connsiteX0" fmla="*/ 6667 w 87629"/>
                  <a:gd name="connsiteY0" fmla="*/ 87725 h 211550"/>
                  <a:gd name="connsiteX1" fmla="*/ 17145 w 87629"/>
                  <a:gd name="connsiteY1" fmla="*/ 77248 h 211550"/>
                  <a:gd name="connsiteX2" fmla="*/ 20955 w 87629"/>
                  <a:gd name="connsiteY2" fmla="*/ 31528 h 211550"/>
                  <a:gd name="connsiteX3" fmla="*/ 24765 w 87629"/>
                  <a:gd name="connsiteY3" fmla="*/ 24860 h 211550"/>
                  <a:gd name="connsiteX4" fmla="*/ 14288 w 87629"/>
                  <a:gd name="connsiteY4" fmla="*/ 0 h 211550"/>
                  <a:gd name="connsiteX5" fmla="*/ 39052 w 87629"/>
                  <a:gd name="connsiteY5" fmla="*/ 0 h 211550"/>
                  <a:gd name="connsiteX6" fmla="*/ 52388 w 87629"/>
                  <a:gd name="connsiteY6" fmla="*/ 21050 h 211550"/>
                  <a:gd name="connsiteX7" fmla="*/ 56197 w 87629"/>
                  <a:gd name="connsiteY7" fmla="*/ 52388 h 211550"/>
                  <a:gd name="connsiteX8" fmla="*/ 49530 w 87629"/>
                  <a:gd name="connsiteY8" fmla="*/ 80963 h 211550"/>
                  <a:gd name="connsiteX9" fmla="*/ 60007 w 87629"/>
                  <a:gd name="connsiteY9" fmla="*/ 108585 h 211550"/>
                  <a:gd name="connsiteX10" fmla="*/ 84772 w 87629"/>
                  <a:gd name="connsiteY10" fmla="*/ 137160 h 211550"/>
                  <a:gd name="connsiteX11" fmla="*/ 87630 w 87629"/>
                  <a:gd name="connsiteY11" fmla="*/ 186785 h 211550"/>
                  <a:gd name="connsiteX12" fmla="*/ 70485 w 87629"/>
                  <a:gd name="connsiteY12" fmla="*/ 211550 h 211550"/>
                  <a:gd name="connsiteX13" fmla="*/ 49530 w 87629"/>
                  <a:gd name="connsiteY13" fmla="*/ 190500 h 211550"/>
                  <a:gd name="connsiteX14" fmla="*/ 52388 w 87629"/>
                  <a:gd name="connsiteY14" fmla="*/ 137160 h 211550"/>
                  <a:gd name="connsiteX15" fmla="*/ 17145 w 87629"/>
                  <a:gd name="connsiteY15" fmla="*/ 137160 h 211550"/>
                  <a:gd name="connsiteX16" fmla="*/ 0 w 87629"/>
                  <a:gd name="connsiteY16" fmla="*/ 112490 h 211550"/>
                  <a:gd name="connsiteX17" fmla="*/ 6667 w 87629"/>
                  <a:gd name="connsiteY17" fmla="*/ 87725 h 211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7629" h="211550">
                    <a:moveTo>
                      <a:pt x="6667" y="87725"/>
                    </a:moveTo>
                    <a:lnTo>
                      <a:pt x="17145" y="77248"/>
                    </a:lnTo>
                    <a:lnTo>
                      <a:pt x="20955" y="31528"/>
                    </a:lnTo>
                    <a:lnTo>
                      <a:pt x="24765" y="24860"/>
                    </a:lnTo>
                    <a:lnTo>
                      <a:pt x="14288" y="0"/>
                    </a:lnTo>
                    <a:lnTo>
                      <a:pt x="39052" y="0"/>
                    </a:lnTo>
                    <a:lnTo>
                      <a:pt x="52388" y="21050"/>
                    </a:lnTo>
                    <a:lnTo>
                      <a:pt x="56197" y="52388"/>
                    </a:lnTo>
                    <a:lnTo>
                      <a:pt x="49530" y="80963"/>
                    </a:lnTo>
                    <a:lnTo>
                      <a:pt x="60007" y="108585"/>
                    </a:lnTo>
                    <a:lnTo>
                      <a:pt x="84772" y="137160"/>
                    </a:lnTo>
                    <a:lnTo>
                      <a:pt x="87630" y="186785"/>
                    </a:lnTo>
                    <a:lnTo>
                      <a:pt x="70485" y="211550"/>
                    </a:lnTo>
                    <a:lnTo>
                      <a:pt x="49530" y="190500"/>
                    </a:lnTo>
                    <a:lnTo>
                      <a:pt x="52388" y="137160"/>
                    </a:lnTo>
                    <a:lnTo>
                      <a:pt x="17145" y="137160"/>
                    </a:lnTo>
                    <a:lnTo>
                      <a:pt x="0" y="112490"/>
                    </a:lnTo>
                    <a:lnTo>
                      <a:pt x="6667" y="8772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7CEF4254-6835-F9B3-FB03-230EC3650CBE}"/>
                  </a:ext>
                </a:extLst>
              </p:cNvPr>
              <p:cNvSpPr/>
              <p:nvPr/>
            </p:nvSpPr>
            <p:spPr>
              <a:xfrm>
                <a:off x="6895830" y="4810692"/>
                <a:ext cx="85902" cy="207382"/>
              </a:xfrm>
              <a:custGeom>
                <a:avLst/>
                <a:gdLst>
                  <a:gd name="connsiteX0" fmla="*/ 6667 w 87629"/>
                  <a:gd name="connsiteY0" fmla="*/ 87725 h 211550"/>
                  <a:gd name="connsiteX1" fmla="*/ 17145 w 87629"/>
                  <a:gd name="connsiteY1" fmla="*/ 77248 h 211550"/>
                  <a:gd name="connsiteX2" fmla="*/ 20955 w 87629"/>
                  <a:gd name="connsiteY2" fmla="*/ 31528 h 211550"/>
                  <a:gd name="connsiteX3" fmla="*/ 24765 w 87629"/>
                  <a:gd name="connsiteY3" fmla="*/ 24860 h 211550"/>
                  <a:gd name="connsiteX4" fmla="*/ 14288 w 87629"/>
                  <a:gd name="connsiteY4" fmla="*/ 0 h 211550"/>
                  <a:gd name="connsiteX5" fmla="*/ 39052 w 87629"/>
                  <a:gd name="connsiteY5" fmla="*/ 0 h 211550"/>
                  <a:gd name="connsiteX6" fmla="*/ 52388 w 87629"/>
                  <a:gd name="connsiteY6" fmla="*/ 21050 h 211550"/>
                  <a:gd name="connsiteX7" fmla="*/ 56197 w 87629"/>
                  <a:gd name="connsiteY7" fmla="*/ 52388 h 211550"/>
                  <a:gd name="connsiteX8" fmla="*/ 49530 w 87629"/>
                  <a:gd name="connsiteY8" fmla="*/ 80963 h 211550"/>
                  <a:gd name="connsiteX9" fmla="*/ 60007 w 87629"/>
                  <a:gd name="connsiteY9" fmla="*/ 108585 h 211550"/>
                  <a:gd name="connsiteX10" fmla="*/ 84772 w 87629"/>
                  <a:gd name="connsiteY10" fmla="*/ 137160 h 211550"/>
                  <a:gd name="connsiteX11" fmla="*/ 87630 w 87629"/>
                  <a:gd name="connsiteY11" fmla="*/ 186785 h 211550"/>
                  <a:gd name="connsiteX12" fmla="*/ 70485 w 87629"/>
                  <a:gd name="connsiteY12" fmla="*/ 211550 h 211550"/>
                  <a:gd name="connsiteX13" fmla="*/ 49530 w 87629"/>
                  <a:gd name="connsiteY13" fmla="*/ 190500 h 211550"/>
                  <a:gd name="connsiteX14" fmla="*/ 52388 w 87629"/>
                  <a:gd name="connsiteY14" fmla="*/ 137160 h 211550"/>
                  <a:gd name="connsiteX15" fmla="*/ 17145 w 87629"/>
                  <a:gd name="connsiteY15" fmla="*/ 137160 h 211550"/>
                  <a:gd name="connsiteX16" fmla="*/ 0 w 87629"/>
                  <a:gd name="connsiteY16" fmla="*/ 112490 h 211550"/>
                  <a:gd name="connsiteX17" fmla="*/ 6667 w 87629"/>
                  <a:gd name="connsiteY17" fmla="*/ 87725 h 211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7629" h="211550">
                    <a:moveTo>
                      <a:pt x="6667" y="87725"/>
                    </a:moveTo>
                    <a:lnTo>
                      <a:pt x="17145" y="77248"/>
                    </a:lnTo>
                    <a:lnTo>
                      <a:pt x="20955" y="31528"/>
                    </a:lnTo>
                    <a:lnTo>
                      <a:pt x="24765" y="24860"/>
                    </a:lnTo>
                    <a:lnTo>
                      <a:pt x="14288" y="0"/>
                    </a:lnTo>
                    <a:lnTo>
                      <a:pt x="39052" y="0"/>
                    </a:lnTo>
                    <a:lnTo>
                      <a:pt x="52388" y="21050"/>
                    </a:lnTo>
                    <a:lnTo>
                      <a:pt x="56197" y="52388"/>
                    </a:lnTo>
                    <a:lnTo>
                      <a:pt x="49530" y="80963"/>
                    </a:lnTo>
                    <a:lnTo>
                      <a:pt x="60007" y="108585"/>
                    </a:lnTo>
                    <a:lnTo>
                      <a:pt x="84772" y="137160"/>
                    </a:lnTo>
                    <a:lnTo>
                      <a:pt x="87630" y="186785"/>
                    </a:lnTo>
                    <a:lnTo>
                      <a:pt x="70485" y="211550"/>
                    </a:lnTo>
                    <a:lnTo>
                      <a:pt x="49530" y="190500"/>
                    </a:lnTo>
                    <a:lnTo>
                      <a:pt x="52388" y="137160"/>
                    </a:lnTo>
                    <a:lnTo>
                      <a:pt x="17145" y="137160"/>
                    </a:lnTo>
                    <a:lnTo>
                      <a:pt x="0" y="112490"/>
                    </a:lnTo>
                    <a:lnTo>
                      <a:pt x="6667" y="8772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D3F6716A-7482-5E82-0F6C-5ADC374DE1E4}"/>
                  </a:ext>
                </a:extLst>
              </p:cNvPr>
              <p:cNvSpPr/>
              <p:nvPr/>
            </p:nvSpPr>
            <p:spPr>
              <a:xfrm>
                <a:off x="6602640" y="4776237"/>
                <a:ext cx="317466" cy="268914"/>
              </a:xfrm>
              <a:custGeom>
                <a:avLst/>
                <a:gdLst>
                  <a:gd name="connsiteX0" fmla="*/ 91440 w 323850"/>
                  <a:gd name="connsiteY0" fmla="*/ 274320 h 274319"/>
                  <a:gd name="connsiteX1" fmla="*/ 80963 w 323850"/>
                  <a:gd name="connsiteY1" fmla="*/ 263747 h 274319"/>
                  <a:gd name="connsiteX2" fmla="*/ 35243 w 323850"/>
                  <a:gd name="connsiteY2" fmla="*/ 260985 h 274319"/>
                  <a:gd name="connsiteX3" fmla="*/ 2857 w 323850"/>
                  <a:gd name="connsiteY3" fmla="*/ 225647 h 274319"/>
                  <a:gd name="connsiteX4" fmla="*/ 0 w 323850"/>
                  <a:gd name="connsiteY4" fmla="*/ 133350 h 274319"/>
                  <a:gd name="connsiteX5" fmla="*/ 52388 w 323850"/>
                  <a:gd name="connsiteY5" fmla="*/ 133350 h 274319"/>
                  <a:gd name="connsiteX6" fmla="*/ 52388 w 323850"/>
                  <a:gd name="connsiteY6" fmla="*/ 73247 h 274319"/>
                  <a:gd name="connsiteX7" fmla="*/ 83820 w 323850"/>
                  <a:gd name="connsiteY7" fmla="*/ 87535 h 274319"/>
                  <a:gd name="connsiteX8" fmla="*/ 119063 w 323850"/>
                  <a:gd name="connsiteY8" fmla="*/ 101822 h 274319"/>
                  <a:gd name="connsiteX9" fmla="*/ 143827 w 323850"/>
                  <a:gd name="connsiteY9" fmla="*/ 91345 h 274319"/>
                  <a:gd name="connsiteX10" fmla="*/ 158115 w 323850"/>
                  <a:gd name="connsiteY10" fmla="*/ 112395 h 274319"/>
                  <a:gd name="connsiteX11" fmla="*/ 179070 w 323850"/>
                  <a:gd name="connsiteY11" fmla="*/ 122872 h 274319"/>
                  <a:gd name="connsiteX12" fmla="*/ 193357 w 323850"/>
                  <a:gd name="connsiteY12" fmla="*/ 143732 h 274319"/>
                  <a:gd name="connsiteX13" fmla="*/ 218123 w 323850"/>
                  <a:gd name="connsiteY13" fmla="*/ 143732 h 274319"/>
                  <a:gd name="connsiteX14" fmla="*/ 218123 w 323850"/>
                  <a:gd name="connsiteY14" fmla="*/ 112395 h 274319"/>
                  <a:gd name="connsiteX15" fmla="*/ 193357 w 323850"/>
                  <a:gd name="connsiteY15" fmla="*/ 101822 h 274319"/>
                  <a:gd name="connsiteX16" fmla="*/ 176213 w 323850"/>
                  <a:gd name="connsiteY16" fmla="*/ 83820 h 274319"/>
                  <a:gd name="connsiteX17" fmla="*/ 182880 w 323850"/>
                  <a:gd name="connsiteY17" fmla="*/ 45720 h 274319"/>
                  <a:gd name="connsiteX18" fmla="*/ 179070 w 323850"/>
                  <a:gd name="connsiteY18" fmla="*/ 13335 h 274319"/>
                  <a:gd name="connsiteX19" fmla="*/ 207645 w 323850"/>
                  <a:gd name="connsiteY19" fmla="*/ 0 h 274319"/>
                  <a:gd name="connsiteX20" fmla="*/ 239077 w 323850"/>
                  <a:gd name="connsiteY20" fmla="*/ 0 h 274319"/>
                  <a:gd name="connsiteX21" fmla="*/ 313373 w 323850"/>
                  <a:gd name="connsiteY21" fmla="*/ 35147 h 274319"/>
                  <a:gd name="connsiteX22" fmla="*/ 323850 w 323850"/>
                  <a:gd name="connsiteY22" fmla="*/ 60007 h 274319"/>
                  <a:gd name="connsiteX23" fmla="*/ 316230 w 323850"/>
                  <a:gd name="connsiteY23" fmla="*/ 70485 h 274319"/>
                  <a:gd name="connsiteX24" fmla="*/ 316230 w 323850"/>
                  <a:gd name="connsiteY24" fmla="*/ 112395 h 274319"/>
                  <a:gd name="connsiteX25" fmla="*/ 305752 w 323850"/>
                  <a:gd name="connsiteY25" fmla="*/ 122872 h 274319"/>
                  <a:gd name="connsiteX26" fmla="*/ 299085 w 323850"/>
                  <a:gd name="connsiteY26" fmla="*/ 147638 h 274319"/>
                  <a:gd name="connsiteX27" fmla="*/ 316230 w 323850"/>
                  <a:gd name="connsiteY27" fmla="*/ 172307 h 274319"/>
                  <a:gd name="connsiteX28" fmla="*/ 235268 w 323850"/>
                  <a:gd name="connsiteY28" fmla="*/ 186595 h 274319"/>
                  <a:gd name="connsiteX29" fmla="*/ 235268 w 323850"/>
                  <a:gd name="connsiteY29" fmla="*/ 214313 h 274319"/>
                  <a:gd name="connsiteX30" fmla="*/ 200025 w 323850"/>
                  <a:gd name="connsiteY30" fmla="*/ 211360 h 274319"/>
                  <a:gd name="connsiteX31" fmla="*/ 186690 w 323850"/>
                  <a:gd name="connsiteY31" fmla="*/ 236220 h 274319"/>
                  <a:gd name="connsiteX32" fmla="*/ 164782 w 323850"/>
                  <a:gd name="connsiteY32" fmla="*/ 238982 h 274319"/>
                  <a:gd name="connsiteX33" fmla="*/ 140970 w 323850"/>
                  <a:gd name="connsiteY33" fmla="*/ 271463 h 274319"/>
                  <a:gd name="connsiteX34" fmla="*/ 91440 w 323850"/>
                  <a:gd name="connsiteY34" fmla="*/ 274320 h 274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323850" h="274319">
                    <a:moveTo>
                      <a:pt x="91440" y="274320"/>
                    </a:moveTo>
                    <a:lnTo>
                      <a:pt x="80963" y="263747"/>
                    </a:lnTo>
                    <a:lnTo>
                      <a:pt x="35243" y="260985"/>
                    </a:lnTo>
                    <a:lnTo>
                      <a:pt x="2857" y="225647"/>
                    </a:lnTo>
                    <a:lnTo>
                      <a:pt x="0" y="133350"/>
                    </a:lnTo>
                    <a:lnTo>
                      <a:pt x="52388" y="133350"/>
                    </a:lnTo>
                    <a:lnTo>
                      <a:pt x="52388" y="73247"/>
                    </a:lnTo>
                    <a:lnTo>
                      <a:pt x="83820" y="87535"/>
                    </a:lnTo>
                    <a:lnTo>
                      <a:pt x="119063" y="101822"/>
                    </a:lnTo>
                    <a:lnTo>
                      <a:pt x="143827" y="91345"/>
                    </a:lnTo>
                    <a:lnTo>
                      <a:pt x="158115" y="112395"/>
                    </a:lnTo>
                    <a:lnTo>
                      <a:pt x="179070" y="122872"/>
                    </a:lnTo>
                    <a:lnTo>
                      <a:pt x="193357" y="143732"/>
                    </a:lnTo>
                    <a:lnTo>
                      <a:pt x="218123" y="143732"/>
                    </a:lnTo>
                    <a:lnTo>
                      <a:pt x="218123" y="112395"/>
                    </a:lnTo>
                    <a:lnTo>
                      <a:pt x="193357" y="101822"/>
                    </a:lnTo>
                    <a:lnTo>
                      <a:pt x="176213" y="83820"/>
                    </a:lnTo>
                    <a:lnTo>
                      <a:pt x="182880" y="45720"/>
                    </a:lnTo>
                    <a:lnTo>
                      <a:pt x="179070" y="13335"/>
                    </a:lnTo>
                    <a:lnTo>
                      <a:pt x="207645" y="0"/>
                    </a:lnTo>
                    <a:lnTo>
                      <a:pt x="239077" y="0"/>
                    </a:lnTo>
                    <a:lnTo>
                      <a:pt x="313373" y="35147"/>
                    </a:lnTo>
                    <a:lnTo>
                      <a:pt x="323850" y="60007"/>
                    </a:lnTo>
                    <a:lnTo>
                      <a:pt x="316230" y="70485"/>
                    </a:lnTo>
                    <a:lnTo>
                      <a:pt x="316230" y="112395"/>
                    </a:lnTo>
                    <a:lnTo>
                      <a:pt x="305752" y="122872"/>
                    </a:lnTo>
                    <a:lnTo>
                      <a:pt x="299085" y="147638"/>
                    </a:lnTo>
                    <a:lnTo>
                      <a:pt x="316230" y="172307"/>
                    </a:lnTo>
                    <a:lnTo>
                      <a:pt x="235268" y="186595"/>
                    </a:lnTo>
                    <a:lnTo>
                      <a:pt x="235268" y="214313"/>
                    </a:lnTo>
                    <a:lnTo>
                      <a:pt x="200025" y="211360"/>
                    </a:lnTo>
                    <a:lnTo>
                      <a:pt x="186690" y="236220"/>
                    </a:lnTo>
                    <a:lnTo>
                      <a:pt x="164782" y="238982"/>
                    </a:lnTo>
                    <a:lnTo>
                      <a:pt x="140970" y="271463"/>
                    </a:lnTo>
                    <a:lnTo>
                      <a:pt x="91440" y="27432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5FB74752-6DAA-0B50-FC1B-5EDE80D94BBD}"/>
                  </a:ext>
                </a:extLst>
              </p:cNvPr>
              <p:cNvSpPr/>
              <p:nvPr/>
            </p:nvSpPr>
            <p:spPr>
              <a:xfrm>
                <a:off x="6806192" y="4575485"/>
                <a:ext cx="299725" cy="294125"/>
              </a:xfrm>
              <a:custGeom>
                <a:avLst/>
                <a:gdLst>
                  <a:gd name="connsiteX0" fmla="*/ 31432 w 305752"/>
                  <a:gd name="connsiteY0" fmla="*/ 204788 h 300037"/>
                  <a:gd name="connsiteX1" fmla="*/ 27623 w 305752"/>
                  <a:gd name="connsiteY1" fmla="*/ 176213 h 300037"/>
                  <a:gd name="connsiteX2" fmla="*/ 2857 w 305752"/>
                  <a:gd name="connsiteY2" fmla="*/ 144685 h 300037"/>
                  <a:gd name="connsiteX3" fmla="*/ 0 w 305752"/>
                  <a:gd name="connsiteY3" fmla="*/ 99060 h 300037"/>
                  <a:gd name="connsiteX4" fmla="*/ 35243 w 305752"/>
                  <a:gd name="connsiteY4" fmla="*/ 60007 h 300037"/>
                  <a:gd name="connsiteX5" fmla="*/ 27623 w 305752"/>
                  <a:gd name="connsiteY5" fmla="*/ 35147 h 300037"/>
                  <a:gd name="connsiteX6" fmla="*/ 38100 w 305752"/>
                  <a:gd name="connsiteY6" fmla="*/ 20860 h 300037"/>
                  <a:gd name="connsiteX7" fmla="*/ 27623 w 305752"/>
                  <a:gd name="connsiteY7" fmla="*/ 0 h 300037"/>
                  <a:gd name="connsiteX8" fmla="*/ 66675 w 305752"/>
                  <a:gd name="connsiteY8" fmla="*/ 0 h 300037"/>
                  <a:gd name="connsiteX9" fmla="*/ 133350 w 305752"/>
                  <a:gd name="connsiteY9" fmla="*/ 3810 h 300037"/>
                  <a:gd name="connsiteX10" fmla="*/ 224790 w 305752"/>
                  <a:gd name="connsiteY10" fmla="*/ 52388 h 300037"/>
                  <a:gd name="connsiteX11" fmla="*/ 232410 w 305752"/>
                  <a:gd name="connsiteY11" fmla="*/ 70485 h 300037"/>
                  <a:gd name="connsiteX12" fmla="*/ 274320 w 305752"/>
                  <a:gd name="connsiteY12" fmla="*/ 101822 h 300037"/>
                  <a:gd name="connsiteX13" fmla="*/ 263843 w 305752"/>
                  <a:gd name="connsiteY13" fmla="*/ 126682 h 300037"/>
                  <a:gd name="connsiteX14" fmla="*/ 260032 w 305752"/>
                  <a:gd name="connsiteY14" fmla="*/ 151447 h 300037"/>
                  <a:gd name="connsiteX15" fmla="*/ 274320 w 305752"/>
                  <a:gd name="connsiteY15" fmla="*/ 172307 h 300037"/>
                  <a:gd name="connsiteX16" fmla="*/ 274320 w 305752"/>
                  <a:gd name="connsiteY16" fmla="*/ 221932 h 300037"/>
                  <a:gd name="connsiteX17" fmla="*/ 305753 w 305752"/>
                  <a:gd name="connsiteY17" fmla="*/ 264795 h 300037"/>
                  <a:gd name="connsiteX18" fmla="*/ 278130 w 305752"/>
                  <a:gd name="connsiteY18" fmla="*/ 281845 h 300037"/>
                  <a:gd name="connsiteX19" fmla="*/ 232410 w 305752"/>
                  <a:gd name="connsiteY19" fmla="*/ 300038 h 300037"/>
                  <a:gd name="connsiteX20" fmla="*/ 147638 w 305752"/>
                  <a:gd name="connsiteY20" fmla="*/ 292322 h 300037"/>
                  <a:gd name="connsiteX21" fmla="*/ 143828 w 305752"/>
                  <a:gd name="connsiteY21" fmla="*/ 260985 h 300037"/>
                  <a:gd name="connsiteX22" fmla="*/ 130493 w 305752"/>
                  <a:gd name="connsiteY22" fmla="*/ 239935 h 300037"/>
                  <a:gd name="connsiteX23" fmla="*/ 105728 w 305752"/>
                  <a:gd name="connsiteY23" fmla="*/ 239935 h 300037"/>
                  <a:gd name="connsiteX24" fmla="*/ 31432 w 305752"/>
                  <a:gd name="connsiteY24" fmla="*/ 204788 h 300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05752" h="300037">
                    <a:moveTo>
                      <a:pt x="31432" y="204788"/>
                    </a:moveTo>
                    <a:lnTo>
                      <a:pt x="27623" y="176213"/>
                    </a:lnTo>
                    <a:lnTo>
                      <a:pt x="2857" y="144685"/>
                    </a:lnTo>
                    <a:lnTo>
                      <a:pt x="0" y="99060"/>
                    </a:lnTo>
                    <a:lnTo>
                      <a:pt x="35243" y="60007"/>
                    </a:lnTo>
                    <a:lnTo>
                      <a:pt x="27623" y="35147"/>
                    </a:lnTo>
                    <a:lnTo>
                      <a:pt x="38100" y="20860"/>
                    </a:lnTo>
                    <a:lnTo>
                      <a:pt x="27623" y="0"/>
                    </a:lnTo>
                    <a:lnTo>
                      <a:pt x="66675" y="0"/>
                    </a:lnTo>
                    <a:lnTo>
                      <a:pt x="133350" y="3810"/>
                    </a:lnTo>
                    <a:lnTo>
                      <a:pt x="224790" y="52388"/>
                    </a:lnTo>
                    <a:lnTo>
                      <a:pt x="232410" y="70485"/>
                    </a:lnTo>
                    <a:lnTo>
                      <a:pt x="274320" y="101822"/>
                    </a:lnTo>
                    <a:lnTo>
                      <a:pt x="263843" y="126682"/>
                    </a:lnTo>
                    <a:lnTo>
                      <a:pt x="260032" y="151447"/>
                    </a:lnTo>
                    <a:lnTo>
                      <a:pt x="274320" y="172307"/>
                    </a:lnTo>
                    <a:lnTo>
                      <a:pt x="274320" y="221932"/>
                    </a:lnTo>
                    <a:lnTo>
                      <a:pt x="305753" y="264795"/>
                    </a:lnTo>
                    <a:lnTo>
                      <a:pt x="278130" y="281845"/>
                    </a:lnTo>
                    <a:lnTo>
                      <a:pt x="232410" y="300038"/>
                    </a:lnTo>
                    <a:lnTo>
                      <a:pt x="147638" y="292322"/>
                    </a:lnTo>
                    <a:lnTo>
                      <a:pt x="143828" y="260985"/>
                    </a:lnTo>
                    <a:lnTo>
                      <a:pt x="130493" y="239935"/>
                    </a:lnTo>
                    <a:lnTo>
                      <a:pt x="105728" y="239935"/>
                    </a:lnTo>
                    <a:lnTo>
                      <a:pt x="31432" y="2047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6C7487AD-0710-312F-5E86-63DDF135855C}"/>
                  </a:ext>
                </a:extLst>
              </p:cNvPr>
              <p:cNvSpPr/>
              <p:nvPr/>
            </p:nvSpPr>
            <p:spPr>
              <a:xfrm>
                <a:off x="6802457" y="4609940"/>
                <a:ext cx="38282" cy="62653"/>
              </a:xfrm>
              <a:custGeom>
                <a:avLst/>
                <a:gdLst>
                  <a:gd name="connsiteX0" fmla="*/ 31432 w 39052"/>
                  <a:gd name="connsiteY0" fmla="*/ 0 h 63912"/>
                  <a:gd name="connsiteX1" fmla="*/ 18097 w 39052"/>
                  <a:gd name="connsiteY1" fmla="*/ 3810 h 63912"/>
                  <a:gd name="connsiteX2" fmla="*/ 0 w 39052"/>
                  <a:gd name="connsiteY2" fmla="*/ 21050 h 63912"/>
                  <a:gd name="connsiteX3" fmla="*/ 3810 w 39052"/>
                  <a:gd name="connsiteY3" fmla="*/ 63913 h 63912"/>
                  <a:gd name="connsiteX4" fmla="*/ 39052 w 39052"/>
                  <a:gd name="connsiteY4" fmla="*/ 24860 h 63912"/>
                  <a:gd name="connsiteX5" fmla="*/ 31432 w 39052"/>
                  <a:gd name="connsiteY5" fmla="*/ 0 h 6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052" h="63912">
                    <a:moveTo>
                      <a:pt x="31432" y="0"/>
                    </a:moveTo>
                    <a:lnTo>
                      <a:pt x="18097" y="3810"/>
                    </a:lnTo>
                    <a:lnTo>
                      <a:pt x="0" y="21050"/>
                    </a:lnTo>
                    <a:lnTo>
                      <a:pt x="3810" y="63913"/>
                    </a:lnTo>
                    <a:lnTo>
                      <a:pt x="39052" y="24860"/>
                    </a:lnTo>
                    <a:lnTo>
                      <a:pt x="31432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227C041F-7013-DE23-AD92-04ACB0F1F447}"/>
                  </a:ext>
                </a:extLst>
              </p:cNvPr>
              <p:cNvSpPr/>
              <p:nvPr/>
            </p:nvSpPr>
            <p:spPr>
              <a:xfrm>
                <a:off x="6802457" y="4609940"/>
                <a:ext cx="38282" cy="62653"/>
              </a:xfrm>
              <a:custGeom>
                <a:avLst/>
                <a:gdLst>
                  <a:gd name="connsiteX0" fmla="*/ 31432 w 39052"/>
                  <a:gd name="connsiteY0" fmla="*/ 0 h 63912"/>
                  <a:gd name="connsiteX1" fmla="*/ 18097 w 39052"/>
                  <a:gd name="connsiteY1" fmla="*/ 3810 h 63912"/>
                  <a:gd name="connsiteX2" fmla="*/ 0 w 39052"/>
                  <a:gd name="connsiteY2" fmla="*/ 21050 h 63912"/>
                  <a:gd name="connsiteX3" fmla="*/ 3810 w 39052"/>
                  <a:gd name="connsiteY3" fmla="*/ 63913 h 63912"/>
                  <a:gd name="connsiteX4" fmla="*/ 39052 w 39052"/>
                  <a:gd name="connsiteY4" fmla="*/ 24860 h 63912"/>
                  <a:gd name="connsiteX5" fmla="*/ 31432 w 39052"/>
                  <a:gd name="connsiteY5" fmla="*/ 0 h 6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052" h="63912">
                    <a:moveTo>
                      <a:pt x="31432" y="0"/>
                    </a:moveTo>
                    <a:lnTo>
                      <a:pt x="18097" y="3810"/>
                    </a:lnTo>
                    <a:lnTo>
                      <a:pt x="0" y="21050"/>
                    </a:lnTo>
                    <a:lnTo>
                      <a:pt x="3810" y="63913"/>
                    </a:lnTo>
                    <a:lnTo>
                      <a:pt x="39052" y="24860"/>
                    </a:lnTo>
                    <a:lnTo>
                      <a:pt x="31432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C8417142-C8F2-9BC4-EC5D-FB62868573E7}"/>
                  </a:ext>
                </a:extLst>
              </p:cNvPr>
              <p:cNvSpPr/>
              <p:nvPr/>
            </p:nvSpPr>
            <p:spPr>
              <a:xfrm>
                <a:off x="6792186" y="4575485"/>
                <a:ext cx="51354" cy="55090"/>
              </a:xfrm>
              <a:custGeom>
                <a:avLst/>
                <a:gdLst>
                  <a:gd name="connsiteX0" fmla="*/ 17145 w 52387"/>
                  <a:gd name="connsiteY0" fmla="*/ 3810 h 56197"/>
                  <a:gd name="connsiteX1" fmla="*/ 41910 w 52387"/>
                  <a:gd name="connsiteY1" fmla="*/ 0 h 56197"/>
                  <a:gd name="connsiteX2" fmla="*/ 52388 w 52387"/>
                  <a:gd name="connsiteY2" fmla="*/ 20860 h 56197"/>
                  <a:gd name="connsiteX3" fmla="*/ 41910 w 52387"/>
                  <a:gd name="connsiteY3" fmla="*/ 35147 h 56197"/>
                  <a:gd name="connsiteX4" fmla="*/ 28575 w 52387"/>
                  <a:gd name="connsiteY4" fmla="*/ 38957 h 56197"/>
                  <a:gd name="connsiteX5" fmla="*/ 10478 w 52387"/>
                  <a:gd name="connsiteY5" fmla="*/ 56197 h 56197"/>
                  <a:gd name="connsiteX6" fmla="*/ 0 w 52387"/>
                  <a:gd name="connsiteY6" fmla="*/ 28575 h 56197"/>
                  <a:gd name="connsiteX7" fmla="*/ 17145 w 52387"/>
                  <a:gd name="connsiteY7" fmla="*/ 3810 h 56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387" h="56197">
                    <a:moveTo>
                      <a:pt x="17145" y="3810"/>
                    </a:moveTo>
                    <a:lnTo>
                      <a:pt x="41910" y="0"/>
                    </a:lnTo>
                    <a:lnTo>
                      <a:pt x="52388" y="20860"/>
                    </a:lnTo>
                    <a:lnTo>
                      <a:pt x="41910" y="35147"/>
                    </a:lnTo>
                    <a:lnTo>
                      <a:pt x="28575" y="38957"/>
                    </a:lnTo>
                    <a:lnTo>
                      <a:pt x="10478" y="56197"/>
                    </a:lnTo>
                    <a:lnTo>
                      <a:pt x="0" y="28575"/>
                    </a:lnTo>
                    <a:lnTo>
                      <a:pt x="17145" y="38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25C7D3DF-8BEE-3A6C-C20C-44D4638AAC2C}"/>
                  </a:ext>
                </a:extLst>
              </p:cNvPr>
              <p:cNvSpPr/>
              <p:nvPr/>
            </p:nvSpPr>
            <p:spPr>
              <a:xfrm>
                <a:off x="6792186" y="4575485"/>
                <a:ext cx="51354" cy="55090"/>
              </a:xfrm>
              <a:custGeom>
                <a:avLst/>
                <a:gdLst>
                  <a:gd name="connsiteX0" fmla="*/ 17145 w 52387"/>
                  <a:gd name="connsiteY0" fmla="*/ 3810 h 56197"/>
                  <a:gd name="connsiteX1" fmla="*/ 41910 w 52387"/>
                  <a:gd name="connsiteY1" fmla="*/ 0 h 56197"/>
                  <a:gd name="connsiteX2" fmla="*/ 52388 w 52387"/>
                  <a:gd name="connsiteY2" fmla="*/ 20860 h 56197"/>
                  <a:gd name="connsiteX3" fmla="*/ 41910 w 52387"/>
                  <a:gd name="connsiteY3" fmla="*/ 35147 h 56197"/>
                  <a:gd name="connsiteX4" fmla="*/ 28575 w 52387"/>
                  <a:gd name="connsiteY4" fmla="*/ 38957 h 56197"/>
                  <a:gd name="connsiteX5" fmla="*/ 10478 w 52387"/>
                  <a:gd name="connsiteY5" fmla="*/ 56197 h 56197"/>
                  <a:gd name="connsiteX6" fmla="*/ 0 w 52387"/>
                  <a:gd name="connsiteY6" fmla="*/ 28575 h 56197"/>
                  <a:gd name="connsiteX7" fmla="*/ 17145 w 52387"/>
                  <a:gd name="connsiteY7" fmla="*/ 3810 h 56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387" h="56197">
                    <a:moveTo>
                      <a:pt x="17145" y="3810"/>
                    </a:moveTo>
                    <a:lnTo>
                      <a:pt x="41910" y="0"/>
                    </a:lnTo>
                    <a:lnTo>
                      <a:pt x="52388" y="20860"/>
                    </a:lnTo>
                    <a:lnTo>
                      <a:pt x="41910" y="35147"/>
                    </a:lnTo>
                    <a:lnTo>
                      <a:pt x="28575" y="38957"/>
                    </a:lnTo>
                    <a:lnTo>
                      <a:pt x="10478" y="56197"/>
                    </a:lnTo>
                    <a:lnTo>
                      <a:pt x="0" y="28575"/>
                    </a:lnTo>
                    <a:lnTo>
                      <a:pt x="17145" y="38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7390A040-595D-0F12-691E-8D1539B1177B}"/>
                  </a:ext>
                </a:extLst>
              </p:cNvPr>
              <p:cNvSpPr/>
              <p:nvPr/>
            </p:nvSpPr>
            <p:spPr>
              <a:xfrm>
                <a:off x="6808993" y="4433557"/>
                <a:ext cx="148462" cy="145662"/>
              </a:xfrm>
              <a:custGeom>
                <a:avLst/>
                <a:gdLst>
                  <a:gd name="connsiteX0" fmla="*/ 0 w 151447"/>
                  <a:gd name="connsiteY0" fmla="*/ 148590 h 148590"/>
                  <a:gd name="connsiteX1" fmla="*/ 3810 w 151447"/>
                  <a:gd name="connsiteY1" fmla="*/ 113252 h 148590"/>
                  <a:gd name="connsiteX2" fmla="*/ 11430 w 151447"/>
                  <a:gd name="connsiteY2" fmla="*/ 91440 h 148590"/>
                  <a:gd name="connsiteX3" fmla="*/ 46673 w 151447"/>
                  <a:gd name="connsiteY3" fmla="*/ 59912 h 148590"/>
                  <a:gd name="connsiteX4" fmla="*/ 46673 w 151447"/>
                  <a:gd name="connsiteY4" fmla="*/ 53340 h 148590"/>
                  <a:gd name="connsiteX5" fmla="*/ 35243 w 151447"/>
                  <a:gd name="connsiteY5" fmla="*/ 49530 h 148590"/>
                  <a:gd name="connsiteX6" fmla="*/ 28575 w 151447"/>
                  <a:gd name="connsiteY6" fmla="*/ 7525 h 148590"/>
                  <a:gd name="connsiteX7" fmla="*/ 120015 w 151447"/>
                  <a:gd name="connsiteY7" fmla="*/ 0 h 148590"/>
                  <a:gd name="connsiteX8" fmla="*/ 140970 w 151447"/>
                  <a:gd name="connsiteY8" fmla="*/ 35243 h 148590"/>
                  <a:gd name="connsiteX9" fmla="*/ 151448 w 151447"/>
                  <a:gd name="connsiteY9" fmla="*/ 74200 h 148590"/>
                  <a:gd name="connsiteX10" fmla="*/ 127635 w 151447"/>
                  <a:gd name="connsiteY10" fmla="*/ 101918 h 148590"/>
                  <a:gd name="connsiteX11" fmla="*/ 134303 w 151447"/>
                  <a:gd name="connsiteY11" fmla="*/ 126587 h 148590"/>
                  <a:gd name="connsiteX12" fmla="*/ 123825 w 151447"/>
                  <a:gd name="connsiteY12" fmla="*/ 148590 h 148590"/>
                  <a:gd name="connsiteX13" fmla="*/ 63818 w 151447"/>
                  <a:gd name="connsiteY13" fmla="*/ 144780 h 148590"/>
                  <a:gd name="connsiteX14" fmla="*/ 24765 w 151447"/>
                  <a:gd name="connsiteY14" fmla="*/ 144780 h 148590"/>
                  <a:gd name="connsiteX15" fmla="*/ 0 w 151447"/>
                  <a:gd name="connsiteY15" fmla="*/ 148590 h 148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1447" h="148590">
                    <a:moveTo>
                      <a:pt x="0" y="148590"/>
                    </a:moveTo>
                    <a:lnTo>
                      <a:pt x="3810" y="113252"/>
                    </a:lnTo>
                    <a:lnTo>
                      <a:pt x="11430" y="91440"/>
                    </a:lnTo>
                    <a:lnTo>
                      <a:pt x="46673" y="59912"/>
                    </a:lnTo>
                    <a:lnTo>
                      <a:pt x="46673" y="53340"/>
                    </a:lnTo>
                    <a:lnTo>
                      <a:pt x="35243" y="49530"/>
                    </a:lnTo>
                    <a:lnTo>
                      <a:pt x="28575" y="7525"/>
                    </a:lnTo>
                    <a:lnTo>
                      <a:pt x="120015" y="0"/>
                    </a:lnTo>
                    <a:lnTo>
                      <a:pt x="140970" y="35243"/>
                    </a:lnTo>
                    <a:lnTo>
                      <a:pt x="151448" y="74200"/>
                    </a:lnTo>
                    <a:lnTo>
                      <a:pt x="127635" y="101918"/>
                    </a:lnTo>
                    <a:lnTo>
                      <a:pt x="134303" y="126587"/>
                    </a:lnTo>
                    <a:lnTo>
                      <a:pt x="123825" y="148590"/>
                    </a:lnTo>
                    <a:lnTo>
                      <a:pt x="63818" y="144780"/>
                    </a:lnTo>
                    <a:lnTo>
                      <a:pt x="24765" y="144780"/>
                    </a:lnTo>
                    <a:lnTo>
                      <a:pt x="0" y="1485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3B719171-144E-5AB8-2ABE-47058D12359D}"/>
                  </a:ext>
                </a:extLst>
              </p:cNvPr>
              <p:cNvSpPr/>
              <p:nvPr/>
            </p:nvSpPr>
            <p:spPr>
              <a:xfrm>
                <a:off x="6808993" y="4433557"/>
                <a:ext cx="148462" cy="145662"/>
              </a:xfrm>
              <a:custGeom>
                <a:avLst/>
                <a:gdLst>
                  <a:gd name="connsiteX0" fmla="*/ 0 w 151447"/>
                  <a:gd name="connsiteY0" fmla="*/ 148590 h 148590"/>
                  <a:gd name="connsiteX1" fmla="*/ 3810 w 151447"/>
                  <a:gd name="connsiteY1" fmla="*/ 113252 h 148590"/>
                  <a:gd name="connsiteX2" fmla="*/ 11430 w 151447"/>
                  <a:gd name="connsiteY2" fmla="*/ 91440 h 148590"/>
                  <a:gd name="connsiteX3" fmla="*/ 46673 w 151447"/>
                  <a:gd name="connsiteY3" fmla="*/ 59912 h 148590"/>
                  <a:gd name="connsiteX4" fmla="*/ 46673 w 151447"/>
                  <a:gd name="connsiteY4" fmla="*/ 53340 h 148590"/>
                  <a:gd name="connsiteX5" fmla="*/ 35243 w 151447"/>
                  <a:gd name="connsiteY5" fmla="*/ 49530 h 148590"/>
                  <a:gd name="connsiteX6" fmla="*/ 28575 w 151447"/>
                  <a:gd name="connsiteY6" fmla="*/ 7525 h 148590"/>
                  <a:gd name="connsiteX7" fmla="*/ 120015 w 151447"/>
                  <a:gd name="connsiteY7" fmla="*/ 0 h 148590"/>
                  <a:gd name="connsiteX8" fmla="*/ 140970 w 151447"/>
                  <a:gd name="connsiteY8" fmla="*/ 35243 h 148590"/>
                  <a:gd name="connsiteX9" fmla="*/ 151448 w 151447"/>
                  <a:gd name="connsiteY9" fmla="*/ 74200 h 148590"/>
                  <a:gd name="connsiteX10" fmla="*/ 127635 w 151447"/>
                  <a:gd name="connsiteY10" fmla="*/ 101918 h 148590"/>
                  <a:gd name="connsiteX11" fmla="*/ 134303 w 151447"/>
                  <a:gd name="connsiteY11" fmla="*/ 126587 h 148590"/>
                  <a:gd name="connsiteX12" fmla="*/ 123825 w 151447"/>
                  <a:gd name="connsiteY12" fmla="*/ 148590 h 148590"/>
                  <a:gd name="connsiteX13" fmla="*/ 63818 w 151447"/>
                  <a:gd name="connsiteY13" fmla="*/ 144780 h 148590"/>
                  <a:gd name="connsiteX14" fmla="*/ 24765 w 151447"/>
                  <a:gd name="connsiteY14" fmla="*/ 144780 h 148590"/>
                  <a:gd name="connsiteX15" fmla="*/ 0 w 151447"/>
                  <a:gd name="connsiteY15" fmla="*/ 148590 h 148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1447" h="148590">
                    <a:moveTo>
                      <a:pt x="0" y="148590"/>
                    </a:moveTo>
                    <a:lnTo>
                      <a:pt x="3810" y="113252"/>
                    </a:lnTo>
                    <a:lnTo>
                      <a:pt x="11430" y="91440"/>
                    </a:lnTo>
                    <a:lnTo>
                      <a:pt x="46673" y="59912"/>
                    </a:lnTo>
                    <a:lnTo>
                      <a:pt x="46673" y="53340"/>
                    </a:lnTo>
                    <a:lnTo>
                      <a:pt x="35243" y="49530"/>
                    </a:lnTo>
                    <a:lnTo>
                      <a:pt x="28575" y="7525"/>
                    </a:lnTo>
                    <a:lnTo>
                      <a:pt x="120015" y="0"/>
                    </a:lnTo>
                    <a:lnTo>
                      <a:pt x="140970" y="35243"/>
                    </a:lnTo>
                    <a:lnTo>
                      <a:pt x="151448" y="74200"/>
                    </a:lnTo>
                    <a:lnTo>
                      <a:pt x="127635" y="101918"/>
                    </a:lnTo>
                    <a:lnTo>
                      <a:pt x="134303" y="126587"/>
                    </a:lnTo>
                    <a:lnTo>
                      <a:pt x="123825" y="148590"/>
                    </a:lnTo>
                    <a:lnTo>
                      <a:pt x="63818" y="144780"/>
                    </a:lnTo>
                    <a:lnTo>
                      <a:pt x="24765" y="144780"/>
                    </a:lnTo>
                    <a:lnTo>
                      <a:pt x="0" y="1485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02142537-A4CF-34DF-7240-2A46F60BA90A}"/>
                  </a:ext>
                </a:extLst>
              </p:cNvPr>
              <p:cNvSpPr/>
              <p:nvPr/>
            </p:nvSpPr>
            <p:spPr>
              <a:xfrm>
                <a:off x="6329993" y="4707047"/>
                <a:ext cx="362284" cy="352110"/>
              </a:xfrm>
              <a:custGeom>
                <a:avLst/>
                <a:gdLst>
                  <a:gd name="connsiteX0" fmla="*/ 0 w 369569"/>
                  <a:gd name="connsiteY0" fmla="*/ 327755 h 359187"/>
                  <a:gd name="connsiteX1" fmla="*/ 0 w 369569"/>
                  <a:gd name="connsiteY1" fmla="*/ 284893 h 359187"/>
                  <a:gd name="connsiteX2" fmla="*/ 13335 w 369569"/>
                  <a:gd name="connsiteY2" fmla="*/ 222028 h 359187"/>
                  <a:gd name="connsiteX3" fmla="*/ 48578 w 369569"/>
                  <a:gd name="connsiteY3" fmla="*/ 165830 h 359187"/>
                  <a:gd name="connsiteX4" fmla="*/ 48578 w 369569"/>
                  <a:gd name="connsiteY4" fmla="*/ 137255 h 359187"/>
                  <a:gd name="connsiteX5" fmla="*/ 27623 w 369569"/>
                  <a:gd name="connsiteY5" fmla="*/ 91440 h 359187"/>
                  <a:gd name="connsiteX6" fmla="*/ 35243 w 369569"/>
                  <a:gd name="connsiteY6" fmla="*/ 66675 h 359187"/>
                  <a:gd name="connsiteX7" fmla="*/ 0 w 369569"/>
                  <a:gd name="connsiteY7" fmla="*/ 2953 h 359187"/>
                  <a:gd name="connsiteX8" fmla="*/ 17145 w 369569"/>
                  <a:gd name="connsiteY8" fmla="*/ 0 h 359187"/>
                  <a:gd name="connsiteX9" fmla="*/ 126682 w 369569"/>
                  <a:gd name="connsiteY9" fmla="*/ 0 h 359187"/>
                  <a:gd name="connsiteX10" fmla="*/ 133350 w 369569"/>
                  <a:gd name="connsiteY10" fmla="*/ 23813 h 359187"/>
                  <a:gd name="connsiteX11" fmla="*/ 151448 w 369569"/>
                  <a:gd name="connsiteY11" fmla="*/ 56293 h 359187"/>
                  <a:gd name="connsiteX12" fmla="*/ 203835 w 369569"/>
                  <a:gd name="connsiteY12" fmla="*/ 60103 h 359187"/>
                  <a:gd name="connsiteX13" fmla="*/ 220980 w 369569"/>
                  <a:gd name="connsiteY13" fmla="*/ 31528 h 359187"/>
                  <a:gd name="connsiteX14" fmla="*/ 267653 w 369569"/>
                  <a:gd name="connsiteY14" fmla="*/ 42005 h 359187"/>
                  <a:gd name="connsiteX15" fmla="*/ 270510 w 369569"/>
                  <a:gd name="connsiteY15" fmla="*/ 112490 h 359187"/>
                  <a:gd name="connsiteX16" fmla="*/ 288607 w 369569"/>
                  <a:gd name="connsiteY16" fmla="*/ 122968 h 359187"/>
                  <a:gd name="connsiteX17" fmla="*/ 284798 w 369569"/>
                  <a:gd name="connsiteY17" fmla="*/ 143828 h 359187"/>
                  <a:gd name="connsiteX18" fmla="*/ 330518 w 369569"/>
                  <a:gd name="connsiteY18" fmla="*/ 143828 h 359187"/>
                  <a:gd name="connsiteX19" fmla="*/ 330518 w 369569"/>
                  <a:gd name="connsiteY19" fmla="*/ 203930 h 359187"/>
                  <a:gd name="connsiteX20" fmla="*/ 278130 w 369569"/>
                  <a:gd name="connsiteY20" fmla="*/ 203930 h 359187"/>
                  <a:gd name="connsiteX21" fmla="*/ 280988 w 369569"/>
                  <a:gd name="connsiteY21" fmla="*/ 296228 h 359187"/>
                  <a:gd name="connsiteX22" fmla="*/ 313373 w 369569"/>
                  <a:gd name="connsiteY22" fmla="*/ 331565 h 359187"/>
                  <a:gd name="connsiteX23" fmla="*/ 359093 w 369569"/>
                  <a:gd name="connsiteY23" fmla="*/ 334328 h 359187"/>
                  <a:gd name="connsiteX24" fmla="*/ 369570 w 369569"/>
                  <a:gd name="connsiteY24" fmla="*/ 344900 h 359187"/>
                  <a:gd name="connsiteX25" fmla="*/ 359093 w 369569"/>
                  <a:gd name="connsiteY25" fmla="*/ 344900 h 359187"/>
                  <a:gd name="connsiteX26" fmla="*/ 320040 w 369569"/>
                  <a:gd name="connsiteY26" fmla="*/ 359188 h 359187"/>
                  <a:gd name="connsiteX27" fmla="*/ 309563 w 369569"/>
                  <a:gd name="connsiteY27" fmla="*/ 344900 h 359187"/>
                  <a:gd name="connsiteX28" fmla="*/ 249555 w 369569"/>
                  <a:gd name="connsiteY28" fmla="*/ 352425 h 359187"/>
                  <a:gd name="connsiteX29" fmla="*/ 235268 w 369569"/>
                  <a:gd name="connsiteY29" fmla="*/ 342043 h 359187"/>
                  <a:gd name="connsiteX30" fmla="*/ 186690 w 369569"/>
                  <a:gd name="connsiteY30" fmla="*/ 338138 h 359187"/>
                  <a:gd name="connsiteX31" fmla="*/ 172403 w 369569"/>
                  <a:gd name="connsiteY31" fmla="*/ 327755 h 359187"/>
                  <a:gd name="connsiteX32" fmla="*/ 0 w 369569"/>
                  <a:gd name="connsiteY32" fmla="*/ 327755 h 359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69569" h="359187">
                    <a:moveTo>
                      <a:pt x="0" y="327755"/>
                    </a:moveTo>
                    <a:lnTo>
                      <a:pt x="0" y="284893"/>
                    </a:lnTo>
                    <a:lnTo>
                      <a:pt x="13335" y="222028"/>
                    </a:lnTo>
                    <a:lnTo>
                      <a:pt x="48578" y="165830"/>
                    </a:lnTo>
                    <a:lnTo>
                      <a:pt x="48578" y="137255"/>
                    </a:lnTo>
                    <a:lnTo>
                      <a:pt x="27623" y="91440"/>
                    </a:lnTo>
                    <a:lnTo>
                      <a:pt x="35243" y="66675"/>
                    </a:lnTo>
                    <a:lnTo>
                      <a:pt x="0" y="2953"/>
                    </a:lnTo>
                    <a:lnTo>
                      <a:pt x="17145" y="0"/>
                    </a:lnTo>
                    <a:lnTo>
                      <a:pt x="126682" y="0"/>
                    </a:lnTo>
                    <a:lnTo>
                      <a:pt x="133350" y="23813"/>
                    </a:lnTo>
                    <a:lnTo>
                      <a:pt x="151448" y="56293"/>
                    </a:lnTo>
                    <a:lnTo>
                      <a:pt x="203835" y="60103"/>
                    </a:lnTo>
                    <a:lnTo>
                      <a:pt x="220980" y="31528"/>
                    </a:lnTo>
                    <a:lnTo>
                      <a:pt x="267653" y="42005"/>
                    </a:lnTo>
                    <a:lnTo>
                      <a:pt x="270510" y="112490"/>
                    </a:lnTo>
                    <a:lnTo>
                      <a:pt x="288607" y="122968"/>
                    </a:lnTo>
                    <a:lnTo>
                      <a:pt x="284798" y="143828"/>
                    </a:lnTo>
                    <a:lnTo>
                      <a:pt x="330518" y="143828"/>
                    </a:lnTo>
                    <a:lnTo>
                      <a:pt x="330518" y="203930"/>
                    </a:lnTo>
                    <a:lnTo>
                      <a:pt x="278130" y="203930"/>
                    </a:lnTo>
                    <a:lnTo>
                      <a:pt x="280988" y="296228"/>
                    </a:lnTo>
                    <a:lnTo>
                      <a:pt x="313373" y="331565"/>
                    </a:lnTo>
                    <a:lnTo>
                      <a:pt x="359093" y="334328"/>
                    </a:lnTo>
                    <a:lnTo>
                      <a:pt x="369570" y="344900"/>
                    </a:lnTo>
                    <a:lnTo>
                      <a:pt x="359093" y="344900"/>
                    </a:lnTo>
                    <a:lnTo>
                      <a:pt x="320040" y="359188"/>
                    </a:lnTo>
                    <a:lnTo>
                      <a:pt x="309563" y="344900"/>
                    </a:lnTo>
                    <a:lnTo>
                      <a:pt x="249555" y="352425"/>
                    </a:lnTo>
                    <a:lnTo>
                      <a:pt x="235268" y="342043"/>
                    </a:lnTo>
                    <a:lnTo>
                      <a:pt x="186690" y="338138"/>
                    </a:lnTo>
                    <a:lnTo>
                      <a:pt x="172403" y="327755"/>
                    </a:lnTo>
                    <a:lnTo>
                      <a:pt x="0" y="32775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DAB826F4-D135-FAA5-43FF-250402D68AD2}"/>
                  </a:ext>
                </a:extLst>
              </p:cNvPr>
              <p:cNvSpPr/>
              <p:nvPr/>
            </p:nvSpPr>
            <p:spPr>
              <a:xfrm>
                <a:off x="6340264" y="4398916"/>
                <a:ext cx="514482" cy="518221"/>
              </a:xfrm>
              <a:custGeom>
                <a:avLst/>
                <a:gdLst>
                  <a:gd name="connsiteX0" fmla="*/ 0 w 524827"/>
                  <a:gd name="connsiteY0" fmla="*/ 310515 h 528637"/>
                  <a:gd name="connsiteX1" fmla="*/ 10477 w 524827"/>
                  <a:gd name="connsiteY1" fmla="*/ 285750 h 528637"/>
                  <a:gd name="connsiteX2" fmla="*/ 24765 w 524827"/>
                  <a:gd name="connsiteY2" fmla="*/ 281940 h 528637"/>
                  <a:gd name="connsiteX3" fmla="*/ 59055 w 524827"/>
                  <a:gd name="connsiteY3" fmla="*/ 275368 h 528637"/>
                  <a:gd name="connsiteX4" fmla="*/ 105727 w 524827"/>
                  <a:gd name="connsiteY4" fmla="*/ 254413 h 528637"/>
                  <a:gd name="connsiteX5" fmla="*/ 112395 w 524827"/>
                  <a:gd name="connsiteY5" fmla="*/ 197263 h 528637"/>
                  <a:gd name="connsiteX6" fmla="*/ 154305 w 524827"/>
                  <a:gd name="connsiteY6" fmla="*/ 130588 h 528637"/>
                  <a:gd name="connsiteX7" fmla="*/ 164782 w 524827"/>
                  <a:gd name="connsiteY7" fmla="*/ 74390 h 528637"/>
                  <a:gd name="connsiteX8" fmla="*/ 168592 w 524827"/>
                  <a:gd name="connsiteY8" fmla="*/ 53340 h 528637"/>
                  <a:gd name="connsiteX9" fmla="*/ 172402 w 524827"/>
                  <a:gd name="connsiteY9" fmla="*/ 28575 h 528637"/>
                  <a:gd name="connsiteX10" fmla="*/ 197167 w 524827"/>
                  <a:gd name="connsiteY10" fmla="*/ 0 h 528637"/>
                  <a:gd name="connsiteX11" fmla="*/ 221932 w 524827"/>
                  <a:gd name="connsiteY11" fmla="*/ 24765 h 528637"/>
                  <a:gd name="connsiteX12" fmla="*/ 242888 w 524827"/>
                  <a:gd name="connsiteY12" fmla="*/ 31528 h 528637"/>
                  <a:gd name="connsiteX13" fmla="*/ 280988 w 524827"/>
                  <a:gd name="connsiteY13" fmla="*/ 35338 h 528637"/>
                  <a:gd name="connsiteX14" fmla="*/ 302895 w 524827"/>
                  <a:gd name="connsiteY14" fmla="*/ 21050 h 528637"/>
                  <a:gd name="connsiteX15" fmla="*/ 361950 w 524827"/>
                  <a:gd name="connsiteY15" fmla="*/ 3905 h 528637"/>
                  <a:gd name="connsiteX16" fmla="*/ 415290 w 524827"/>
                  <a:gd name="connsiteY16" fmla="*/ 7715 h 528637"/>
                  <a:gd name="connsiteX17" fmla="*/ 429577 w 524827"/>
                  <a:gd name="connsiteY17" fmla="*/ 24765 h 528637"/>
                  <a:gd name="connsiteX18" fmla="*/ 478155 w 524827"/>
                  <a:gd name="connsiteY18" fmla="*/ 21050 h 528637"/>
                  <a:gd name="connsiteX19" fmla="*/ 506730 w 524827"/>
                  <a:gd name="connsiteY19" fmla="*/ 42863 h 528637"/>
                  <a:gd name="connsiteX20" fmla="*/ 513397 w 524827"/>
                  <a:gd name="connsiteY20" fmla="*/ 84868 h 528637"/>
                  <a:gd name="connsiteX21" fmla="*/ 524827 w 524827"/>
                  <a:gd name="connsiteY21" fmla="*/ 88678 h 528637"/>
                  <a:gd name="connsiteX22" fmla="*/ 524827 w 524827"/>
                  <a:gd name="connsiteY22" fmla="*/ 95250 h 528637"/>
                  <a:gd name="connsiteX23" fmla="*/ 489585 w 524827"/>
                  <a:gd name="connsiteY23" fmla="*/ 126778 h 528637"/>
                  <a:gd name="connsiteX24" fmla="*/ 481965 w 524827"/>
                  <a:gd name="connsiteY24" fmla="*/ 148590 h 528637"/>
                  <a:gd name="connsiteX25" fmla="*/ 478155 w 524827"/>
                  <a:gd name="connsiteY25" fmla="*/ 183928 h 528637"/>
                  <a:gd name="connsiteX26" fmla="*/ 461010 w 524827"/>
                  <a:gd name="connsiteY26" fmla="*/ 208693 h 528637"/>
                  <a:gd name="connsiteX27" fmla="*/ 471488 w 524827"/>
                  <a:gd name="connsiteY27" fmla="*/ 236315 h 528637"/>
                  <a:gd name="connsiteX28" fmla="*/ 475297 w 524827"/>
                  <a:gd name="connsiteY28" fmla="*/ 279178 h 528637"/>
                  <a:gd name="connsiteX29" fmla="*/ 475297 w 524827"/>
                  <a:gd name="connsiteY29" fmla="*/ 302990 h 528637"/>
                  <a:gd name="connsiteX30" fmla="*/ 478155 w 524827"/>
                  <a:gd name="connsiteY30" fmla="*/ 324803 h 528637"/>
                  <a:gd name="connsiteX31" fmla="*/ 502920 w 524827"/>
                  <a:gd name="connsiteY31" fmla="*/ 356330 h 528637"/>
                  <a:gd name="connsiteX32" fmla="*/ 506730 w 524827"/>
                  <a:gd name="connsiteY32" fmla="*/ 384905 h 528637"/>
                  <a:gd name="connsiteX33" fmla="*/ 475297 w 524827"/>
                  <a:gd name="connsiteY33" fmla="*/ 384905 h 528637"/>
                  <a:gd name="connsiteX34" fmla="*/ 446722 w 524827"/>
                  <a:gd name="connsiteY34" fmla="*/ 398240 h 528637"/>
                  <a:gd name="connsiteX35" fmla="*/ 450532 w 524827"/>
                  <a:gd name="connsiteY35" fmla="*/ 430625 h 528637"/>
                  <a:gd name="connsiteX36" fmla="*/ 443865 w 524827"/>
                  <a:gd name="connsiteY36" fmla="*/ 468725 h 528637"/>
                  <a:gd name="connsiteX37" fmla="*/ 461010 w 524827"/>
                  <a:gd name="connsiteY37" fmla="*/ 486728 h 528637"/>
                  <a:gd name="connsiteX38" fmla="*/ 485775 w 524827"/>
                  <a:gd name="connsiteY38" fmla="*/ 497300 h 528637"/>
                  <a:gd name="connsiteX39" fmla="*/ 485775 w 524827"/>
                  <a:gd name="connsiteY39" fmla="*/ 528638 h 528637"/>
                  <a:gd name="connsiteX40" fmla="*/ 461010 w 524827"/>
                  <a:gd name="connsiteY40" fmla="*/ 528638 h 528637"/>
                  <a:gd name="connsiteX41" fmla="*/ 446722 w 524827"/>
                  <a:gd name="connsiteY41" fmla="*/ 507778 h 528637"/>
                  <a:gd name="connsiteX42" fmla="*/ 425767 w 524827"/>
                  <a:gd name="connsiteY42" fmla="*/ 497300 h 528637"/>
                  <a:gd name="connsiteX43" fmla="*/ 411480 w 524827"/>
                  <a:gd name="connsiteY43" fmla="*/ 476250 h 528637"/>
                  <a:gd name="connsiteX44" fmla="*/ 386715 w 524827"/>
                  <a:gd name="connsiteY44" fmla="*/ 486728 h 528637"/>
                  <a:gd name="connsiteX45" fmla="*/ 320040 w 524827"/>
                  <a:gd name="connsiteY45" fmla="*/ 458153 h 528637"/>
                  <a:gd name="connsiteX46" fmla="*/ 274320 w 524827"/>
                  <a:gd name="connsiteY46" fmla="*/ 458153 h 528637"/>
                  <a:gd name="connsiteX47" fmla="*/ 278130 w 524827"/>
                  <a:gd name="connsiteY47" fmla="*/ 437293 h 528637"/>
                  <a:gd name="connsiteX48" fmla="*/ 260032 w 524827"/>
                  <a:gd name="connsiteY48" fmla="*/ 426815 h 528637"/>
                  <a:gd name="connsiteX49" fmla="*/ 257175 w 524827"/>
                  <a:gd name="connsiteY49" fmla="*/ 356330 h 528637"/>
                  <a:gd name="connsiteX50" fmla="*/ 210502 w 524827"/>
                  <a:gd name="connsiteY50" fmla="*/ 345853 h 528637"/>
                  <a:gd name="connsiteX51" fmla="*/ 193357 w 524827"/>
                  <a:gd name="connsiteY51" fmla="*/ 374428 h 528637"/>
                  <a:gd name="connsiteX52" fmla="*/ 140970 w 524827"/>
                  <a:gd name="connsiteY52" fmla="*/ 370618 h 528637"/>
                  <a:gd name="connsiteX53" fmla="*/ 122872 w 524827"/>
                  <a:gd name="connsiteY53" fmla="*/ 338138 h 528637"/>
                  <a:gd name="connsiteX54" fmla="*/ 116205 w 524827"/>
                  <a:gd name="connsiteY54" fmla="*/ 314325 h 528637"/>
                  <a:gd name="connsiteX55" fmla="*/ 10477 w 524827"/>
                  <a:gd name="connsiteY55" fmla="*/ 314325 h 528637"/>
                  <a:gd name="connsiteX56" fmla="*/ 0 w 524827"/>
                  <a:gd name="connsiteY56" fmla="*/ 310515 h 52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524827" h="528637">
                    <a:moveTo>
                      <a:pt x="0" y="310515"/>
                    </a:moveTo>
                    <a:lnTo>
                      <a:pt x="10477" y="285750"/>
                    </a:lnTo>
                    <a:lnTo>
                      <a:pt x="24765" y="281940"/>
                    </a:lnTo>
                    <a:lnTo>
                      <a:pt x="59055" y="275368"/>
                    </a:lnTo>
                    <a:lnTo>
                      <a:pt x="105727" y="254413"/>
                    </a:lnTo>
                    <a:lnTo>
                      <a:pt x="112395" y="197263"/>
                    </a:lnTo>
                    <a:lnTo>
                      <a:pt x="154305" y="130588"/>
                    </a:lnTo>
                    <a:lnTo>
                      <a:pt x="164782" y="74390"/>
                    </a:lnTo>
                    <a:lnTo>
                      <a:pt x="168592" y="53340"/>
                    </a:lnTo>
                    <a:lnTo>
                      <a:pt x="172402" y="28575"/>
                    </a:lnTo>
                    <a:lnTo>
                      <a:pt x="197167" y="0"/>
                    </a:lnTo>
                    <a:lnTo>
                      <a:pt x="221932" y="24765"/>
                    </a:lnTo>
                    <a:lnTo>
                      <a:pt x="242888" y="31528"/>
                    </a:lnTo>
                    <a:lnTo>
                      <a:pt x="280988" y="35338"/>
                    </a:lnTo>
                    <a:lnTo>
                      <a:pt x="302895" y="21050"/>
                    </a:lnTo>
                    <a:lnTo>
                      <a:pt x="361950" y="3905"/>
                    </a:lnTo>
                    <a:lnTo>
                      <a:pt x="415290" y="7715"/>
                    </a:lnTo>
                    <a:lnTo>
                      <a:pt x="429577" y="24765"/>
                    </a:lnTo>
                    <a:lnTo>
                      <a:pt x="478155" y="21050"/>
                    </a:lnTo>
                    <a:lnTo>
                      <a:pt x="506730" y="42863"/>
                    </a:lnTo>
                    <a:lnTo>
                      <a:pt x="513397" y="84868"/>
                    </a:lnTo>
                    <a:lnTo>
                      <a:pt x="524827" y="88678"/>
                    </a:lnTo>
                    <a:lnTo>
                      <a:pt x="524827" y="95250"/>
                    </a:lnTo>
                    <a:lnTo>
                      <a:pt x="489585" y="126778"/>
                    </a:lnTo>
                    <a:lnTo>
                      <a:pt x="481965" y="148590"/>
                    </a:lnTo>
                    <a:lnTo>
                      <a:pt x="478155" y="183928"/>
                    </a:lnTo>
                    <a:lnTo>
                      <a:pt x="461010" y="208693"/>
                    </a:lnTo>
                    <a:lnTo>
                      <a:pt x="471488" y="236315"/>
                    </a:lnTo>
                    <a:lnTo>
                      <a:pt x="475297" y="279178"/>
                    </a:lnTo>
                    <a:lnTo>
                      <a:pt x="475297" y="302990"/>
                    </a:lnTo>
                    <a:lnTo>
                      <a:pt x="478155" y="324803"/>
                    </a:lnTo>
                    <a:lnTo>
                      <a:pt x="502920" y="356330"/>
                    </a:lnTo>
                    <a:lnTo>
                      <a:pt x="506730" y="384905"/>
                    </a:lnTo>
                    <a:lnTo>
                      <a:pt x="475297" y="384905"/>
                    </a:lnTo>
                    <a:lnTo>
                      <a:pt x="446722" y="398240"/>
                    </a:lnTo>
                    <a:lnTo>
                      <a:pt x="450532" y="430625"/>
                    </a:lnTo>
                    <a:lnTo>
                      <a:pt x="443865" y="468725"/>
                    </a:lnTo>
                    <a:lnTo>
                      <a:pt x="461010" y="486728"/>
                    </a:lnTo>
                    <a:lnTo>
                      <a:pt x="485775" y="497300"/>
                    </a:lnTo>
                    <a:lnTo>
                      <a:pt x="485775" y="528638"/>
                    </a:lnTo>
                    <a:lnTo>
                      <a:pt x="461010" y="528638"/>
                    </a:lnTo>
                    <a:lnTo>
                      <a:pt x="446722" y="507778"/>
                    </a:lnTo>
                    <a:lnTo>
                      <a:pt x="425767" y="497300"/>
                    </a:lnTo>
                    <a:lnTo>
                      <a:pt x="411480" y="476250"/>
                    </a:lnTo>
                    <a:lnTo>
                      <a:pt x="386715" y="486728"/>
                    </a:lnTo>
                    <a:lnTo>
                      <a:pt x="320040" y="458153"/>
                    </a:lnTo>
                    <a:lnTo>
                      <a:pt x="274320" y="458153"/>
                    </a:lnTo>
                    <a:lnTo>
                      <a:pt x="278130" y="437293"/>
                    </a:lnTo>
                    <a:lnTo>
                      <a:pt x="260032" y="426815"/>
                    </a:lnTo>
                    <a:lnTo>
                      <a:pt x="257175" y="356330"/>
                    </a:lnTo>
                    <a:lnTo>
                      <a:pt x="210502" y="345853"/>
                    </a:lnTo>
                    <a:lnTo>
                      <a:pt x="193357" y="374428"/>
                    </a:lnTo>
                    <a:lnTo>
                      <a:pt x="140970" y="370618"/>
                    </a:lnTo>
                    <a:lnTo>
                      <a:pt x="122872" y="338138"/>
                    </a:lnTo>
                    <a:lnTo>
                      <a:pt x="116205" y="314325"/>
                    </a:lnTo>
                    <a:lnTo>
                      <a:pt x="10477" y="314325"/>
                    </a:lnTo>
                    <a:lnTo>
                      <a:pt x="0" y="31051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ED3C981C-4E63-1641-2421-45A0941F724A}"/>
                  </a:ext>
                </a:extLst>
              </p:cNvPr>
              <p:cNvSpPr/>
              <p:nvPr/>
            </p:nvSpPr>
            <p:spPr>
              <a:xfrm>
                <a:off x="6340264" y="4398916"/>
                <a:ext cx="514482" cy="518221"/>
              </a:xfrm>
              <a:custGeom>
                <a:avLst/>
                <a:gdLst>
                  <a:gd name="connsiteX0" fmla="*/ 0 w 524827"/>
                  <a:gd name="connsiteY0" fmla="*/ 310515 h 528637"/>
                  <a:gd name="connsiteX1" fmla="*/ 10477 w 524827"/>
                  <a:gd name="connsiteY1" fmla="*/ 285750 h 528637"/>
                  <a:gd name="connsiteX2" fmla="*/ 24765 w 524827"/>
                  <a:gd name="connsiteY2" fmla="*/ 281940 h 528637"/>
                  <a:gd name="connsiteX3" fmla="*/ 59055 w 524827"/>
                  <a:gd name="connsiteY3" fmla="*/ 275368 h 528637"/>
                  <a:gd name="connsiteX4" fmla="*/ 105727 w 524827"/>
                  <a:gd name="connsiteY4" fmla="*/ 254413 h 528637"/>
                  <a:gd name="connsiteX5" fmla="*/ 112395 w 524827"/>
                  <a:gd name="connsiteY5" fmla="*/ 197263 h 528637"/>
                  <a:gd name="connsiteX6" fmla="*/ 154305 w 524827"/>
                  <a:gd name="connsiteY6" fmla="*/ 130588 h 528637"/>
                  <a:gd name="connsiteX7" fmla="*/ 164782 w 524827"/>
                  <a:gd name="connsiteY7" fmla="*/ 74390 h 528637"/>
                  <a:gd name="connsiteX8" fmla="*/ 168592 w 524827"/>
                  <a:gd name="connsiteY8" fmla="*/ 53340 h 528637"/>
                  <a:gd name="connsiteX9" fmla="*/ 172402 w 524827"/>
                  <a:gd name="connsiteY9" fmla="*/ 28575 h 528637"/>
                  <a:gd name="connsiteX10" fmla="*/ 197167 w 524827"/>
                  <a:gd name="connsiteY10" fmla="*/ 0 h 528637"/>
                  <a:gd name="connsiteX11" fmla="*/ 221932 w 524827"/>
                  <a:gd name="connsiteY11" fmla="*/ 24765 h 528637"/>
                  <a:gd name="connsiteX12" fmla="*/ 242888 w 524827"/>
                  <a:gd name="connsiteY12" fmla="*/ 31528 h 528637"/>
                  <a:gd name="connsiteX13" fmla="*/ 280988 w 524827"/>
                  <a:gd name="connsiteY13" fmla="*/ 35338 h 528637"/>
                  <a:gd name="connsiteX14" fmla="*/ 302895 w 524827"/>
                  <a:gd name="connsiteY14" fmla="*/ 21050 h 528637"/>
                  <a:gd name="connsiteX15" fmla="*/ 361950 w 524827"/>
                  <a:gd name="connsiteY15" fmla="*/ 3905 h 528637"/>
                  <a:gd name="connsiteX16" fmla="*/ 415290 w 524827"/>
                  <a:gd name="connsiteY16" fmla="*/ 7715 h 528637"/>
                  <a:gd name="connsiteX17" fmla="*/ 429577 w 524827"/>
                  <a:gd name="connsiteY17" fmla="*/ 24765 h 528637"/>
                  <a:gd name="connsiteX18" fmla="*/ 478155 w 524827"/>
                  <a:gd name="connsiteY18" fmla="*/ 21050 h 528637"/>
                  <a:gd name="connsiteX19" fmla="*/ 506730 w 524827"/>
                  <a:gd name="connsiteY19" fmla="*/ 42863 h 528637"/>
                  <a:gd name="connsiteX20" fmla="*/ 513397 w 524827"/>
                  <a:gd name="connsiteY20" fmla="*/ 84868 h 528637"/>
                  <a:gd name="connsiteX21" fmla="*/ 524827 w 524827"/>
                  <a:gd name="connsiteY21" fmla="*/ 88678 h 528637"/>
                  <a:gd name="connsiteX22" fmla="*/ 524827 w 524827"/>
                  <a:gd name="connsiteY22" fmla="*/ 95250 h 528637"/>
                  <a:gd name="connsiteX23" fmla="*/ 489585 w 524827"/>
                  <a:gd name="connsiteY23" fmla="*/ 126778 h 528637"/>
                  <a:gd name="connsiteX24" fmla="*/ 481965 w 524827"/>
                  <a:gd name="connsiteY24" fmla="*/ 148590 h 528637"/>
                  <a:gd name="connsiteX25" fmla="*/ 478155 w 524827"/>
                  <a:gd name="connsiteY25" fmla="*/ 183928 h 528637"/>
                  <a:gd name="connsiteX26" fmla="*/ 461010 w 524827"/>
                  <a:gd name="connsiteY26" fmla="*/ 208693 h 528637"/>
                  <a:gd name="connsiteX27" fmla="*/ 471488 w 524827"/>
                  <a:gd name="connsiteY27" fmla="*/ 236315 h 528637"/>
                  <a:gd name="connsiteX28" fmla="*/ 475297 w 524827"/>
                  <a:gd name="connsiteY28" fmla="*/ 279178 h 528637"/>
                  <a:gd name="connsiteX29" fmla="*/ 475297 w 524827"/>
                  <a:gd name="connsiteY29" fmla="*/ 302990 h 528637"/>
                  <a:gd name="connsiteX30" fmla="*/ 478155 w 524827"/>
                  <a:gd name="connsiteY30" fmla="*/ 324803 h 528637"/>
                  <a:gd name="connsiteX31" fmla="*/ 502920 w 524827"/>
                  <a:gd name="connsiteY31" fmla="*/ 356330 h 528637"/>
                  <a:gd name="connsiteX32" fmla="*/ 506730 w 524827"/>
                  <a:gd name="connsiteY32" fmla="*/ 384905 h 528637"/>
                  <a:gd name="connsiteX33" fmla="*/ 475297 w 524827"/>
                  <a:gd name="connsiteY33" fmla="*/ 384905 h 528637"/>
                  <a:gd name="connsiteX34" fmla="*/ 446722 w 524827"/>
                  <a:gd name="connsiteY34" fmla="*/ 398240 h 528637"/>
                  <a:gd name="connsiteX35" fmla="*/ 450532 w 524827"/>
                  <a:gd name="connsiteY35" fmla="*/ 430625 h 528637"/>
                  <a:gd name="connsiteX36" fmla="*/ 443865 w 524827"/>
                  <a:gd name="connsiteY36" fmla="*/ 468725 h 528637"/>
                  <a:gd name="connsiteX37" fmla="*/ 461010 w 524827"/>
                  <a:gd name="connsiteY37" fmla="*/ 486728 h 528637"/>
                  <a:gd name="connsiteX38" fmla="*/ 485775 w 524827"/>
                  <a:gd name="connsiteY38" fmla="*/ 497300 h 528637"/>
                  <a:gd name="connsiteX39" fmla="*/ 485775 w 524827"/>
                  <a:gd name="connsiteY39" fmla="*/ 528638 h 528637"/>
                  <a:gd name="connsiteX40" fmla="*/ 461010 w 524827"/>
                  <a:gd name="connsiteY40" fmla="*/ 528638 h 528637"/>
                  <a:gd name="connsiteX41" fmla="*/ 446722 w 524827"/>
                  <a:gd name="connsiteY41" fmla="*/ 507778 h 528637"/>
                  <a:gd name="connsiteX42" fmla="*/ 425767 w 524827"/>
                  <a:gd name="connsiteY42" fmla="*/ 497300 h 528637"/>
                  <a:gd name="connsiteX43" fmla="*/ 411480 w 524827"/>
                  <a:gd name="connsiteY43" fmla="*/ 476250 h 528637"/>
                  <a:gd name="connsiteX44" fmla="*/ 386715 w 524827"/>
                  <a:gd name="connsiteY44" fmla="*/ 486728 h 528637"/>
                  <a:gd name="connsiteX45" fmla="*/ 320040 w 524827"/>
                  <a:gd name="connsiteY45" fmla="*/ 458153 h 528637"/>
                  <a:gd name="connsiteX46" fmla="*/ 274320 w 524827"/>
                  <a:gd name="connsiteY46" fmla="*/ 458153 h 528637"/>
                  <a:gd name="connsiteX47" fmla="*/ 278130 w 524827"/>
                  <a:gd name="connsiteY47" fmla="*/ 437293 h 528637"/>
                  <a:gd name="connsiteX48" fmla="*/ 260032 w 524827"/>
                  <a:gd name="connsiteY48" fmla="*/ 426815 h 528637"/>
                  <a:gd name="connsiteX49" fmla="*/ 257175 w 524827"/>
                  <a:gd name="connsiteY49" fmla="*/ 356330 h 528637"/>
                  <a:gd name="connsiteX50" fmla="*/ 210502 w 524827"/>
                  <a:gd name="connsiteY50" fmla="*/ 345853 h 528637"/>
                  <a:gd name="connsiteX51" fmla="*/ 193357 w 524827"/>
                  <a:gd name="connsiteY51" fmla="*/ 374428 h 528637"/>
                  <a:gd name="connsiteX52" fmla="*/ 140970 w 524827"/>
                  <a:gd name="connsiteY52" fmla="*/ 370618 h 528637"/>
                  <a:gd name="connsiteX53" fmla="*/ 122872 w 524827"/>
                  <a:gd name="connsiteY53" fmla="*/ 338138 h 528637"/>
                  <a:gd name="connsiteX54" fmla="*/ 116205 w 524827"/>
                  <a:gd name="connsiteY54" fmla="*/ 314325 h 528637"/>
                  <a:gd name="connsiteX55" fmla="*/ 10477 w 524827"/>
                  <a:gd name="connsiteY55" fmla="*/ 314325 h 528637"/>
                  <a:gd name="connsiteX56" fmla="*/ 0 w 524827"/>
                  <a:gd name="connsiteY56" fmla="*/ 310515 h 52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524827" h="528637">
                    <a:moveTo>
                      <a:pt x="0" y="310515"/>
                    </a:moveTo>
                    <a:lnTo>
                      <a:pt x="10477" y="285750"/>
                    </a:lnTo>
                    <a:lnTo>
                      <a:pt x="24765" y="281940"/>
                    </a:lnTo>
                    <a:lnTo>
                      <a:pt x="59055" y="275368"/>
                    </a:lnTo>
                    <a:lnTo>
                      <a:pt x="105727" y="254413"/>
                    </a:lnTo>
                    <a:lnTo>
                      <a:pt x="112395" y="197263"/>
                    </a:lnTo>
                    <a:lnTo>
                      <a:pt x="154305" y="130588"/>
                    </a:lnTo>
                    <a:lnTo>
                      <a:pt x="164782" y="74390"/>
                    </a:lnTo>
                    <a:lnTo>
                      <a:pt x="168592" y="53340"/>
                    </a:lnTo>
                    <a:lnTo>
                      <a:pt x="172402" y="28575"/>
                    </a:lnTo>
                    <a:lnTo>
                      <a:pt x="197167" y="0"/>
                    </a:lnTo>
                    <a:lnTo>
                      <a:pt x="221932" y="24765"/>
                    </a:lnTo>
                    <a:lnTo>
                      <a:pt x="242888" y="31528"/>
                    </a:lnTo>
                    <a:lnTo>
                      <a:pt x="280988" y="35338"/>
                    </a:lnTo>
                    <a:lnTo>
                      <a:pt x="302895" y="21050"/>
                    </a:lnTo>
                    <a:lnTo>
                      <a:pt x="361950" y="3905"/>
                    </a:lnTo>
                    <a:lnTo>
                      <a:pt x="415290" y="7715"/>
                    </a:lnTo>
                    <a:lnTo>
                      <a:pt x="429577" y="24765"/>
                    </a:lnTo>
                    <a:lnTo>
                      <a:pt x="478155" y="21050"/>
                    </a:lnTo>
                    <a:lnTo>
                      <a:pt x="506730" y="42863"/>
                    </a:lnTo>
                    <a:lnTo>
                      <a:pt x="513397" y="84868"/>
                    </a:lnTo>
                    <a:lnTo>
                      <a:pt x="524827" y="88678"/>
                    </a:lnTo>
                    <a:lnTo>
                      <a:pt x="524827" y="95250"/>
                    </a:lnTo>
                    <a:lnTo>
                      <a:pt x="489585" y="126778"/>
                    </a:lnTo>
                    <a:lnTo>
                      <a:pt x="481965" y="148590"/>
                    </a:lnTo>
                    <a:lnTo>
                      <a:pt x="478155" y="183928"/>
                    </a:lnTo>
                    <a:lnTo>
                      <a:pt x="461010" y="208693"/>
                    </a:lnTo>
                    <a:lnTo>
                      <a:pt x="471488" y="236315"/>
                    </a:lnTo>
                    <a:lnTo>
                      <a:pt x="475297" y="279178"/>
                    </a:lnTo>
                    <a:lnTo>
                      <a:pt x="475297" y="302990"/>
                    </a:lnTo>
                    <a:lnTo>
                      <a:pt x="478155" y="324803"/>
                    </a:lnTo>
                    <a:lnTo>
                      <a:pt x="502920" y="356330"/>
                    </a:lnTo>
                    <a:lnTo>
                      <a:pt x="506730" y="384905"/>
                    </a:lnTo>
                    <a:lnTo>
                      <a:pt x="475297" y="384905"/>
                    </a:lnTo>
                    <a:lnTo>
                      <a:pt x="446722" y="398240"/>
                    </a:lnTo>
                    <a:lnTo>
                      <a:pt x="450532" y="430625"/>
                    </a:lnTo>
                    <a:lnTo>
                      <a:pt x="443865" y="468725"/>
                    </a:lnTo>
                    <a:lnTo>
                      <a:pt x="461010" y="486728"/>
                    </a:lnTo>
                    <a:lnTo>
                      <a:pt x="485775" y="497300"/>
                    </a:lnTo>
                    <a:lnTo>
                      <a:pt x="485775" y="528638"/>
                    </a:lnTo>
                    <a:lnTo>
                      <a:pt x="461010" y="528638"/>
                    </a:lnTo>
                    <a:lnTo>
                      <a:pt x="446722" y="507778"/>
                    </a:lnTo>
                    <a:lnTo>
                      <a:pt x="425767" y="497300"/>
                    </a:lnTo>
                    <a:lnTo>
                      <a:pt x="411480" y="476250"/>
                    </a:lnTo>
                    <a:lnTo>
                      <a:pt x="386715" y="486728"/>
                    </a:lnTo>
                    <a:lnTo>
                      <a:pt x="320040" y="458153"/>
                    </a:lnTo>
                    <a:lnTo>
                      <a:pt x="274320" y="458153"/>
                    </a:lnTo>
                    <a:lnTo>
                      <a:pt x="278130" y="437293"/>
                    </a:lnTo>
                    <a:lnTo>
                      <a:pt x="260032" y="426815"/>
                    </a:lnTo>
                    <a:lnTo>
                      <a:pt x="257175" y="356330"/>
                    </a:lnTo>
                    <a:lnTo>
                      <a:pt x="210502" y="345853"/>
                    </a:lnTo>
                    <a:lnTo>
                      <a:pt x="193357" y="374428"/>
                    </a:lnTo>
                    <a:lnTo>
                      <a:pt x="140970" y="370618"/>
                    </a:lnTo>
                    <a:lnTo>
                      <a:pt x="122872" y="338138"/>
                    </a:lnTo>
                    <a:lnTo>
                      <a:pt x="116205" y="314325"/>
                    </a:lnTo>
                    <a:lnTo>
                      <a:pt x="10477" y="314325"/>
                    </a:lnTo>
                    <a:lnTo>
                      <a:pt x="0" y="31051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10F7E6E3-E0BF-7570-DBDC-FD5D8667FD4D}"/>
                  </a:ext>
                </a:extLst>
              </p:cNvPr>
              <p:cNvSpPr/>
              <p:nvPr/>
            </p:nvSpPr>
            <p:spPr>
              <a:xfrm>
                <a:off x="6329993" y="4668858"/>
                <a:ext cx="20542" cy="34454"/>
              </a:xfrm>
              <a:custGeom>
                <a:avLst/>
                <a:gdLst>
                  <a:gd name="connsiteX0" fmla="*/ 0 w 20955"/>
                  <a:gd name="connsiteY0" fmla="*/ 6572 h 35147"/>
                  <a:gd name="connsiteX1" fmla="*/ 17145 w 20955"/>
                  <a:gd name="connsiteY1" fmla="*/ 0 h 35147"/>
                  <a:gd name="connsiteX2" fmla="*/ 20955 w 20955"/>
                  <a:gd name="connsiteY2" fmla="*/ 6572 h 35147"/>
                  <a:gd name="connsiteX3" fmla="*/ 17145 w 20955"/>
                  <a:gd name="connsiteY3" fmla="*/ 20860 h 35147"/>
                  <a:gd name="connsiteX4" fmla="*/ 0 w 20955"/>
                  <a:gd name="connsiteY4" fmla="*/ 35147 h 35147"/>
                  <a:gd name="connsiteX5" fmla="*/ 0 w 20955"/>
                  <a:gd name="connsiteY5" fmla="*/ 6572 h 35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" h="35147">
                    <a:moveTo>
                      <a:pt x="0" y="6572"/>
                    </a:moveTo>
                    <a:lnTo>
                      <a:pt x="17145" y="0"/>
                    </a:lnTo>
                    <a:lnTo>
                      <a:pt x="20955" y="6572"/>
                    </a:lnTo>
                    <a:lnTo>
                      <a:pt x="17145" y="20860"/>
                    </a:lnTo>
                    <a:lnTo>
                      <a:pt x="0" y="35147"/>
                    </a:lnTo>
                    <a:lnTo>
                      <a:pt x="0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BB53BA1B-93B7-03C4-C244-7C599922F5B4}"/>
                  </a:ext>
                </a:extLst>
              </p:cNvPr>
              <p:cNvSpPr/>
              <p:nvPr/>
            </p:nvSpPr>
            <p:spPr>
              <a:xfrm>
                <a:off x="6329993" y="4668858"/>
                <a:ext cx="20542" cy="34454"/>
              </a:xfrm>
              <a:custGeom>
                <a:avLst/>
                <a:gdLst>
                  <a:gd name="connsiteX0" fmla="*/ 0 w 20955"/>
                  <a:gd name="connsiteY0" fmla="*/ 6572 h 35147"/>
                  <a:gd name="connsiteX1" fmla="*/ 17145 w 20955"/>
                  <a:gd name="connsiteY1" fmla="*/ 0 h 35147"/>
                  <a:gd name="connsiteX2" fmla="*/ 20955 w 20955"/>
                  <a:gd name="connsiteY2" fmla="*/ 6572 h 35147"/>
                  <a:gd name="connsiteX3" fmla="*/ 17145 w 20955"/>
                  <a:gd name="connsiteY3" fmla="*/ 20860 h 35147"/>
                  <a:gd name="connsiteX4" fmla="*/ 0 w 20955"/>
                  <a:gd name="connsiteY4" fmla="*/ 35147 h 35147"/>
                  <a:gd name="connsiteX5" fmla="*/ 0 w 20955"/>
                  <a:gd name="connsiteY5" fmla="*/ 6572 h 35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" h="35147">
                    <a:moveTo>
                      <a:pt x="0" y="6572"/>
                    </a:moveTo>
                    <a:lnTo>
                      <a:pt x="17145" y="0"/>
                    </a:lnTo>
                    <a:lnTo>
                      <a:pt x="20955" y="6572"/>
                    </a:lnTo>
                    <a:lnTo>
                      <a:pt x="17145" y="20860"/>
                    </a:lnTo>
                    <a:lnTo>
                      <a:pt x="0" y="35147"/>
                    </a:lnTo>
                    <a:lnTo>
                      <a:pt x="0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E2CAE113-6D88-3548-5746-CCEAFDDDFCB5}"/>
                  </a:ext>
                </a:extLst>
              </p:cNvPr>
              <p:cNvSpPr/>
              <p:nvPr/>
            </p:nvSpPr>
            <p:spPr>
              <a:xfrm>
                <a:off x="6303848" y="4447564"/>
                <a:ext cx="201683" cy="227736"/>
              </a:xfrm>
              <a:custGeom>
                <a:avLst/>
                <a:gdLst>
                  <a:gd name="connsiteX0" fmla="*/ 0 w 205739"/>
                  <a:gd name="connsiteY0" fmla="*/ 204788 h 232314"/>
                  <a:gd name="connsiteX1" fmla="*/ 26670 w 205739"/>
                  <a:gd name="connsiteY1" fmla="*/ 204788 h 232314"/>
                  <a:gd name="connsiteX2" fmla="*/ 26670 w 205739"/>
                  <a:gd name="connsiteY2" fmla="*/ 186690 h 232314"/>
                  <a:gd name="connsiteX3" fmla="*/ 12382 w 205739"/>
                  <a:gd name="connsiteY3" fmla="*/ 186690 h 232314"/>
                  <a:gd name="connsiteX4" fmla="*/ 12382 w 205739"/>
                  <a:gd name="connsiteY4" fmla="*/ 165640 h 232314"/>
                  <a:gd name="connsiteX5" fmla="*/ 26670 w 205739"/>
                  <a:gd name="connsiteY5" fmla="*/ 165640 h 232314"/>
                  <a:gd name="connsiteX6" fmla="*/ 43815 w 205739"/>
                  <a:gd name="connsiteY6" fmla="*/ 151352 h 232314"/>
                  <a:gd name="connsiteX7" fmla="*/ 54293 w 205739"/>
                  <a:gd name="connsiteY7" fmla="*/ 165640 h 232314"/>
                  <a:gd name="connsiteX8" fmla="*/ 85725 w 205739"/>
                  <a:gd name="connsiteY8" fmla="*/ 169450 h 232314"/>
                  <a:gd name="connsiteX9" fmla="*/ 93345 w 205739"/>
                  <a:gd name="connsiteY9" fmla="*/ 155162 h 232314"/>
                  <a:gd name="connsiteX10" fmla="*/ 93345 w 205739"/>
                  <a:gd name="connsiteY10" fmla="*/ 120015 h 232314"/>
                  <a:gd name="connsiteX11" fmla="*/ 79057 w 205739"/>
                  <a:gd name="connsiteY11" fmla="*/ 109538 h 232314"/>
                  <a:gd name="connsiteX12" fmla="*/ 79057 w 205739"/>
                  <a:gd name="connsiteY12" fmla="*/ 87630 h 232314"/>
                  <a:gd name="connsiteX13" fmla="*/ 93345 w 205739"/>
                  <a:gd name="connsiteY13" fmla="*/ 77153 h 232314"/>
                  <a:gd name="connsiteX14" fmla="*/ 85725 w 205739"/>
                  <a:gd name="connsiteY14" fmla="*/ 59912 h 232314"/>
                  <a:gd name="connsiteX15" fmla="*/ 61913 w 205739"/>
                  <a:gd name="connsiteY15" fmla="*/ 63818 h 232314"/>
                  <a:gd name="connsiteX16" fmla="*/ 54293 w 205739"/>
                  <a:gd name="connsiteY16" fmla="*/ 35243 h 232314"/>
                  <a:gd name="connsiteX17" fmla="*/ 103823 w 205739"/>
                  <a:gd name="connsiteY17" fmla="*/ 35243 h 232314"/>
                  <a:gd name="connsiteX18" fmla="*/ 103823 w 205739"/>
                  <a:gd name="connsiteY18" fmla="*/ 49530 h 232314"/>
                  <a:gd name="connsiteX19" fmla="*/ 135255 w 205739"/>
                  <a:gd name="connsiteY19" fmla="*/ 45625 h 232314"/>
                  <a:gd name="connsiteX20" fmla="*/ 139065 w 205739"/>
                  <a:gd name="connsiteY20" fmla="*/ 20955 h 232314"/>
                  <a:gd name="connsiteX21" fmla="*/ 153352 w 205739"/>
                  <a:gd name="connsiteY21" fmla="*/ 0 h 232314"/>
                  <a:gd name="connsiteX22" fmla="*/ 205740 w 205739"/>
                  <a:gd name="connsiteY22" fmla="*/ 3715 h 232314"/>
                  <a:gd name="connsiteX23" fmla="*/ 191452 w 205739"/>
                  <a:gd name="connsiteY23" fmla="*/ 80963 h 232314"/>
                  <a:gd name="connsiteX24" fmla="*/ 149543 w 205739"/>
                  <a:gd name="connsiteY24" fmla="*/ 147638 h 232314"/>
                  <a:gd name="connsiteX25" fmla="*/ 142875 w 205739"/>
                  <a:gd name="connsiteY25" fmla="*/ 204788 h 232314"/>
                  <a:gd name="connsiteX26" fmla="*/ 96202 w 205739"/>
                  <a:gd name="connsiteY26" fmla="*/ 225743 h 232314"/>
                  <a:gd name="connsiteX27" fmla="*/ 47625 w 205739"/>
                  <a:gd name="connsiteY27" fmla="*/ 232315 h 232314"/>
                  <a:gd name="connsiteX28" fmla="*/ 43815 w 205739"/>
                  <a:gd name="connsiteY28" fmla="*/ 225743 h 232314"/>
                  <a:gd name="connsiteX29" fmla="*/ 26670 w 205739"/>
                  <a:gd name="connsiteY29" fmla="*/ 232315 h 232314"/>
                  <a:gd name="connsiteX30" fmla="*/ 0 w 205739"/>
                  <a:gd name="connsiteY30" fmla="*/ 204788 h 232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05739" h="232314">
                    <a:moveTo>
                      <a:pt x="0" y="204788"/>
                    </a:moveTo>
                    <a:lnTo>
                      <a:pt x="26670" y="204788"/>
                    </a:lnTo>
                    <a:lnTo>
                      <a:pt x="26670" y="186690"/>
                    </a:lnTo>
                    <a:lnTo>
                      <a:pt x="12382" y="186690"/>
                    </a:lnTo>
                    <a:lnTo>
                      <a:pt x="12382" y="165640"/>
                    </a:lnTo>
                    <a:lnTo>
                      <a:pt x="26670" y="165640"/>
                    </a:lnTo>
                    <a:lnTo>
                      <a:pt x="43815" y="151352"/>
                    </a:lnTo>
                    <a:lnTo>
                      <a:pt x="54293" y="165640"/>
                    </a:lnTo>
                    <a:lnTo>
                      <a:pt x="85725" y="169450"/>
                    </a:lnTo>
                    <a:lnTo>
                      <a:pt x="93345" y="155162"/>
                    </a:lnTo>
                    <a:lnTo>
                      <a:pt x="93345" y="120015"/>
                    </a:lnTo>
                    <a:lnTo>
                      <a:pt x="79057" y="109538"/>
                    </a:lnTo>
                    <a:lnTo>
                      <a:pt x="79057" y="87630"/>
                    </a:lnTo>
                    <a:lnTo>
                      <a:pt x="93345" y="77153"/>
                    </a:lnTo>
                    <a:lnTo>
                      <a:pt x="85725" y="59912"/>
                    </a:lnTo>
                    <a:lnTo>
                      <a:pt x="61913" y="63818"/>
                    </a:lnTo>
                    <a:lnTo>
                      <a:pt x="54293" y="35243"/>
                    </a:lnTo>
                    <a:lnTo>
                      <a:pt x="103823" y="35243"/>
                    </a:lnTo>
                    <a:lnTo>
                      <a:pt x="103823" y="49530"/>
                    </a:lnTo>
                    <a:lnTo>
                      <a:pt x="135255" y="45625"/>
                    </a:lnTo>
                    <a:lnTo>
                      <a:pt x="139065" y="20955"/>
                    </a:lnTo>
                    <a:lnTo>
                      <a:pt x="153352" y="0"/>
                    </a:lnTo>
                    <a:lnTo>
                      <a:pt x="205740" y="3715"/>
                    </a:lnTo>
                    <a:lnTo>
                      <a:pt x="191452" y="80963"/>
                    </a:lnTo>
                    <a:lnTo>
                      <a:pt x="149543" y="147638"/>
                    </a:lnTo>
                    <a:lnTo>
                      <a:pt x="142875" y="204788"/>
                    </a:lnTo>
                    <a:lnTo>
                      <a:pt x="96202" y="225743"/>
                    </a:lnTo>
                    <a:lnTo>
                      <a:pt x="47625" y="232315"/>
                    </a:lnTo>
                    <a:lnTo>
                      <a:pt x="43815" y="225743"/>
                    </a:lnTo>
                    <a:lnTo>
                      <a:pt x="26670" y="232315"/>
                    </a:lnTo>
                    <a:lnTo>
                      <a:pt x="0" y="2047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1410E739-3801-9C7D-B4DF-E596DB0FB9F2}"/>
                  </a:ext>
                </a:extLst>
              </p:cNvPr>
              <p:cNvSpPr/>
              <p:nvPr/>
            </p:nvSpPr>
            <p:spPr>
              <a:xfrm>
                <a:off x="6303848" y="4447564"/>
                <a:ext cx="201683" cy="227736"/>
              </a:xfrm>
              <a:custGeom>
                <a:avLst/>
                <a:gdLst>
                  <a:gd name="connsiteX0" fmla="*/ 0 w 205739"/>
                  <a:gd name="connsiteY0" fmla="*/ 204788 h 232314"/>
                  <a:gd name="connsiteX1" fmla="*/ 26670 w 205739"/>
                  <a:gd name="connsiteY1" fmla="*/ 204788 h 232314"/>
                  <a:gd name="connsiteX2" fmla="*/ 26670 w 205739"/>
                  <a:gd name="connsiteY2" fmla="*/ 186690 h 232314"/>
                  <a:gd name="connsiteX3" fmla="*/ 12382 w 205739"/>
                  <a:gd name="connsiteY3" fmla="*/ 186690 h 232314"/>
                  <a:gd name="connsiteX4" fmla="*/ 12382 w 205739"/>
                  <a:gd name="connsiteY4" fmla="*/ 165640 h 232314"/>
                  <a:gd name="connsiteX5" fmla="*/ 26670 w 205739"/>
                  <a:gd name="connsiteY5" fmla="*/ 165640 h 232314"/>
                  <a:gd name="connsiteX6" fmla="*/ 43815 w 205739"/>
                  <a:gd name="connsiteY6" fmla="*/ 151352 h 232314"/>
                  <a:gd name="connsiteX7" fmla="*/ 54293 w 205739"/>
                  <a:gd name="connsiteY7" fmla="*/ 165640 h 232314"/>
                  <a:gd name="connsiteX8" fmla="*/ 85725 w 205739"/>
                  <a:gd name="connsiteY8" fmla="*/ 169450 h 232314"/>
                  <a:gd name="connsiteX9" fmla="*/ 93345 w 205739"/>
                  <a:gd name="connsiteY9" fmla="*/ 155162 h 232314"/>
                  <a:gd name="connsiteX10" fmla="*/ 93345 w 205739"/>
                  <a:gd name="connsiteY10" fmla="*/ 120015 h 232314"/>
                  <a:gd name="connsiteX11" fmla="*/ 79057 w 205739"/>
                  <a:gd name="connsiteY11" fmla="*/ 109538 h 232314"/>
                  <a:gd name="connsiteX12" fmla="*/ 79057 w 205739"/>
                  <a:gd name="connsiteY12" fmla="*/ 87630 h 232314"/>
                  <a:gd name="connsiteX13" fmla="*/ 93345 w 205739"/>
                  <a:gd name="connsiteY13" fmla="*/ 77153 h 232314"/>
                  <a:gd name="connsiteX14" fmla="*/ 85725 w 205739"/>
                  <a:gd name="connsiteY14" fmla="*/ 59912 h 232314"/>
                  <a:gd name="connsiteX15" fmla="*/ 61913 w 205739"/>
                  <a:gd name="connsiteY15" fmla="*/ 63818 h 232314"/>
                  <a:gd name="connsiteX16" fmla="*/ 54293 w 205739"/>
                  <a:gd name="connsiteY16" fmla="*/ 35243 h 232314"/>
                  <a:gd name="connsiteX17" fmla="*/ 103823 w 205739"/>
                  <a:gd name="connsiteY17" fmla="*/ 35243 h 232314"/>
                  <a:gd name="connsiteX18" fmla="*/ 103823 w 205739"/>
                  <a:gd name="connsiteY18" fmla="*/ 49530 h 232314"/>
                  <a:gd name="connsiteX19" fmla="*/ 135255 w 205739"/>
                  <a:gd name="connsiteY19" fmla="*/ 45625 h 232314"/>
                  <a:gd name="connsiteX20" fmla="*/ 139065 w 205739"/>
                  <a:gd name="connsiteY20" fmla="*/ 20955 h 232314"/>
                  <a:gd name="connsiteX21" fmla="*/ 153352 w 205739"/>
                  <a:gd name="connsiteY21" fmla="*/ 0 h 232314"/>
                  <a:gd name="connsiteX22" fmla="*/ 205740 w 205739"/>
                  <a:gd name="connsiteY22" fmla="*/ 3715 h 232314"/>
                  <a:gd name="connsiteX23" fmla="*/ 191452 w 205739"/>
                  <a:gd name="connsiteY23" fmla="*/ 80963 h 232314"/>
                  <a:gd name="connsiteX24" fmla="*/ 149543 w 205739"/>
                  <a:gd name="connsiteY24" fmla="*/ 147638 h 232314"/>
                  <a:gd name="connsiteX25" fmla="*/ 142875 w 205739"/>
                  <a:gd name="connsiteY25" fmla="*/ 204788 h 232314"/>
                  <a:gd name="connsiteX26" fmla="*/ 96202 w 205739"/>
                  <a:gd name="connsiteY26" fmla="*/ 225743 h 232314"/>
                  <a:gd name="connsiteX27" fmla="*/ 47625 w 205739"/>
                  <a:gd name="connsiteY27" fmla="*/ 232315 h 232314"/>
                  <a:gd name="connsiteX28" fmla="*/ 43815 w 205739"/>
                  <a:gd name="connsiteY28" fmla="*/ 225743 h 232314"/>
                  <a:gd name="connsiteX29" fmla="*/ 26670 w 205739"/>
                  <a:gd name="connsiteY29" fmla="*/ 232315 h 232314"/>
                  <a:gd name="connsiteX30" fmla="*/ 0 w 205739"/>
                  <a:gd name="connsiteY30" fmla="*/ 204788 h 232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05739" h="232314">
                    <a:moveTo>
                      <a:pt x="0" y="204788"/>
                    </a:moveTo>
                    <a:lnTo>
                      <a:pt x="26670" y="204788"/>
                    </a:lnTo>
                    <a:lnTo>
                      <a:pt x="26670" y="186690"/>
                    </a:lnTo>
                    <a:lnTo>
                      <a:pt x="12382" y="186690"/>
                    </a:lnTo>
                    <a:lnTo>
                      <a:pt x="12382" y="165640"/>
                    </a:lnTo>
                    <a:lnTo>
                      <a:pt x="26670" y="165640"/>
                    </a:lnTo>
                    <a:lnTo>
                      <a:pt x="43815" y="151352"/>
                    </a:lnTo>
                    <a:lnTo>
                      <a:pt x="54293" y="165640"/>
                    </a:lnTo>
                    <a:lnTo>
                      <a:pt x="85725" y="169450"/>
                    </a:lnTo>
                    <a:lnTo>
                      <a:pt x="93345" y="155162"/>
                    </a:lnTo>
                    <a:lnTo>
                      <a:pt x="93345" y="120015"/>
                    </a:lnTo>
                    <a:lnTo>
                      <a:pt x="79057" y="109538"/>
                    </a:lnTo>
                    <a:lnTo>
                      <a:pt x="79057" y="87630"/>
                    </a:lnTo>
                    <a:lnTo>
                      <a:pt x="93345" y="77153"/>
                    </a:lnTo>
                    <a:lnTo>
                      <a:pt x="85725" y="59912"/>
                    </a:lnTo>
                    <a:lnTo>
                      <a:pt x="61913" y="63818"/>
                    </a:lnTo>
                    <a:lnTo>
                      <a:pt x="54293" y="35243"/>
                    </a:lnTo>
                    <a:lnTo>
                      <a:pt x="103823" y="35243"/>
                    </a:lnTo>
                    <a:lnTo>
                      <a:pt x="103823" y="49530"/>
                    </a:lnTo>
                    <a:lnTo>
                      <a:pt x="135255" y="45625"/>
                    </a:lnTo>
                    <a:lnTo>
                      <a:pt x="139065" y="20955"/>
                    </a:lnTo>
                    <a:lnTo>
                      <a:pt x="153352" y="0"/>
                    </a:lnTo>
                    <a:lnTo>
                      <a:pt x="205740" y="3715"/>
                    </a:lnTo>
                    <a:lnTo>
                      <a:pt x="191452" y="80963"/>
                    </a:lnTo>
                    <a:lnTo>
                      <a:pt x="149543" y="147638"/>
                    </a:lnTo>
                    <a:lnTo>
                      <a:pt x="142875" y="204788"/>
                    </a:lnTo>
                    <a:lnTo>
                      <a:pt x="96202" y="225743"/>
                    </a:lnTo>
                    <a:lnTo>
                      <a:pt x="47625" y="232315"/>
                    </a:lnTo>
                    <a:lnTo>
                      <a:pt x="43815" y="225743"/>
                    </a:lnTo>
                    <a:lnTo>
                      <a:pt x="26670" y="232315"/>
                    </a:lnTo>
                    <a:lnTo>
                      <a:pt x="0" y="2047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CC3724A4-79C2-4BA0-FA08-B0BF3851A084}"/>
                  </a:ext>
                </a:extLst>
              </p:cNvPr>
              <p:cNvSpPr/>
              <p:nvPr/>
            </p:nvSpPr>
            <p:spPr>
              <a:xfrm>
                <a:off x="6926643" y="4419552"/>
                <a:ext cx="217557" cy="255748"/>
              </a:xfrm>
              <a:custGeom>
                <a:avLst/>
                <a:gdLst>
                  <a:gd name="connsiteX0" fmla="*/ 14288 w 221932"/>
                  <a:gd name="connsiteY0" fmla="*/ 0 h 260889"/>
                  <a:gd name="connsiteX1" fmla="*/ 49530 w 221932"/>
                  <a:gd name="connsiteY1" fmla="*/ 0 h 260889"/>
                  <a:gd name="connsiteX2" fmla="*/ 113347 w 221932"/>
                  <a:gd name="connsiteY2" fmla="*/ 28575 h 260889"/>
                  <a:gd name="connsiteX3" fmla="*/ 155257 w 221932"/>
                  <a:gd name="connsiteY3" fmla="*/ 32290 h 260889"/>
                  <a:gd name="connsiteX4" fmla="*/ 190500 w 221932"/>
                  <a:gd name="connsiteY4" fmla="*/ 10478 h 260889"/>
                  <a:gd name="connsiteX5" fmla="*/ 200977 w 221932"/>
                  <a:gd name="connsiteY5" fmla="*/ 24765 h 260889"/>
                  <a:gd name="connsiteX6" fmla="*/ 221932 w 221932"/>
                  <a:gd name="connsiteY6" fmla="*/ 18002 h 260889"/>
                  <a:gd name="connsiteX7" fmla="*/ 221932 w 221932"/>
                  <a:gd name="connsiteY7" fmla="*/ 35243 h 260889"/>
                  <a:gd name="connsiteX8" fmla="*/ 194310 w 221932"/>
                  <a:gd name="connsiteY8" fmla="*/ 53340 h 260889"/>
                  <a:gd name="connsiteX9" fmla="*/ 197168 w 221932"/>
                  <a:gd name="connsiteY9" fmla="*/ 152400 h 260889"/>
                  <a:gd name="connsiteX10" fmla="*/ 215265 w 221932"/>
                  <a:gd name="connsiteY10" fmla="*/ 173355 h 260889"/>
                  <a:gd name="connsiteX11" fmla="*/ 197168 w 221932"/>
                  <a:gd name="connsiteY11" fmla="*/ 187643 h 260889"/>
                  <a:gd name="connsiteX12" fmla="*/ 176213 w 221932"/>
                  <a:gd name="connsiteY12" fmla="*/ 208502 h 260889"/>
                  <a:gd name="connsiteX13" fmla="*/ 161925 w 221932"/>
                  <a:gd name="connsiteY13" fmla="*/ 240030 h 260889"/>
                  <a:gd name="connsiteX14" fmla="*/ 151447 w 221932"/>
                  <a:gd name="connsiteY14" fmla="*/ 260890 h 260889"/>
                  <a:gd name="connsiteX15" fmla="*/ 109538 w 221932"/>
                  <a:gd name="connsiteY15" fmla="*/ 229553 h 260889"/>
                  <a:gd name="connsiteX16" fmla="*/ 101918 w 221932"/>
                  <a:gd name="connsiteY16" fmla="*/ 211455 h 260889"/>
                  <a:gd name="connsiteX17" fmla="*/ 10477 w 221932"/>
                  <a:gd name="connsiteY17" fmla="*/ 162878 h 260889"/>
                  <a:gd name="connsiteX18" fmla="*/ 3810 w 221932"/>
                  <a:gd name="connsiteY18" fmla="*/ 162878 h 260889"/>
                  <a:gd name="connsiteX19" fmla="*/ 10477 w 221932"/>
                  <a:gd name="connsiteY19" fmla="*/ 138113 h 260889"/>
                  <a:gd name="connsiteX20" fmla="*/ 7620 w 221932"/>
                  <a:gd name="connsiteY20" fmla="*/ 116205 h 260889"/>
                  <a:gd name="connsiteX21" fmla="*/ 31432 w 221932"/>
                  <a:gd name="connsiteY21" fmla="*/ 88487 h 260889"/>
                  <a:gd name="connsiteX22" fmla="*/ 20955 w 221932"/>
                  <a:gd name="connsiteY22" fmla="*/ 49530 h 260889"/>
                  <a:gd name="connsiteX23" fmla="*/ 0 w 221932"/>
                  <a:gd name="connsiteY23" fmla="*/ 14288 h 260889"/>
                  <a:gd name="connsiteX24" fmla="*/ 14288 w 221932"/>
                  <a:gd name="connsiteY24" fmla="*/ 0 h 260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1932" h="260889">
                    <a:moveTo>
                      <a:pt x="14288" y="0"/>
                    </a:moveTo>
                    <a:lnTo>
                      <a:pt x="49530" y="0"/>
                    </a:lnTo>
                    <a:lnTo>
                      <a:pt x="113347" y="28575"/>
                    </a:lnTo>
                    <a:lnTo>
                      <a:pt x="155257" y="32290"/>
                    </a:lnTo>
                    <a:lnTo>
                      <a:pt x="190500" y="10478"/>
                    </a:lnTo>
                    <a:lnTo>
                      <a:pt x="200977" y="24765"/>
                    </a:lnTo>
                    <a:lnTo>
                      <a:pt x="221932" y="18002"/>
                    </a:lnTo>
                    <a:lnTo>
                      <a:pt x="221932" y="35243"/>
                    </a:lnTo>
                    <a:lnTo>
                      <a:pt x="194310" y="53340"/>
                    </a:lnTo>
                    <a:lnTo>
                      <a:pt x="197168" y="152400"/>
                    </a:lnTo>
                    <a:lnTo>
                      <a:pt x="215265" y="173355"/>
                    </a:lnTo>
                    <a:lnTo>
                      <a:pt x="197168" y="187643"/>
                    </a:lnTo>
                    <a:lnTo>
                      <a:pt x="176213" y="208502"/>
                    </a:lnTo>
                    <a:lnTo>
                      <a:pt x="161925" y="240030"/>
                    </a:lnTo>
                    <a:lnTo>
                      <a:pt x="151447" y="260890"/>
                    </a:lnTo>
                    <a:lnTo>
                      <a:pt x="109538" y="229553"/>
                    </a:lnTo>
                    <a:lnTo>
                      <a:pt x="101918" y="211455"/>
                    </a:lnTo>
                    <a:lnTo>
                      <a:pt x="10477" y="162878"/>
                    </a:lnTo>
                    <a:lnTo>
                      <a:pt x="3810" y="162878"/>
                    </a:lnTo>
                    <a:lnTo>
                      <a:pt x="10477" y="138113"/>
                    </a:lnTo>
                    <a:lnTo>
                      <a:pt x="7620" y="116205"/>
                    </a:lnTo>
                    <a:lnTo>
                      <a:pt x="31432" y="88487"/>
                    </a:lnTo>
                    <a:lnTo>
                      <a:pt x="20955" y="49530"/>
                    </a:lnTo>
                    <a:lnTo>
                      <a:pt x="0" y="14288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B85DFFD6-E78B-7C9B-FB46-F0B19D64F74A}"/>
                  </a:ext>
                </a:extLst>
              </p:cNvPr>
              <p:cNvSpPr/>
              <p:nvPr/>
            </p:nvSpPr>
            <p:spPr>
              <a:xfrm>
                <a:off x="6926643" y="4419552"/>
                <a:ext cx="217557" cy="255748"/>
              </a:xfrm>
              <a:custGeom>
                <a:avLst/>
                <a:gdLst>
                  <a:gd name="connsiteX0" fmla="*/ 14288 w 221932"/>
                  <a:gd name="connsiteY0" fmla="*/ 0 h 260889"/>
                  <a:gd name="connsiteX1" fmla="*/ 49530 w 221932"/>
                  <a:gd name="connsiteY1" fmla="*/ 0 h 260889"/>
                  <a:gd name="connsiteX2" fmla="*/ 113347 w 221932"/>
                  <a:gd name="connsiteY2" fmla="*/ 28575 h 260889"/>
                  <a:gd name="connsiteX3" fmla="*/ 155257 w 221932"/>
                  <a:gd name="connsiteY3" fmla="*/ 32290 h 260889"/>
                  <a:gd name="connsiteX4" fmla="*/ 190500 w 221932"/>
                  <a:gd name="connsiteY4" fmla="*/ 10478 h 260889"/>
                  <a:gd name="connsiteX5" fmla="*/ 200977 w 221932"/>
                  <a:gd name="connsiteY5" fmla="*/ 24765 h 260889"/>
                  <a:gd name="connsiteX6" fmla="*/ 221932 w 221932"/>
                  <a:gd name="connsiteY6" fmla="*/ 18002 h 260889"/>
                  <a:gd name="connsiteX7" fmla="*/ 221932 w 221932"/>
                  <a:gd name="connsiteY7" fmla="*/ 35243 h 260889"/>
                  <a:gd name="connsiteX8" fmla="*/ 194310 w 221932"/>
                  <a:gd name="connsiteY8" fmla="*/ 53340 h 260889"/>
                  <a:gd name="connsiteX9" fmla="*/ 197168 w 221932"/>
                  <a:gd name="connsiteY9" fmla="*/ 152400 h 260889"/>
                  <a:gd name="connsiteX10" fmla="*/ 215265 w 221932"/>
                  <a:gd name="connsiteY10" fmla="*/ 173355 h 260889"/>
                  <a:gd name="connsiteX11" fmla="*/ 197168 w 221932"/>
                  <a:gd name="connsiteY11" fmla="*/ 187643 h 260889"/>
                  <a:gd name="connsiteX12" fmla="*/ 176213 w 221932"/>
                  <a:gd name="connsiteY12" fmla="*/ 208502 h 260889"/>
                  <a:gd name="connsiteX13" fmla="*/ 161925 w 221932"/>
                  <a:gd name="connsiteY13" fmla="*/ 240030 h 260889"/>
                  <a:gd name="connsiteX14" fmla="*/ 151447 w 221932"/>
                  <a:gd name="connsiteY14" fmla="*/ 260890 h 260889"/>
                  <a:gd name="connsiteX15" fmla="*/ 109538 w 221932"/>
                  <a:gd name="connsiteY15" fmla="*/ 229553 h 260889"/>
                  <a:gd name="connsiteX16" fmla="*/ 101918 w 221932"/>
                  <a:gd name="connsiteY16" fmla="*/ 211455 h 260889"/>
                  <a:gd name="connsiteX17" fmla="*/ 10477 w 221932"/>
                  <a:gd name="connsiteY17" fmla="*/ 162878 h 260889"/>
                  <a:gd name="connsiteX18" fmla="*/ 3810 w 221932"/>
                  <a:gd name="connsiteY18" fmla="*/ 162878 h 260889"/>
                  <a:gd name="connsiteX19" fmla="*/ 10477 w 221932"/>
                  <a:gd name="connsiteY19" fmla="*/ 138113 h 260889"/>
                  <a:gd name="connsiteX20" fmla="*/ 7620 w 221932"/>
                  <a:gd name="connsiteY20" fmla="*/ 116205 h 260889"/>
                  <a:gd name="connsiteX21" fmla="*/ 31432 w 221932"/>
                  <a:gd name="connsiteY21" fmla="*/ 88487 h 260889"/>
                  <a:gd name="connsiteX22" fmla="*/ 20955 w 221932"/>
                  <a:gd name="connsiteY22" fmla="*/ 49530 h 260889"/>
                  <a:gd name="connsiteX23" fmla="*/ 0 w 221932"/>
                  <a:gd name="connsiteY23" fmla="*/ 14288 h 260889"/>
                  <a:gd name="connsiteX24" fmla="*/ 14288 w 221932"/>
                  <a:gd name="connsiteY24" fmla="*/ 0 h 260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1932" h="260889">
                    <a:moveTo>
                      <a:pt x="14288" y="0"/>
                    </a:moveTo>
                    <a:lnTo>
                      <a:pt x="49530" y="0"/>
                    </a:lnTo>
                    <a:lnTo>
                      <a:pt x="113347" y="28575"/>
                    </a:lnTo>
                    <a:lnTo>
                      <a:pt x="155257" y="32290"/>
                    </a:lnTo>
                    <a:lnTo>
                      <a:pt x="190500" y="10478"/>
                    </a:lnTo>
                    <a:lnTo>
                      <a:pt x="200977" y="24765"/>
                    </a:lnTo>
                    <a:lnTo>
                      <a:pt x="221932" y="18002"/>
                    </a:lnTo>
                    <a:lnTo>
                      <a:pt x="221932" y="35243"/>
                    </a:lnTo>
                    <a:lnTo>
                      <a:pt x="194310" y="53340"/>
                    </a:lnTo>
                    <a:lnTo>
                      <a:pt x="197168" y="152400"/>
                    </a:lnTo>
                    <a:lnTo>
                      <a:pt x="215265" y="173355"/>
                    </a:lnTo>
                    <a:lnTo>
                      <a:pt x="197168" y="187643"/>
                    </a:lnTo>
                    <a:lnTo>
                      <a:pt x="176213" y="208502"/>
                    </a:lnTo>
                    <a:lnTo>
                      <a:pt x="161925" y="240030"/>
                    </a:lnTo>
                    <a:lnTo>
                      <a:pt x="151447" y="260890"/>
                    </a:lnTo>
                    <a:lnTo>
                      <a:pt x="109538" y="229553"/>
                    </a:lnTo>
                    <a:lnTo>
                      <a:pt x="101918" y="211455"/>
                    </a:lnTo>
                    <a:lnTo>
                      <a:pt x="10477" y="162878"/>
                    </a:lnTo>
                    <a:lnTo>
                      <a:pt x="3810" y="162878"/>
                    </a:lnTo>
                    <a:lnTo>
                      <a:pt x="10477" y="138113"/>
                    </a:lnTo>
                    <a:lnTo>
                      <a:pt x="7620" y="116205"/>
                    </a:lnTo>
                    <a:lnTo>
                      <a:pt x="31432" y="88487"/>
                    </a:lnTo>
                    <a:lnTo>
                      <a:pt x="20955" y="49530"/>
                    </a:lnTo>
                    <a:lnTo>
                      <a:pt x="0" y="14288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B976B882-130C-DC8A-2667-C0B8E804AB72}"/>
                  </a:ext>
                </a:extLst>
              </p:cNvPr>
              <p:cNvSpPr/>
              <p:nvPr/>
            </p:nvSpPr>
            <p:spPr>
              <a:xfrm>
                <a:off x="6241288" y="4482111"/>
                <a:ext cx="154064" cy="166203"/>
              </a:xfrm>
              <a:custGeom>
                <a:avLst/>
                <a:gdLst>
                  <a:gd name="connsiteX0" fmla="*/ 68580 w 157162"/>
                  <a:gd name="connsiteY0" fmla="*/ 0 h 169544"/>
                  <a:gd name="connsiteX1" fmla="*/ 118110 w 157162"/>
                  <a:gd name="connsiteY1" fmla="*/ 0 h 169544"/>
                  <a:gd name="connsiteX2" fmla="*/ 125730 w 157162"/>
                  <a:gd name="connsiteY2" fmla="*/ 28575 h 169544"/>
                  <a:gd name="connsiteX3" fmla="*/ 149543 w 157162"/>
                  <a:gd name="connsiteY3" fmla="*/ 24670 h 169544"/>
                  <a:gd name="connsiteX4" fmla="*/ 157163 w 157162"/>
                  <a:gd name="connsiteY4" fmla="*/ 41910 h 169544"/>
                  <a:gd name="connsiteX5" fmla="*/ 142875 w 157162"/>
                  <a:gd name="connsiteY5" fmla="*/ 52388 h 169544"/>
                  <a:gd name="connsiteX6" fmla="*/ 142875 w 157162"/>
                  <a:gd name="connsiteY6" fmla="*/ 74295 h 169544"/>
                  <a:gd name="connsiteX7" fmla="*/ 157163 w 157162"/>
                  <a:gd name="connsiteY7" fmla="*/ 84772 h 169544"/>
                  <a:gd name="connsiteX8" fmla="*/ 157163 w 157162"/>
                  <a:gd name="connsiteY8" fmla="*/ 119920 h 169544"/>
                  <a:gd name="connsiteX9" fmla="*/ 149543 w 157162"/>
                  <a:gd name="connsiteY9" fmla="*/ 134207 h 169544"/>
                  <a:gd name="connsiteX10" fmla="*/ 118110 w 157162"/>
                  <a:gd name="connsiteY10" fmla="*/ 130397 h 169544"/>
                  <a:gd name="connsiteX11" fmla="*/ 107632 w 157162"/>
                  <a:gd name="connsiteY11" fmla="*/ 116110 h 169544"/>
                  <a:gd name="connsiteX12" fmla="*/ 90488 w 157162"/>
                  <a:gd name="connsiteY12" fmla="*/ 130397 h 169544"/>
                  <a:gd name="connsiteX13" fmla="*/ 76200 w 157162"/>
                  <a:gd name="connsiteY13" fmla="*/ 130397 h 169544"/>
                  <a:gd name="connsiteX14" fmla="*/ 76200 w 157162"/>
                  <a:gd name="connsiteY14" fmla="*/ 151447 h 169544"/>
                  <a:gd name="connsiteX15" fmla="*/ 90488 w 157162"/>
                  <a:gd name="connsiteY15" fmla="*/ 151447 h 169544"/>
                  <a:gd name="connsiteX16" fmla="*/ 90488 w 157162"/>
                  <a:gd name="connsiteY16" fmla="*/ 169545 h 169544"/>
                  <a:gd name="connsiteX17" fmla="*/ 63818 w 157162"/>
                  <a:gd name="connsiteY17" fmla="*/ 169545 h 169544"/>
                  <a:gd name="connsiteX18" fmla="*/ 32385 w 157162"/>
                  <a:gd name="connsiteY18" fmla="*/ 144685 h 169544"/>
                  <a:gd name="connsiteX19" fmla="*/ 18098 w 157162"/>
                  <a:gd name="connsiteY19" fmla="*/ 119920 h 169544"/>
                  <a:gd name="connsiteX20" fmla="*/ 0 w 157162"/>
                  <a:gd name="connsiteY20" fmla="*/ 84772 h 169544"/>
                  <a:gd name="connsiteX21" fmla="*/ 18098 w 157162"/>
                  <a:gd name="connsiteY21" fmla="*/ 56197 h 169544"/>
                  <a:gd name="connsiteX22" fmla="*/ 20955 w 157162"/>
                  <a:gd name="connsiteY22" fmla="*/ 41910 h 169544"/>
                  <a:gd name="connsiteX23" fmla="*/ 63818 w 157162"/>
                  <a:gd name="connsiteY23" fmla="*/ 38957 h 169544"/>
                  <a:gd name="connsiteX24" fmla="*/ 68580 w 157162"/>
                  <a:gd name="connsiteY24" fmla="*/ 0 h 16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7162" h="169544">
                    <a:moveTo>
                      <a:pt x="68580" y="0"/>
                    </a:moveTo>
                    <a:lnTo>
                      <a:pt x="118110" y="0"/>
                    </a:lnTo>
                    <a:lnTo>
                      <a:pt x="125730" y="28575"/>
                    </a:lnTo>
                    <a:lnTo>
                      <a:pt x="149543" y="24670"/>
                    </a:lnTo>
                    <a:lnTo>
                      <a:pt x="157163" y="41910"/>
                    </a:lnTo>
                    <a:lnTo>
                      <a:pt x="142875" y="52388"/>
                    </a:lnTo>
                    <a:lnTo>
                      <a:pt x="142875" y="74295"/>
                    </a:lnTo>
                    <a:lnTo>
                      <a:pt x="157163" y="84772"/>
                    </a:lnTo>
                    <a:lnTo>
                      <a:pt x="157163" y="119920"/>
                    </a:lnTo>
                    <a:lnTo>
                      <a:pt x="149543" y="134207"/>
                    </a:lnTo>
                    <a:lnTo>
                      <a:pt x="118110" y="130397"/>
                    </a:lnTo>
                    <a:lnTo>
                      <a:pt x="107632" y="116110"/>
                    </a:lnTo>
                    <a:lnTo>
                      <a:pt x="90488" y="130397"/>
                    </a:lnTo>
                    <a:lnTo>
                      <a:pt x="76200" y="130397"/>
                    </a:lnTo>
                    <a:lnTo>
                      <a:pt x="76200" y="151447"/>
                    </a:lnTo>
                    <a:lnTo>
                      <a:pt x="90488" y="151447"/>
                    </a:lnTo>
                    <a:lnTo>
                      <a:pt x="90488" y="169545"/>
                    </a:lnTo>
                    <a:lnTo>
                      <a:pt x="63818" y="169545"/>
                    </a:lnTo>
                    <a:lnTo>
                      <a:pt x="32385" y="144685"/>
                    </a:lnTo>
                    <a:lnTo>
                      <a:pt x="18098" y="119920"/>
                    </a:lnTo>
                    <a:lnTo>
                      <a:pt x="0" y="84772"/>
                    </a:lnTo>
                    <a:lnTo>
                      <a:pt x="18098" y="56197"/>
                    </a:lnTo>
                    <a:lnTo>
                      <a:pt x="20955" y="41910"/>
                    </a:lnTo>
                    <a:lnTo>
                      <a:pt x="63818" y="38957"/>
                    </a:lnTo>
                    <a:lnTo>
                      <a:pt x="6858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9774C9CC-6722-19F6-E795-F265104E6B95}"/>
                  </a:ext>
                </a:extLst>
              </p:cNvPr>
              <p:cNvSpPr/>
              <p:nvPr/>
            </p:nvSpPr>
            <p:spPr>
              <a:xfrm>
                <a:off x="6241288" y="4482111"/>
                <a:ext cx="154064" cy="166203"/>
              </a:xfrm>
              <a:custGeom>
                <a:avLst/>
                <a:gdLst>
                  <a:gd name="connsiteX0" fmla="*/ 68580 w 157162"/>
                  <a:gd name="connsiteY0" fmla="*/ 0 h 169544"/>
                  <a:gd name="connsiteX1" fmla="*/ 118110 w 157162"/>
                  <a:gd name="connsiteY1" fmla="*/ 0 h 169544"/>
                  <a:gd name="connsiteX2" fmla="*/ 125730 w 157162"/>
                  <a:gd name="connsiteY2" fmla="*/ 28575 h 169544"/>
                  <a:gd name="connsiteX3" fmla="*/ 149543 w 157162"/>
                  <a:gd name="connsiteY3" fmla="*/ 24670 h 169544"/>
                  <a:gd name="connsiteX4" fmla="*/ 157163 w 157162"/>
                  <a:gd name="connsiteY4" fmla="*/ 41910 h 169544"/>
                  <a:gd name="connsiteX5" fmla="*/ 142875 w 157162"/>
                  <a:gd name="connsiteY5" fmla="*/ 52388 h 169544"/>
                  <a:gd name="connsiteX6" fmla="*/ 142875 w 157162"/>
                  <a:gd name="connsiteY6" fmla="*/ 74295 h 169544"/>
                  <a:gd name="connsiteX7" fmla="*/ 157163 w 157162"/>
                  <a:gd name="connsiteY7" fmla="*/ 84772 h 169544"/>
                  <a:gd name="connsiteX8" fmla="*/ 157163 w 157162"/>
                  <a:gd name="connsiteY8" fmla="*/ 119920 h 169544"/>
                  <a:gd name="connsiteX9" fmla="*/ 149543 w 157162"/>
                  <a:gd name="connsiteY9" fmla="*/ 134207 h 169544"/>
                  <a:gd name="connsiteX10" fmla="*/ 118110 w 157162"/>
                  <a:gd name="connsiteY10" fmla="*/ 130397 h 169544"/>
                  <a:gd name="connsiteX11" fmla="*/ 107632 w 157162"/>
                  <a:gd name="connsiteY11" fmla="*/ 116110 h 169544"/>
                  <a:gd name="connsiteX12" fmla="*/ 90488 w 157162"/>
                  <a:gd name="connsiteY12" fmla="*/ 130397 h 169544"/>
                  <a:gd name="connsiteX13" fmla="*/ 76200 w 157162"/>
                  <a:gd name="connsiteY13" fmla="*/ 130397 h 169544"/>
                  <a:gd name="connsiteX14" fmla="*/ 76200 w 157162"/>
                  <a:gd name="connsiteY14" fmla="*/ 151447 h 169544"/>
                  <a:gd name="connsiteX15" fmla="*/ 90488 w 157162"/>
                  <a:gd name="connsiteY15" fmla="*/ 151447 h 169544"/>
                  <a:gd name="connsiteX16" fmla="*/ 90488 w 157162"/>
                  <a:gd name="connsiteY16" fmla="*/ 169545 h 169544"/>
                  <a:gd name="connsiteX17" fmla="*/ 63818 w 157162"/>
                  <a:gd name="connsiteY17" fmla="*/ 169545 h 169544"/>
                  <a:gd name="connsiteX18" fmla="*/ 32385 w 157162"/>
                  <a:gd name="connsiteY18" fmla="*/ 144685 h 169544"/>
                  <a:gd name="connsiteX19" fmla="*/ 18098 w 157162"/>
                  <a:gd name="connsiteY19" fmla="*/ 119920 h 169544"/>
                  <a:gd name="connsiteX20" fmla="*/ 0 w 157162"/>
                  <a:gd name="connsiteY20" fmla="*/ 84772 h 169544"/>
                  <a:gd name="connsiteX21" fmla="*/ 18098 w 157162"/>
                  <a:gd name="connsiteY21" fmla="*/ 56197 h 169544"/>
                  <a:gd name="connsiteX22" fmla="*/ 20955 w 157162"/>
                  <a:gd name="connsiteY22" fmla="*/ 41910 h 169544"/>
                  <a:gd name="connsiteX23" fmla="*/ 63818 w 157162"/>
                  <a:gd name="connsiteY23" fmla="*/ 38957 h 169544"/>
                  <a:gd name="connsiteX24" fmla="*/ 68580 w 157162"/>
                  <a:gd name="connsiteY24" fmla="*/ 0 h 16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7162" h="169544">
                    <a:moveTo>
                      <a:pt x="68580" y="0"/>
                    </a:moveTo>
                    <a:lnTo>
                      <a:pt x="118110" y="0"/>
                    </a:lnTo>
                    <a:lnTo>
                      <a:pt x="125730" y="28575"/>
                    </a:lnTo>
                    <a:lnTo>
                      <a:pt x="149543" y="24670"/>
                    </a:lnTo>
                    <a:lnTo>
                      <a:pt x="157163" y="41910"/>
                    </a:lnTo>
                    <a:lnTo>
                      <a:pt x="142875" y="52388"/>
                    </a:lnTo>
                    <a:lnTo>
                      <a:pt x="142875" y="74295"/>
                    </a:lnTo>
                    <a:lnTo>
                      <a:pt x="157163" y="84772"/>
                    </a:lnTo>
                    <a:lnTo>
                      <a:pt x="157163" y="119920"/>
                    </a:lnTo>
                    <a:lnTo>
                      <a:pt x="149543" y="134207"/>
                    </a:lnTo>
                    <a:lnTo>
                      <a:pt x="118110" y="130397"/>
                    </a:lnTo>
                    <a:lnTo>
                      <a:pt x="107632" y="116110"/>
                    </a:lnTo>
                    <a:lnTo>
                      <a:pt x="90488" y="130397"/>
                    </a:lnTo>
                    <a:lnTo>
                      <a:pt x="76200" y="130397"/>
                    </a:lnTo>
                    <a:lnTo>
                      <a:pt x="76200" y="151447"/>
                    </a:lnTo>
                    <a:lnTo>
                      <a:pt x="90488" y="151447"/>
                    </a:lnTo>
                    <a:lnTo>
                      <a:pt x="90488" y="169545"/>
                    </a:lnTo>
                    <a:lnTo>
                      <a:pt x="63818" y="169545"/>
                    </a:lnTo>
                    <a:lnTo>
                      <a:pt x="32385" y="144685"/>
                    </a:lnTo>
                    <a:lnTo>
                      <a:pt x="18098" y="119920"/>
                    </a:lnTo>
                    <a:lnTo>
                      <a:pt x="0" y="84772"/>
                    </a:lnTo>
                    <a:lnTo>
                      <a:pt x="18098" y="56197"/>
                    </a:lnTo>
                    <a:lnTo>
                      <a:pt x="20955" y="41910"/>
                    </a:lnTo>
                    <a:lnTo>
                      <a:pt x="63818" y="38957"/>
                    </a:lnTo>
                    <a:lnTo>
                      <a:pt x="6858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11A97B2B-0569-9AE3-5745-B2EFAC12EA2B}"/>
                  </a:ext>
                </a:extLst>
              </p:cNvPr>
              <p:cNvSpPr/>
              <p:nvPr/>
            </p:nvSpPr>
            <p:spPr>
              <a:xfrm>
                <a:off x="5533525" y="4167444"/>
                <a:ext cx="86836" cy="20542"/>
              </a:xfrm>
              <a:custGeom>
                <a:avLst/>
                <a:gdLst>
                  <a:gd name="connsiteX0" fmla="*/ 14288 w 88582"/>
                  <a:gd name="connsiteY0" fmla="*/ 0 h 20955"/>
                  <a:gd name="connsiteX1" fmla="*/ 35243 w 88582"/>
                  <a:gd name="connsiteY1" fmla="*/ 0 h 20955"/>
                  <a:gd name="connsiteX2" fmla="*/ 56197 w 88582"/>
                  <a:gd name="connsiteY2" fmla="*/ 3715 h 20955"/>
                  <a:gd name="connsiteX3" fmla="*/ 74295 w 88582"/>
                  <a:gd name="connsiteY3" fmla="*/ 6668 h 20955"/>
                  <a:gd name="connsiteX4" fmla="*/ 88582 w 88582"/>
                  <a:gd name="connsiteY4" fmla="*/ 10478 h 20955"/>
                  <a:gd name="connsiteX5" fmla="*/ 80963 w 88582"/>
                  <a:gd name="connsiteY5" fmla="*/ 14288 h 20955"/>
                  <a:gd name="connsiteX6" fmla="*/ 60007 w 88582"/>
                  <a:gd name="connsiteY6" fmla="*/ 14288 h 20955"/>
                  <a:gd name="connsiteX7" fmla="*/ 45720 w 88582"/>
                  <a:gd name="connsiteY7" fmla="*/ 14288 h 20955"/>
                  <a:gd name="connsiteX8" fmla="*/ 28575 w 88582"/>
                  <a:gd name="connsiteY8" fmla="*/ 14288 h 20955"/>
                  <a:gd name="connsiteX9" fmla="*/ 10478 w 88582"/>
                  <a:gd name="connsiteY9" fmla="*/ 20955 h 20955"/>
                  <a:gd name="connsiteX10" fmla="*/ 0 w 88582"/>
                  <a:gd name="connsiteY10" fmla="*/ 18002 h 20955"/>
                  <a:gd name="connsiteX11" fmla="*/ 7620 w 88582"/>
                  <a:gd name="connsiteY11" fmla="*/ 0 h 20955"/>
                  <a:gd name="connsiteX12" fmla="*/ 14288 w 88582"/>
                  <a:gd name="connsiteY12" fmla="*/ 0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582" h="20955">
                    <a:moveTo>
                      <a:pt x="14288" y="0"/>
                    </a:moveTo>
                    <a:lnTo>
                      <a:pt x="35243" y="0"/>
                    </a:lnTo>
                    <a:lnTo>
                      <a:pt x="56197" y="3715"/>
                    </a:lnTo>
                    <a:lnTo>
                      <a:pt x="74295" y="6668"/>
                    </a:lnTo>
                    <a:lnTo>
                      <a:pt x="88582" y="10478"/>
                    </a:lnTo>
                    <a:lnTo>
                      <a:pt x="80963" y="14288"/>
                    </a:lnTo>
                    <a:lnTo>
                      <a:pt x="60007" y="14288"/>
                    </a:lnTo>
                    <a:lnTo>
                      <a:pt x="45720" y="14288"/>
                    </a:lnTo>
                    <a:lnTo>
                      <a:pt x="28575" y="14288"/>
                    </a:lnTo>
                    <a:lnTo>
                      <a:pt x="10478" y="20955"/>
                    </a:lnTo>
                    <a:lnTo>
                      <a:pt x="0" y="18002"/>
                    </a:lnTo>
                    <a:lnTo>
                      <a:pt x="7620" y="0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93D00348-93C5-A94C-F4A0-C6222AEFF03D}"/>
                  </a:ext>
                </a:extLst>
              </p:cNvPr>
              <p:cNvSpPr/>
              <p:nvPr/>
            </p:nvSpPr>
            <p:spPr>
              <a:xfrm>
                <a:off x="5533525" y="4167444"/>
                <a:ext cx="86836" cy="20542"/>
              </a:xfrm>
              <a:custGeom>
                <a:avLst/>
                <a:gdLst>
                  <a:gd name="connsiteX0" fmla="*/ 14288 w 88582"/>
                  <a:gd name="connsiteY0" fmla="*/ 0 h 20955"/>
                  <a:gd name="connsiteX1" fmla="*/ 35243 w 88582"/>
                  <a:gd name="connsiteY1" fmla="*/ 0 h 20955"/>
                  <a:gd name="connsiteX2" fmla="*/ 56197 w 88582"/>
                  <a:gd name="connsiteY2" fmla="*/ 3715 h 20955"/>
                  <a:gd name="connsiteX3" fmla="*/ 74295 w 88582"/>
                  <a:gd name="connsiteY3" fmla="*/ 6668 h 20955"/>
                  <a:gd name="connsiteX4" fmla="*/ 88582 w 88582"/>
                  <a:gd name="connsiteY4" fmla="*/ 10478 h 20955"/>
                  <a:gd name="connsiteX5" fmla="*/ 80963 w 88582"/>
                  <a:gd name="connsiteY5" fmla="*/ 14288 h 20955"/>
                  <a:gd name="connsiteX6" fmla="*/ 60007 w 88582"/>
                  <a:gd name="connsiteY6" fmla="*/ 14288 h 20955"/>
                  <a:gd name="connsiteX7" fmla="*/ 45720 w 88582"/>
                  <a:gd name="connsiteY7" fmla="*/ 14288 h 20955"/>
                  <a:gd name="connsiteX8" fmla="*/ 28575 w 88582"/>
                  <a:gd name="connsiteY8" fmla="*/ 14288 h 20955"/>
                  <a:gd name="connsiteX9" fmla="*/ 10478 w 88582"/>
                  <a:gd name="connsiteY9" fmla="*/ 20955 h 20955"/>
                  <a:gd name="connsiteX10" fmla="*/ 0 w 88582"/>
                  <a:gd name="connsiteY10" fmla="*/ 18002 h 20955"/>
                  <a:gd name="connsiteX11" fmla="*/ 7620 w 88582"/>
                  <a:gd name="connsiteY11" fmla="*/ 0 h 20955"/>
                  <a:gd name="connsiteX12" fmla="*/ 14288 w 88582"/>
                  <a:gd name="connsiteY12" fmla="*/ 0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582" h="20955">
                    <a:moveTo>
                      <a:pt x="14288" y="0"/>
                    </a:moveTo>
                    <a:lnTo>
                      <a:pt x="35243" y="0"/>
                    </a:lnTo>
                    <a:lnTo>
                      <a:pt x="56197" y="3715"/>
                    </a:lnTo>
                    <a:lnTo>
                      <a:pt x="74295" y="6668"/>
                    </a:lnTo>
                    <a:lnTo>
                      <a:pt x="88582" y="10478"/>
                    </a:lnTo>
                    <a:lnTo>
                      <a:pt x="80963" y="14288"/>
                    </a:lnTo>
                    <a:lnTo>
                      <a:pt x="60007" y="14288"/>
                    </a:lnTo>
                    <a:lnTo>
                      <a:pt x="45720" y="14288"/>
                    </a:lnTo>
                    <a:lnTo>
                      <a:pt x="28575" y="14288"/>
                    </a:lnTo>
                    <a:lnTo>
                      <a:pt x="10478" y="20955"/>
                    </a:lnTo>
                    <a:lnTo>
                      <a:pt x="0" y="18002"/>
                    </a:lnTo>
                    <a:lnTo>
                      <a:pt x="7620" y="0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7F832F9E-A481-310D-72BC-81A1244A0449}"/>
                  </a:ext>
                </a:extLst>
              </p:cNvPr>
              <p:cNvSpPr/>
              <p:nvPr/>
            </p:nvSpPr>
            <p:spPr>
              <a:xfrm>
                <a:off x="5533525" y="4167444"/>
                <a:ext cx="86836" cy="20542"/>
              </a:xfrm>
              <a:custGeom>
                <a:avLst/>
                <a:gdLst>
                  <a:gd name="connsiteX0" fmla="*/ 14288 w 88582"/>
                  <a:gd name="connsiteY0" fmla="*/ 0 h 20955"/>
                  <a:gd name="connsiteX1" fmla="*/ 35243 w 88582"/>
                  <a:gd name="connsiteY1" fmla="*/ 0 h 20955"/>
                  <a:gd name="connsiteX2" fmla="*/ 56197 w 88582"/>
                  <a:gd name="connsiteY2" fmla="*/ 3715 h 20955"/>
                  <a:gd name="connsiteX3" fmla="*/ 74295 w 88582"/>
                  <a:gd name="connsiteY3" fmla="*/ 6668 h 20955"/>
                  <a:gd name="connsiteX4" fmla="*/ 88582 w 88582"/>
                  <a:gd name="connsiteY4" fmla="*/ 10478 h 20955"/>
                  <a:gd name="connsiteX5" fmla="*/ 80963 w 88582"/>
                  <a:gd name="connsiteY5" fmla="*/ 14288 h 20955"/>
                  <a:gd name="connsiteX6" fmla="*/ 60007 w 88582"/>
                  <a:gd name="connsiteY6" fmla="*/ 14288 h 20955"/>
                  <a:gd name="connsiteX7" fmla="*/ 45720 w 88582"/>
                  <a:gd name="connsiteY7" fmla="*/ 14288 h 20955"/>
                  <a:gd name="connsiteX8" fmla="*/ 28575 w 88582"/>
                  <a:gd name="connsiteY8" fmla="*/ 14288 h 20955"/>
                  <a:gd name="connsiteX9" fmla="*/ 10478 w 88582"/>
                  <a:gd name="connsiteY9" fmla="*/ 20955 h 20955"/>
                  <a:gd name="connsiteX10" fmla="*/ 0 w 88582"/>
                  <a:gd name="connsiteY10" fmla="*/ 18002 h 20955"/>
                  <a:gd name="connsiteX11" fmla="*/ 7620 w 88582"/>
                  <a:gd name="connsiteY11" fmla="*/ 0 h 20955"/>
                  <a:gd name="connsiteX12" fmla="*/ 14288 w 88582"/>
                  <a:gd name="connsiteY12" fmla="*/ 0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582" h="20955">
                    <a:moveTo>
                      <a:pt x="14288" y="0"/>
                    </a:moveTo>
                    <a:lnTo>
                      <a:pt x="35243" y="0"/>
                    </a:lnTo>
                    <a:lnTo>
                      <a:pt x="56197" y="3715"/>
                    </a:lnTo>
                    <a:lnTo>
                      <a:pt x="74295" y="6668"/>
                    </a:lnTo>
                    <a:lnTo>
                      <a:pt x="88582" y="10478"/>
                    </a:lnTo>
                    <a:lnTo>
                      <a:pt x="80963" y="14288"/>
                    </a:lnTo>
                    <a:lnTo>
                      <a:pt x="60007" y="14288"/>
                    </a:lnTo>
                    <a:lnTo>
                      <a:pt x="45720" y="14288"/>
                    </a:lnTo>
                    <a:lnTo>
                      <a:pt x="28575" y="14288"/>
                    </a:lnTo>
                    <a:lnTo>
                      <a:pt x="10478" y="20955"/>
                    </a:lnTo>
                    <a:lnTo>
                      <a:pt x="0" y="18002"/>
                    </a:lnTo>
                    <a:lnTo>
                      <a:pt x="7620" y="0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6AF8F00A-D8C3-3507-7A67-7256EE6A7754}"/>
                  </a:ext>
                </a:extLst>
              </p:cNvPr>
              <p:cNvSpPr/>
              <p:nvPr/>
            </p:nvSpPr>
            <p:spPr>
              <a:xfrm>
                <a:off x="5533525" y="4167444"/>
                <a:ext cx="86836" cy="20542"/>
              </a:xfrm>
              <a:custGeom>
                <a:avLst/>
                <a:gdLst>
                  <a:gd name="connsiteX0" fmla="*/ 14288 w 88582"/>
                  <a:gd name="connsiteY0" fmla="*/ 0 h 20955"/>
                  <a:gd name="connsiteX1" fmla="*/ 35243 w 88582"/>
                  <a:gd name="connsiteY1" fmla="*/ 0 h 20955"/>
                  <a:gd name="connsiteX2" fmla="*/ 56197 w 88582"/>
                  <a:gd name="connsiteY2" fmla="*/ 3715 h 20955"/>
                  <a:gd name="connsiteX3" fmla="*/ 74295 w 88582"/>
                  <a:gd name="connsiteY3" fmla="*/ 6668 h 20955"/>
                  <a:gd name="connsiteX4" fmla="*/ 88582 w 88582"/>
                  <a:gd name="connsiteY4" fmla="*/ 10478 h 20955"/>
                  <a:gd name="connsiteX5" fmla="*/ 80963 w 88582"/>
                  <a:gd name="connsiteY5" fmla="*/ 14288 h 20955"/>
                  <a:gd name="connsiteX6" fmla="*/ 60007 w 88582"/>
                  <a:gd name="connsiteY6" fmla="*/ 14288 h 20955"/>
                  <a:gd name="connsiteX7" fmla="*/ 45720 w 88582"/>
                  <a:gd name="connsiteY7" fmla="*/ 14288 h 20955"/>
                  <a:gd name="connsiteX8" fmla="*/ 28575 w 88582"/>
                  <a:gd name="connsiteY8" fmla="*/ 14288 h 20955"/>
                  <a:gd name="connsiteX9" fmla="*/ 10478 w 88582"/>
                  <a:gd name="connsiteY9" fmla="*/ 20955 h 20955"/>
                  <a:gd name="connsiteX10" fmla="*/ 0 w 88582"/>
                  <a:gd name="connsiteY10" fmla="*/ 18002 h 20955"/>
                  <a:gd name="connsiteX11" fmla="*/ 7620 w 88582"/>
                  <a:gd name="connsiteY11" fmla="*/ 0 h 20955"/>
                  <a:gd name="connsiteX12" fmla="*/ 14288 w 88582"/>
                  <a:gd name="connsiteY12" fmla="*/ 0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582" h="20955">
                    <a:moveTo>
                      <a:pt x="14288" y="0"/>
                    </a:moveTo>
                    <a:lnTo>
                      <a:pt x="35243" y="0"/>
                    </a:lnTo>
                    <a:lnTo>
                      <a:pt x="56197" y="3715"/>
                    </a:lnTo>
                    <a:lnTo>
                      <a:pt x="74295" y="6668"/>
                    </a:lnTo>
                    <a:lnTo>
                      <a:pt x="88582" y="10478"/>
                    </a:lnTo>
                    <a:lnTo>
                      <a:pt x="80963" y="14288"/>
                    </a:lnTo>
                    <a:lnTo>
                      <a:pt x="60007" y="14288"/>
                    </a:lnTo>
                    <a:lnTo>
                      <a:pt x="45720" y="14288"/>
                    </a:lnTo>
                    <a:lnTo>
                      <a:pt x="28575" y="14288"/>
                    </a:lnTo>
                    <a:lnTo>
                      <a:pt x="10478" y="20955"/>
                    </a:lnTo>
                    <a:lnTo>
                      <a:pt x="0" y="18002"/>
                    </a:lnTo>
                    <a:lnTo>
                      <a:pt x="7620" y="0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DC19A3F5-DDED-1CAC-4C1A-FE4A4B96E350}"/>
                  </a:ext>
                </a:extLst>
              </p:cNvPr>
              <p:cNvSpPr/>
              <p:nvPr/>
            </p:nvSpPr>
            <p:spPr>
              <a:xfrm>
                <a:off x="5526990" y="4084342"/>
                <a:ext cx="158733" cy="121385"/>
              </a:xfrm>
              <a:custGeom>
                <a:avLst/>
                <a:gdLst>
                  <a:gd name="connsiteX0" fmla="*/ 3810 w 161925"/>
                  <a:gd name="connsiteY0" fmla="*/ 59912 h 123825"/>
                  <a:gd name="connsiteX1" fmla="*/ 0 w 161925"/>
                  <a:gd name="connsiteY1" fmla="*/ 49435 h 123825"/>
                  <a:gd name="connsiteX2" fmla="*/ 10478 w 161925"/>
                  <a:gd name="connsiteY2" fmla="*/ 35147 h 123825"/>
                  <a:gd name="connsiteX3" fmla="*/ 20955 w 161925"/>
                  <a:gd name="connsiteY3" fmla="*/ 20860 h 123825"/>
                  <a:gd name="connsiteX4" fmla="*/ 24765 w 161925"/>
                  <a:gd name="connsiteY4" fmla="*/ 3810 h 123825"/>
                  <a:gd name="connsiteX5" fmla="*/ 49530 w 161925"/>
                  <a:gd name="connsiteY5" fmla="*/ 0 h 123825"/>
                  <a:gd name="connsiteX6" fmla="*/ 74295 w 161925"/>
                  <a:gd name="connsiteY6" fmla="*/ 0 h 123825"/>
                  <a:gd name="connsiteX7" fmla="*/ 95250 w 161925"/>
                  <a:gd name="connsiteY7" fmla="*/ 10478 h 123825"/>
                  <a:gd name="connsiteX8" fmla="*/ 109538 w 161925"/>
                  <a:gd name="connsiteY8" fmla="*/ 20860 h 123825"/>
                  <a:gd name="connsiteX9" fmla="*/ 122873 w 161925"/>
                  <a:gd name="connsiteY9" fmla="*/ 42863 h 123825"/>
                  <a:gd name="connsiteX10" fmla="*/ 140970 w 161925"/>
                  <a:gd name="connsiteY10" fmla="*/ 56197 h 123825"/>
                  <a:gd name="connsiteX11" fmla="*/ 143828 w 161925"/>
                  <a:gd name="connsiteY11" fmla="*/ 67628 h 123825"/>
                  <a:gd name="connsiteX12" fmla="*/ 147638 w 161925"/>
                  <a:gd name="connsiteY12" fmla="*/ 88487 h 123825"/>
                  <a:gd name="connsiteX13" fmla="*/ 158115 w 161925"/>
                  <a:gd name="connsiteY13" fmla="*/ 102775 h 123825"/>
                  <a:gd name="connsiteX14" fmla="*/ 161925 w 161925"/>
                  <a:gd name="connsiteY14" fmla="*/ 116110 h 123825"/>
                  <a:gd name="connsiteX15" fmla="*/ 161925 w 161925"/>
                  <a:gd name="connsiteY15" fmla="*/ 123825 h 123825"/>
                  <a:gd name="connsiteX16" fmla="*/ 122873 w 161925"/>
                  <a:gd name="connsiteY16" fmla="*/ 120015 h 123825"/>
                  <a:gd name="connsiteX17" fmla="*/ 112395 w 161925"/>
                  <a:gd name="connsiteY17" fmla="*/ 113347 h 123825"/>
                  <a:gd name="connsiteX18" fmla="*/ 101918 w 161925"/>
                  <a:gd name="connsiteY18" fmla="*/ 113347 h 123825"/>
                  <a:gd name="connsiteX19" fmla="*/ 87630 w 161925"/>
                  <a:gd name="connsiteY19" fmla="*/ 113347 h 123825"/>
                  <a:gd name="connsiteX20" fmla="*/ 66675 w 161925"/>
                  <a:gd name="connsiteY20" fmla="*/ 113347 h 123825"/>
                  <a:gd name="connsiteX21" fmla="*/ 56198 w 161925"/>
                  <a:gd name="connsiteY21" fmla="*/ 113347 h 123825"/>
                  <a:gd name="connsiteX22" fmla="*/ 49530 w 161925"/>
                  <a:gd name="connsiteY22" fmla="*/ 120015 h 123825"/>
                  <a:gd name="connsiteX23" fmla="*/ 17145 w 161925"/>
                  <a:gd name="connsiteY23" fmla="*/ 123825 h 123825"/>
                  <a:gd name="connsiteX24" fmla="*/ 17145 w 161925"/>
                  <a:gd name="connsiteY24" fmla="*/ 105728 h 123825"/>
                  <a:gd name="connsiteX25" fmla="*/ 35243 w 161925"/>
                  <a:gd name="connsiteY25" fmla="*/ 99060 h 123825"/>
                  <a:gd name="connsiteX26" fmla="*/ 52388 w 161925"/>
                  <a:gd name="connsiteY26" fmla="*/ 99060 h 123825"/>
                  <a:gd name="connsiteX27" fmla="*/ 66675 w 161925"/>
                  <a:gd name="connsiteY27" fmla="*/ 99060 h 123825"/>
                  <a:gd name="connsiteX28" fmla="*/ 87630 w 161925"/>
                  <a:gd name="connsiteY28" fmla="*/ 99060 h 123825"/>
                  <a:gd name="connsiteX29" fmla="*/ 95250 w 161925"/>
                  <a:gd name="connsiteY29" fmla="*/ 95250 h 123825"/>
                  <a:gd name="connsiteX30" fmla="*/ 70485 w 161925"/>
                  <a:gd name="connsiteY30" fmla="*/ 88487 h 123825"/>
                  <a:gd name="connsiteX31" fmla="*/ 62865 w 161925"/>
                  <a:gd name="connsiteY31" fmla="*/ 88487 h 123825"/>
                  <a:gd name="connsiteX32" fmla="*/ 39053 w 161925"/>
                  <a:gd name="connsiteY32" fmla="*/ 84772 h 123825"/>
                  <a:gd name="connsiteX33" fmla="*/ 20955 w 161925"/>
                  <a:gd name="connsiteY33" fmla="*/ 84772 h 123825"/>
                  <a:gd name="connsiteX34" fmla="*/ 14288 w 161925"/>
                  <a:gd name="connsiteY34" fmla="*/ 84772 h 123825"/>
                  <a:gd name="connsiteX35" fmla="*/ 6668 w 161925"/>
                  <a:gd name="connsiteY35" fmla="*/ 70485 h 123825"/>
                  <a:gd name="connsiteX36" fmla="*/ 3810 w 161925"/>
                  <a:gd name="connsiteY36" fmla="*/ 59912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61925" h="123825">
                    <a:moveTo>
                      <a:pt x="3810" y="59912"/>
                    </a:moveTo>
                    <a:lnTo>
                      <a:pt x="0" y="49435"/>
                    </a:lnTo>
                    <a:lnTo>
                      <a:pt x="10478" y="35147"/>
                    </a:lnTo>
                    <a:lnTo>
                      <a:pt x="20955" y="20860"/>
                    </a:lnTo>
                    <a:lnTo>
                      <a:pt x="24765" y="3810"/>
                    </a:lnTo>
                    <a:lnTo>
                      <a:pt x="49530" y="0"/>
                    </a:lnTo>
                    <a:lnTo>
                      <a:pt x="74295" y="0"/>
                    </a:lnTo>
                    <a:lnTo>
                      <a:pt x="95250" y="10478"/>
                    </a:lnTo>
                    <a:lnTo>
                      <a:pt x="109538" y="20860"/>
                    </a:lnTo>
                    <a:lnTo>
                      <a:pt x="122873" y="42863"/>
                    </a:lnTo>
                    <a:lnTo>
                      <a:pt x="140970" y="56197"/>
                    </a:lnTo>
                    <a:lnTo>
                      <a:pt x="143828" y="67628"/>
                    </a:lnTo>
                    <a:lnTo>
                      <a:pt x="147638" y="88487"/>
                    </a:lnTo>
                    <a:lnTo>
                      <a:pt x="158115" y="102775"/>
                    </a:lnTo>
                    <a:lnTo>
                      <a:pt x="161925" y="116110"/>
                    </a:lnTo>
                    <a:lnTo>
                      <a:pt x="161925" y="123825"/>
                    </a:lnTo>
                    <a:lnTo>
                      <a:pt x="122873" y="120015"/>
                    </a:lnTo>
                    <a:lnTo>
                      <a:pt x="112395" y="113347"/>
                    </a:lnTo>
                    <a:lnTo>
                      <a:pt x="101918" y="113347"/>
                    </a:lnTo>
                    <a:lnTo>
                      <a:pt x="87630" y="113347"/>
                    </a:lnTo>
                    <a:lnTo>
                      <a:pt x="66675" y="113347"/>
                    </a:lnTo>
                    <a:lnTo>
                      <a:pt x="56198" y="113347"/>
                    </a:lnTo>
                    <a:lnTo>
                      <a:pt x="49530" y="120015"/>
                    </a:lnTo>
                    <a:lnTo>
                      <a:pt x="17145" y="123825"/>
                    </a:lnTo>
                    <a:lnTo>
                      <a:pt x="17145" y="105728"/>
                    </a:lnTo>
                    <a:lnTo>
                      <a:pt x="35243" y="99060"/>
                    </a:lnTo>
                    <a:lnTo>
                      <a:pt x="52388" y="99060"/>
                    </a:lnTo>
                    <a:lnTo>
                      <a:pt x="66675" y="99060"/>
                    </a:lnTo>
                    <a:lnTo>
                      <a:pt x="87630" y="99060"/>
                    </a:lnTo>
                    <a:lnTo>
                      <a:pt x="95250" y="95250"/>
                    </a:lnTo>
                    <a:lnTo>
                      <a:pt x="70485" y="88487"/>
                    </a:lnTo>
                    <a:lnTo>
                      <a:pt x="62865" y="88487"/>
                    </a:lnTo>
                    <a:lnTo>
                      <a:pt x="39053" y="84772"/>
                    </a:lnTo>
                    <a:lnTo>
                      <a:pt x="20955" y="84772"/>
                    </a:lnTo>
                    <a:lnTo>
                      <a:pt x="14288" y="84772"/>
                    </a:lnTo>
                    <a:lnTo>
                      <a:pt x="6668" y="70485"/>
                    </a:lnTo>
                    <a:lnTo>
                      <a:pt x="3810" y="5991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E7E1C63B-6DBF-7062-8365-C6C30DD66841}"/>
                  </a:ext>
                </a:extLst>
              </p:cNvPr>
              <p:cNvSpPr/>
              <p:nvPr/>
            </p:nvSpPr>
            <p:spPr>
              <a:xfrm>
                <a:off x="5526990" y="4084342"/>
                <a:ext cx="158733" cy="121385"/>
              </a:xfrm>
              <a:custGeom>
                <a:avLst/>
                <a:gdLst>
                  <a:gd name="connsiteX0" fmla="*/ 3810 w 161925"/>
                  <a:gd name="connsiteY0" fmla="*/ 59912 h 123825"/>
                  <a:gd name="connsiteX1" fmla="*/ 0 w 161925"/>
                  <a:gd name="connsiteY1" fmla="*/ 49435 h 123825"/>
                  <a:gd name="connsiteX2" fmla="*/ 10478 w 161925"/>
                  <a:gd name="connsiteY2" fmla="*/ 35147 h 123825"/>
                  <a:gd name="connsiteX3" fmla="*/ 20955 w 161925"/>
                  <a:gd name="connsiteY3" fmla="*/ 20860 h 123825"/>
                  <a:gd name="connsiteX4" fmla="*/ 24765 w 161925"/>
                  <a:gd name="connsiteY4" fmla="*/ 3810 h 123825"/>
                  <a:gd name="connsiteX5" fmla="*/ 49530 w 161925"/>
                  <a:gd name="connsiteY5" fmla="*/ 0 h 123825"/>
                  <a:gd name="connsiteX6" fmla="*/ 74295 w 161925"/>
                  <a:gd name="connsiteY6" fmla="*/ 0 h 123825"/>
                  <a:gd name="connsiteX7" fmla="*/ 95250 w 161925"/>
                  <a:gd name="connsiteY7" fmla="*/ 10478 h 123825"/>
                  <a:gd name="connsiteX8" fmla="*/ 109538 w 161925"/>
                  <a:gd name="connsiteY8" fmla="*/ 20860 h 123825"/>
                  <a:gd name="connsiteX9" fmla="*/ 122873 w 161925"/>
                  <a:gd name="connsiteY9" fmla="*/ 42863 h 123825"/>
                  <a:gd name="connsiteX10" fmla="*/ 140970 w 161925"/>
                  <a:gd name="connsiteY10" fmla="*/ 56197 h 123825"/>
                  <a:gd name="connsiteX11" fmla="*/ 143828 w 161925"/>
                  <a:gd name="connsiteY11" fmla="*/ 67628 h 123825"/>
                  <a:gd name="connsiteX12" fmla="*/ 147638 w 161925"/>
                  <a:gd name="connsiteY12" fmla="*/ 88487 h 123825"/>
                  <a:gd name="connsiteX13" fmla="*/ 158115 w 161925"/>
                  <a:gd name="connsiteY13" fmla="*/ 102775 h 123825"/>
                  <a:gd name="connsiteX14" fmla="*/ 161925 w 161925"/>
                  <a:gd name="connsiteY14" fmla="*/ 116110 h 123825"/>
                  <a:gd name="connsiteX15" fmla="*/ 161925 w 161925"/>
                  <a:gd name="connsiteY15" fmla="*/ 123825 h 123825"/>
                  <a:gd name="connsiteX16" fmla="*/ 122873 w 161925"/>
                  <a:gd name="connsiteY16" fmla="*/ 120015 h 123825"/>
                  <a:gd name="connsiteX17" fmla="*/ 112395 w 161925"/>
                  <a:gd name="connsiteY17" fmla="*/ 113347 h 123825"/>
                  <a:gd name="connsiteX18" fmla="*/ 101918 w 161925"/>
                  <a:gd name="connsiteY18" fmla="*/ 113347 h 123825"/>
                  <a:gd name="connsiteX19" fmla="*/ 87630 w 161925"/>
                  <a:gd name="connsiteY19" fmla="*/ 113347 h 123825"/>
                  <a:gd name="connsiteX20" fmla="*/ 66675 w 161925"/>
                  <a:gd name="connsiteY20" fmla="*/ 113347 h 123825"/>
                  <a:gd name="connsiteX21" fmla="*/ 56198 w 161925"/>
                  <a:gd name="connsiteY21" fmla="*/ 113347 h 123825"/>
                  <a:gd name="connsiteX22" fmla="*/ 49530 w 161925"/>
                  <a:gd name="connsiteY22" fmla="*/ 120015 h 123825"/>
                  <a:gd name="connsiteX23" fmla="*/ 17145 w 161925"/>
                  <a:gd name="connsiteY23" fmla="*/ 123825 h 123825"/>
                  <a:gd name="connsiteX24" fmla="*/ 17145 w 161925"/>
                  <a:gd name="connsiteY24" fmla="*/ 105728 h 123825"/>
                  <a:gd name="connsiteX25" fmla="*/ 35243 w 161925"/>
                  <a:gd name="connsiteY25" fmla="*/ 99060 h 123825"/>
                  <a:gd name="connsiteX26" fmla="*/ 52388 w 161925"/>
                  <a:gd name="connsiteY26" fmla="*/ 99060 h 123825"/>
                  <a:gd name="connsiteX27" fmla="*/ 66675 w 161925"/>
                  <a:gd name="connsiteY27" fmla="*/ 99060 h 123825"/>
                  <a:gd name="connsiteX28" fmla="*/ 87630 w 161925"/>
                  <a:gd name="connsiteY28" fmla="*/ 99060 h 123825"/>
                  <a:gd name="connsiteX29" fmla="*/ 95250 w 161925"/>
                  <a:gd name="connsiteY29" fmla="*/ 95250 h 123825"/>
                  <a:gd name="connsiteX30" fmla="*/ 70485 w 161925"/>
                  <a:gd name="connsiteY30" fmla="*/ 88487 h 123825"/>
                  <a:gd name="connsiteX31" fmla="*/ 62865 w 161925"/>
                  <a:gd name="connsiteY31" fmla="*/ 88487 h 123825"/>
                  <a:gd name="connsiteX32" fmla="*/ 39053 w 161925"/>
                  <a:gd name="connsiteY32" fmla="*/ 84772 h 123825"/>
                  <a:gd name="connsiteX33" fmla="*/ 20955 w 161925"/>
                  <a:gd name="connsiteY33" fmla="*/ 84772 h 123825"/>
                  <a:gd name="connsiteX34" fmla="*/ 14288 w 161925"/>
                  <a:gd name="connsiteY34" fmla="*/ 84772 h 123825"/>
                  <a:gd name="connsiteX35" fmla="*/ 6668 w 161925"/>
                  <a:gd name="connsiteY35" fmla="*/ 70485 h 123825"/>
                  <a:gd name="connsiteX36" fmla="*/ 3810 w 161925"/>
                  <a:gd name="connsiteY36" fmla="*/ 59912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61925" h="123825">
                    <a:moveTo>
                      <a:pt x="3810" y="59912"/>
                    </a:moveTo>
                    <a:lnTo>
                      <a:pt x="0" y="49435"/>
                    </a:lnTo>
                    <a:lnTo>
                      <a:pt x="10478" y="35147"/>
                    </a:lnTo>
                    <a:lnTo>
                      <a:pt x="20955" y="20860"/>
                    </a:lnTo>
                    <a:lnTo>
                      <a:pt x="24765" y="3810"/>
                    </a:lnTo>
                    <a:lnTo>
                      <a:pt x="49530" y="0"/>
                    </a:lnTo>
                    <a:lnTo>
                      <a:pt x="74295" y="0"/>
                    </a:lnTo>
                    <a:lnTo>
                      <a:pt x="95250" y="10478"/>
                    </a:lnTo>
                    <a:lnTo>
                      <a:pt x="109538" y="20860"/>
                    </a:lnTo>
                    <a:lnTo>
                      <a:pt x="122873" y="42863"/>
                    </a:lnTo>
                    <a:lnTo>
                      <a:pt x="140970" y="56197"/>
                    </a:lnTo>
                    <a:lnTo>
                      <a:pt x="143828" y="67628"/>
                    </a:lnTo>
                    <a:lnTo>
                      <a:pt x="147638" y="88487"/>
                    </a:lnTo>
                    <a:lnTo>
                      <a:pt x="158115" y="102775"/>
                    </a:lnTo>
                    <a:lnTo>
                      <a:pt x="161925" y="116110"/>
                    </a:lnTo>
                    <a:lnTo>
                      <a:pt x="161925" y="123825"/>
                    </a:lnTo>
                    <a:lnTo>
                      <a:pt x="122873" y="120015"/>
                    </a:lnTo>
                    <a:lnTo>
                      <a:pt x="112395" y="113347"/>
                    </a:lnTo>
                    <a:lnTo>
                      <a:pt x="101918" y="113347"/>
                    </a:lnTo>
                    <a:lnTo>
                      <a:pt x="87630" y="113347"/>
                    </a:lnTo>
                    <a:lnTo>
                      <a:pt x="66675" y="113347"/>
                    </a:lnTo>
                    <a:lnTo>
                      <a:pt x="56198" y="113347"/>
                    </a:lnTo>
                    <a:lnTo>
                      <a:pt x="49530" y="120015"/>
                    </a:lnTo>
                    <a:lnTo>
                      <a:pt x="17145" y="123825"/>
                    </a:lnTo>
                    <a:lnTo>
                      <a:pt x="17145" y="105728"/>
                    </a:lnTo>
                    <a:lnTo>
                      <a:pt x="35243" y="99060"/>
                    </a:lnTo>
                    <a:lnTo>
                      <a:pt x="52388" y="99060"/>
                    </a:lnTo>
                    <a:lnTo>
                      <a:pt x="66675" y="99060"/>
                    </a:lnTo>
                    <a:lnTo>
                      <a:pt x="87630" y="99060"/>
                    </a:lnTo>
                    <a:lnTo>
                      <a:pt x="95250" y="95250"/>
                    </a:lnTo>
                    <a:lnTo>
                      <a:pt x="70485" y="88487"/>
                    </a:lnTo>
                    <a:lnTo>
                      <a:pt x="62865" y="88487"/>
                    </a:lnTo>
                    <a:lnTo>
                      <a:pt x="39053" y="84772"/>
                    </a:lnTo>
                    <a:lnTo>
                      <a:pt x="20955" y="84772"/>
                    </a:lnTo>
                    <a:lnTo>
                      <a:pt x="14288" y="84772"/>
                    </a:lnTo>
                    <a:lnTo>
                      <a:pt x="6668" y="70485"/>
                    </a:lnTo>
                    <a:lnTo>
                      <a:pt x="3810" y="5991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E65FE830-BE40-5207-689E-8AC524F236B1}"/>
                  </a:ext>
                </a:extLst>
              </p:cNvPr>
              <p:cNvSpPr/>
              <p:nvPr/>
            </p:nvSpPr>
            <p:spPr>
              <a:xfrm>
                <a:off x="7192754" y="3344733"/>
                <a:ext cx="89637" cy="75725"/>
              </a:xfrm>
              <a:custGeom>
                <a:avLst/>
                <a:gdLst>
                  <a:gd name="connsiteX0" fmla="*/ 0 w 91439"/>
                  <a:gd name="connsiteY0" fmla="*/ 10573 h 77247"/>
                  <a:gd name="connsiteX1" fmla="*/ 10477 w 91439"/>
                  <a:gd name="connsiteY1" fmla="*/ 6763 h 77247"/>
                  <a:gd name="connsiteX2" fmla="*/ 27622 w 91439"/>
                  <a:gd name="connsiteY2" fmla="*/ 0 h 77247"/>
                  <a:gd name="connsiteX3" fmla="*/ 41910 w 91439"/>
                  <a:gd name="connsiteY3" fmla="*/ 0 h 77247"/>
                  <a:gd name="connsiteX4" fmla="*/ 49530 w 91439"/>
                  <a:gd name="connsiteY4" fmla="*/ 6763 h 77247"/>
                  <a:gd name="connsiteX5" fmla="*/ 52388 w 91439"/>
                  <a:gd name="connsiteY5" fmla="*/ 17145 h 77247"/>
                  <a:gd name="connsiteX6" fmla="*/ 56197 w 91439"/>
                  <a:gd name="connsiteY6" fmla="*/ 31433 h 77247"/>
                  <a:gd name="connsiteX7" fmla="*/ 62865 w 91439"/>
                  <a:gd name="connsiteY7" fmla="*/ 42005 h 77247"/>
                  <a:gd name="connsiteX8" fmla="*/ 70485 w 91439"/>
                  <a:gd name="connsiteY8" fmla="*/ 49625 h 77247"/>
                  <a:gd name="connsiteX9" fmla="*/ 80963 w 91439"/>
                  <a:gd name="connsiteY9" fmla="*/ 52388 h 77247"/>
                  <a:gd name="connsiteX10" fmla="*/ 87630 w 91439"/>
                  <a:gd name="connsiteY10" fmla="*/ 60008 h 77247"/>
                  <a:gd name="connsiteX11" fmla="*/ 91440 w 91439"/>
                  <a:gd name="connsiteY11" fmla="*/ 66675 h 77247"/>
                  <a:gd name="connsiteX12" fmla="*/ 87630 w 91439"/>
                  <a:gd name="connsiteY12" fmla="*/ 77248 h 77247"/>
                  <a:gd name="connsiteX13" fmla="*/ 74295 w 91439"/>
                  <a:gd name="connsiteY13" fmla="*/ 74295 h 77247"/>
                  <a:gd name="connsiteX14" fmla="*/ 70485 w 91439"/>
                  <a:gd name="connsiteY14" fmla="*/ 60008 h 77247"/>
                  <a:gd name="connsiteX15" fmla="*/ 60007 w 91439"/>
                  <a:gd name="connsiteY15" fmla="*/ 56293 h 77247"/>
                  <a:gd name="connsiteX16" fmla="*/ 49530 w 91439"/>
                  <a:gd name="connsiteY16" fmla="*/ 49625 h 77247"/>
                  <a:gd name="connsiteX17" fmla="*/ 35243 w 91439"/>
                  <a:gd name="connsiteY17" fmla="*/ 49625 h 77247"/>
                  <a:gd name="connsiteX18" fmla="*/ 31432 w 91439"/>
                  <a:gd name="connsiteY18" fmla="*/ 56293 h 77247"/>
                  <a:gd name="connsiteX19" fmla="*/ 20955 w 91439"/>
                  <a:gd name="connsiteY19" fmla="*/ 49625 h 77247"/>
                  <a:gd name="connsiteX20" fmla="*/ 0 w 91439"/>
                  <a:gd name="connsiteY20" fmla="*/ 49625 h 77247"/>
                  <a:gd name="connsiteX21" fmla="*/ 0 w 91439"/>
                  <a:gd name="connsiteY21" fmla="*/ 28575 h 77247"/>
                  <a:gd name="connsiteX22" fmla="*/ 0 w 91439"/>
                  <a:gd name="connsiteY22" fmla="*/ 10573 h 77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1439" h="77247">
                    <a:moveTo>
                      <a:pt x="0" y="10573"/>
                    </a:moveTo>
                    <a:lnTo>
                      <a:pt x="10477" y="6763"/>
                    </a:lnTo>
                    <a:lnTo>
                      <a:pt x="27622" y="0"/>
                    </a:lnTo>
                    <a:lnTo>
                      <a:pt x="41910" y="0"/>
                    </a:lnTo>
                    <a:lnTo>
                      <a:pt x="49530" y="6763"/>
                    </a:lnTo>
                    <a:lnTo>
                      <a:pt x="52388" y="17145"/>
                    </a:lnTo>
                    <a:lnTo>
                      <a:pt x="56197" y="31433"/>
                    </a:lnTo>
                    <a:lnTo>
                      <a:pt x="62865" y="42005"/>
                    </a:lnTo>
                    <a:lnTo>
                      <a:pt x="70485" y="49625"/>
                    </a:lnTo>
                    <a:lnTo>
                      <a:pt x="80963" y="52388"/>
                    </a:lnTo>
                    <a:lnTo>
                      <a:pt x="87630" y="60008"/>
                    </a:lnTo>
                    <a:lnTo>
                      <a:pt x="91440" y="66675"/>
                    </a:lnTo>
                    <a:lnTo>
                      <a:pt x="87630" y="77248"/>
                    </a:lnTo>
                    <a:lnTo>
                      <a:pt x="74295" y="74295"/>
                    </a:lnTo>
                    <a:lnTo>
                      <a:pt x="70485" y="60008"/>
                    </a:lnTo>
                    <a:lnTo>
                      <a:pt x="60007" y="56293"/>
                    </a:lnTo>
                    <a:lnTo>
                      <a:pt x="49530" y="49625"/>
                    </a:lnTo>
                    <a:lnTo>
                      <a:pt x="35243" y="49625"/>
                    </a:lnTo>
                    <a:lnTo>
                      <a:pt x="31432" y="56293"/>
                    </a:lnTo>
                    <a:lnTo>
                      <a:pt x="20955" y="49625"/>
                    </a:lnTo>
                    <a:lnTo>
                      <a:pt x="0" y="49625"/>
                    </a:lnTo>
                    <a:lnTo>
                      <a:pt x="0" y="28575"/>
                    </a:lnTo>
                    <a:lnTo>
                      <a:pt x="0" y="1057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5F8E028D-26C4-83C0-599D-BFA535D8EBCC}"/>
                  </a:ext>
                </a:extLst>
              </p:cNvPr>
              <p:cNvSpPr/>
              <p:nvPr/>
            </p:nvSpPr>
            <p:spPr>
              <a:xfrm>
                <a:off x="7192754" y="3344733"/>
                <a:ext cx="89637" cy="75725"/>
              </a:xfrm>
              <a:custGeom>
                <a:avLst/>
                <a:gdLst>
                  <a:gd name="connsiteX0" fmla="*/ 0 w 91439"/>
                  <a:gd name="connsiteY0" fmla="*/ 10573 h 77247"/>
                  <a:gd name="connsiteX1" fmla="*/ 10477 w 91439"/>
                  <a:gd name="connsiteY1" fmla="*/ 6763 h 77247"/>
                  <a:gd name="connsiteX2" fmla="*/ 27622 w 91439"/>
                  <a:gd name="connsiteY2" fmla="*/ 0 h 77247"/>
                  <a:gd name="connsiteX3" fmla="*/ 41910 w 91439"/>
                  <a:gd name="connsiteY3" fmla="*/ 0 h 77247"/>
                  <a:gd name="connsiteX4" fmla="*/ 49530 w 91439"/>
                  <a:gd name="connsiteY4" fmla="*/ 6763 h 77247"/>
                  <a:gd name="connsiteX5" fmla="*/ 52388 w 91439"/>
                  <a:gd name="connsiteY5" fmla="*/ 17145 h 77247"/>
                  <a:gd name="connsiteX6" fmla="*/ 56197 w 91439"/>
                  <a:gd name="connsiteY6" fmla="*/ 31433 h 77247"/>
                  <a:gd name="connsiteX7" fmla="*/ 62865 w 91439"/>
                  <a:gd name="connsiteY7" fmla="*/ 42005 h 77247"/>
                  <a:gd name="connsiteX8" fmla="*/ 70485 w 91439"/>
                  <a:gd name="connsiteY8" fmla="*/ 49625 h 77247"/>
                  <a:gd name="connsiteX9" fmla="*/ 80963 w 91439"/>
                  <a:gd name="connsiteY9" fmla="*/ 52388 h 77247"/>
                  <a:gd name="connsiteX10" fmla="*/ 87630 w 91439"/>
                  <a:gd name="connsiteY10" fmla="*/ 60008 h 77247"/>
                  <a:gd name="connsiteX11" fmla="*/ 91440 w 91439"/>
                  <a:gd name="connsiteY11" fmla="*/ 66675 h 77247"/>
                  <a:gd name="connsiteX12" fmla="*/ 87630 w 91439"/>
                  <a:gd name="connsiteY12" fmla="*/ 77248 h 77247"/>
                  <a:gd name="connsiteX13" fmla="*/ 74295 w 91439"/>
                  <a:gd name="connsiteY13" fmla="*/ 74295 h 77247"/>
                  <a:gd name="connsiteX14" fmla="*/ 70485 w 91439"/>
                  <a:gd name="connsiteY14" fmla="*/ 60008 h 77247"/>
                  <a:gd name="connsiteX15" fmla="*/ 60007 w 91439"/>
                  <a:gd name="connsiteY15" fmla="*/ 56293 h 77247"/>
                  <a:gd name="connsiteX16" fmla="*/ 49530 w 91439"/>
                  <a:gd name="connsiteY16" fmla="*/ 49625 h 77247"/>
                  <a:gd name="connsiteX17" fmla="*/ 35243 w 91439"/>
                  <a:gd name="connsiteY17" fmla="*/ 49625 h 77247"/>
                  <a:gd name="connsiteX18" fmla="*/ 31432 w 91439"/>
                  <a:gd name="connsiteY18" fmla="*/ 56293 h 77247"/>
                  <a:gd name="connsiteX19" fmla="*/ 20955 w 91439"/>
                  <a:gd name="connsiteY19" fmla="*/ 49625 h 77247"/>
                  <a:gd name="connsiteX20" fmla="*/ 0 w 91439"/>
                  <a:gd name="connsiteY20" fmla="*/ 49625 h 77247"/>
                  <a:gd name="connsiteX21" fmla="*/ 0 w 91439"/>
                  <a:gd name="connsiteY21" fmla="*/ 28575 h 77247"/>
                  <a:gd name="connsiteX22" fmla="*/ 0 w 91439"/>
                  <a:gd name="connsiteY22" fmla="*/ 10573 h 77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1439" h="77247">
                    <a:moveTo>
                      <a:pt x="0" y="10573"/>
                    </a:moveTo>
                    <a:lnTo>
                      <a:pt x="10477" y="6763"/>
                    </a:lnTo>
                    <a:lnTo>
                      <a:pt x="27622" y="0"/>
                    </a:lnTo>
                    <a:lnTo>
                      <a:pt x="41910" y="0"/>
                    </a:lnTo>
                    <a:lnTo>
                      <a:pt x="49530" y="6763"/>
                    </a:lnTo>
                    <a:lnTo>
                      <a:pt x="52388" y="17145"/>
                    </a:lnTo>
                    <a:lnTo>
                      <a:pt x="56197" y="31433"/>
                    </a:lnTo>
                    <a:lnTo>
                      <a:pt x="62865" y="42005"/>
                    </a:lnTo>
                    <a:lnTo>
                      <a:pt x="70485" y="49625"/>
                    </a:lnTo>
                    <a:lnTo>
                      <a:pt x="80963" y="52388"/>
                    </a:lnTo>
                    <a:lnTo>
                      <a:pt x="87630" y="60008"/>
                    </a:lnTo>
                    <a:lnTo>
                      <a:pt x="91440" y="66675"/>
                    </a:lnTo>
                    <a:lnTo>
                      <a:pt x="87630" y="77248"/>
                    </a:lnTo>
                    <a:lnTo>
                      <a:pt x="74295" y="74295"/>
                    </a:lnTo>
                    <a:lnTo>
                      <a:pt x="70485" y="60008"/>
                    </a:lnTo>
                    <a:lnTo>
                      <a:pt x="60007" y="56293"/>
                    </a:lnTo>
                    <a:lnTo>
                      <a:pt x="49530" y="49625"/>
                    </a:lnTo>
                    <a:lnTo>
                      <a:pt x="35243" y="49625"/>
                    </a:lnTo>
                    <a:lnTo>
                      <a:pt x="31432" y="56293"/>
                    </a:lnTo>
                    <a:lnTo>
                      <a:pt x="20955" y="49625"/>
                    </a:lnTo>
                    <a:lnTo>
                      <a:pt x="0" y="49625"/>
                    </a:lnTo>
                    <a:lnTo>
                      <a:pt x="0" y="28575"/>
                    </a:lnTo>
                    <a:lnTo>
                      <a:pt x="0" y="1057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41A6DECE-2C8C-91C2-CEB5-6D614AEF2C73}"/>
                  </a:ext>
                </a:extLst>
              </p:cNvPr>
              <p:cNvSpPr/>
              <p:nvPr/>
            </p:nvSpPr>
            <p:spPr>
              <a:xfrm>
                <a:off x="7233838" y="3324191"/>
                <a:ext cx="145661" cy="113914"/>
              </a:xfrm>
              <a:custGeom>
                <a:avLst/>
                <a:gdLst>
                  <a:gd name="connsiteX0" fmla="*/ 35243 w 148590"/>
                  <a:gd name="connsiteY0" fmla="*/ 0 h 116204"/>
                  <a:gd name="connsiteX1" fmla="*/ 45720 w 148590"/>
                  <a:gd name="connsiteY1" fmla="*/ 2953 h 116204"/>
                  <a:gd name="connsiteX2" fmla="*/ 56198 w 148590"/>
                  <a:gd name="connsiteY2" fmla="*/ 14288 h 116204"/>
                  <a:gd name="connsiteX3" fmla="*/ 74295 w 148590"/>
                  <a:gd name="connsiteY3" fmla="*/ 24860 h 116204"/>
                  <a:gd name="connsiteX4" fmla="*/ 80963 w 148590"/>
                  <a:gd name="connsiteY4" fmla="*/ 20955 h 116204"/>
                  <a:gd name="connsiteX5" fmla="*/ 91440 w 148590"/>
                  <a:gd name="connsiteY5" fmla="*/ 10573 h 116204"/>
                  <a:gd name="connsiteX6" fmla="*/ 99060 w 148590"/>
                  <a:gd name="connsiteY6" fmla="*/ 2953 h 116204"/>
                  <a:gd name="connsiteX7" fmla="*/ 105728 w 148590"/>
                  <a:gd name="connsiteY7" fmla="*/ 14288 h 116204"/>
                  <a:gd name="connsiteX8" fmla="*/ 116205 w 148590"/>
                  <a:gd name="connsiteY8" fmla="*/ 35242 h 116204"/>
                  <a:gd name="connsiteX9" fmla="*/ 123825 w 148590"/>
                  <a:gd name="connsiteY9" fmla="*/ 42005 h 116204"/>
                  <a:gd name="connsiteX10" fmla="*/ 140970 w 148590"/>
                  <a:gd name="connsiteY10" fmla="*/ 49530 h 116204"/>
                  <a:gd name="connsiteX11" fmla="*/ 148590 w 148590"/>
                  <a:gd name="connsiteY11" fmla="*/ 52388 h 116204"/>
                  <a:gd name="connsiteX12" fmla="*/ 148590 w 148590"/>
                  <a:gd name="connsiteY12" fmla="*/ 62960 h 116204"/>
                  <a:gd name="connsiteX13" fmla="*/ 126683 w 148590"/>
                  <a:gd name="connsiteY13" fmla="*/ 62960 h 116204"/>
                  <a:gd name="connsiteX14" fmla="*/ 120015 w 148590"/>
                  <a:gd name="connsiteY14" fmla="*/ 66675 h 116204"/>
                  <a:gd name="connsiteX15" fmla="*/ 116205 w 148590"/>
                  <a:gd name="connsiteY15" fmla="*/ 77248 h 116204"/>
                  <a:gd name="connsiteX16" fmla="*/ 120015 w 148590"/>
                  <a:gd name="connsiteY16" fmla="*/ 84868 h 116204"/>
                  <a:gd name="connsiteX17" fmla="*/ 120015 w 148590"/>
                  <a:gd name="connsiteY17" fmla="*/ 87630 h 116204"/>
                  <a:gd name="connsiteX18" fmla="*/ 120015 w 148590"/>
                  <a:gd name="connsiteY18" fmla="*/ 91535 h 116204"/>
                  <a:gd name="connsiteX19" fmla="*/ 120015 w 148590"/>
                  <a:gd name="connsiteY19" fmla="*/ 95250 h 116204"/>
                  <a:gd name="connsiteX20" fmla="*/ 105728 w 148590"/>
                  <a:gd name="connsiteY20" fmla="*/ 95250 h 116204"/>
                  <a:gd name="connsiteX21" fmla="*/ 105728 w 148590"/>
                  <a:gd name="connsiteY21" fmla="*/ 101917 h 116204"/>
                  <a:gd name="connsiteX22" fmla="*/ 105728 w 148590"/>
                  <a:gd name="connsiteY22" fmla="*/ 108680 h 116204"/>
                  <a:gd name="connsiteX23" fmla="*/ 105728 w 148590"/>
                  <a:gd name="connsiteY23" fmla="*/ 116205 h 116204"/>
                  <a:gd name="connsiteX24" fmla="*/ 91440 w 148590"/>
                  <a:gd name="connsiteY24" fmla="*/ 116205 h 116204"/>
                  <a:gd name="connsiteX25" fmla="*/ 80963 w 148590"/>
                  <a:gd name="connsiteY25" fmla="*/ 108680 h 116204"/>
                  <a:gd name="connsiteX26" fmla="*/ 91440 w 148590"/>
                  <a:gd name="connsiteY26" fmla="*/ 101917 h 116204"/>
                  <a:gd name="connsiteX27" fmla="*/ 84773 w 148590"/>
                  <a:gd name="connsiteY27" fmla="*/ 91535 h 116204"/>
                  <a:gd name="connsiteX28" fmla="*/ 84773 w 148590"/>
                  <a:gd name="connsiteY28" fmla="*/ 77248 h 116204"/>
                  <a:gd name="connsiteX29" fmla="*/ 78105 w 148590"/>
                  <a:gd name="connsiteY29" fmla="*/ 73342 h 116204"/>
                  <a:gd name="connsiteX30" fmla="*/ 74295 w 148590"/>
                  <a:gd name="connsiteY30" fmla="*/ 77248 h 116204"/>
                  <a:gd name="connsiteX31" fmla="*/ 67628 w 148590"/>
                  <a:gd name="connsiteY31" fmla="*/ 84868 h 116204"/>
                  <a:gd name="connsiteX32" fmla="*/ 56198 w 148590"/>
                  <a:gd name="connsiteY32" fmla="*/ 91535 h 116204"/>
                  <a:gd name="connsiteX33" fmla="*/ 45720 w 148590"/>
                  <a:gd name="connsiteY33" fmla="*/ 98203 h 116204"/>
                  <a:gd name="connsiteX34" fmla="*/ 49530 w 148590"/>
                  <a:gd name="connsiteY34" fmla="*/ 87630 h 116204"/>
                  <a:gd name="connsiteX35" fmla="*/ 45720 w 148590"/>
                  <a:gd name="connsiteY35" fmla="*/ 80963 h 116204"/>
                  <a:gd name="connsiteX36" fmla="*/ 20955 w 148590"/>
                  <a:gd name="connsiteY36" fmla="*/ 62960 h 116204"/>
                  <a:gd name="connsiteX37" fmla="*/ 10478 w 148590"/>
                  <a:gd name="connsiteY37" fmla="*/ 35242 h 116204"/>
                  <a:gd name="connsiteX38" fmla="*/ 7620 w 148590"/>
                  <a:gd name="connsiteY38" fmla="*/ 27718 h 116204"/>
                  <a:gd name="connsiteX39" fmla="*/ 0 w 148590"/>
                  <a:gd name="connsiteY39" fmla="*/ 20955 h 116204"/>
                  <a:gd name="connsiteX40" fmla="*/ 10478 w 148590"/>
                  <a:gd name="connsiteY40" fmla="*/ 14288 h 116204"/>
                  <a:gd name="connsiteX41" fmla="*/ 20955 w 148590"/>
                  <a:gd name="connsiteY41" fmla="*/ 20955 h 116204"/>
                  <a:gd name="connsiteX42" fmla="*/ 32385 w 148590"/>
                  <a:gd name="connsiteY42" fmla="*/ 31528 h 116204"/>
                  <a:gd name="connsiteX43" fmla="*/ 42863 w 148590"/>
                  <a:gd name="connsiteY43" fmla="*/ 31528 h 116204"/>
                  <a:gd name="connsiteX44" fmla="*/ 45720 w 148590"/>
                  <a:gd name="connsiteY44" fmla="*/ 24860 h 116204"/>
                  <a:gd name="connsiteX45" fmla="*/ 39053 w 148590"/>
                  <a:gd name="connsiteY45" fmla="*/ 14288 h 116204"/>
                  <a:gd name="connsiteX46" fmla="*/ 28575 w 148590"/>
                  <a:gd name="connsiteY46" fmla="*/ 2953 h 116204"/>
                  <a:gd name="connsiteX47" fmla="*/ 35243 w 148590"/>
                  <a:gd name="connsiteY47" fmla="*/ 0 h 11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48590" h="116204">
                    <a:moveTo>
                      <a:pt x="35243" y="0"/>
                    </a:moveTo>
                    <a:lnTo>
                      <a:pt x="45720" y="2953"/>
                    </a:lnTo>
                    <a:lnTo>
                      <a:pt x="56198" y="14288"/>
                    </a:lnTo>
                    <a:lnTo>
                      <a:pt x="74295" y="24860"/>
                    </a:lnTo>
                    <a:lnTo>
                      <a:pt x="80963" y="20955"/>
                    </a:lnTo>
                    <a:lnTo>
                      <a:pt x="91440" y="10573"/>
                    </a:lnTo>
                    <a:lnTo>
                      <a:pt x="99060" y="2953"/>
                    </a:lnTo>
                    <a:lnTo>
                      <a:pt x="105728" y="14288"/>
                    </a:lnTo>
                    <a:lnTo>
                      <a:pt x="116205" y="35242"/>
                    </a:lnTo>
                    <a:lnTo>
                      <a:pt x="123825" y="42005"/>
                    </a:lnTo>
                    <a:lnTo>
                      <a:pt x="140970" y="49530"/>
                    </a:lnTo>
                    <a:lnTo>
                      <a:pt x="148590" y="52388"/>
                    </a:lnTo>
                    <a:lnTo>
                      <a:pt x="148590" y="62960"/>
                    </a:lnTo>
                    <a:lnTo>
                      <a:pt x="126683" y="62960"/>
                    </a:lnTo>
                    <a:lnTo>
                      <a:pt x="120015" y="66675"/>
                    </a:lnTo>
                    <a:lnTo>
                      <a:pt x="116205" y="77248"/>
                    </a:lnTo>
                    <a:lnTo>
                      <a:pt x="120015" y="84868"/>
                    </a:lnTo>
                    <a:lnTo>
                      <a:pt x="120015" y="87630"/>
                    </a:lnTo>
                    <a:lnTo>
                      <a:pt x="120015" y="91535"/>
                    </a:lnTo>
                    <a:lnTo>
                      <a:pt x="120015" y="95250"/>
                    </a:lnTo>
                    <a:lnTo>
                      <a:pt x="105728" y="95250"/>
                    </a:lnTo>
                    <a:lnTo>
                      <a:pt x="105728" y="101917"/>
                    </a:lnTo>
                    <a:lnTo>
                      <a:pt x="105728" y="108680"/>
                    </a:lnTo>
                    <a:lnTo>
                      <a:pt x="105728" y="116205"/>
                    </a:lnTo>
                    <a:lnTo>
                      <a:pt x="91440" y="116205"/>
                    </a:lnTo>
                    <a:lnTo>
                      <a:pt x="80963" y="108680"/>
                    </a:lnTo>
                    <a:lnTo>
                      <a:pt x="91440" y="101917"/>
                    </a:lnTo>
                    <a:lnTo>
                      <a:pt x="84773" y="91535"/>
                    </a:lnTo>
                    <a:lnTo>
                      <a:pt x="84773" y="77248"/>
                    </a:lnTo>
                    <a:lnTo>
                      <a:pt x="78105" y="73342"/>
                    </a:lnTo>
                    <a:lnTo>
                      <a:pt x="74295" y="77248"/>
                    </a:lnTo>
                    <a:lnTo>
                      <a:pt x="67628" y="84868"/>
                    </a:lnTo>
                    <a:lnTo>
                      <a:pt x="56198" y="91535"/>
                    </a:lnTo>
                    <a:lnTo>
                      <a:pt x="45720" y="98203"/>
                    </a:lnTo>
                    <a:lnTo>
                      <a:pt x="49530" y="87630"/>
                    </a:lnTo>
                    <a:lnTo>
                      <a:pt x="45720" y="80963"/>
                    </a:lnTo>
                    <a:lnTo>
                      <a:pt x="20955" y="62960"/>
                    </a:lnTo>
                    <a:lnTo>
                      <a:pt x="10478" y="35242"/>
                    </a:lnTo>
                    <a:lnTo>
                      <a:pt x="7620" y="27718"/>
                    </a:lnTo>
                    <a:lnTo>
                      <a:pt x="0" y="20955"/>
                    </a:lnTo>
                    <a:lnTo>
                      <a:pt x="10478" y="14288"/>
                    </a:lnTo>
                    <a:lnTo>
                      <a:pt x="20955" y="20955"/>
                    </a:lnTo>
                    <a:lnTo>
                      <a:pt x="32385" y="31528"/>
                    </a:lnTo>
                    <a:lnTo>
                      <a:pt x="42863" y="31528"/>
                    </a:lnTo>
                    <a:lnTo>
                      <a:pt x="45720" y="24860"/>
                    </a:lnTo>
                    <a:lnTo>
                      <a:pt x="39053" y="14288"/>
                    </a:lnTo>
                    <a:lnTo>
                      <a:pt x="28575" y="2953"/>
                    </a:lnTo>
                    <a:lnTo>
                      <a:pt x="3524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7472EB45-0C42-3CCC-8177-2C5077241A75}"/>
                  </a:ext>
                </a:extLst>
              </p:cNvPr>
              <p:cNvSpPr/>
              <p:nvPr/>
            </p:nvSpPr>
            <p:spPr>
              <a:xfrm>
                <a:off x="7233838" y="3324191"/>
                <a:ext cx="145661" cy="113914"/>
              </a:xfrm>
              <a:custGeom>
                <a:avLst/>
                <a:gdLst>
                  <a:gd name="connsiteX0" fmla="*/ 35243 w 148590"/>
                  <a:gd name="connsiteY0" fmla="*/ 0 h 116204"/>
                  <a:gd name="connsiteX1" fmla="*/ 45720 w 148590"/>
                  <a:gd name="connsiteY1" fmla="*/ 2953 h 116204"/>
                  <a:gd name="connsiteX2" fmla="*/ 56198 w 148590"/>
                  <a:gd name="connsiteY2" fmla="*/ 14288 h 116204"/>
                  <a:gd name="connsiteX3" fmla="*/ 74295 w 148590"/>
                  <a:gd name="connsiteY3" fmla="*/ 24860 h 116204"/>
                  <a:gd name="connsiteX4" fmla="*/ 80963 w 148590"/>
                  <a:gd name="connsiteY4" fmla="*/ 20955 h 116204"/>
                  <a:gd name="connsiteX5" fmla="*/ 91440 w 148590"/>
                  <a:gd name="connsiteY5" fmla="*/ 10573 h 116204"/>
                  <a:gd name="connsiteX6" fmla="*/ 99060 w 148590"/>
                  <a:gd name="connsiteY6" fmla="*/ 2953 h 116204"/>
                  <a:gd name="connsiteX7" fmla="*/ 105728 w 148590"/>
                  <a:gd name="connsiteY7" fmla="*/ 14288 h 116204"/>
                  <a:gd name="connsiteX8" fmla="*/ 116205 w 148590"/>
                  <a:gd name="connsiteY8" fmla="*/ 35242 h 116204"/>
                  <a:gd name="connsiteX9" fmla="*/ 123825 w 148590"/>
                  <a:gd name="connsiteY9" fmla="*/ 42005 h 116204"/>
                  <a:gd name="connsiteX10" fmla="*/ 140970 w 148590"/>
                  <a:gd name="connsiteY10" fmla="*/ 49530 h 116204"/>
                  <a:gd name="connsiteX11" fmla="*/ 148590 w 148590"/>
                  <a:gd name="connsiteY11" fmla="*/ 52388 h 116204"/>
                  <a:gd name="connsiteX12" fmla="*/ 148590 w 148590"/>
                  <a:gd name="connsiteY12" fmla="*/ 62960 h 116204"/>
                  <a:gd name="connsiteX13" fmla="*/ 126683 w 148590"/>
                  <a:gd name="connsiteY13" fmla="*/ 62960 h 116204"/>
                  <a:gd name="connsiteX14" fmla="*/ 120015 w 148590"/>
                  <a:gd name="connsiteY14" fmla="*/ 66675 h 116204"/>
                  <a:gd name="connsiteX15" fmla="*/ 116205 w 148590"/>
                  <a:gd name="connsiteY15" fmla="*/ 77248 h 116204"/>
                  <a:gd name="connsiteX16" fmla="*/ 120015 w 148590"/>
                  <a:gd name="connsiteY16" fmla="*/ 84868 h 116204"/>
                  <a:gd name="connsiteX17" fmla="*/ 120015 w 148590"/>
                  <a:gd name="connsiteY17" fmla="*/ 87630 h 116204"/>
                  <a:gd name="connsiteX18" fmla="*/ 120015 w 148590"/>
                  <a:gd name="connsiteY18" fmla="*/ 91535 h 116204"/>
                  <a:gd name="connsiteX19" fmla="*/ 120015 w 148590"/>
                  <a:gd name="connsiteY19" fmla="*/ 95250 h 116204"/>
                  <a:gd name="connsiteX20" fmla="*/ 105728 w 148590"/>
                  <a:gd name="connsiteY20" fmla="*/ 95250 h 116204"/>
                  <a:gd name="connsiteX21" fmla="*/ 105728 w 148590"/>
                  <a:gd name="connsiteY21" fmla="*/ 101917 h 116204"/>
                  <a:gd name="connsiteX22" fmla="*/ 105728 w 148590"/>
                  <a:gd name="connsiteY22" fmla="*/ 108680 h 116204"/>
                  <a:gd name="connsiteX23" fmla="*/ 105728 w 148590"/>
                  <a:gd name="connsiteY23" fmla="*/ 116205 h 116204"/>
                  <a:gd name="connsiteX24" fmla="*/ 91440 w 148590"/>
                  <a:gd name="connsiteY24" fmla="*/ 116205 h 116204"/>
                  <a:gd name="connsiteX25" fmla="*/ 80963 w 148590"/>
                  <a:gd name="connsiteY25" fmla="*/ 108680 h 116204"/>
                  <a:gd name="connsiteX26" fmla="*/ 91440 w 148590"/>
                  <a:gd name="connsiteY26" fmla="*/ 101917 h 116204"/>
                  <a:gd name="connsiteX27" fmla="*/ 84773 w 148590"/>
                  <a:gd name="connsiteY27" fmla="*/ 91535 h 116204"/>
                  <a:gd name="connsiteX28" fmla="*/ 84773 w 148590"/>
                  <a:gd name="connsiteY28" fmla="*/ 77248 h 116204"/>
                  <a:gd name="connsiteX29" fmla="*/ 78105 w 148590"/>
                  <a:gd name="connsiteY29" fmla="*/ 73342 h 116204"/>
                  <a:gd name="connsiteX30" fmla="*/ 74295 w 148590"/>
                  <a:gd name="connsiteY30" fmla="*/ 77248 h 116204"/>
                  <a:gd name="connsiteX31" fmla="*/ 67628 w 148590"/>
                  <a:gd name="connsiteY31" fmla="*/ 84868 h 116204"/>
                  <a:gd name="connsiteX32" fmla="*/ 56198 w 148590"/>
                  <a:gd name="connsiteY32" fmla="*/ 91535 h 116204"/>
                  <a:gd name="connsiteX33" fmla="*/ 45720 w 148590"/>
                  <a:gd name="connsiteY33" fmla="*/ 98203 h 116204"/>
                  <a:gd name="connsiteX34" fmla="*/ 49530 w 148590"/>
                  <a:gd name="connsiteY34" fmla="*/ 87630 h 116204"/>
                  <a:gd name="connsiteX35" fmla="*/ 45720 w 148590"/>
                  <a:gd name="connsiteY35" fmla="*/ 80963 h 116204"/>
                  <a:gd name="connsiteX36" fmla="*/ 20955 w 148590"/>
                  <a:gd name="connsiteY36" fmla="*/ 62960 h 116204"/>
                  <a:gd name="connsiteX37" fmla="*/ 10478 w 148590"/>
                  <a:gd name="connsiteY37" fmla="*/ 35242 h 116204"/>
                  <a:gd name="connsiteX38" fmla="*/ 7620 w 148590"/>
                  <a:gd name="connsiteY38" fmla="*/ 27718 h 116204"/>
                  <a:gd name="connsiteX39" fmla="*/ 0 w 148590"/>
                  <a:gd name="connsiteY39" fmla="*/ 20955 h 116204"/>
                  <a:gd name="connsiteX40" fmla="*/ 10478 w 148590"/>
                  <a:gd name="connsiteY40" fmla="*/ 14288 h 116204"/>
                  <a:gd name="connsiteX41" fmla="*/ 20955 w 148590"/>
                  <a:gd name="connsiteY41" fmla="*/ 20955 h 116204"/>
                  <a:gd name="connsiteX42" fmla="*/ 32385 w 148590"/>
                  <a:gd name="connsiteY42" fmla="*/ 31528 h 116204"/>
                  <a:gd name="connsiteX43" fmla="*/ 42863 w 148590"/>
                  <a:gd name="connsiteY43" fmla="*/ 31528 h 116204"/>
                  <a:gd name="connsiteX44" fmla="*/ 45720 w 148590"/>
                  <a:gd name="connsiteY44" fmla="*/ 24860 h 116204"/>
                  <a:gd name="connsiteX45" fmla="*/ 39053 w 148590"/>
                  <a:gd name="connsiteY45" fmla="*/ 14288 h 116204"/>
                  <a:gd name="connsiteX46" fmla="*/ 28575 w 148590"/>
                  <a:gd name="connsiteY46" fmla="*/ 2953 h 116204"/>
                  <a:gd name="connsiteX47" fmla="*/ 35243 w 148590"/>
                  <a:gd name="connsiteY47" fmla="*/ 0 h 11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48590" h="116204">
                    <a:moveTo>
                      <a:pt x="35243" y="0"/>
                    </a:moveTo>
                    <a:lnTo>
                      <a:pt x="45720" y="2953"/>
                    </a:lnTo>
                    <a:lnTo>
                      <a:pt x="56198" y="14288"/>
                    </a:lnTo>
                    <a:lnTo>
                      <a:pt x="74295" y="24860"/>
                    </a:lnTo>
                    <a:lnTo>
                      <a:pt x="80963" y="20955"/>
                    </a:lnTo>
                    <a:lnTo>
                      <a:pt x="91440" y="10573"/>
                    </a:lnTo>
                    <a:lnTo>
                      <a:pt x="99060" y="2953"/>
                    </a:lnTo>
                    <a:lnTo>
                      <a:pt x="105728" y="14288"/>
                    </a:lnTo>
                    <a:lnTo>
                      <a:pt x="116205" y="35242"/>
                    </a:lnTo>
                    <a:lnTo>
                      <a:pt x="123825" y="42005"/>
                    </a:lnTo>
                    <a:lnTo>
                      <a:pt x="140970" y="49530"/>
                    </a:lnTo>
                    <a:lnTo>
                      <a:pt x="148590" y="52388"/>
                    </a:lnTo>
                    <a:lnTo>
                      <a:pt x="148590" y="62960"/>
                    </a:lnTo>
                    <a:lnTo>
                      <a:pt x="126683" y="62960"/>
                    </a:lnTo>
                    <a:lnTo>
                      <a:pt x="120015" y="66675"/>
                    </a:lnTo>
                    <a:lnTo>
                      <a:pt x="116205" y="77248"/>
                    </a:lnTo>
                    <a:lnTo>
                      <a:pt x="120015" y="84868"/>
                    </a:lnTo>
                    <a:lnTo>
                      <a:pt x="120015" y="87630"/>
                    </a:lnTo>
                    <a:lnTo>
                      <a:pt x="120015" y="91535"/>
                    </a:lnTo>
                    <a:lnTo>
                      <a:pt x="120015" y="95250"/>
                    </a:lnTo>
                    <a:lnTo>
                      <a:pt x="105728" y="95250"/>
                    </a:lnTo>
                    <a:lnTo>
                      <a:pt x="105728" y="101917"/>
                    </a:lnTo>
                    <a:lnTo>
                      <a:pt x="105728" y="108680"/>
                    </a:lnTo>
                    <a:lnTo>
                      <a:pt x="105728" y="116205"/>
                    </a:lnTo>
                    <a:lnTo>
                      <a:pt x="91440" y="116205"/>
                    </a:lnTo>
                    <a:lnTo>
                      <a:pt x="80963" y="108680"/>
                    </a:lnTo>
                    <a:lnTo>
                      <a:pt x="91440" y="101917"/>
                    </a:lnTo>
                    <a:lnTo>
                      <a:pt x="84773" y="91535"/>
                    </a:lnTo>
                    <a:lnTo>
                      <a:pt x="84773" y="77248"/>
                    </a:lnTo>
                    <a:lnTo>
                      <a:pt x="78105" y="73342"/>
                    </a:lnTo>
                    <a:lnTo>
                      <a:pt x="74295" y="77248"/>
                    </a:lnTo>
                    <a:lnTo>
                      <a:pt x="67628" y="84868"/>
                    </a:lnTo>
                    <a:lnTo>
                      <a:pt x="56198" y="91535"/>
                    </a:lnTo>
                    <a:lnTo>
                      <a:pt x="45720" y="98203"/>
                    </a:lnTo>
                    <a:lnTo>
                      <a:pt x="49530" y="87630"/>
                    </a:lnTo>
                    <a:lnTo>
                      <a:pt x="45720" y="80963"/>
                    </a:lnTo>
                    <a:lnTo>
                      <a:pt x="20955" y="62960"/>
                    </a:lnTo>
                    <a:lnTo>
                      <a:pt x="10478" y="35242"/>
                    </a:lnTo>
                    <a:lnTo>
                      <a:pt x="7620" y="27718"/>
                    </a:lnTo>
                    <a:lnTo>
                      <a:pt x="0" y="20955"/>
                    </a:lnTo>
                    <a:lnTo>
                      <a:pt x="10478" y="14288"/>
                    </a:lnTo>
                    <a:lnTo>
                      <a:pt x="20955" y="20955"/>
                    </a:lnTo>
                    <a:lnTo>
                      <a:pt x="32385" y="31528"/>
                    </a:lnTo>
                    <a:lnTo>
                      <a:pt x="42863" y="31528"/>
                    </a:lnTo>
                    <a:lnTo>
                      <a:pt x="45720" y="24860"/>
                    </a:lnTo>
                    <a:lnTo>
                      <a:pt x="39053" y="14288"/>
                    </a:lnTo>
                    <a:lnTo>
                      <a:pt x="28575" y="2953"/>
                    </a:lnTo>
                    <a:lnTo>
                      <a:pt x="35243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3A2AA8BB-BAF6-4107-C9DA-624733D99DDE}"/>
                  </a:ext>
                </a:extLst>
              </p:cNvPr>
              <p:cNvSpPr/>
              <p:nvPr/>
            </p:nvSpPr>
            <p:spPr>
              <a:xfrm>
                <a:off x="7092845" y="3268167"/>
                <a:ext cx="185811" cy="86930"/>
              </a:xfrm>
              <a:custGeom>
                <a:avLst/>
                <a:gdLst>
                  <a:gd name="connsiteX0" fmla="*/ 0 w 189547"/>
                  <a:gd name="connsiteY0" fmla="*/ 3905 h 88677"/>
                  <a:gd name="connsiteX1" fmla="*/ 20955 w 189547"/>
                  <a:gd name="connsiteY1" fmla="*/ 0 h 88677"/>
                  <a:gd name="connsiteX2" fmla="*/ 31432 w 189547"/>
                  <a:gd name="connsiteY2" fmla="*/ 7715 h 88677"/>
                  <a:gd name="connsiteX3" fmla="*/ 41910 w 189547"/>
                  <a:gd name="connsiteY3" fmla="*/ 14288 h 88677"/>
                  <a:gd name="connsiteX4" fmla="*/ 60007 w 189547"/>
                  <a:gd name="connsiteY4" fmla="*/ 11430 h 88677"/>
                  <a:gd name="connsiteX5" fmla="*/ 73343 w 189547"/>
                  <a:gd name="connsiteY5" fmla="*/ 11430 h 88677"/>
                  <a:gd name="connsiteX6" fmla="*/ 91440 w 189547"/>
                  <a:gd name="connsiteY6" fmla="*/ 22003 h 88677"/>
                  <a:gd name="connsiteX7" fmla="*/ 98107 w 189547"/>
                  <a:gd name="connsiteY7" fmla="*/ 24860 h 88677"/>
                  <a:gd name="connsiteX8" fmla="*/ 116205 w 189547"/>
                  <a:gd name="connsiteY8" fmla="*/ 32480 h 88677"/>
                  <a:gd name="connsiteX9" fmla="*/ 126682 w 189547"/>
                  <a:gd name="connsiteY9" fmla="*/ 32480 h 88677"/>
                  <a:gd name="connsiteX10" fmla="*/ 143827 w 189547"/>
                  <a:gd name="connsiteY10" fmla="*/ 28575 h 88677"/>
                  <a:gd name="connsiteX11" fmla="*/ 161925 w 189547"/>
                  <a:gd name="connsiteY11" fmla="*/ 39148 h 88677"/>
                  <a:gd name="connsiteX12" fmla="*/ 164782 w 189547"/>
                  <a:gd name="connsiteY12" fmla="*/ 42863 h 88677"/>
                  <a:gd name="connsiteX13" fmla="*/ 179070 w 189547"/>
                  <a:gd name="connsiteY13" fmla="*/ 57150 h 88677"/>
                  <a:gd name="connsiteX14" fmla="*/ 172402 w 189547"/>
                  <a:gd name="connsiteY14" fmla="*/ 60103 h 88677"/>
                  <a:gd name="connsiteX15" fmla="*/ 182880 w 189547"/>
                  <a:gd name="connsiteY15" fmla="*/ 71438 h 88677"/>
                  <a:gd name="connsiteX16" fmla="*/ 189548 w 189547"/>
                  <a:gd name="connsiteY16" fmla="*/ 82010 h 88677"/>
                  <a:gd name="connsiteX17" fmla="*/ 186690 w 189547"/>
                  <a:gd name="connsiteY17" fmla="*/ 88678 h 88677"/>
                  <a:gd name="connsiteX18" fmla="*/ 176213 w 189547"/>
                  <a:gd name="connsiteY18" fmla="*/ 88678 h 88677"/>
                  <a:gd name="connsiteX19" fmla="*/ 154305 w 189547"/>
                  <a:gd name="connsiteY19" fmla="*/ 71438 h 88677"/>
                  <a:gd name="connsiteX20" fmla="*/ 143827 w 189547"/>
                  <a:gd name="connsiteY20" fmla="*/ 78105 h 88677"/>
                  <a:gd name="connsiteX21" fmla="*/ 129540 w 189547"/>
                  <a:gd name="connsiteY21" fmla="*/ 78105 h 88677"/>
                  <a:gd name="connsiteX22" fmla="*/ 116205 w 189547"/>
                  <a:gd name="connsiteY22" fmla="*/ 82010 h 88677"/>
                  <a:gd name="connsiteX23" fmla="*/ 101918 w 189547"/>
                  <a:gd name="connsiteY23" fmla="*/ 88678 h 88677"/>
                  <a:gd name="connsiteX24" fmla="*/ 91440 w 189547"/>
                  <a:gd name="connsiteY24" fmla="*/ 82010 h 88677"/>
                  <a:gd name="connsiteX25" fmla="*/ 80963 w 189547"/>
                  <a:gd name="connsiteY25" fmla="*/ 71438 h 88677"/>
                  <a:gd name="connsiteX26" fmla="*/ 66675 w 189547"/>
                  <a:gd name="connsiteY26" fmla="*/ 67723 h 88677"/>
                  <a:gd name="connsiteX27" fmla="*/ 62865 w 189547"/>
                  <a:gd name="connsiteY27" fmla="*/ 78105 h 88677"/>
                  <a:gd name="connsiteX28" fmla="*/ 45720 w 189547"/>
                  <a:gd name="connsiteY28" fmla="*/ 71438 h 88677"/>
                  <a:gd name="connsiteX29" fmla="*/ 52388 w 189547"/>
                  <a:gd name="connsiteY29" fmla="*/ 57150 h 88677"/>
                  <a:gd name="connsiteX30" fmla="*/ 45720 w 189547"/>
                  <a:gd name="connsiteY30" fmla="*/ 39148 h 88677"/>
                  <a:gd name="connsiteX31" fmla="*/ 35243 w 189547"/>
                  <a:gd name="connsiteY31" fmla="*/ 24860 h 88677"/>
                  <a:gd name="connsiteX32" fmla="*/ 20955 w 189547"/>
                  <a:gd name="connsiteY32" fmla="*/ 18193 h 88677"/>
                  <a:gd name="connsiteX33" fmla="*/ 10477 w 189547"/>
                  <a:gd name="connsiteY33" fmla="*/ 11430 h 88677"/>
                  <a:gd name="connsiteX34" fmla="*/ 0 w 189547"/>
                  <a:gd name="connsiteY34" fmla="*/ 3905 h 88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89547" h="88677">
                    <a:moveTo>
                      <a:pt x="0" y="3905"/>
                    </a:moveTo>
                    <a:lnTo>
                      <a:pt x="20955" y="0"/>
                    </a:lnTo>
                    <a:lnTo>
                      <a:pt x="31432" y="7715"/>
                    </a:lnTo>
                    <a:lnTo>
                      <a:pt x="41910" y="14288"/>
                    </a:lnTo>
                    <a:lnTo>
                      <a:pt x="60007" y="11430"/>
                    </a:lnTo>
                    <a:lnTo>
                      <a:pt x="73343" y="11430"/>
                    </a:lnTo>
                    <a:lnTo>
                      <a:pt x="91440" y="22003"/>
                    </a:lnTo>
                    <a:lnTo>
                      <a:pt x="98107" y="24860"/>
                    </a:lnTo>
                    <a:lnTo>
                      <a:pt x="116205" y="32480"/>
                    </a:lnTo>
                    <a:lnTo>
                      <a:pt x="126682" y="32480"/>
                    </a:lnTo>
                    <a:lnTo>
                      <a:pt x="143827" y="28575"/>
                    </a:lnTo>
                    <a:lnTo>
                      <a:pt x="161925" y="39148"/>
                    </a:lnTo>
                    <a:lnTo>
                      <a:pt x="164782" y="42863"/>
                    </a:lnTo>
                    <a:lnTo>
                      <a:pt x="179070" y="57150"/>
                    </a:lnTo>
                    <a:lnTo>
                      <a:pt x="172402" y="60103"/>
                    </a:lnTo>
                    <a:lnTo>
                      <a:pt x="182880" y="71438"/>
                    </a:lnTo>
                    <a:lnTo>
                      <a:pt x="189548" y="82010"/>
                    </a:lnTo>
                    <a:lnTo>
                      <a:pt x="186690" y="88678"/>
                    </a:lnTo>
                    <a:lnTo>
                      <a:pt x="176213" y="88678"/>
                    </a:lnTo>
                    <a:lnTo>
                      <a:pt x="154305" y="71438"/>
                    </a:lnTo>
                    <a:lnTo>
                      <a:pt x="143827" y="78105"/>
                    </a:lnTo>
                    <a:lnTo>
                      <a:pt x="129540" y="78105"/>
                    </a:lnTo>
                    <a:lnTo>
                      <a:pt x="116205" y="82010"/>
                    </a:lnTo>
                    <a:lnTo>
                      <a:pt x="101918" y="88678"/>
                    </a:lnTo>
                    <a:lnTo>
                      <a:pt x="91440" y="82010"/>
                    </a:lnTo>
                    <a:lnTo>
                      <a:pt x="80963" y="71438"/>
                    </a:lnTo>
                    <a:lnTo>
                      <a:pt x="66675" y="67723"/>
                    </a:lnTo>
                    <a:lnTo>
                      <a:pt x="62865" y="78105"/>
                    </a:lnTo>
                    <a:lnTo>
                      <a:pt x="45720" y="71438"/>
                    </a:lnTo>
                    <a:lnTo>
                      <a:pt x="52388" y="57150"/>
                    </a:lnTo>
                    <a:lnTo>
                      <a:pt x="45720" y="39148"/>
                    </a:lnTo>
                    <a:lnTo>
                      <a:pt x="35243" y="24860"/>
                    </a:lnTo>
                    <a:lnTo>
                      <a:pt x="20955" y="18193"/>
                    </a:lnTo>
                    <a:lnTo>
                      <a:pt x="10477" y="11430"/>
                    </a:lnTo>
                    <a:lnTo>
                      <a:pt x="0" y="390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0F3DA333-D79D-35CF-21F8-274CC5982DBA}"/>
                  </a:ext>
                </a:extLst>
              </p:cNvPr>
              <p:cNvSpPr/>
              <p:nvPr/>
            </p:nvSpPr>
            <p:spPr>
              <a:xfrm>
                <a:off x="7092845" y="3268167"/>
                <a:ext cx="185811" cy="86930"/>
              </a:xfrm>
              <a:custGeom>
                <a:avLst/>
                <a:gdLst>
                  <a:gd name="connsiteX0" fmla="*/ 0 w 189547"/>
                  <a:gd name="connsiteY0" fmla="*/ 3905 h 88677"/>
                  <a:gd name="connsiteX1" fmla="*/ 20955 w 189547"/>
                  <a:gd name="connsiteY1" fmla="*/ 0 h 88677"/>
                  <a:gd name="connsiteX2" fmla="*/ 31432 w 189547"/>
                  <a:gd name="connsiteY2" fmla="*/ 7715 h 88677"/>
                  <a:gd name="connsiteX3" fmla="*/ 41910 w 189547"/>
                  <a:gd name="connsiteY3" fmla="*/ 14288 h 88677"/>
                  <a:gd name="connsiteX4" fmla="*/ 60007 w 189547"/>
                  <a:gd name="connsiteY4" fmla="*/ 11430 h 88677"/>
                  <a:gd name="connsiteX5" fmla="*/ 73343 w 189547"/>
                  <a:gd name="connsiteY5" fmla="*/ 11430 h 88677"/>
                  <a:gd name="connsiteX6" fmla="*/ 91440 w 189547"/>
                  <a:gd name="connsiteY6" fmla="*/ 22003 h 88677"/>
                  <a:gd name="connsiteX7" fmla="*/ 98107 w 189547"/>
                  <a:gd name="connsiteY7" fmla="*/ 24860 h 88677"/>
                  <a:gd name="connsiteX8" fmla="*/ 116205 w 189547"/>
                  <a:gd name="connsiteY8" fmla="*/ 32480 h 88677"/>
                  <a:gd name="connsiteX9" fmla="*/ 126682 w 189547"/>
                  <a:gd name="connsiteY9" fmla="*/ 32480 h 88677"/>
                  <a:gd name="connsiteX10" fmla="*/ 143827 w 189547"/>
                  <a:gd name="connsiteY10" fmla="*/ 28575 h 88677"/>
                  <a:gd name="connsiteX11" fmla="*/ 161925 w 189547"/>
                  <a:gd name="connsiteY11" fmla="*/ 39148 h 88677"/>
                  <a:gd name="connsiteX12" fmla="*/ 164782 w 189547"/>
                  <a:gd name="connsiteY12" fmla="*/ 42863 h 88677"/>
                  <a:gd name="connsiteX13" fmla="*/ 179070 w 189547"/>
                  <a:gd name="connsiteY13" fmla="*/ 57150 h 88677"/>
                  <a:gd name="connsiteX14" fmla="*/ 172402 w 189547"/>
                  <a:gd name="connsiteY14" fmla="*/ 60103 h 88677"/>
                  <a:gd name="connsiteX15" fmla="*/ 182880 w 189547"/>
                  <a:gd name="connsiteY15" fmla="*/ 71438 h 88677"/>
                  <a:gd name="connsiteX16" fmla="*/ 189548 w 189547"/>
                  <a:gd name="connsiteY16" fmla="*/ 82010 h 88677"/>
                  <a:gd name="connsiteX17" fmla="*/ 186690 w 189547"/>
                  <a:gd name="connsiteY17" fmla="*/ 88678 h 88677"/>
                  <a:gd name="connsiteX18" fmla="*/ 176213 w 189547"/>
                  <a:gd name="connsiteY18" fmla="*/ 88678 h 88677"/>
                  <a:gd name="connsiteX19" fmla="*/ 154305 w 189547"/>
                  <a:gd name="connsiteY19" fmla="*/ 71438 h 88677"/>
                  <a:gd name="connsiteX20" fmla="*/ 143827 w 189547"/>
                  <a:gd name="connsiteY20" fmla="*/ 78105 h 88677"/>
                  <a:gd name="connsiteX21" fmla="*/ 129540 w 189547"/>
                  <a:gd name="connsiteY21" fmla="*/ 78105 h 88677"/>
                  <a:gd name="connsiteX22" fmla="*/ 116205 w 189547"/>
                  <a:gd name="connsiteY22" fmla="*/ 82010 h 88677"/>
                  <a:gd name="connsiteX23" fmla="*/ 101918 w 189547"/>
                  <a:gd name="connsiteY23" fmla="*/ 88678 h 88677"/>
                  <a:gd name="connsiteX24" fmla="*/ 91440 w 189547"/>
                  <a:gd name="connsiteY24" fmla="*/ 82010 h 88677"/>
                  <a:gd name="connsiteX25" fmla="*/ 80963 w 189547"/>
                  <a:gd name="connsiteY25" fmla="*/ 71438 h 88677"/>
                  <a:gd name="connsiteX26" fmla="*/ 66675 w 189547"/>
                  <a:gd name="connsiteY26" fmla="*/ 67723 h 88677"/>
                  <a:gd name="connsiteX27" fmla="*/ 62865 w 189547"/>
                  <a:gd name="connsiteY27" fmla="*/ 78105 h 88677"/>
                  <a:gd name="connsiteX28" fmla="*/ 45720 w 189547"/>
                  <a:gd name="connsiteY28" fmla="*/ 71438 h 88677"/>
                  <a:gd name="connsiteX29" fmla="*/ 52388 w 189547"/>
                  <a:gd name="connsiteY29" fmla="*/ 57150 h 88677"/>
                  <a:gd name="connsiteX30" fmla="*/ 45720 w 189547"/>
                  <a:gd name="connsiteY30" fmla="*/ 39148 h 88677"/>
                  <a:gd name="connsiteX31" fmla="*/ 35243 w 189547"/>
                  <a:gd name="connsiteY31" fmla="*/ 24860 h 88677"/>
                  <a:gd name="connsiteX32" fmla="*/ 20955 w 189547"/>
                  <a:gd name="connsiteY32" fmla="*/ 18193 h 88677"/>
                  <a:gd name="connsiteX33" fmla="*/ 10477 w 189547"/>
                  <a:gd name="connsiteY33" fmla="*/ 11430 h 88677"/>
                  <a:gd name="connsiteX34" fmla="*/ 0 w 189547"/>
                  <a:gd name="connsiteY34" fmla="*/ 3905 h 88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89547" h="88677">
                    <a:moveTo>
                      <a:pt x="0" y="3905"/>
                    </a:moveTo>
                    <a:lnTo>
                      <a:pt x="20955" y="0"/>
                    </a:lnTo>
                    <a:lnTo>
                      <a:pt x="31432" y="7715"/>
                    </a:lnTo>
                    <a:lnTo>
                      <a:pt x="41910" y="14288"/>
                    </a:lnTo>
                    <a:lnTo>
                      <a:pt x="60007" y="11430"/>
                    </a:lnTo>
                    <a:lnTo>
                      <a:pt x="73343" y="11430"/>
                    </a:lnTo>
                    <a:lnTo>
                      <a:pt x="91440" y="22003"/>
                    </a:lnTo>
                    <a:lnTo>
                      <a:pt x="98107" y="24860"/>
                    </a:lnTo>
                    <a:lnTo>
                      <a:pt x="116205" y="32480"/>
                    </a:lnTo>
                    <a:lnTo>
                      <a:pt x="126682" y="32480"/>
                    </a:lnTo>
                    <a:lnTo>
                      <a:pt x="143827" y="28575"/>
                    </a:lnTo>
                    <a:lnTo>
                      <a:pt x="161925" y="39148"/>
                    </a:lnTo>
                    <a:lnTo>
                      <a:pt x="164782" y="42863"/>
                    </a:lnTo>
                    <a:lnTo>
                      <a:pt x="179070" y="57150"/>
                    </a:lnTo>
                    <a:lnTo>
                      <a:pt x="172402" y="60103"/>
                    </a:lnTo>
                    <a:lnTo>
                      <a:pt x="182880" y="71438"/>
                    </a:lnTo>
                    <a:lnTo>
                      <a:pt x="189548" y="82010"/>
                    </a:lnTo>
                    <a:lnTo>
                      <a:pt x="186690" y="88678"/>
                    </a:lnTo>
                    <a:lnTo>
                      <a:pt x="176213" y="88678"/>
                    </a:lnTo>
                    <a:lnTo>
                      <a:pt x="154305" y="71438"/>
                    </a:lnTo>
                    <a:lnTo>
                      <a:pt x="143827" y="78105"/>
                    </a:lnTo>
                    <a:lnTo>
                      <a:pt x="129540" y="78105"/>
                    </a:lnTo>
                    <a:lnTo>
                      <a:pt x="116205" y="82010"/>
                    </a:lnTo>
                    <a:lnTo>
                      <a:pt x="101918" y="88678"/>
                    </a:lnTo>
                    <a:lnTo>
                      <a:pt x="91440" y="82010"/>
                    </a:lnTo>
                    <a:lnTo>
                      <a:pt x="80963" y="71438"/>
                    </a:lnTo>
                    <a:lnTo>
                      <a:pt x="66675" y="67723"/>
                    </a:lnTo>
                    <a:lnTo>
                      <a:pt x="62865" y="78105"/>
                    </a:lnTo>
                    <a:lnTo>
                      <a:pt x="45720" y="71438"/>
                    </a:lnTo>
                    <a:lnTo>
                      <a:pt x="52388" y="57150"/>
                    </a:lnTo>
                    <a:lnTo>
                      <a:pt x="45720" y="39148"/>
                    </a:lnTo>
                    <a:lnTo>
                      <a:pt x="35243" y="24860"/>
                    </a:lnTo>
                    <a:lnTo>
                      <a:pt x="20955" y="18193"/>
                    </a:lnTo>
                    <a:lnTo>
                      <a:pt x="10477" y="11430"/>
                    </a:lnTo>
                    <a:lnTo>
                      <a:pt x="0" y="39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43A89ECF-68B6-6804-C79C-525BDB705FBE}"/>
                  </a:ext>
                </a:extLst>
              </p:cNvPr>
              <p:cNvSpPr/>
              <p:nvPr/>
            </p:nvSpPr>
            <p:spPr>
              <a:xfrm>
                <a:off x="7441125" y="3300007"/>
                <a:ext cx="383760" cy="238101"/>
              </a:xfrm>
              <a:custGeom>
                <a:avLst/>
                <a:gdLst>
                  <a:gd name="connsiteX0" fmla="*/ 35243 w 391477"/>
                  <a:gd name="connsiteY0" fmla="*/ 182880 h 242887"/>
                  <a:gd name="connsiteX1" fmla="*/ 31432 w 391477"/>
                  <a:gd name="connsiteY1" fmla="*/ 140875 h 242887"/>
                  <a:gd name="connsiteX2" fmla="*/ 41910 w 391477"/>
                  <a:gd name="connsiteY2" fmla="*/ 126587 h 242887"/>
                  <a:gd name="connsiteX3" fmla="*/ 20955 w 391477"/>
                  <a:gd name="connsiteY3" fmla="*/ 98012 h 242887"/>
                  <a:gd name="connsiteX4" fmla="*/ 14288 w 391477"/>
                  <a:gd name="connsiteY4" fmla="*/ 87630 h 242887"/>
                  <a:gd name="connsiteX5" fmla="*/ 0 w 391477"/>
                  <a:gd name="connsiteY5" fmla="*/ 91345 h 242887"/>
                  <a:gd name="connsiteX6" fmla="*/ 0 w 391477"/>
                  <a:gd name="connsiteY6" fmla="*/ 77057 h 242887"/>
                  <a:gd name="connsiteX7" fmla="*/ 10478 w 391477"/>
                  <a:gd name="connsiteY7" fmla="*/ 62770 h 242887"/>
                  <a:gd name="connsiteX8" fmla="*/ 20955 w 391477"/>
                  <a:gd name="connsiteY8" fmla="*/ 70485 h 242887"/>
                  <a:gd name="connsiteX9" fmla="*/ 49530 w 391477"/>
                  <a:gd name="connsiteY9" fmla="*/ 70485 h 242887"/>
                  <a:gd name="connsiteX10" fmla="*/ 60007 w 391477"/>
                  <a:gd name="connsiteY10" fmla="*/ 56198 h 242887"/>
                  <a:gd name="connsiteX11" fmla="*/ 45720 w 391477"/>
                  <a:gd name="connsiteY11" fmla="*/ 41910 h 242887"/>
                  <a:gd name="connsiteX12" fmla="*/ 35243 w 391477"/>
                  <a:gd name="connsiteY12" fmla="*/ 27623 h 242887"/>
                  <a:gd name="connsiteX13" fmla="*/ 24765 w 391477"/>
                  <a:gd name="connsiteY13" fmla="*/ 17050 h 242887"/>
                  <a:gd name="connsiteX14" fmla="*/ 7620 w 391477"/>
                  <a:gd name="connsiteY14" fmla="*/ 24670 h 242887"/>
                  <a:gd name="connsiteX15" fmla="*/ 3810 w 391477"/>
                  <a:gd name="connsiteY15" fmla="*/ 49530 h 242887"/>
                  <a:gd name="connsiteX16" fmla="*/ 0 w 391477"/>
                  <a:gd name="connsiteY16" fmla="*/ 38957 h 242887"/>
                  <a:gd name="connsiteX17" fmla="*/ 0 w 391477"/>
                  <a:gd name="connsiteY17" fmla="*/ 20955 h 242887"/>
                  <a:gd name="connsiteX18" fmla="*/ 18098 w 391477"/>
                  <a:gd name="connsiteY18" fmla="*/ 10382 h 242887"/>
                  <a:gd name="connsiteX19" fmla="*/ 41910 w 391477"/>
                  <a:gd name="connsiteY19" fmla="*/ 6668 h 242887"/>
                  <a:gd name="connsiteX20" fmla="*/ 63818 w 391477"/>
                  <a:gd name="connsiteY20" fmla="*/ 20955 h 242887"/>
                  <a:gd name="connsiteX21" fmla="*/ 77153 w 391477"/>
                  <a:gd name="connsiteY21" fmla="*/ 45625 h 242887"/>
                  <a:gd name="connsiteX22" fmla="*/ 95250 w 391477"/>
                  <a:gd name="connsiteY22" fmla="*/ 49530 h 242887"/>
                  <a:gd name="connsiteX23" fmla="*/ 120015 w 391477"/>
                  <a:gd name="connsiteY23" fmla="*/ 45625 h 242887"/>
                  <a:gd name="connsiteX24" fmla="*/ 120015 w 391477"/>
                  <a:gd name="connsiteY24" fmla="*/ 24670 h 242887"/>
                  <a:gd name="connsiteX25" fmla="*/ 169545 w 391477"/>
                  <a:gd name="connsiteY25" fmla="*/ 0 h 242887"/>
                  <a:gd name="connsiteX26" fmla="*/ 180023 w 391477"/>
                  <a:gd name="connsiteY26" fmla="*/ 10382 h 242887"/>
                  <a:gd name="connsiteX27" fmla="*/ 204788 w 391477"/>
                  <a:gd name="connsiteY27" fmla="*/ 14288 h 242887"/>
                  <a:gd name="connsiteX28" fmla="*/ 207645 w 391477"/>
                  <a:gd name="connsiteY28" fmla="*/ 20955 h 242887"/>
                  <a:gd name="connsiteX29" fmla="*/ 207645 w 391477"/>
                  <a:gd name="connsiteY29" fmla="*/ 49530 h 242887"/>
                  <a:gd name="connsiteX30" fmla="*/ 253365 w 391477"/>
                  <a:gd name="connsiteY30" fmla="*/ 49530 h 242887"/>
                  <a:gd name="connsiteX31" fmla="*/ 278130 w 391477"/>
                  <a:gd name="connsiteY31" fmla="*/ 95250 h 242887"/>
                  <a:gd name="connsiteX32" fmla="*/ 313373 w 391477"/>
                  <a:gd name="connsiteY32" fmla="*/ 116205 h 242887"/>
                  <a:gd name="connsiteX33" fmla="*/ 352425 w 391477"/>
                  <a:gd name="connsiteY33" fmla="*/ 144780 h 242887"/>
                  <a:gd name="connsiteX34" fmla="*/ 373380 w 391477"/>
                  <a:gd name="connsiteY34" fmla="*/ 147638 h 242887"/>
                  <a:gd name="connsiteX35" fmla="*/ 391478 w 391477"/>
                  <a:gd name="connsiteY35" fmla="*/ 158020 h 242887"/>
                  <a:gd name="connsiteX36" fmla="*/ 391478 w 391477"/>
                  <a:gd name="connsiteY36" fmla="*/ 172307 h 242887"/>
                  <a:gd name="connsiteX37" fmla="*/ 369570 w 391477"/>
                  <a:gd name="connsiteY37" fmla="*/ 172307 h 242887"/>
                  <a:gd name="connsiteX38" fmla="*/ 341948 w 391477"/>
                  <a:gd name="connsiteY38" fmla="*/ 182880 h 242887"/>
                  <a:gd name="connsiteX39" fmla="*/ 320993 w 391477"/>
                  <a:gd name="connsiteY39" fmla="*/ 215170 h 242887"/>
                  <a:gd name="connsiteX40" fmla="*/ 299085 w 391477"/>
                  <a:gd name="connsiteY40" fmla="*/ 221837 h 242887"/>
                  <a:gd name="connsiteX41" fmla="*/ 281940 w 391477"/>
                  <a:gd name="connsiteY41" fmla="*/ 242888 h 242887"/>
                  <a:gd name="connsiteX42" fmla="*/ 263843 w 391477"/>
                  <a:gd name="connsiteY42" fmla="*/ 236125 h 242887"/>
                  <a:gd name="connsiteX43" fmla="*/ 242888 w 391477"/>
                  <a:gd name="connsiteY43" fmla="*/ 236125 h 242887"/>
                  <a:gd name="connsiteX44" fmla="*/ 240030 w 391477"/>
                  <a:gd name="connsiteY44" fmla="*/ 197168 h 242887"/>
                  <a:gd name="connsiteX45" fmla="*/ 221932 w 391477"/>
                  <a:gd name="connsiteY45" fmla="*/ 193262 h 242887"/>
                  <a:gd name="connsiteX46" fmla="*/ 120015 w 391477"/>
                  <a:gd name="connsiteY46" fmla="*/ 147638 h 242887"/>
                  <a:gd name="connsiteX47" fmla="*/ 74295 w 391477"/>
                  <a:gd name="connsiteY47" fmla="*/ 155162 h 242887"/>
                  <a:gd name="connsiteX48" fmla="*/ 35243 w 391477"/>
                  <a:gd name="connsiteY48" fmla="*/ 182880 h 242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91477" h="242887">
                    <a:moveTo>
                      <a:pt x="35243" y="182880"/>
                    </a:moveTo>
                    <a:lnTo>
                      <a:pt x="31432" y="140875"/>
                    </a:lnTo>
                    <a:lnTo>
                      <a:pt x="41910" y="126587"/>
                    </a:lnTo>
                    <a:lnTo>
                      <a:pt x="20955" y="98012"/>
                    </a:lnTo>
                    <a:lnTo>
                      <a:pt x="14288" y="87630"/>
                    </a:lnTo>
                    <a:lnTo>
                      <a:pt x="0" y="91345"/>
                    </a:lnTo>
                    <a:lnTo>
                      <a:pt x="0" y="77057"/>
                    </a:lnTo>
                    <a:lnTo>
                      <a:pt x="10478" y="62770"/>
                    </a:lnTo>
                    <a:lnTo>
                      <a:pt x="20955" y="70485"/>
                    </a:lnTo>
                    <a:lnTo>
                      <a:pt x="49530" y="70485"/>
                    </a:lnTo>
                    <a:lnTo>
                      <a:pt x="60007" y="56198"/>
                    </a:lnTo>
                    <a:lnTo>
                      <a:pt x="45720" y="41910"/>
                    </a:lnTo>
                    <a:lnTo>
                      <a:pt x="35243" y="27623"/>
                    </a:lnTo>
                    <a:lnTo>
                      <a:pt x="24765" y="17050"/>
                    </a:lnTo>
                    <a:lnTo>
                      <a:pt x="7620" y="24670"/>
                    </a:lnTo>
                    <a:lnTo>
                      <a:pt x="3810" y="49530"/>
                    </a:lnTo>
                    <a:lnTo>
                      <a:pt x="0" y="38957"/>
                    </a:lnTo>
                    <a:lnTo>
                      <a:pt x="0" y="20955"/>
                    </a:lnTo>
                    <a:lnTo>
                      <a:pt x="18098" y="10382"/>
                    </a:lnTo>
                    <a:lnTo>
                      <a:pt x="41910" y="6668"/>
                    </a:lnTo>
                    <a:lnTo>
                      <a:pt x="63818" y="20955"/>
                    </a:lnTo>
                    <a:lnTo>
                      <a:pt x="77153" y="45625"/>
                    </a:lnTo>
                    <a:lnTo>
                      <a:pt x="95250" y="49530"/>
                    </a:lnTo>
                    <a:lnTo>
                      <a:pt x="120015" y="45625"/>
                    </a:lnTo>
                    <a:lnTo>
                      <a:pt x="120015" y="24670"/>
                    </a:lnTo>
                    <a:lnTo>
                      <a:pt x="169545" y="0"/>
                    </a:lnTo>
                    <a:lnTo>
                      <a:pt x="180023" y="10382"/>
                    </a:lnTo>
                    <a:lnTo>
                      <a:pt x="204788" y="14288"/>
                    </a:lnTo>
                    <a:lnTo>
                      <a:pt x="207645" y="20955"/>
                    </a:lnTo>
                    <a:lnTo>
                      <a:pt x="207645" y="49530"/>
                    </a:lnTo>
                    <a:lnTo>
                      <a:pt x="253365" y="49530"/>
                    </a:lnTo>
                    <a:lnTo>
                      <a:pt x="278130" y="95250"/>
                    </a:lnTo>
                    <a:lnTo>
                      <a:pt x="313373" y="116205"/>
                    </a:lnTo>
                    <a:lnTo>
                      <a:pt x="352425" y="144780"/>
                    </a:lnTo>
                    <a:lnTo>
                      <a:pt x="373380" y="147638"/>
                    </a:lnTo>
                    <a:lnTo>
                      <a:pt x="391478" y="158020"/>
                    </a:lnTo>
                    <a:lnTo>
                      <a:pt x="391478" y="172307"/>
                    </a:lnTo>
                    <a:lnTo>
                      <a:pt x="369570" y="172307"/>
                    </a:lnTo>
                    <a:lnTo>
                      <a:pt x="341948" y="182880"/>
                    </a:lnTo>
                    <a:lnTo>
                      <a:pt x="320993" y="215170"/>
                    </a:lnTo>
                    <a:lnTo>
                      <a:pt x="299085" y="221837"/>
                    </a:lnTo>
                    <a:lnTo>
                      <a:pt x="281940" y="242888"/>
                    </a:lnTo>
                    <a:lnTo>
                      <a:pt x="263843" y="236125"/>
                    </a:lnTo>
                    <a:lnTo>
                      <a:pt x="242888" y="236125"/>
                    </a:lnTo>
                    <a:lnTo>
                      <a:pt x="240030" y="197168"/>
                    </a:lnTo>
                    <a:lnTo>
                      <a:pt x="221932" y="193262"/>
                    </a:lnTo>
                    <a:lnTo>
                      <a:pt x="120015" y="147638"/>
                    </a:lnTo>
                    <a:lnTo>
                      <a:pt x="74295" y="155162"/>
                    </a:lnTo>
                    <a:lnTo>
                      <a:pt x="35243" y="18288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CF74FD7F-7824-2A4D-7321-E50B60CE4640}"/>
                  </a:ext>
                </a:extLst>
              </p:cNvPr>
              <p:cNvSpPr/>
              <p:nvPr/>
            </p:nvSpPr>
            <p:spPr>
              <a:xfrm>
                <a:off x="7441125" y="3300007"/>
                <a:ext cx="383760" cy="238101"/>
              </a:xfrm>
              <a:custGeom>
                <a:avLst/>
                <a:gdLst>
                  <a:gd name="connsiteX0" fmla="*/ 35243 w 391477"/>
                  <a:gd name="connsiteY0" fmla="*/ 182880 h 242887"/>
                  <a:gd name="connsiteX1" fmla="*/ 31432 w 391477"/>
                  <a:gd name="connsiteY1" fmla="*/ 140875 h 242887"/>
                  <a:gd name="connsiteX2" fmla="*/ 41910 w 391477"/>
                  <a:gd name="connsiteY2" fmla="*/ 126587 h 242887"/>
                  <a:gd name="connsiteX3" fmla="*/ 20955 w 391477"/>
                  <a:gd name="connsiteY3" fmla="*/ 98012 h 242887"/>
                  <a:gd name="connsiteX4" fmla="*/ 14288 w 391477"/>
                  <a:gd name="connsiteY4" fmla="*/ 87630 h 242887"/>
                  <a:gd name="connsiteX5" fmla="*/ 0 w 391477"/>
                  <a:gd name="connsiteY5" fmla="*/ 91345 h 242887"/>
                  <a:gd name="connsiteX6" fmla="*/ 0 w 391477"/>
                  <a:gd name="connsiteY6" fmla="*/ 77057 h 242887"/>
                  <a:gd name="connsiteX7" fmla="*/ 10478 w 391477"/>
                  <a:gd name="connsiteY7" fmla="*/ 62770 h 242887"/>
                  <a:gd name="connsiteX8" fmla="*/ 20955 w 391477"/>
                  <a:gd name="connsiteY8" fmla="*/ 70485 h 242887"/>
                  <a:gd name="connsiteX9" fmla="*/ 49530 w 391477"/>
                  <a:gd name="connsiteY9" fmla="*/ 70485 h 242887"/>
                  <a:gd name="connsiteX10" fmla="*/ 60007 w 391477"/>
                  <a:gd name="connsiteY10" fmla="*/ 56198 h 242887"/>
                  <a:gd name="connsiteX11" fmla="*/ 45720 w 391477"/>
                  <a:gd name="connsiteY11" fmla="*/ 41910 h 242887"/>
                  <a:gd name="connsiteX12" fmla="*/ 35243 w 391477"/>
                  <a:gd name="connsiteY12" fmla="*/ 27623 h 242887"/>
                  <a:gd name="connsiteX13" fmla="*/ 24765 w 391477"/>
                  <a:gd name="connsiteY13" fmla="*/ 17050 h 242887"/>
                  <a:gd name="connsiteX14" fmla="*/ 7620 w 391477"/>
                  <a:gd name="connsiteY14" fmla="*/ 24670 h 242887"/>
                  <a:gd name="connsiteX15" fmla="*/ 3810 w 391477"/>
                  <a:gd name="connsiteY15" fmla="*/ 49530 h 242887"/>
                  <a:gd name="connsiteX16" fmla="*/ 0 w 391477"/>
                  <a:gd name="connsiteY16" fmla="*/ 38957 h 242887"/>
                  <a:gd name="connsiteX17" fmla="*/ 0 w 391477"/>
                  <a:gd name="connsiteY17" fmla="*/ 20955 h 242887"/>
                  <a:gd name="connsiteX18" fmla="*/ 18098 w 391477"/>
                  <a:gd name="connsiteY18" fmla="*/ 10382 h 242887"/>
                  <a:gd name="connsiteX19" fmla="*/ 41910 w 391477"/>
                  <a:gd name="connsiteY19" fmla="*/ 6668 h 242887"/>
                  <a:gd name="connsiteX20" fmla="*/ 63818 w 391477"/>
                  <a:gd name="connsiteY20" fmla="*/ 20955 h 242887"/>
                  <a:gd name="connsiteX21" fmla="*/ 77153 w 391477"/>
                  <a:gd name="connsiteY21" fmla="*/ 45625 h 242887"/>
                  <a:gd name="connsiteX22" fmla="*/ 95250 w 391477"/>
                  <a:gd name="connsiteY22" fmla="*/ 49530 h 242887"/>
                  <a:gd name="connsiteX23" fmla="*/ 120015 w 391477"/>
                  <a:gd name="connsiteY23" fmla="*/ 45625 h 242887"/>
                  <a:gd name="connsiteX24" fmla="*/ 120015 w 391477"/>
                  <a:gd name="connsiteY24" fmla="*/ 24670 h 242887"/>
                  <a:gd name="connsiteX25" fmla="*/ 169545 w 391477"/>
                  <a:gd name="connsiteY25" fmla="*/ 0 h 242887"/>
                  <a:gd name="connsiteX26" fmla="*/ 180023 w 391477"/>
                  <a:gd name="connsiteY26" fmla="*/ 10382 h 242887"/>
                  <a:gd name="connsiteX27" fmla="*/ 204788 w 391477"/>
                  <a:gd name="connsiteY27" fmla="*/ 14288 h 242887"/>
                  <a:gd name="connsiteX28" fmla="*/ 207645 w 391477"/>
                  <a:gd name="connsiteY28" fmla="*/ 20955 h 242887"/>
                  <a:gd name="connsiteX29" fmla="*/ 207645 w 391477"/>
                  <a:gd name="connsiteY29" fmla="*/ 49530 h 242887"/>
                  <a:gd name="connsiteX30" fmla="*/ 253365 w 391477"/>
                  <a:gd name="connsiteY30" fmla="*/ 49530 h 242887"/>
                  <a:gd name="connsiteX31" fmla="*/ 278130 w 391477"/>
                  <a:gd name="connsiteY31" fmla="*/ 95250 h 242887"/>
                  <a:gd name="connsiteX32" fmla="*/ 313373 w 391477"/>
                  <a:gd name="connsiteY32" fmla="*/ 116205 h 242887"/>
                  <a:gd name="connsiteX33" fmla="*/ 352425 w 391477"/>
                  <a:gd name="connsiteY33" fmla="*/ 144780 h 242887"/>
                  <a:gd name="connsiteX34" fmla="*/ 373380 w 391477"/>
                  <a:gd name="connsiteY34" fmla="*/ 147638 h 242887"/>
                  <a:gd name="connsiteX35" fmla="*/ 391478 w 391477"/>
                  <a:gd name="connsiteY35" fmla="*/ 158020 h 242887"/>
                  <a:gd name="connsiteX36" fmla="*/ 391478 w 391477"/>
                  <a:gd name="connsiteY36" fmla="*/ 172307 h 242887"/>
                  <a:gd name="connsiteX37" fmla="*/ 369570 w 391477"/>
                  <a:gd name="connsiteY37" fmla="*/ 172307 h 242887"/>
                  <a:gd name="connsiteX38" fmla="*/ 341948 w 391477"/>
                  <a:gd name="connsiteY38" fmla="*/ 182880 h 242887"/>
                  <a:gd name="connsiteX39" fmla="*/ 320993 w 391477"/>
                  <a:gd name="connsiteY39" fmla="*/ 215170 h 242887"/>
                  <a:gd name="connsiteX40" fmla="*/ 299085 w 391477"/>
                  <a:gd name="connsiteY40" fmla="*/ 221837 h 242887"/>
                  <a:gd name="connsiteX41" fmla="*/ 281940 w 391477"/>
                  <a:gd name="connsiteY41" fmla="*/ 242888 h 242887"/>
                  <a:gd name="connsiteX42" fmla="*/ 263843 w 391477"/>
                  <a:gd name="connsiteY42" fmla="*/ 236125 h 242887"/>
                  <a:gd name="connsiteX43" fmla="*/ 242888 w 391477"/>
                  <a:gd name="connsiteY43" fmla="*/ 236125 h 242887"/>
                  <a:gd name="connsiteX44" fmla="*/ 240030 w 391477"/>
                  <a:gd name="connsiteY44" fmla="*/ 197168 h 242887"/>
                  <a:gd name="connsiteX45" fmla="*/ 221932 w 391477"/>
                  <a:gd name="connsiteY45" fmla="*/ 193262 h 242887"/>
                  <a:gd name="connsiteX46" fmla="*/ 120015 w 391477"/>
                  <a:gd name="connsiteY46" fmla="*/ 147638 h 242887"/>
                  <a:gd name="connsiteX47" fmla="*/ 74295 w 391477"/>
                  <a:gd name="connsiteY47" fmla="*/ 155162 h 242887"/>
                  <a:gd name="connsiteX48" fmla="*/ 35243 w 391477"/>
                  <a:gd name="connsiteY48" fmla="*/ 182880 h 242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91477" h="242887">
                    <a:moveTo>
                      <a:pt x="35243" y="182880"/>
                    </a:moveTo>
                    <a:lnTo>
                      <a:pt x="31432" y="140875"/>
                    </a:lnTo>
                    <a:lnTo>
                      <a:pt x="41910" y="126587"/>
                    </a:lnTo>
                    <a:lnTo>
                      <a:pt x="20955" y="98012"/>
                    </a:lnTo>
                    <a:lnTo>
                      <a:pt x="14288" y="87630"/>
                    </a:lnTo>
                    <a:lnTo>
                      <a:pt x="0" y="91345"/>
                    </a:lnTo>
                    <a:lnTo>
                      <a:pt x="0" y="77057"/>
                    </a:lnTo>
                    <a:lnTo>
                      <a:pt x="10478" y="62770"/>
                    </a:lnTo>
                    <a:lnTo>
                      <a:pt x="20955" y="70485"/>
                    </a:lnTo>
                    <a:lnTo>
                      <a:pt x="49530" y="70485"/>
                    </a:lnTo>
                    <a:lnTo>
                      <a:pt x="60007" y="56198"/>
                    </a:lnTo>
                    <a:lnTo>
                      <a:pt x="45720" y="41910"/>
                    </a:lnTo>
                    <a:lnTo>
                      <a:pt x="35243" y="27623"/>
                    </a:lnTo>
                    <a:lnTo>
                      <a:pt x="24765" y="17050"/>
                    </a:lnTo>
                    <a:lnTo>
                      <a:pt x="7620" y="24670"/>
                    </a:lnTo>
                    <a:lnTo>
                      <a:pt x="3810" y="49530"/>
                    </a:lnTo>
                    <a:lnTo>
                      <a:pt x="0" y="38957"/>
                    </a:lnTo>
                    <a:lnTo>
                      <a:pt x="0" y="20955"/>
                    </a:lnTo>
                    <a:lnTo>
                      <a:pt x="18098" y="10382"/>
                    </a:lnTo>
                    <a:lnTo>
                      <a:pt x="41910" y="6668"/>
                    </a:lnTo>
                    <a:lnTo>
                      <a:pt x="63818" y="20955"/>
                    </a:lnTo>
                    <a:lnTo>
                      <a:pt x="77153" y="45625"/>
                    </a:lnTo>
                    <a:lnTo>
                      <a:pt x="95250" y="49530"/>
                    </a:lnTo>
                    <a:lnTo>
                      <a:pt x="120015" y="45625"/>
                    </a:lnTo>
                    <a:lnTo>
                      <a:pt x="120015" y="24670"/>
                    </a:lnTo>
                    <a:lnTo>
                      <a:pt x="169545" y="0"/>
                    </a:lnTo>
                    <a:lnTo>
                      <a:pt x="180023" y="10382"/>
                    </a:lnTo>
                    <a:lnTo>
                      <a:pt x="204788" y="14288"/>
                    </a:lnTo>
                    <a:lnTo>
                      <a:pt x="207645" y="20955"/>
                    </a:lnTo>
                    <a:lnTo>
                      <a:pt x="207645" y="49530"/>
                    </a:lnTo>
                    <a:lnTo>
                      <a:pt x="253365" y="49530"/>
                    </a:lnTo>
                    <a:lnTo>
                      <a:pt x="278130" y="95250"/>
                    </a:lnTo>
                    <a:lnTo>
                      <a:pt x="313373" y="116205"/>
                    </a:lnTo>
                    <a:lnTo>
                      <a:pt x="352425" y="144780"/>
                    </a:lnTo>
                    <a:lnTo>
                      <a:pt x="373380" y="147638"/>
                    </a:lnTo>
                    <a:lnTo>
                      <a:pt x="391478" y="158020"/>
                    </a:lnTo>
                    <a:lnTo>
                      <a:pt x="391478" y="172307"/>
                    </a:lnTo>
                    <a:lnTo>
                      <a:pt x="369570" y="172307"/>
                    </a:lnTo>
                    <a:lnTo>
                      <a:pt x="341948" y="182880"/>
                    </a:lnTo>
                    <a:lnTo>
                      <a:pt x="320993" y="215170"/>
                    </a:lnTo>
                    <a:lnTo>
                      <a:pt x="299085" y="221837"/>
                    </a:lnTo>
                    <a:lnTo>
                      <a:pt x="281940" y="242888"/>
                    </a:lnTo>
                    <a:lnTo>
                      <a:pt x="263843" y="236125"/>
                    </a:lnTo>
                    <a:lnTo>
                      <a:pt x="242888" y="236125"/>
                    </a:lnTo>
                    <a:lnTo>
                      <a:pt x="240030" y="197168"/>
                    </a:lnTo>
                    <a:lnTo>
                      <a:pt x="221932" y="193262"/>
                    </a:lnTo>
                    <a:lnTo>
                      <a:pt x="120015" y="147638"/>
                    </a:lnTo>
                    <a:lnTo>
                      <a:pt x="74295" y="155162"/>
                    </a:lnTo>
                    <a:lnTo>
                      <a:pt x="35243" y="18288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8613D3AA-EBDC-5DA4-4208-7BB400DA5275}"/>
                  </a:ext>
                </a:extLst>
              </p:cNvPr>
              <p:cNvSpPr/>
              <p:nvPr/>
            </p:nvSpPr>
            <p:spPr>
              <a:xfrm>
                <a:off x="7845427" y="3358739"/>
                <a:ext cx="203552" cy="130722"/>
              </a:xfrm>
              <a:custGeom>
                <a:avLst/>
                <a:gdLst>
                  <a:gd name="connsiteX0" fmla="*/ 41910 w 207645"/>
                  <a:gd name="connsiteY0" fmla="*/ 24860 h 133350"/>
                  <a:gd name="connsiteX1" fmla="*/ 56198 w 207645"/>
                  <a:gd name="connsiteY1" fmla="*/ 17145 h 133350"/>
                  <a:gd name="connsiteX2" fmla="*/ 62865 w 207645"/>
                  <a:gd name="connsiteY2" fmla="*/ 2858 h 133350"/>
                  <a:gd name="connsiteX3" fmla="*/ 83820 w 207645"/>
                  <a:gd name="connsiteY3" fmla="*/ 0 h 133350"/>
                  <a:gd name="connsiteX4" fmla="*/ 95250 w 207645"/>
                  <a:gd name="connsiteY4" fmla="*/ 2858 h 133350"/>
                  <a:gd name="connsiteX5" fmla="*/ 91440 w 207645"/>
                  <a:gd name="connsiteY5" fmla="*/ 14288 h 133350"/>
                  <a:gd name="connsiteX6" fmla="*/ 87630 w 207645"/>
                  <a:gd name="connsiteY6" fmla="*/ 24860 h 133350"/>
                  <a:gd name="connsiteX7" fmla="*/ 91440 w 207645"/>
                  <a:gd name="connsiteY7" fmla="*/ 35338 h 133350"/>
                  <a:gd name="connsiteX8" fmla="*/ 95250 w 207645"/>
                  <a:gd name="connsiteY8" fmla="*/ 49625 h 133350"/>
                  <a:gd name="connsiteX9" fmla="*/ 116205 w 207645"/>
                  <a:gd name="connsiteY9" fmla="*/ 49625 h 133350"/>
                  <a:gd name="connsiteX10" fmla="*/ 140970 w 207645"/>
                  <a:gd name="connsiteY10" fmla="*/ 52388 h 133350"/>
                  <a:gd name="connsiteX11" fmla="*/ 176213 w 207645"/>
                  <a:gd name="connsiteY11" fmla="*/ 52388 h 133350"/>
                  <a:gd name="connsiteX12" fmla="*/ 172403 w 207645"/>
                  <a:gd name="connsiteY12" fmla="*/ 62960 h 133350"/>
                  <a:gd name="connsiteX13" fmla="*/ 176213 w 207645"/>
                  <a:gd name="connsiteY13" fmla="*/ 77248 h 133350"/>
                  <a:gd name="connsiteX14" fmla="*/ 186690 w 207645"/>
                  <a:gd name="connsiteY14" fmla="*/ 80963 h 133350"/>
                  <a:gd name="connsiteX15" fmla="*/ 207645 w 207645"/>
                  <a:gd name="connsiteY15" fmla="*/ 77248 h 133350"/>
                  <a:gd name="connsiteX16" fmla="*/ 207645 w 207645"/>
                  <a:gd name="connsiteY16" fmla="*/ 112395 h 133350"/>
                  <a:gd name="connsiteX17" fmla="*/ 158115 w 207645"/>
                  <a:gd name="connsiteY17" fmla="*/ 112395 h 133350"/>
                  <a:gd name="connsiteX18" fmla="*/ 140970 w 207645"/>
                  <a:gd name="connsiteY18" fmla="*/ 122968 h 133350"/>
                  <a:gd name="connsiteX19" fmla="*/ 112395 w 207645"/>
                  <a:gd name="connsiteY19" fmla="*/ 133350 h 133350"/>
                  <a:gd name="connsiteX20" fmla="*/ 112395 w 207645"/>
                  <a:gd name="connsiteY20" fmla="*/ 122968 h 133350"/>
                  <a:gd name="connsiteX21" fmla="*/ 116205 w 207645"/>
                  <a:gd name="connsiteY21" fmla="*/ 109538 h 133350"/>
                  <a:gd name="connsiteX22" fmla="*/ 112395 w 207645"/>
                  <a:gd name="connsiteY22" fmla="*/ 87725 h 133350"/>
                  <a:gd name="connsiteX23" fmla="*/ 98108 w 207645"/>
                  <a:gd name="connsiteY23" fmla="*/ 77248 h 133350"/>
                  <a:gd name="connsiteX24" fmla="*/ 80963 w 207645"/>
                  <a:gd name="connsiteY24" fmla="*/ 105823 h 133350"/>
                  <a:gd name="connsiteX25" fmla="*/ 66675 w 207645"/>
                  <a:gd name="connsiteY25" fmla="*/ 109538 h 133350"/>
                  <a:gd name="connsiteX26" fmla="*/ 31433 w 207645"/>
                  <a:gd name="connsiteY26" fmla="*/ 130588 h 133350"/>
                  <a:gd name="connsiteX27" fmla="*/ 13335 w 207645"/>
                  <a:gd name="connsiteY27" fmla="*/ 122968 h 133350"/>
                  <a:gd name="connsiteX28" fmla="*/ 13335 w 207645"/>
                  <a:gd name="connsiteY28" fmla="*/ 109538 h 133350"/>
                  <a:gd name="connsiteX29" fmla="*/ 27623 w 207645"/>
                  <a:gd name="connsiteY29" fmla="*/ 91535 h 133350"/>
                  <a:gd name="connsiteX30" fmla="*/ 17145 w 207645"/>
                  <a:gd name="connsiteY30" fmla="*/ 87725 h 133350"/>
                  <a:gd name="connsiteX31" fmla="*/ 20955 w 207645"/>
                  <a:gd name="connsiteY31" fmla="*/ 62960 h 133350"/>
                  <a:gd name="connsiteX32" fmla="*/ 0 w 207645"/>
                  <a:gd name="connsiteY32" fmla="*/ 62960 h 133350"/>
                  <a:gd name="connsiteX33" fmla="*/ 0 w 207645"/>
                  <a:gd name="connsiteY33" fmla="*/ 45720 h 133350"/>
                  <a:gd name="connsiteX34" fmla="*/ 35243 w 207645"/>
                  <a:gd name="connsiteY34" fmla="*/ 45720 h 133350"/>
                  <a:gd name="connsiteX35" fmla="*/ 31433 w 207645"/>
                  <a:gd name="connsiteY35" fmla="*/ 21050 h 133350"/>
                  <a:gd name="connsiteX36" fmla="*/ 41910 w 207645"/>
                  <a:gd name="connsiteY36" fmla="*/ 2486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07645" h="133350">
                    <a:moveTo>
                      <a:pt x="41910" y="24860"/>
                    </a:moveTo>
                    <a:lnTo>
                      <a:pt x="56198" y="17145"/>
                    </a:lnTo>
                    <a:lnTo>
                      <a:pt x="62865" y="2858"/>
                    </a:lnTo>
                    <a:lnTo>
                      <a:pt x="83820" y="0"/>
                    </a:lnTo>
                    <a:lnTo>
                      <a:pt x="95250" y="2858"/>
                    </a:lnTo>
                    <a:lnTo>
                      <a:pt x="91440" y="14288"/>
                    </a:lnTo>
                    <a:lnTo>
                      <a:pt x="87630" y="24860"/>
                    </a:lnTo>
                    <a:lnTo>
                      <a:pt x="91440" y="35338"/>
                    </a:lnTo>
                    <a:lnTo>
                      <a:pt x="95250" y="49625"/>
                    </a:lnTo>
                    <a:lnTo>
                      <a:pt x="116205" y="49625"/>
                    </a:lnTo>
                    <a:lnTo>
                      <a:pt x="140970" y="52388"/>
                    </a:lnTo>
                    <a:lnTo>
                      <a:pt x="176213" y="52388"/>
                    </a:lnTo>
                    <a:lnTo>
                      <a:pt x="172403" y="62960"/>
                    </a:lnTo>
                    <a:lnTo>
                      <a:pt x="176213" y="77248"/>
                    </a:lnTo>
                    <a:lnTo>
                      <a:pt x="186690" y="80963"/>
                    </a:lnTo>
                    <a:lnTo>
                      <a:pt x="207645" y="77248"/>
                    </a:lnTo>
                    <a:lnTo>
                      <a:pt x="207645" y="112395"/>
                    </a:lnTo>
                    <a:lnTo>
                      <a:pt x="158115" y="112395"/>
                    </a:lnTo>
                    <a:lnTo>
                      <a:pt x="140970" y="122968"/>
                    </a:lnTo>
                    <a:lnTo>
                      <a:pt x="112395" y="133350"/>
                    </a:lnTo>
                    <a:lnTo>
                      <a:pt x="112395" y="122968"/>
                    </a:lnTo>
                    <a:lnTo>
                      <a:pt x="116205" y="109538"/>
                    </a:lnTo>
                    <a:lnTo>
                      <a:pt x="112395" y="87725"/>
                    </a:lnTo>
                    <a:lnTo>
                      <a:pt x="98108" y="77248"/>
                    </a:lnTo>
                    <a:lnTo>
                      <a:pt x="80963" y="105823"/>
                    </a:lnTo>
                    <a:lnTo>
                      <a:pt x="66675" y="109538"/>
                    </a:lnTo>
                    <a:lnTo>
                      <a:pt x="31433" y="130588"/>
                    </a:lnTo>
                    <a:lnTo>
                      <a:pt x="13335" y="122968"/>
                    </a:lnTo>
                    <a:lnTo>
                      <a:pt x="13335" y="109538"/>
                    </a:lnTo>
                    <a:lnTo>
                      <a:pt x="27623" y="91535"/>
                    </a:lnTo>
                    <a:lnTo>
                      <a:pt x="17145" y="87725"/>
                    </a:lnTo>
                    <a:lnTo>
                      <a:pt x="20955" y="62960"/>
                    </a:lnTo>
                    <a:lnTo>
                      <a:pt x="0" y="62960"/>
                    </a:lnTo>
                    <a:lnTo>
                      <a:pt x="0" y="45720"/>
                    </a:lnTo>
                    <a:lnTo>
                      <a:pt x="35243" y="45720"/>
                    </a:lnTo>
                    <a:lnTo>
                      <a:pt x="31433" y="21050"/>
                    </a:lnTo>
                    <a:lnTo>
                      <a:pt x="41910" y="2486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699C2BF5-A8D6-A713-9AD5-34FFD44A32ED}"/>
                  </a:ext>
                </a:extLst>
              </p:cNvPr>
              <p:cNvSpPr/>
              <p:nvPr/>
            </p:nvSpPr>
            <p:spPr>
              <a:xfrm>
                <a:off x="7534497" y="3206634"/>
                <a:ext cx="459392" cy="272650"/>
              </a:xfrm>
              <a:custGeom>
                <a:avLst/>
                <a:gdLst>
                  <a:gd name="connsiteX0" fmla="*/ 0 w 468630"/>
                  <a:gd name="connsiteY0" fmla="*/ 144780 h 278130"/>
                  <a:gd name="connsiteX1" fmla="*/ 0 w 468630"/>
                  <a:gd name="connsiteY1" fmla="*/ 14288 h 278130"/>
                  <a:gd name="connsiteX2" fmla="*/ 31432 w 468630"/>
                  <a:gd name="connsiteY2" fmla="*/ 6668 h 278130"/>
                  <a:gd name="connsiteX3" fmla="*/ 80963 w 468630"/>
                  <a:gd name="connsiteY3" fmla="*/ 0 h 278130"/>
                  <a:gd name="connsiteX4" fmla="*/ 95250 w 468630"/>
                  <a:gd name="connsiteY4" fmla="*/ 10382 h 278130"/>
                  <a:gd name="connsiteX5" fmla="*/ 122873 w 468630"/>
                  <a:gd name="connsiteY5" fmla="*/ 27623 h 278130"/>
                  <a:gd name="connsiteX6" fmla="*/ 140970 w 468630"/>
                  <a:gd name="connsiteY6" fmla="*/ 35243 h 278130"/>
                  <a:gd name="connsiteX7" fmla="*/ 165735 w 468630"/>
                  <a:gd name="connsiteY7" fmla="*/ 66675 h 278130"/>
                  <a:gd name="connsiteX8" fmla="*/ 232410 w 468630"/>
                  <a:gd name="connsiteY8" fmla="*/ 62770 h 278130"/>
                  <a:gd name="connsiteX9" fmla="*/ 246698 w 468630"/>
                  <a:gd name="connsiteY9" fmla="*/ 59912 h 278130"/>
                  <a:gd name="connsiteX10" fmla="*/ 278130 w 468630"/>
                  <a:gd name="connsiteY10" fmla="*/ 91345 h 278130"/>
                  <a:gd name="connsiteX11" fmla="*/ 278130 w 468630"/>
                  <a:gd name="connsiteY11" fmla="*/ 105632 h 278130"/>
                  <a:gd name="connsiteX12" fmla="*/ 296228 w 468630"/>
                  <a:gd name="connsiteY12" fmla="*/ 119920 h 278130"/>
                  <a:gd name="connsiteX13" fmla="*/ 299085 w 468630"/>
                  <a:gd name="connsiteY13" fmla="*/ 147638 h 278130"/>
                  <a:gd name="connsiteX14" fmla="*/ 330518 w 468630"/>
                  <a:gd name="connsiteY14" fmla="*/ 144780 h 278130"/>
                  <a:gd name="connsiteX15" fmla="*/ 338138 w 468630"/>
                  <a:gd name="connsiteY15" fmla="*/ 147638 h 278130"/>
                  <a:gd name="connsiteX16" fmla="*/ 338138 w 468630"/>
                  <a:gd name="connsiteY16" fmla="*/ 165735 h 278130"/>
                  <a:gd name="connsiteX17" fmla="*/ 352425 w 468630"/>
                  <a:gd name="connsiteY17" fmla="*/ 165735 h 278130"/>
                  <a:gd name="connsiteX18" fmla="*/ 355282 w 468630"/>
                  <a:gd name="connsiteY18" fmla="*/ 147638 h 278130"/>
                  <a:gd name="connsiteX19" fmla="*/ 377190 w 468630"/>
                  <a:gd name="connsiteY19" fmla="*/ 130493 h 278130"/>
                  <a:gd name="connsiteX20" fmla="*/ 412432 w 468630"/>
                  <a:gd name="connsiteY20" fmla="*/ 109538 h 278130"/>
                  <a:gd name="connsiteX21" fmla="*/ 404813 w 468630"/>
                  <a:gd name="connsiteY21" fmla="*/ 126587 h 278130"/>
                  <a:gd name="connsiteX22" fmla="*/ 401003 w 468630"/>
                  <a:gd name="connsiteY22" fmla="*/ 134207 h 278130"/>
                  <a:gd name="connsiteX23" fmla="*/ 415290 w 468630"/>
                  <a:gd name="connsiteY23" fmla="*/ 140875 h 278130"/>
                  <a:gd name="connsiteX24" fmla="*/ 436245 w 468630"/>
                  <a:gd name="connsiteY24" fmla="*/ 134207 h 278130"/>
                  <a:gd name="connsiteX25" fmla="*/ 454343 w 468630"/>
                  <a:gd name="connsiteY25" fmla="*/ 144780 h 278130"/>
                  <a:gd name="connsiteX26" fmla="*/ 468630 w 468630"/>
                  <a:gd name="connsiteY26" fmla="*/ 158020 h 278130"/>
                  <a:gd name="connsiteX27" fmla="*/ 454343 w 468630"/>
                  <a:gd name="connsiteY27" fmla="*/ 172307 h 278130"/>
                  <a:gd name="connsiteX28" fmla="*/ 436245 w 468630"/>
                  <a:gd name="connsiteY28" fmla="*/ 180023 h 278130"/>
                  <a:gd name="connsiteX29" fmla="*/ 415290 w 468630"/>
                  <a:gd name="connsiteY29" fmla="*/ 180023 h 278130"/>
                  <a:gd name="connsiteX30" fmla="*/ 408623 w 468630"/>
                  <a:gd name="connsiteY30" fmla="*/ 172307 h 278130"/>
                  <a:gd name="connsiteX31" fmla="*/ 412432 w 468630"/>
                  <a:gd name="connsiteY31" fmla="*/ 158020 h 278130"/>
                  <a:gd name="connsiteX32" fmla="*/ 401003 w 468630"/>
                  <a:gd name="connsiteY32" fmla="*/ 155162 h 278130"/>
                  <a:gd name="connsiteX33" fmla="*/ 380048 w 468630"/>
                  <a:gd name="connsiteY33" fmla="*/ 158020 h 278130"/>
                  <a:gd name="connsiteX34" fmla="*/ 373380 w 468630"/>
                  <a:gd name="connsiteY34" fmla="*/ 172307 h 278130"/>
                  <a:gd name="connsiteX35" fmla="*/ 359093 w 468630"/>
                  <a:gd name="connsiteY35" fmla="*/ 180023 h 278130"/>
                  <a:gd name="connsiteX36" fmla="*/ 348615 w 468630"/>
                  <a:gd name="connsiteY36" fmla="*/ 176213 h 278130"/>
                  <a:gd name="connsiteX37" fmla="*/ 352425 w 468630"/>
                  <a:gd name="connsiteY37" fmla="*/ 200882 h 278130"/>
                  <a:gd name="connsiteX38" fmla="*/ 317182 w 468630"/>
                  <a:gd name="connsiteY38" fmla="*/ 200882 h 278130"/>
                  <a:gd name="connsiteX39" fmla="*/ 317182 w 468630"/>
                  <a:gd name="connsiteY39" fmla="*/ 218123 h 278130"/>
                  <a:gd name="connsiteX40" fmla="*/ 338138 w 468630"/>
                  <a:gd name="connsiteY40" fmla="*/ 218123 h 278130"/>
                  <a:gd name="connsiteX41" fmla="*/ 334328 w 468630"/>
                  <a:gd name="connsiteY41" fmla="*/ 242888 h 278130"/>
                  <a:gd name="connsiteX42" fmla="*/ 344805 w 468630"/>
                  <a:gd name="connsiteY42" fmla="*/ 246698 h 278130"/>
                  <a:gd name="connsiteX43" fmla="*/ 330518 w 468630"/>
                  <a:gd name="connsiteY43" fmla="*/ 264700 h 278130"/>
                  <a:gd name="connsiteX44" fmla="*/ 330518 w 468630"/>
                  <a:gd name="connsiteY44" fmla="*/ 278130 h 278130"/>
                  <a:gd name="connsiteX45" fmla="*/ 296228 w 468630"/>
                  <a:gd name="connsiteY45" fmla="*/ 267557 h 278130"/>
                  <a:gd name="connsiteX46" fmla="*/ 296228 w 468630"/>
                  <a:gd name="connsiteY46" fmla="*/ 253270 h 278130"/>
                  <a:gd name="connsiteX47" fmla="*/ 278130 w 468630"/>
                  <a:gd name="connsiteY47" fmla="*/ 242888 h 278130"/>
                  <a:gd name="connsiteX48" fmla="*/ 257175 w 468630"/>
                  <a:gd name="connsiteY48" fmla="*/ 240030 h 278130"/>
                  <a:gd name="connsiteX49" fmla="*/ 182880 w 468630"/>
                  <a:gd name="connsiteY49" fmla="*/ 190500 h 278130"/>
                  <a:gd name="connsiteX50" fmla="*/ 158115 w 468630"/>
                  <a:gd name="connsiteY50" fmla="*/ 144780 h 278130"/>
                  <a:gd name="connsiteX51" fmla="*/ 112395 w 468630"/>
                  <a:gd name="connsiteY51" fmla="*/ 144780 h 278130"/>
                  <a:gd name="connsiteX52" fmla="*/ 112395 w 468630"/>
                  <a:gd name="connsiteY52" fmla="*/ 116205 h 278130"/>
                  <a:gd name="connsiteX53" fmla="*/ 109538 w 468630"/>
                  <a:gd name="connsiteY53" fmla="*/ 109538 h 278130"/>
                  <a:gd name="connsiteX54" fmla="*/ 84773 w 468630"/>
                  <a:gd name="connsiteY54" fmla="*/ 105632 h 278130"/>
                  <a:gd name="connsiteX55" fmla="*/ 74295 w 468630"/>
                  <a:gd name="connsiteY55" fmla="*/ 95250 h 278130"/>
                  <a:gd name="connsiteX56" fmla="*/ 24765 w 468630"/>
                  <a:gd name="connsiteY56" fmla="*/ 119920 h 278130"/>
                  <a:gd name="connsiteX57" fmla="*/ 24765 w 468630"/>
                  <a:gd name="connsiteY57" fmla="*/ 140875 h 278130"/>
                  <a:gd name="connsiteX58" fmla="*/ 0 w 468630"/>
                  <a:gd name="connsiteY58" fmla="*/ 144780 h 27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468630" h="278130">
                    <a:moveTo>
                      <a:pt x="0" y="144780"/>
                    </a:moveTo>
                    <a:lnTo>
                      <a:pt x="0" y="14288"/>
                    </a:lnTo>
                    <a:lnTo>
                      <a:pt x="31432" y="6668"/>
                    </a:lnTo>
                    <a:lnTo>
                      <a:pt x="80963" y="0"/>
                    </a:lnTo>
                    <a:lnTo>
                      <a:pt x="95250" y="10382"/>
                    </a:lnTo>
                    <a:lnTo>
                      <a:pt x="122873" y="27623"/>
                    </a:lnTo>
                    <a:lnTo>
                      <a:pt x="140970" y="35243"/>
                    </a:lnTo>
                    <a:lnTo>
                      <a:pt x="165735" y="66675"/>
                    </a:lnTo>
                    <a:lnTo>
                      <a:pt x="232410" y="62770"/>
                    </a:lnTo>
                    <a:lnTo>
                      <a:pt x="246698" y="59912"/>
                    </a:lnTo>
                    <a:lnTo>
                      <a:pt x="278130" y="91345"/>
                    </a:lnTo>
                    <a:lnTo>
                      <a:pt x="278130" y="105632"/>
                    </a:lnTo>
                    <a:lnTo>
                      <a:pt x="296228" y="119920"/>
                    </a:lnTo>
                    <a:lnTo>
                      <a:pt x="299085" y="147638"/>
                    </a:lnTo>
                    <a:lnTo>
                      <a:pt x="330518" y="144780"/>
                    </a:lnTo>
                    <a:lnTo>
                      <a:pt x="338138" y="147638"/>
                    </a:lnTo>
                    <a:lnTo>
                      <a:pt x="338138" y="165735"/>
                    </a:lnTo>
                    <a:lnTo>
                      <a:pt x="352425" y="165735"/>
                    </a:lnTo>
                    <a:lnTo>
                      <a:pt x="355282" y="147638"/>
                    </a:lnTo>
                    <a:lnTo>
                      <a:pt x="377190" y="130493"/>
                    </a:lnTo>
                    <a:lnTo>
                      <a:pt x="412432" y="109538"/>
                    </a:lnTo>
                    <a:lnTo>
                      <a:pt x="404813" y="126587"/>
                    </a:lnTo>
                    <a:lnTo>
                      <a:pt x="401003" y="134207"/>
                    </a:lnTo>
                    <a:lnTo>
                      <a:pt x="415290" y="140875"/>
                    </a:lnTo>
                    <a:lnTo>
                      <a:pt x="436245" y="134207"/>
                    </a:lnTo>
                    <a:lnTo>
                      <a:pt x="454343" y="144780"/>
                    </a:lnTo>
                    <a:lnTo>
                      <a:pt x="468630" y="158020"/>
                    </a:lnTo>
                    <a:lnTo>
                      <a:pt x="454343" y="172307"/>
                    </a:lnTo>
                    <a:lnTo>
                      <a:pt x="436245" y="180023"/>
                    </a:lnTo>
                    <a:lnTo>
                      <a:pt x="415290" y="180023"/>
                    </a:lnTo>
                    <a:lnTo>
                      <a:pt x="408623" y="172307"/>
                    </a:lnTo>
                    <a:lnTo>
                      <a:pt x="412432" y="158020"/>
                    </a:lnTo>
                    <a:lnTo>
                      <a:pt x="401003" y="155162"/>
                    </a:lnTo>
                    <a:lnTo>
                      <a:pt x="380048" y="158020"/>
                    </a:lnTo>
                    <a:lnTo>
                      <a:pt x="373380" y="172307"/>
                    </a:lnTo>
                    <a:lnTo>
                      <a:pt x="359093" y="180023"/>
                    </a:lnTo>
                    <a:lnTo>
                      <a:pt x="348615" y="176213"/>
                    </a:lnTo>
                    <a:lnTo>
                      <a:pt x="352425" y="200882"/>
                    </a:lnTo>
                    <a:lnTo>
                      <a:pt x="317182" y="200882"/>
                    </a:lnTo>
                    <a:lnTo>
                      <a:pt x="317182" y="218123"/>
                    </a:lnTo>
                    <a:lnTo>
                      <a:pt x="338138" y="218123"/>
                    </a:lnTo>
                    <a:lnTo>
                      <a:pt x="334328" y="242888"/>
                    </a:lnTo>
                    <a:lnTo>
                      <a:pt x="344805" y="246698"/>
                    </a:lnTo>
                    <a:lnTo>
                      <a:pt x="330518" y="264700"/>
                    </a:lnTo>
                    <a:lnTo>
                      <a:pt x="330518" y="278130"/>
                    </a:lnTo>
                    <a:lnTo>
                      <a:pt x="296228" y="267557"/>
                    </a:lnTo>
                    <a:lnTo>
                      <a:pt x="296228" y="253270"/>
                    </a:lnTo>
                    <a:lnTo>
                      <a:pt x="278130" y="242888"/>
                    </a:lnTo>
                    <a:lnTo>
                      <a:pt x="257175" y="240030"/>
                    </a:lnTo>
                    <a:lnTo>
                      <a:pt x="182880" y="190500"/>
                    </a:lnTo>
                    <a:lnTo>
                      <a:pt x="158115" y="144780"/>
                    </a:lnTo>
                    <a:lnTo>
                      <a:pt x="112395" y="144780"/>
                    </a:lnTo>
                    <a:lnTo>
                      <a:pt x="112395" y="116205"/>
                    </a:lnTo>
                    <a:lnTo>
                      <a:pt x="109538" y="109538"/>
                    </a:lnTo>
                    <a:lnTo>
                      <a:pt x="84773" y="105632"/>
                    </a:lnTo>
                    <a:lnTo>
                      <a:pt x="74295" y="95250"/>
                    </a:lnTo>
                    <a:lnTo>
                      <a:pt x="24765" y="119920"/>
                    </a:lnTo>
                    <a:lnTo>
                      <a:pt x="24765" y="140875"/>
                    </a:lnTo>
                    <a:lnTo>
                      <a:pt x="0" y="14478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8C0435BC-6DEB-CB41-D5F9-08A1608DEFB4}"/>
                  </a:ext>
                </a:extLst>
              </p:cNvPr>
              <p:cNvSpPr/>
              <p:nvPr/>
            </p:nvSpPr>
            <p:spPr>
              <a:xfrm>
                <a:off x="7927596" y="3279372"/>
                <a:ext cx="273581" cy="130722"/>
              </a:xfrm>
              <a:custGeom>
                <a:avLst/>
                <a:gdLst>
                  <a:gd name="connsiteX0" fmla="*/ 11430 w 279082"/>
                  <a:gd name="connsiteY0" fmla="*/ 35338 h 133350"/>
                  <a:gd name="connsiteX1" fmla="*/ 28575 w 279082"/>
                  <a:gd name="connsiteY1" fmla="*/ 13430 h 133350"/>
                  <a:gd name="connsiteX2" fmla="*/ 49530 w 279082"/>
                  <a:gd name="connsiteY2" fmla="*/ 13430 h 133350"/>
                  <a:gd name="connsiteX3" fmla="*/ 57150 w 279082"/>
                  <a:gd name="connsiteY3" fmla="*/ 21050 h 133350"/>
                  <a:gd name="connsiteX4" fmla="*/ 88582 w 279082"/>
                  <a:gd name="connsiteY4" fmla="*/ 17145 h 133350"/>
                  <a:gd name="connsiteX5" fmla="*/ 92392 w 279082"/>
                  <a:gd name="connsiteY5" fmla="*/ 6763 h 133350"/>
                  <a:gd name="connsiteX6" fmla="*/ 105727 w 279082"/>
                  <a:gd name="connsiteY6" fmla="*/ 0 h 133350"/>
                  <a:gd name="connsiteX7" fmla="*/ 127635 w 279082"/>
                  <a:gd name="connsiteY7" fmla="*/ 2858 h 133350"/>
                  <a:gd name="connsiteX8" fmla="*/ 130492 w 279082"/>
                  <a:gd name="connsiteY8" fmla="*/ 17145 h 133350"/>
                  <a:gd name="connsiteX9" fmla="*/ 236220 w 279082"/>
                  <a:gd name="connsiteY9" fmla="*/ 13430 h 133350"/>
                  <a:gd name="connsiteX10" fmla="*/ 246697 w 279082"/>
                  <a:gd name="connsiteY10" fmla="*/ 24860 h 133350"/>
                  <a:gd name="connsiteX11" fmla="*/ 260985 w 279082"/>
                  <a:gd name="connsiteY11" fmla="*/ 27718 h 133350"/>
                  <a:gd name="connsiteX12" fmla="*/ 279082 w 279082"/>
                  <a:gd name="connsiteY12" fmla="*/ 35338 h 133350"/>
                  <a:gd name="connsiteX13" fmla="*/ 267652 w 279082"/>
                  <a:gd name="connsiteY13" fmla="*/ 42005 h 133350"/>
                  <a:gd name="connsiteX14" fmla="*/ 243840 w 279082"/>
                  <a:gd name="connsiteY14" fmla="*/ 56293 h 133350"/>
                  <a:gd name="connsiteX15" fmla="*/ 221932 w 279082"/>
                  <a:gd name="connsiteY15" fmla="*/ 62960 h 133350"/>
                  <a:gd name="connsiteX16" fmla="*/ 215265 w 279082"/>
                  <a:gd name="connsiteY16" fmla="*/ 77248 h 133350"/>
                  <a:gd name="connsiteX17" fmla="*/ 180022 w 279082"/>
                  <a:gd name="connsiteY17" fmla="*/ 77248 h 133350"/>
                  <a:gd name="connsiteX18" fmla="*/ 173355 w 279082"/>
                  <a:gd name="connsiteY18" fmla="*/ 95250 h 133350"/>
                  <a:gd name="connsiteX19" fmla="*/ 144780 w 279082"/>
                  <a:gd name="connsiteY19" fmla="*/ 102013 h 133350"/>
                  <a:gd name="connsiteX20" fmla="*/ 144780 w 279082"/>
                  <a:gd name="connsiteY20" fmla="*/ 91535 h 133350"/>
                  <a:gd name="connsiteX21" fmla="*/ 120015 w 279082"/>
                  <a:gd name="connsiteY21" fmla="*/ 91535 h 133350"/>
                  <a:gd name="connsiteX22" fmla="*/ 116205 w 279082"/>
                  <a:gd name="connsiteY22" fmla="*/ 102013 h 133350"/>
                  <a:gd name="connsiteX23" fmla="*/ 102870 w 279082"/>
                  <a:gd name="connsiteY23" fmla="*/ 108680 h 133350"/>
                  <a:gd name="connsiteX24" fmla="*/ 95250 w 279082"/>
                  <a:gd name="connsiteY24" fmla="*/ 116300 h 133350"/>
                  <a:gd name="connsiteX25" fmla="*/ 92392 w 279082"/>
                  <a:gd name="connsiteY25" fmla="*/ 133350 h 133350"/>
                  <a:gd name="connsiteX26" fmla="*/ 57150 w 279082"/>
                  <a:gd name="connsiteY26" fmla="*/ 133350 h 133350"/>
                  <a:gd name="connsiteX27" fmla="*/ 32385 w 279082"/>
                  <a:gd name="connsiteY27" fmla="*/ 130588 h 133350"/>
                  <a:gd name="connsiteX28" fmla="*/ 11430 w 279082"/>
                  <a:gd name="connsiteY28" fmla="*/ 130588 h 133350"/>
                  <a:gd name="connsiteX29" fmla="*/ 7620 w 279082"/>
                  <a:gd name="connsiteY29" fmla="*/ 116300 h 133350"/>
                  <a:gd name="connsiteX30" fmla="*/ 3810 w 279082"/>
                  <a:gd name="connsiteY30" fmla="*/ 105823 h 133350"/>
                  <a:gd name="connsiteX31" fmla="*/ 7620 w 279082"/>
                  <a:gd name="connsiteY31" fmla="*/ 98108 h 133350"/>
                  <a:gd name="connsiteX32" fmla="*/ 14288 w 279082"/>
                  <a:gd name="connsiteY32" fmla="*/ 105823 h 133350"/>
                  <a:gd name="connsiteX33" fmla="*/ 35242 w 279082"/>
                  <a:gd name="connsiteY33" fmla="*/ 105823 h 133350"/>
                  <a:gd name="connsiteX34" fmla="*/ 53340 w 279082"/>
                  <a:gd name="connsiteY34" fmla="*/ 98108 h 133350"/>
                  <a:gd name="connsiteX35" fmla="*/ 67627 w 279082"/>
                  <a:gd name="connsiteY35" fmla="*/ 83820 h 133350"/>
                  <a:gd name="connsiteX36" fmla="*/ 53340 w 279082"/>
                  <a:gd name="connsiteY36" fmla="*/ 70580 h 133350"/>
                  <a:gd name="connsiteX37" fmla="*/ 35242 w 279082"/>
                  <a:gd name="connsiteY37" fmla="*/ 60008 h 133350"/>
                  <a:gd name="connsiteX38" fmla="*/ 14288 w 279082"/>
                  <a:gd name="connsiteY38" fmla="*/ 66675 h 133350"/>
                  <a:gd name="connsiteX39" fmla="*/ 0 w 279082"/>
                  <a:gd name="connsiteY39" fmla="*/ 60008 h 133350"/>
                  <a:gd name="connsiteX40" fmla="*/ 3810 w 279082"/>
                  <a:gd name="connsiteY40" fmla="*/ 52388 h 133350"/>
                  <a:gd name="connsiteX41" fmla="*/ 11430 w 279082"/>
                  <a:gd name="connsiteY41" fmla="*/ 35338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79082" h="133350">
                    <a:moveTo>
                      <a:pt x="11430" y="35338"/>
                    </a:moveTo>
                    <a:lnTo>
                      <a:pt x="28575" y="13430"/>
                    </a:lnTo>
                    <a:lnTo>
                      <a:pt x="49530" y="13430"/>
                    </a:lnTo>
                    <a:lnTo>
                      <a:pt x="57150" y="21050"/>
                    </a:lnTo>
                    <a:lnTo>
                      <a:pt x="88582" y="17145"/>
                    </a:lnTo>
                    <a:lnTo>
                      <a:pt x="92392" y="6763"/>
                    </a:lnTo>
                    <a:lnTo>
                      <a:pt x="105727" y="0"/>
                    </a:lnTo>
                    <a:lnTo>
                      <a:pt x="127635" y="2858"/>
                    </a:lnTo>
                    <a:lnTo>
                      <a:pt x="130492" y="17145"/>
                    </a:lnTo>
                    <a:lnTo>
                      <a:pt x="236220" y="13430"/>
                    </a:lnTo>
                    <a:lnTo>
                      <a:pt x="246697" y="24860"/>
                    </a:lnTo>
                    <a:lnTo>
                      <a:pt x="260985" y="27718"/>
                    </a:lnTo>
                    <a:lnTo>
                      <a:pt x="279082" y="35338"/>
                    </a:lnTo>
                    <a:lnTo>
                      <a:pt x="267652" y="42005"/>
                    </a:lnTo>
                    <a:lnTo>
                      <a:pt x="243840" y="56293"/>
                    </a:lnTo>
                    <a:lnTo>
                      <a:pt x="221932" y="62960"/>
                    </a:lnTo>
                    <a:lnTo>
                      <a:pt x="215265" y="77248"/>
                    </a:lnTo>
                    <a:lnTo>
                      <a:pt x="180022" y="77248"/>
                    </a:lnTo>
                    <a:lnTo>
                      <a:pt x="173355" y="95250"/>
                    </a:lnTo>
                    <a:lnTo>
                      <a:pt x="144780" y="102013"/>
                    </a:lnTo>
                    <a:lnTo>
                      <a:pt x="144780" y="91535"/>
                    </a:lnTo>
                    <a:lnTo>
                      <a:pt x="120015" y="91535"/>
                    </a:lnTo>
                    <a:lnTo>
                      <a:pt x="116205" y="102013"/>
                    </a:lnTo>
                    <a:lnTo>
                      <a:pt x="102870" y="108680"/>
                    </a:lnTo>
                    <a:lnTo>
                      <a:pt x="95250" y="116300"/>
                    </a:lnTo>
                    <a:lnTo>
                      <a:pt x="92392" y="133350"/>
                    </a:lnTo>
                    <a:lnTo>
                      <a:pt x="57150" y="133350"/>
                    </a:lnTo>
                    <a:lnTo>
                      <a:pt x="32385" y="130588"/>
                    </a:lnTo>
                    <a:lnTo>
                      <a:pt x="11430" y="130588"/>
                    </a:lnTo>
                    <a:lnTo>
                      <a:pt x="7620" y="116300"/>
                    </a:lnTo>
                    <a:lnTo>
                      <a:pt x="3810" y="105823"/>
                    </a:lnTo>
                    <a:lnTo>
                      <a:pt x="7620" y="98108"/>
                    </a:lnTo>
                    <a:lnTo>
                      <a:pt x="14288" y="105823"/>
                    </a:lnTo>
                    <a:lnTo>
                      <a:pt x="35242" y="105823"/>
                    </a:lnTo>
                    <a:lnTo>
                      <a:pt x="53340" y="98108"/>
                    </a:lnTo>
                    <a:lnTo>
                      <a:pt x="67627" y="83820"/>
                    </a:lnTo>
                    <a:lnTo>
                      <a:pt x="53340" y="70580"/>
                    </a:lnTo>
                    <a:lnTo>
                      <a:pt x="35242" y="60008"/>
                    </a:lnTo>
                    <a:lnTo>
                      <a:pt x="14288" y="66675"/>
                    </a:lnTo>
                    <a:lnTo>
                      <a:pt x="0" y="60008"/>
                    </a:lnTo>
                    <a:lnTo>
                      <a:pt x="3810" y="52388"/>
                    </a:lnTo>
                    <a:lnTo>
                      <a:pt x="11430" y="353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F4AA1A6F-FFAF-1EA8-3070-D8F3BCA2B424}"/>
                  </a:ext>
                </a:extLst>
              </p:cNvPr>
              <p:cNvSpPr/>
              <p:nvPr/>
            </p:nvSpPr>
            <p:spPr>
              <a:xfrm>
                <a:off x="7275855" y="2853683"/>
                <a:ext cx="1104595" cy="515419"/>
              </a:xfrm>
              <a:custGeom>
                <a:avLst/>
                <a:gdLst>
                  <a:gd name="connsiteX0" fmla="*/ 189548 w 1126807"/>
                  <a:gd name="connsiteY0" fmla="*/ 461963 h 525779"/>
                  <a:gd name="connsiteX1" fmla="*/ 164783 w 1126807"/>
                  <a:gd name="connsiteY1" fmla="*/ 459105 h 525779"/>
                  <a:gd name="connsiteX2" fmla="*/ 137160 w 1126807"/>
                  <a:gd name="connsiteY2" fmla="*/ 437102 h 525779"/>
                  <a:gd name="connsiteX3" fmla="*/ 116205 w 1126807"/>
                  <a:gd name="connsiteY3" fmla="*/ 412432 h 525779"/>
                  <a:gd name="connsiteX4" fmla="*/ 101918 w 1126807"/>
                  <a:gd name="connsiteY4" fmla="*/ 395288 h 525779"/>
                  <a:gd name="connsiteX5" fmla="*/ 112395 w 1126807"/>
                  <a:gd name="connsiteY5" fmla="*/ 387667 h 525779"/>
                  <a:gd name="connsiteX6" fmla="*/ 137160 w 1126807"/>
                  <a:gd name="connsiteY6" fmla="*/ 391382 h 525779"/>
                  <a:gd name="connsiteX7" fmla="*/ 133350 w 1126807"/>
                  <a:gd name="connsiteY7" fmla="*/ 370427 h 525779"/>
                  <a:gd name="connsiteX8" fmla="*/ 143828 w 1126807"/>
                  <a:gd name="connsiteY8" fmla="*/ 363855 h 525779"/>
                  <a:gd name="connsiteX9" fmla="*/ 164783 w 1126807"/>
                  <a:gd name="connsiteY9" fmla="*/ 366713 h 525779"/>
                  <a:gd name="connsiteX10" fmla="*/ 182880 w 1126807"/>
                  <a:gd name="connsiteY10" fmla="*/ 370427 h 525779"/>
                  <a:gd name="connsiteX11" fmla="*/ 189548 w 1126807"/>
                  <a:gd name="connsiteY11" fmla="*/ 345757 h 525779"/>
                  <a:gd name="connsiteX12" fmla="*/ 176213 w 1126807"/>
                  <a:gd name="connsiteY12" fmla="*/ 310420 h 525779"/>
                  <a:gd name="connsiteX13" fmla="*/ 143828 w 1126807"/>
                  <a:gd name="connsiteY13" fmla="*/ 310420 h 525779"/>
                  <a:gd name="connsiteX14" fmla="*/ 112395 w 1126807"/>
                  <a:gd name="connsiteY14" fmla="*/ 314325 h 525779"/>
                  <a:gd name="connsiteX15" fmla="*/ 70485 w 1126807"/>
                  <a:gd name="connsiteY15" fmla="*/ 331470 h 525779"/>
                  <a:gd name="connsiteX16" fmla="*/ 62865 w 1126807"/>
                  <a:gd name="connsiteY16" fmla="*/ 306705 h 525779"/>
                  <a:gd name="connsiteX17" fmla="*/ 41910 w 1126807"/>
                  <a:gd name="connsiteY17" fmla="*/ 279082 h 525779"/>
                  <a:gd name="connsiteX18" fmla="*/ 17145 w 1126807"/>
                  <a:gd name="connsiteY18" fmla="*/ 271463 h 525779"/>
                  <a:gd name="connsiteX19" fmla="*/ 0 w 1126807"/>
                  <a:gd name="connsiteY19" fmla="*/ 246602 h 525779"/>
                  <a:gd name="connsiteX20" fmla="*/ 10478 w 1126807"/>
                  <a:gd name="connsiteY20" fmla="*/ 204788 h 525779"/>
                  <a:gd name="connsiteX21" fmla="*/ 31433 w 1126807"/>
                  <a:gd name="connsiteY21" fmla="*/ 179927 h 525779"/>
                  <a:gd name="connsiteX22" fmla="*/ 45720 w 1126807"/>
                  <a:gd name="connsiteY22" fmla="*/ 208502 h 525779"/>
                  <a:gd name="connsiteX23" fmla="*/ 59055 w 1126807"/>
                  <a:gd name="connsiteY23" fmla="*/ 200882 h 525779"/>
                  <a:gd name="connsiteX24" fmla="*/ 62865 w 1126807"/>
                  <a:gd name="connsiteY24" fmla="*/ 179927 h 525779"/>
                  <a:gd name="connsiteX25" fmla="*/ 105728 w 1126807"/>
                  <a:gd name="connsiteY25" fmla="*/ 148495 h 525779"/>
                  <a:gd name="connsiteX26" fmla="*/ 133350 w 1126807"/>
                  <a:gd name="connsiteY26" fmla="*/ 138113 h 525779"/>
                  <a:gd name="connsiteX27" fmla="*/ 197168 w 1126807"/>
                  <a:gd name="connsiteY27" fmla="*/ 148495 h 525779"/>
                  <a:gd name="connsiteX28" fmla="*/ 239078 w 1126807"/>
                  <a:gd name="connsiteY28" fmla="*/ 173355 h 525779"/>
                  <a:gd name="connsiteX29" fmla="*/ 263843 w 1126807"/>
                  <a:gd name="connsiteY29" fmla="*/ 176213 h 525779"/>
                  <a:gd name="connsiteX30" fmla="*/ 302895 w 1126807"/>
                  <a:gd name="connsiteY30" fmla="*/ 159067 h 525779"/>
                  <a:gd name="connsiteX31" fmla="*/ 334328 w 1126807"/>
                  <a:gd name="connsiteY31" fmla="*/ 159067 h 525779"/>
                  <a:gd name="connsiteX32" fmla="*/ 351473 w 1126807"/>
                  <a:gd name="connsiteY32" fmla="*/ 176213 h 525779"/>
                  <a:gd name="connsiteX33" fmla="*/ 397193 w 1126807"/>
                  <a:gd name="connsiteY33" fmla="*/ 173355 h 525779"/>
                  <a:gd name="connsiteX34" fmla="*/ 419100 w 1126807"/>
                  <a:gd name="connsiteY34" fmla="*/ 155257 h 525779"/>
                  <a:gd name="connsiteX35" fmla="*/ 401003 w 1126807"/>
                  <a:gd name="connsiteY35" fmla="*/ 140970 h 525779"/>
                  <a:gd name="connsiteX36" fmla="*/ 376238 w 1126807"/>
                  <a:gd name="connsiteY36" fmla="*/ 134207 h 525779"/>
                  <a:gd name="connsiteX37" fmla="*/ 386715 w 1126807"/>
                  <a:gd name="connsiteY37" fmla="*/ 119920 h 525779"/>
                  <a:gd name="connsiteX38" fmla="*/ 397193 w 1126807"/>
                  <a:gd name="connsiteY38" fmla="*/ 109538 h 525779"/>
                  <a:gd name="connsiteX39" fmla="*/ 401003 w 1126807"/>
                  <a:gd name="connsiteY39" fmla="*/ 91345 h 525779"/>
                  <a:gd name="connsiteX40" fmla="*/ 421958 w 1126807"/>
                  <a:gd name="connsiteY40" fmla="*/ 84677 h 525779"/>
                  <a:gd name="connsiteX41" fmla="*/ 415290 w 1126807"/>
                  <a:gd name="connsiteY41" fmla="*/ 70390 h 525779"/>
                  <a:gd name="connsiteX42" fmla="*/ 408623 w 1126807"/>
                  <a:gd name="connsiteY42" fmla="*/ 53245 h 525779"/>
                  <a:gd name="connsiteX43" fmla="*/ 446723 w 1126807"/>
                  <a:gd name="connsiteY43" fmla="*/ 49530 h 525779"/>
                  <a:gd name="connsiteX44" fmla="*/ 492443 w 1126807"/>
                  <a:gd name="connsiteY44" fmla="*/ 35242 h 525779"/>
                  <a:gd name="connsiteX45" fmla="*/ 556260 w 1126807"/>
                  <a:gd name="connsiteY45" fmla="*/ 18002 h 525779"/>
                  <a:gd name="connsiteX46" fmla="*/ 608648 w 1126807"/>
                  <a:gd name="connsiteY46" fmla="*/ 7620 h 525779"/>
                  <a:gd name="connsiteX47" fmla="*/ 641033 w 1126807"/>
                  <a:gd name="connsiteY47" fmla="*/ 0 h 525779"/>
                  <a:gd name="connsiteX48" fmla="*/ 676275 w 1126807"/>
                  <a:gd name="connsiteY48" fmla="*/ 3715 h 525779"/>
                  <a:gd name="connsiteX49" fmla="*/ 682943 w 1126807"/>
                  <a:gd name="connsiteY49" fmla="*/ 28575 h 525779"/>
                  <a:gd name="connsiteX50" fmla="*/ 700088 w 1126807"/>
                  <a:gd name="connsiteY50" fmla="*/ 38957 h 525779"/>
                  <a:gd name="connsiteX51" fmla="*/ 735330 w 1126807"/>
                  <a:gd name="connsiteY51" fmla="*/ 49530 h 525779"/>
                  <a:gd name="connsiteX52" fmla="*/ 770573 w 1126807"/>
                  <a:gd name="connsiteY52" fmla="*/ 67532 h 525779"/>
                  <a:gd name="connsiteX53" fmla="*/ 802958 w 1126807"/>
                  <a:gd name="connsiteY53" fmla="*/ 49530 h 525779"/>
                  <a:gd name="connsiteX54" fmla="*/ 841058 w 1126807"/>
                  <a:gd name="connsiteY54" fmla="*/ 38957 h 525779"/>
                  <a:gd name="connsiteX55" fmla="*/ 844868 w 1126807"/>
                  <a:gd name="connsiteY55" fmla="*/ 56102 h 525779"/>
                  <a:gd name="connsiteX56" fmla="*/ 876300 w 1126807"/>
                  <a:gd name="connsiteY56" fmla="*/ 78105 h 525779"/>
                  <a:gd name="connsiteX57" fmla="*/ 897255 w 1126807"/>
                  <a:gd name="connsiteY57" fmla="*/ 105632 h 525779"/>
                  <a:gd name="connsiteX58" fmla="*/ 922020 w 1126807"/>
                  <a:gd name="connsiteY58" fmla="*/ 148495 h 525779"/>
                  <a:gd name="connsiteX59" fmla="*/ 929640 w 1126807"/>
                  <a:gd name="connsiteY59" fmla="*/ 162782 h 525779"/>
                  <a:gd name="connsiteX60" fmla="*/ 943928 w 1126807"/>
                  <a:gd name="connsiteY60" fmla="*/ 162782 h 525779"/>
                  <a:gd name="connsiteX61" fmla="*/ 950595 w 1126807"/>
                  <a:gd name="connsiteY61" fmla="*/ 148495 h 525779"/>
                  <a:gd name="connsiteX62" fmla="*/ 967740 w 1126807"/>
                  <a:gd name="connsiteY62" fmla="*/ 159067 h 525779"/>
                  <a:gd name="connsiteX63" fmla="*/ 989648 w 1126807"/>
                  <a:gd name="connsiteY63" fmla="*/ 169545 h 525779"/>
                  <a:gd name="connsiteX64" fmla="*/ 1006793 w 1126807"/>
                  <a:gd name="connsiteY64" fmla="*/ 165640 h 525779"/>
                  <a:gd name="connsiteX65" fmla="*/ 1038225 w 1126807"/>
                  <a:gd name="connsiteY65" fmla="*/ 162782 h 525779"/>
                  <a:gd name="connsiteX66" fmla="*/ 1056323 w 1126807"/>
                  <a:gd name="connsiteY66" fmla="*/ 186595 h 525779"/>
                  <a:gd name="connsiteX67" fmla="*/ 1081088 w 1126807"/>
                  <a:gd name="connsiteY67" fmla="*/ 204788 h 525779"/>
                  <a:gd name="connsiteX68" fmla="*/ 1119188 w 1126807"/>
                  <a:gd name="connsiteY68" fmla="*/ 208502 h 525779"/>
                  <a:gd name="connsiteX69" fmla="*/ 1126808 w 1126807"/>
                  <a:gd name="connsiteY69" fmla="*/ 233363 h 525779"/>
                  <a:gd name="connsiteX70" fmla="*/ 1122998 w 1126807"/>
                  <a:gd name="connsiteY70" fmla="*/ 250507 h 525779"/>
                  <a:gd name="connsiteX71" fmla="*/ 1102043 w 1126807"/>
                  <a:gd name="connsiteY71" fmla="*/ 250507 h 525779"/>
                  <a:gd name="connsiteX72" fmla="*/ 1095375 w 1126807"/>
                  <a:gd name="connsiteY72" fmla="*/ 275177 h 525779"/>
                  <a:gd name="connsiteX73" fmla="*/ 1095375 w 1126807"/>
                  <a:gd name="connsiteY73" fmla="*/ 300038 h 525779"/>
                  <a:gd name="connsiteX74" fmla="*/ 1077278 w 1126807"/>
                  <a:gd name="connsiteY74" fmla="*/ 303752 h 525779"/>
                  <a:gd name="connsiteX75" fmla="*/ 1048703 w 1126807"/>
                  <a:gd name="connsiteY75" fmla="*/ 303752 h 525779"/>
                  <a:gd name="connsiteX76" fmla="*/ 1021080 w 1126807"/>
                  <a:gd name="connsiteY76" fmla="*/ 300038 h 525779"/>
                  <a:gd name="connsiteX77" fmla="*/ 1002983 w 1126807"/>
                  <a:gd name="connsiteY77" fmla="*/ 341852 h 525779"/>
                  <a:gd name="connsiteX78" fmla="*/ 996315 w 1126807"/>
                  <a:gd name="connsiteY78" fmla="*/ 366713 h 525779"/>
                  <a:gd name="connsiteX79" fmla="*/ 964883 w 1126807"/>
                  <a:gd name="connsiteY79" fmla="*/ 366713 h 525779"/>
                  <a:gd name="connsiteX80" fmla="*/ 943928 w 1126807"/>
                  <a:gd name="connsiteY80" fmla="*/ 377095 h 525779"/>
                  <a:gd name="connsiteX81" fmla="*/ 946785 w 1126807"/>
                  <a:gd name="connsiteY81" fmla="*/ 409575 h 525779"/>
                  <a:gd name="connsiteX82" fmla="*/ 957263 w 1126807"/>
                  <a:gd name="connsiteY82" fmla="*/ 437102 h 525779"/>
                  <a:gd name="connsiteX83" fmla="*/ 943928 w 1126807"/>
                  <a:gd name="connsiteY83" fmla="*/ 451390 h 525779"/>
                  <a:gd name="connsiteX84" fmla="*/ 943928 w 1126807"/>
                  <a:gd name="connsiteY84" fmla="*/ 469582 h 525779"/>
                  <a:gd name="connsiteX85" fmla="*/ 925830 w 1126807"/>
                  <a:gd name="connsiteY85" fmla="*/ 461963 h 525779"/>
                  <a:gd name="connsiteX86" fmla="*/ 911543 w 1126807"/>
                  <a:gd name="connsiteY86" fmla="*/ 459105 h 525779"/>
                  <a:gd name="connsiteX87" fmla="*/ 901065 w 1126807"/>
                  <a:gd name="connsiteY87" fmla="*/ 447675 h 525779"/>
                  <a:gd name="connsiteX88" fmla="*/ 795338 w 1126807"/>
                  <a:gd name="connsiteY88" fmla="*/ 451390 h 525779"/>
                  <a:gd name="connsiteX89" fmla="*/ 792480 w 1126807"/>
                  <a:gd name="connsiteY89" fmla="*/ 437102 h 525779"/>
                  <a:gd name="connsiteX90" fmla="*/ 770573 w 1126807"/>
                  <a:gd name="connsiteY90" fmla="*/ 434245 h 525779"/>
                  <a:gd name="connsiteX91" fmla="*/ 757238 w 1126807"/>
                  <a:gd name="connsiteY91" fmla="*/ 441007 h 525779"/>
                  <a:gd name="connsiteX92" fmla="*/ 753428 w 1126807"/>
                  <a:gd name="connsiteY92" fmla="*/ 451390 h 525779"/>
                  <a:gd name="connsiteX93" fmla="*/ 721995 w 1126807"/>
                  <a:gd name="connsiteY93" fmla="*/ 455295 h 525779"/>
                  <a:gd name="connsiteX94" fmla="*/ 714375 w 1126807"/>
                  <a:gd name="connsiteY94" fmla="*/ 447675 h 525779"/>
                  <a:gd name="connsiteX95" fmla="*/ 693420 w 1126807"/>
                  <a:gd name="connsiteY95" fmla="*/ 447675 h 525779"/>
                  <a:gd name="connsiteX96" fmla="*/ 676275 w 1126807"/>
                  <a:gd name="connsiteY96" fmla="*/ 469582 h 525779"/>
                  <a:gd name="connsiteX97" fmla="*/ 661988 w 1126807"/>
                  <a:gd name="connsiteY97" fmla="*/ 476250 h 525779"/>
                  <a:gd name="connsiteX98" fmla="*/ 619125 w 1126807"/>
                  <a:gd name="connsiteY98" fmla="*/ 507682 h 525779"/>
                  <a:gd name="connsiteX99" fmla="*/ 616268 w 1126807"/>
                  <a:gd name="connsiteY99" fmla="*/ 525780 h 525779"/>
                  <a:gd name="connsiteX100" fmla="*/ 601980 w 1126807"/>
                  <a:gd name="connsiteY100" fmla="*/ 525780 h 525779"/>
                  <a:gd name="connsiteX101" fmla="*/ 601980 w 1126807"/>
                  <a:gd name="connsiteY101" fmla="*/ 507682 h 525779"/>
                  <a:gd name="connsiteX102" fmla="*/ 594360 w 1126807"/>
                  <a:gd name="connsiteY102" fmla="*/ 504825 h 525779"/>
                  <a:gd name="connsiteX103" fmla="*/ 562928 w 1126807"/>
                  <a:gd name="connsiteY103" fmla="*/ 507682 h 525779"/>
                  <a:gd name="connsiteX104" fmla="*/ 560070 w 1126807"/>
                  <a:gd name="connsiteY104" fmla="*/ 479965 h 525779"/>
                  <a:gd name="connsiteX105" fmla="*/ 541973 w 1126807"/>
                  <a:gd name="connsiteY105" fmla="*/ 465677 h 525779"/>
                  <a:gd name="connsiteX106" fmla="*/ 541973 w 1126807"/>
                  <a:gd name="connsiteY106" fmla="*/ 451390 h 525779"/>
                  <a:gd name="connsiteX107" fmla="*/ 510540 w 1126807"/>
                  <a:gd name="connsiteY107" fmla="*/ 419957 h 525779"/>
                  <a:gd name="connsiteX108" fmla="*/ 496253 w 1126807"/>
                  <a:gd name="connsiteY108" fmla="*/ 422815 h 525779"/>
                  <a:gd name="connsiteX109" fmla="*/ 429578 w 1126807"/>
                  <a:gd name="connsiteY109" fmla="*/ 426720 h 525779"/>
                  <a:gd name="connsiteX110" fmla="*/ 404813 w 1126807"/>
                  <a:gd name="connsiteY110" fmla="*/ 395288 h 525779"/>
                  <a:gd name="connsiteX111" fmla="*/ 359093 w 1126807"/>
                  <a:gd name="connsiteY111" fmla="*/ 370427 h 525779"/>
                  <a:gd name="connsiteX112" fmla="*/ 344805 w 1126807"/>
                  <a:gd name="connsiteY112" fmla="*/ 360045 h 525779"/>
                  <a:gd name="connsiteX113" fmla="*/ 295275 w 1126807"/>
                  <a:gd name="connsiteY113" fmla="*/ 366713 h 525779"/>
                  <a:gd name="connsiteX114" fmla="*/ 263843 w 1126807"/>
                  <a:gd name="connsiteY114" fmla="*/ 374332 h 525779"/>
                  <a:gd name="connsiteX115" fmla="*/ 263843 w 1126807"/>
                  <a:gd name="connsiteY115" fmla="*/ 504825 h 525779"/>
                  <a:gd name="connsiteX116" fmla="*/ 245745 w 1126807"/>
                  <a:gd name="connsiteY116" fmla="*/ 500920 h 525779"/>
                  <a:gd name="connsiteX117" fmla="*/ 232410 w 1126807"/>
                  <a:gd name="connsiteY117" fmla="*/ 476250 h 525779"/>
                  <a:gd name="connsiteX118" fmla="*/ 210503 w 1126807"/>
                  <a:gd name="connsiteY118" fmla="*/ 461963 h 525779"/>
                  <a:gd name="connsiteX119" fmla="*/ 200025 w 1126807"/>
                  <a:gd name="connsiteY119" fmla="*/ 465677 h 525779"/>
                  <a:gd name="connsiteX120" fmla="*/ 189548 w 1126807"/>
                  <a:gd name="connsiteY120" fmla="*/ 461963 h 525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1126807" h="525779">
                    <a:moveTo>
                      <a:pt x="189548" y="461963"/>
                    </a:moveTo>
                    <a:lnTo>
                      <a:pt x="164783" y="459105"/>
                    </a:lnTo>
                    <a:lnTo>
                      <a:pt x="137160" y="437102"/>
                    </a:lnTo>
                    <a:lnTo>
                      <a:pt x="116205" y="412432"/>
                    </a:lnTo>
                    <a:lnTo>
                      <a:pt x="101918" y="395288"/>
                    </a:lnTo>
                    <a:lnTo>
                      <a:pt x="112395" y="387667"/>
                    </a:lnTo>
                    <a:lnTo>
                      <a:pt x="137160" y="391382"/>
                    </a:lnTo>
                    <a:lnTo>
                      <a:pt x="133350" y="370427"/>
                    </a:lnTo>
                    <a:lnTo>
                      <a:pt x="143828" y="363855"/>
                    </a:lnTo>
                    <a:lnTo>
                      <a:pt x="164783" y="366713"/>
                    </a:lnTo>
                    <a:lnTo>
                      <a:pt x="182880" y="370427"/>
                    </a:lnTo>
                    <a:lnTo>
                      <a:pt x="189548" y="345757"/>
                    </a:lnTo>
                    <a:lnTo>
                      <a:pt x="176213" y="310420"/>
                    </a:lnTo>
                    <a:lnTo>
                      <a:pt x="143828" y="310420"/>
                    </a:lnTo>
                    <a:lnTo>
                      <a:pt x="112395" y="314325"/>
                    </a:lnTo>
                    <a:lnTo>
                      <a:pt x="70485" y="331470"/>
                    </a:lnTo>
                    <a:lnTo>
                      <a:pt x="62865" y="306705"/>
                    </a:lnTo>
                    <a:lnTo>
                      <a:pt x="41910" y="279082"/>
                    </a:lnTo>
                    <a:lnTo>
                      <a:pt x="17145" y="271463"/>
                    </a:lnTo>
                    <a:lnTo>
                      <a:pt x="0" y="246602"/>
                    </a:lnTo>
                    <a:lnTo>
                      <a:pt x="10478" y="204788"/>
                    </a:lnTo>
                    <a:lnTo>
                      <a:pt x="31433" y="179927"/>
                    </a:lnTo>
                    <a:lnTo>
                      <a:pt x="45720" y="208502"/>
                    </a:lnTo>
                    <a:lnTo>
                      <a:pt x="59055" y="200882"/>
                    </a:lnTo>
                    <a:lnTo>
                      <a:pt x="62865" y="179927"/>
                    </a:lnTo>
                    <a:lnTo>
                      <a:pt x="105728" y="148495"/>
                    </a:lnTo>
                    <a:lnTo>
                      <a:pt x="133350" y="138113"/>
                    </a:lnTo>
                    <a:lnTo>
                      <a:pt x="197168" y="148495"/>
                    </a:lnTo>
                    <a:lnTo>
                      <a:pt x="239078" y="173355"/>
                    </a:lnTo>
                    <a:lnTo>
                      <a:pt x="263843" y="176213"/>
                    </a:lnTo>
                    <a:lnTo>
                      <a:pt x="302895" y="159067"/>
                    </a:lnTo>
                    <a:lnTo>
                      <a:pt x="334328" y="159067"/>
                    </a:lnTo>
                    <a:lnTo>
                      <a:pt x="351473" y="176213"/>
                    </a:lnTo>
                    <a:lnTo>
                      <a:pt x="397193" y="173355"/>
                    </a:lnTo>
                    <a:lnTo>
                      <a:pt x="419100" y="155257"/>
                    </a:lnTo>
                    <a:lnTo>
                      <a:pt x="401003" y="140970"/>
                    </a:lnTo>
                    <a:lnTo>
                      <a:pt x="376238" y="134207"/>
                    </a:lnTo>
                    <a:lnTo>
                      <a:pt x="386715" y="119920"/>
                    </a:lnTo>
                    <a:lnTo>
                      <a:pt x="397193" y="109538"/>
                    </a:lnTo>
                    <a:lnTo>
                      <a:pt x="401003" y="91345"/>
                    </a:lnTo>
                    <a:lnTo>
                      <a:pt x="421958" y="84677"/>
                    </a:lnTo>
                    <a:lnTo>
                      <a:pt x="415290" y="70390"/>
                    </a:lnTo>
                    <a:lnTo>
                      <a:pt x="408623" y="53245"/>
                    </a:lnTo>
                    <a:lnTo>
                      <a:pt x="446723" y="49530"/>
                    </a:lnTo>
                    <a:lnTo>
                      <a:pt x="492443" y="35242"/>
                    </a:lnTo>
                    <a:lnTo>
                      <a:pt x="556260" y="18002"/>
                    </a:lnTo>
                    <a:lnTo>
                      <a:pt x="608648" y="7620"/>
                    </a:lnTo>
                    <a:lnTo>
                      <a:pt x="641033" y="0"/>
                    </a:lnTo>
                    <a:lnTo>
                      <a:pt x="676275" y="3715"/>
                    </a:lnTo>
                    <a:lnTo>
                      <a:pt x="682943" y="28575"/>
                    </a:lnTo>
                    <a:lnTo>
                      <a:pt x="700088" y="38957"/>
                    </a:lnTo>
                    <a:lnTo>
                      <a:pt x="735330" y="49530"/>
                    </a:lnTo>
                    <a:lnTo>
                      <a:pt x="770573" y="67532"/>
                    </a:lnTo>
                    <a:lnTo>
                      <a:pt x="802958" y="49530"/>
                    </a:lnTo>
                    <a:lnTo>
                      <a:pt x="841058" y="38957"/>
                    </a:lnTo>
                    <a:lnTo>
                      <a:pt x="844868" y="56102"/>
                    </a:lnTo>
                    <a:lnTo>
                      <a:pt x="876300" y="78105"/>
                    </a:lnTo>
                    <a:lnTo>
                      <a:pt x="897255" y="105632"/>
                    </a:lnTo>
                    <a:lnTo>
                      <a:pt x="922020" y="148495"/>
                    </a:lnTo>
                    <a:lnTo>
                      <a:pt x="929640" y="162782"/>
                    </a:lnTo>
                    <a:lnTo>
                      <a:pt x="943928" y="162782"/>
                    </a:lnTo>
                    <a:lnTo>
                      <a:pt x="950595" y="148495"/>
                    </a:lnTo>
                    <a:lnTo>
                      <a:pt x="967740" y="159067"/>
                    </a:lnTo>
                    <a:lnTo>
                      <a:pt x="989648" y="169545"/>
                    </a:lnTo>
                    <a:lnTo>
                      <a:pt x="1006793" y="165640"/>
                    </a:lnTo>
                    <a:lnTo>
                      <a:pt x="1038225" y="162782"/>
                    </a:lnTo>
                    <a:lnTo>
                      <a:pt x="1056323" y="186595"/>
                    </a:lnTo>
                    <a:lnTo>
                      <a:pt x="1081088" y="204788"/>
                    </a:lnTo>
                    <a:lnTo>
                      <a:pt x="1119188" y="208502"/>
                    </a:lnTo>
                    <a:lnTo>
                      <a:pt x="1126808" y="233363"/>
                    </a:lnTo>
                    <a:lnTo>
                      <a:pt x="1122998" y="250507"/>
                    </a:lnTo>
                    <a:lnTo>
                      <a:pt x="1102043" y="250507"/>
                    </a:lnTo>
                    <a:lnTo>
                      <a:pt x="1095375" y="275177"/>
                    </a:lnTo>
                    <a:lnTo>
                      <a:pt x="1095375" y="300038"/>
                    </a:lnTo>
                    <a:lnTo>
                      <a:pt x="1077278" y="303752"/>
                    </a:lnTo>
                    <a:lnTo>
                      <a:pt x="1048703" y="303752"/>
                    </a:lnTo>
                    <a:lnTo>
                      <a:pt x="1021080" y="300038"/>
                    </a:lnTo>
                    <a:lnTo>
                      <a:pt x="1002983" y="341852"/>
                    </a:lnTo>
                    <a:lnTo>
                      <a:pt x="996315" y="366713"/>
                    </a:lnTo>
                    <a:lnTo>
                      <a:pt x="964883" y="366713"/>
                    </a:lnTo>
                    <a:lnTo>
                      <a:pt x="943928" y="377095"/>
                    </a:lnTo>
                    <a:lnTo>
                      <a:pt x="946785" y="409575"/>
                    </a:lnTo>
                    <a:lnTo>
                      <a:pt x="957263" y="437102"/>
                    </a:lnTo>
                    <a:lnTo>
                      <a:pt x="943928" y="451390"/>
                    </a:lnTo>
                    <a:lnTo>
                      <a:pt x="943928" y="469582"/>
                    </a:lnTo>
                    <a:lnTo>
                      <a:pt x="925830" y="461963"/>
                    </a:lnTo>
                    <a:lnTo>
                      <a:pt x="911543" y="459105"/>
                    </a:lnTo>
                    <a:lnTo>
                      <a:pt x="901065" y="447675"/>
                    </a:lnTo>
                    <a:lnTo>
                      <a:pt x="795338" y="451390"/>
                    </a:lnTo>
                    <a:lnTo>
                      <a:pt x="792480" y="437102"/>
                    </a:lnTo>
                    <a:lnTo>
                      <a:pt x="770573" y="434245"/>
                    </a:lnTo>
                    <a:lnTo>
                      <a:pt x="757238" y="441007"/>
                    </a:lnTo>
                    <a:lnTo>
                      <a:pt x="753428" y="451390"/>
                    </a:lnTo>
                    <a:lnTo>
                      <a:pt x="721995" y="455295"/>
                    </a:lnTo>
                    <a:lnTo>
                      <a:pt x="714375" y="447675"/>
                    </a:lnTo>
                    <a:lnTo>
                      <a:pt x="693420" y="447675"/>
                    </a:lnTo>
                    <a:lnTo>
                      <a:pt x="676275" y="469582"/>
                    </a:lnTo>
                    <a:lnTo>
                      <a:pt x="661988" y="476250"/>
                    </a:lnTo>
                    <a:lnTo>
                      <a:pt x="619125" y="507682"/>
                    </a:lnTo>
                    <a:lnTo>
                      <a:pt x="616268" y="525780"/>
                    </a:lnTo>
                    <a:lnTo>
                      <a:pt x="601980" y="525780"/>
                    </a:lnTo>
                    <a:lnTo>
                      <a:pt x="601980" y="507682"/>
                    </a:lnTo>
                    <a:lnTo>
                      <a:pt x="594360" y="504825"/>
                    </a:lnTo>
                    <a:lnTo>
                      <a:pt x="562928" y="507682"/>
                    </a:lnTo>
                    <a:lnTo>
                      <a:pt x="560070" y="479965"/>
                    </a:lnTo>
                    <a:lnTo>
                      <a:pt x="541973" y="465677"/>
                    </a:lnTo>
                    <a:lnTo>
                      <a:pt x="541973" y="451390"/>
                    </a:lnTo>
                    <a:lnTo>
                      <a:pt x="510540" y="419957"/>
                    </a:lnTo>
                    <a:lnTo>
                      <a:pt x="496253" y="422815"/>
                    </a:lnTo>
                    <a:lnTo>
                      <a:pt x="429578" y="426720"/>
                    </a:lnTo>
                    <a:lnTo>
                      <a:pt x="404813" y="395288"/>
                    </a:lnTo>
                    <a:lnTo>
                      <a:pt x="359093" y="370427"/>
                    </a:lnTo>
                    <a:lnTo>
                      <a:pt x="344805" y="360045"/>
                    </a:lnTo>
                    <a:lnTo>
                      <a:pt x="295275" y="366713"/>
                    </a:lnTo>
                    <a:lnTo>
                      <a:pt x="263843" y="374332"/>
                    </a:lnTo>
                    <a:lnTo>
                      <a:pt x="263843" y="504825"/>
                    </a:lnTo>
                    <a:lnTo>
                      <a:pt x="245745" y="500920"/>
                    </a:lnTo>
                    <a:lnTo>
                      <a:pt x="232410" y="476250"/>
                    </a:lnTo>
                    <a:lnTo>
                      <a:pt x="210503" y="461963"/>
                    </a:lnTo>
                    <a:lnTo>
                      <a:pt x="200025" y="465677"/>
                    </a:lnTo>
                    <a:lnTo>
                      <a:pt x="189548" y="46196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8929AA18-126E-B19D-A958-3D784BAE057A}"/>
                  </a:ext>
                </a:extLst>
              </p:cNvPr>
              <p:cNvSpPr/>
              <p:nvPr/>
            </p:nvSpPr>
            <p:spPr>
              <a:xfrm>
                <a:off x="9881880" y="2888231"/>
                <a:ext cx="72830" cy="300568"/>
              </a:xfrm>
              <a:custGeom>
                <a:avLst/>
                <a:gdLst>
                  <a:gd name="connsiteX0" fmla="*/ 0 w 74294"/>
                  <a:gd name="connsiteY0" fmla="*/ 293370 h 306609"/>
                  <a:gd name="connsiteX1" fmla="*/ 10477 w 74294"/>
                  <a:gd name="connsiteY1" fmla="*/ 306610 h 306609"/>
                  <a:gd name="connsiteX2" fmla="*/ 18097 w 74294"/>
                  <a:gd name="connsiteY2" fmla="*/ 281940 h 306609"/>
                  <a:gd name="connsiteX3" fmla="*/ 31432 w 74294"/>
                  <a:gd name="connsiteY3" fmla="*/ 285750 h 306609"/>
                  <a:gd name="connsiteX4" fmla="*/ 42863 w 74294"/>
                  <a:gd name="connsiteY4" fmla="*/ 300038 h 306609"/>
                  <a:gd name="connsiteX5" fmla="*/ 45720 w 74294"/>
                  <a:gd name="connsiteY5" fmla="*/ 285750 h 306609"/>
                  <a:gd name="connsiteX6" fmla="*/ 39052 w 74294"/>
                  <a:gd name="connsiteY6" fmla="*/ 271463 h 306609"/>
                  <a:gd name="connsiteX7" fmla="*/ 24765 w 74294"/>
                  <a:gd name="connsiteY7" fmla="*/ 254222 h 306609"/>
                  <a:gd name="connsiteX8" fmla="*/ 18097 w 74294"/>
                  <a:gd name="connsiteY8" fmla="*/ 236220 h 306609"/>
                  <a:gd name="connsiteX9" fmla="*/ 24765 w 74294"/>
                  <a:gd name="connsiteY9" fmla="*/ 221933 h 306609"/>
                  <a:gd name="connsiteX10" fmla="*/ 31432 w 74294"/>
                  <a:gd name="connsiteY10" fmla="*/ 200977 h 306609"/>
                  <a:gd name="connsiteX11" fmla="*/ 39052 w 74294"/>
                  <a:gd name="connsiteY11" fmla="*/ 190500 h 306609"/>
                  <a:gd name="connsiteX12" fmla="*/ 53340 w 74294"/>
                  <a:gd name="connsiteY12" fmla="*/ 186690 h 306609"/>
                  <a:gd name="connsiteX13" fmla="*/ 74295 w 74294"/>
                  <a:gd name="connsiteY13" fmla="*/ 204788 h 306609"/>
                  <a:gd name="connsiteX14" fmla="*/ 74295 w 74294"/>
                  <a:gd name="connsiteY14" fmla="*/ 183833 h 306609"/>
                  <a:gd name="connsiteX15" fmla="*/ 56197 w 74294"/>
                  <a:gd name="connsiteY15" fmla="*/ 155258 h 306609"/>
                  <a:gd name="connsiteX16" fmla="*/ 49530 w 74294"/>
                  <a:gd name="connsiteY16" fmla="*/ 109538 h 306609"/>
                  <a:gd name="connsiteX17" fmla="*/ 42863 w 74294"/>
                  <a:gd name="connsiteY17" fmla="*/ 74295 h 306609"/>
                  <a:gd name="connsiteX18" fmla="*/ 39052 w 74294"/>
                  <a:gd name="connsiteY18" fmla="*/ 45720 h 306609"/>
                  <a:gd name="connsiteX19" fmla="*/ 35243 w 74294"/>
                  <a:gd name="connsiteY19" fmla="*/ 20860 h 306609"/>
                  <a:gd name="connsiteX20" fmla="*/ 28575 w 74294"/>
                  <a:gd name="connsiteY20" fmla="*/ 0 h 306609"/>
                  <a:gd name="connsiteX21" fmla="*/ 20955 w 74294"/>
                  <a:gd name="connsiteY21" fmla="*/ 10477 h 306609"/>
                  <a:gd name="connsiteX22" fmla="*/ 20955 w 74294"/>
                  <a:gd name="connsiteY22" fmla="*/ 28575 h 306609"/>
                  <a:gd name="connsiteX23" fmla="*/ 3810 w 74294"/>
                  <a:gd name="connsiteY23" fmla="*/ 35147 h 306609"/>
                  <a:gd name="connsiteX24" fmla="*/ 3810 w 74294"/>
                  <a:gd name="connsiteY24" fmla="*/ 63722 h 306609"/>
                  <a:gd name="connsiteX25" fmla="*/ 3810 w 74294"/>
                  <a:gd name="connsiteY25" fmla="*/ 88583 h 306609"/>
                  <a:gd name="connsiteX26" fmla="*/ 3810 w 74294"/>
                  <a:gd name="connsiteY26" fmla="*/ 109538 h 306609"/>
                  <a:gd name="connsiteX27" fmla="*/ 14288 w 74294"/>
                  <a:gd name="connsiteY27" fmla="*/ 123825 h 306609"/>
                  <a:gd name="connsiteX28" fmla="*/ 10477 w 74294"/>
                  <a:gd name="connsiteY28" fmla="*/ 144685 h 306609"/>
                  <a:gd name="connsiteX29" fmla="*/ 10477 w 74294"/>
                  <a:gd name="connsiteY29" fmla="*/ 179927 h 306609"/>
                  <a:gd name="connsiteX30" fmla="*/ 10477 w 74294"/>
                  <a:gd name="connsiteY30" fmla="*/ 221933 h 306609"/>
                  <a:gd name="connsiteX31" fmla="*/ 10477 w 74294"/>
                  <a:gd name="connsiteY31" fmla="*/ 258127 h 306609"/>
                  <a:gd name="connsiteX32" fmla="*/ 10477 w 74294"/>
                  <a:gd name="connsiteY32" fmla="*/ 279083 h 306609"/>
                  <a:gd name="connsiteX33" fmla="*/ 0 w 74294"/>
                  <a:gd name="connsiteY33" fmla="*/ 293370 h 306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4294" h="306609">
                    <a:moveTo>
                      <a:pt x="0" y="293370"/>
                    </a:moveTo>
                    <a:lnTo>
                      <a:pt x="10477" y="306610"/>
                    </a:lnTo>
                    <a:lnTo>
                      <a:pt x="18097" y="281940"/>
                    </a:lnTo>
                    <a:lnTo>
                      <a:pt x="31432" y="285750"/>
                    </a:lnTo>
                    <a:lnTo>
                      <a:pt x="42863" y="300038"/>
                    </a:lnTo>
                    <a:lnTo>
                      <a:pt x="45720" y="285750"/>
                    </a:lnTo>
                    <a:lnTo>
                      <a:pt x="39052" y="271463"/>
                    </a:lnTo>
                    <a:lnTo>
                      <a:pt x="24765" y="254222"/>
                    </a:lnTo>
                    <a:lnTo>
                      <a:pt x="18097" y="236220"/>
                    </a:lnTo>
                    <a:lnTo>
                      <a:pt x="24765" y="221933"/>
                    </a:lnTo>
                    <a:lnTo>
                      <a:pt x="31432" y="200977"/>
                    </a:lnTo>
                    <a:lnTo>
                      <a:pt x="39052" y="190500"/>
                    </a:lnTo>
                    <a:lnTo>
                      <a:pt x="53340" y="186690"/>
                    </a:lnTo>
                    <a:lnTo>
                      <a:pt x="74295" y="204788"/>
                    </a:lnTo>
                    <a:lnTo>
                      <a:pt x="74295" y="183833"/>
                    </a:lnTo>
                    <a:lnTo>
                      <a:pt x="56197" y="155258"/>
                    </a:lnTo>
                    <a:lnTo>
                      <a:pt x="49530" y="109538"/>
                    </a:lnTo>
                    <a:lnTo>
                      <a:pt x="42863" y="74295"/>
                    </a:lnTo>
                    <a:lnTo>
                      <a:pt x="39052" y="45720"/>
                    </a:lnTo>
                    <a:lnTo>
                      <a:pt x="35243" y="20860"/>
                    </a:lnTo>
                    <a:lnTo>
                      <a:pt x="28575" y="0"/>
                    </a:lnTo>
                    <a:lnTo>
                      <a:pt x="20955" y="10477"/>
                    </a:lnTo>
                    <a:lnTo>
                      <a:pt x="20955" y="28575"/>
                    </a:lnTo>
                    <a:lnTo>
                      <a:pt x="3810" y="35147"/>
                    </a:lnTo>
                    <a:lnTo>
                      <a:pt x="3810" y="63722"/>
                    </a:lnTo>
                    <a:lnTo>
                      <a:pt x="3810" y="88583"/>
                    </a:lnTo>
                    <a:lnTo>
                      <a:pt x="3810" y="109538"/>
                    </a:lnTo>
                    <a:lnTo>
                      <a:pt x="14288" y="123825"/>
                    </a:lnTo>
                    <a:lnTo>
                      <a:pt x="10477" y="144685"/>
                    </a:lnTo>
                    <a:lnTo>
                      <a:pt x="10477" y="179927"/>
                    </a:lnTo>
                    <a:lnTo>
                      <a:pt x="10477" y="221933"/>
                    </a:lnTo>
                    <a:lnTo>
                      <a:pt x="10477" y="258127"/>
                    </a:lnTo>
                    <a:lnTo>
                      <a:pt x="10477" y="279083"/>
                    </a:lnTo>
                    <a:lnTo>
                      <a:pt x="0" y="29337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0F3E5721-DFC1-CBD9-48AF-39786BC39A52}"/>
                  </a:ext>
                </a:extLst>
              </p:cNvPr>
              <p:cNvSpPr/>
              <p:nvPr/>
            </p:nvSpPr>
            <p:spPr>
              <a:xfrm>
                <a:off x="9881880" y="2888231"/>
                <a:ext cx="72830" cy="300568"/>
              </a:xfrm>
              <a:custGeom>
                <a:avLst/>
                <a:gdLst>
                  <a:gd name="connsiteX0" fmla="*/ 0 w 74294"/>
                  <a:gd name="connsiteY0" fmla="*/ 293370 h 306609"/>
                  <a:gd name="connsiteX1" fmla="*/ 10477 w 74294"/>
                  <a:gd name="connsiteY1" fmla="*/ 306610 h 306609"/>
                  <a:gd name="connsiteX2" fmla="*/ 18097 w 74294"/>
                  <a:gd name="connsiteY2" fmla="*/ 281940 h 306609"/>
                  <a:gd name="connsiteX3" fmla="*/ 31432 w 74294"/>
                  <a:gd name="connsiteY3" fmla="*/ 285750 h 306609"/>
                  <a:gd name="connsiteX4" fmla="*/ 42863 w 74294"/>
                  <a:gd name="connsiteY4" fmla="*/ 300038 h 306609"/>
                  <a:gd name="connsiteX5" fmla="*/ 45720 w 74294"/>
                  <a:gd name="connsiteY5" fmla="*/ 285750 h 306609"/>
                  <a:gd name="connsiteX6" fmla="*/ 39052 w 74294"/>
                  <a:gd name="connsiteY6" fmla="*/ 271463 h 306609"/>
                  <a:gd name="connsiteX7" fmla="*/ 24765 w 74294"/>
                  <a:gd name="connsiteY7" fmla="*/ 254222 h 306609"/>
                  <a:gd name="connsiteX8" fmla="*/ 18097 w 74294"/>
                  <a:gd name="connsiteY8" fmla="*/ 236220 h 306609"/>
                  <a:gd name="connsiteX9" fmla="*/ 24765 w 74294"/>
                  <a:gd name="connsiteY9" fmla="*/ 221933 h 306609"/>
                  <a:gd name="connsiteX10" fmla="*/ 31432 w 74294"/>
                  <a:gd name="connsiteY10" fmla="*/ 200977 h 306609"/>
                  <a:gd name="connsiteX11" fmla="*/ 39052 w 74294"/>
                  <a:gd name="connsiteY11" fmla="*/ 190500 h 306609"/>
                  <a:gd name="connsiteX12" fmla="*/ 53340 w 74294"/>
                  <a:gd name="connsiteY12" fmla="*/ 186690 h 306609"/>
                  <a:gd name="connsiteX13" fmla="*/ 74295 w 74294"/>
                  <a:gd name="connsiteY13" fmla="*/ 204788 h 306609"/>
                  <a:gd name="connsiteX14" fmla="*/ 74295 w 74294"/>
                  <a:gd name="connsiteY14" fmla="*/ 183833 h 306609"/>
                  <a:gd name="connsiteX15" fmla="*/ 56197 w 74294"/>
                  <a:gd name="connsiteY15" fmla="*/ 155258 h 306609"/>
                  <a:gd name="connsiteX16" fmla="*/ 49530 w 74294"/>
                  <a:gd name="connsiteY16" fmla="*/ 109538 h 306609"/>
                  <a:gd name="connsiteX17" fmla="*/ 42863 w 74294"/>
                  <a:gd name="connsiteY17" fmla="*/ 74295 h 306609"/>
                  <a:gd name="connsiteX18" fmla="*/ 39052 w 74294"/>
                  <a:gd name="connsiteY18" fmla="*/ 45720 h 306609"/>
                  <a:gd name="connsiteX19" fmla="*/ 35243 w 74294"/>
                  <a:gd name="connsiteY19" fmla="*/ 20860 h 306609"/>
                  <a:gd name="connsiteX20" fmla="*/ 28575 w 74294"/>
                  <a:gd name="connsiteY20" fmla="*/ 0 h 306609"/>
                  <a:gd name="connsiteX21" fmla="*/ 20955 w 74294"/>
                  <a:gd name="connsiteY21" fmla="*/ 10477 h 306609"/>
                  <a:gd name="connsiteX22" fmla="*/ 20955 w 74294"/>
                  <a:gd name="connsiteY22" fmla="*/ 28575 h 306609"/>
                  <a:gd name="connsiteX23" fmla="*/ 3810 w 74294"/>
                  <a:gd name="connsiteY23" fmla="*/ 35147 h 306609"/>
                  <a:gd name="connsiteX24" fmla="*/ 3810 w 74294"/>
                  <a:gd name="connsiteY24" fmla="*/ 63722 h 306609"/>
                  <a:gd name="connsiteX25" fmla="*/ 3810 w 74294"/>
                  <a:gd name="connsiteY25" fmla="*/ 88583 h 306609"/>
                  <a:gd name="connsiteX26" fmla="*/ 3810 w 74294"/>
                  <a:gd name="connsiteY26" fmla="*/ 109538 h 306609"/>
                  <a:gd name="connsiteX27" fmla="*/ 14288 w 74294"/>
                  <a:gd name="connsiteY27" fmla="*/ 123825 h 306609"/>
                  <a:gd name="connsiteX28" fmla="*/ 10477 w 74294"/>
                  <a:gd name="connsiteY28" fmla="*/ 144685 h 306609"/>
                  <a:gd name="connsiteX29" fmla="*/ 10477 w 74294"/>
                  <a:gd name="connsiteY29" fmla="*/ 179927 h 306609"/>
                  <a:gd name="connsiteX30" fmla="*/ 10477 w 74294"/>
                  <a:gd name="connsiteY30" fmla="*/ 221933 h 306609"/>
                  <a:gd name="connsiteX31" fmla="*/ 10477 w 74294"/>
                  <a:gd name="connsiteY31" fmla="*/ 258127 h 306609"/>
                  <a:gd name="connsiteX32" fmla="*/ 10477 w 74294"/>
                  <a:gd name="connsiteY32" fmla="*/ 279083 h 306609"/>
                  <a:gd name="connsiteX33" fmla="*/ 0 w 74294"/>
                  <a:gd name="connsiteY33" fmla="*/ 293370 h 306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4294" h="306609">
                    <a:moveTo>
                      <a:pt x="0" y="293370"/>
                    </a:moveTo>
                    <a:lnTo>
                      <a:pt x="10477" y="306610"/>
                    </a:lnTo>
                    <a:lnTo>
                      <a:pt x="18097" y="281940"/>
                    </a:lnTo>
                    <a:lnTo>
                      <a:pt x="31432" y="285750"/>
                    </a:lnTo>
                    <a:lnTo>
                      <a:pt x="42863" y="300038"/>
                    </a:lnTo>
                    <a:lnTo>
                      <a:pt x="45720" y="285750"/>
                    </a:lnTo>
                    <a:lnTo>
                      <a:pt x="39052" y="271463"/>
                    </a:lnTo>
                    <a:lnTo>
                      <a:pt x="24765" y="254222"/>
                    </a:lnTo>
                    <a:lnTo>
                      <a:pt x="18097" y="236220"/>
                    </a:lnTo>
                    <a:lnTo>
                      <a:pt x="24765" y="221933"/>
                    </a:lnTo>
                    <a:lnTo>
                      <a:pt x="31432" y="200977"/>
                    </a:lnTo>
                    <a:lnTo>
                      <a:pt x="39052" y="190500"/>
                    </a:lnTo>
                    <a:lnTo>
                      <a:pt x="53340" y="186690"/>
                    </a:lnTo>
                    <a:lnTo>
                      <a:pt x="74295" y="204788"/>
                    </a:lnTo>
                    <a:lnTo>
                      <a:pt x="74295" y="183833"/>
                    </a:lnTo>
                    <a:lnTo>
                      <a:pt x="56197" y="155258"/>
                    </a:lnTo>
                    <a:lnTo>
                      <a:pt x="49530" y="109538"/>
                    </a:lnTo>
                    <a:lnTo>
                      <a:pt x="42863" y="74295"/>
                    </a:lnTo>
                    <a:lnTo>
                      <a:pt x="39052" y="45720"/>
                    </a:lnTo>
                    <a:lnTo>
                      <a:pt x="35243" y="20860"/>
                    </a:lnTo>
                    <a:lnTo>
                      <a:pt x="28575" y="0"/>
                    </a:lnTo>
                    <a:lnTo>
                      <a:pt x="20955" y="10477"/>
                    </a:lnTo>
                    <a:lnTo>
                      <a:pt x="20955" y="28575"/>
                    </a:lnTo>
                    <a:lnTo>
                      <a:pt x="3810" y="35147"/>
                    </a:lnTo>
                    <a:lnTo>
                      <a:pt x="3810" y="63722"/>
                    </a:lnTo>
                    <a:lnTo>
                      <a:pt x="3810" y="88583"/>
                    </a:lnTo>
                    <a:lnTo>
                      <a:pt x="3810" y="109538"/>
                    </a:lnTo>
                    <a:lnTo>
                      <a:pt x="14288" y="123825"/>
                    </a:lnTo>
                    <a:lnTo>
                      <a:pt x="10477" y="144685"/>
                    </a:lnTo>
                    <a:lnTo>
                      <a:pt x="10477" y="179927"/>
                    </a:lnTo>
                    <a:lnTo>
                      <a:pt x="10477" y="221933"/>
                    </a:lnTo>
                    <a:lnTo>
                      <a:pt x="10477" y="258127"/>
                    </a:lnTo>
                    <a:lnTo>
                      <a:pt x="10477" y="279083"/>
                    </a:lnTo>
                    <a:lnTo>
                      <a:pt x="0" y="2933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04CA3DF0-AB8B-6A1F-E22A-7CBFAFF3F43D}"/>
                  </a:ext>
                </a:extLst>
              </p:cNvPr>
              <p:cNvSpPr/>
              <p:nvPr/>
            </p:nvSpPr>
            <p:spPr>
              <a:xfrm>
                <a:off x="7223567" y="3393380"/>
                <a:ext cx="42017" cy="34548"/>
              </a:xfrm>
              <a:custGeom>
                <a:avLst/>
                <a:gdLst>
                  <a:gd name="connsiteX0" fmla="*/ 39052 w 42862"/>
                  <a:gd name="connsiteY0" fmla="*/ 35243 h 35242"/>
                  <a:gd name="connsiteX1" fmla="*/ 24765 w 42862"/>
                  <a:gd name="connsiteY1" fmla="*/ 27623 h 35242"/>
                  <a:gd name="connsiteX2" fmla="*/ 14288 w 42862"/>
                  <a:gd name="connsiteY2" fmla="*/ 20955 h 35242"/>
                  <a:gd name="connsiteX3" fmla="*/ 0 w 42862"/>
                  <a:gd name="connsiteY3" fmla="*/ 6668 h 35242"/>
                  <a:gd name="connsiteX4" fmla="*/ 3810 w 42862"/>
                  <a:gd name="connsiteY4" fmla="*/ 0 h 35242"/>
                  <a:gd name="connsiteX5" fmla="*/ 18098 w 42862"/>
                  <a:gd name="connsiteY5" fmla="*/ 0 h 35242"/>
                  <a:gd name="connsiteX6" fmla="*/ 28575 w 42862"/>
                  <a:gd name="connsiteY6" fmla="*/ 6668 h 35242"/>
                  <a:gd name="connsiteX7" fmla="*/ 39052 w 42862"/>
                  <a:gd name="connsiteY7" fmla="*/ 10382 h 35242"/>
                  <a:gd name="connsiteX8" fmla="*/ 42863 w 42862"/>
                  <a:gd name="connsiteY8" fmla="*/ 24670 h 35242"/>
                  <a:gd name="connsiteX9" fmla="*/ 39052 w 42862"/>
                  <a:gd name="connsiteY9" fmla="*/ 3524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862" h="35242">
                    <a:moveTo>
                      <a:pt x="39052" y="35243"/>
                    </a:moveTo>
                    <a:lnTo>
                      <a:pt x="24765" y="27623"/>
                    </a:lnTo>
                    <a:lnTo>
                      <a:pt x="14288" y="20955"/>
                    </a:lnTo>
                    <a:lnTo>
                      <a:pt x="0" y="6668"/>
                    </a:lnTo>
                    <a:lnTo>
                      <a:pt x="3810" y="0"/>
                    </a:lnTo>
                    <a:lnTo>
                      <a:pt x="18098" y="0"/>
                    </a:lnTo>
                    <a:lnTo>
                      <a:pt x="28575" y="6668"/>
                    </a:lnTo>
                    <a:lnTo>
                      <a:pt x="39052" y="10382"/>
                    </a:lnTo>
                    <a:lnTo>
                      <a:pt x="42863" y="24670"/>
                    </a:lnTo>
                    <a:lnTo>
                      <a:pt x="39052" y="3524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F3F8B868-F4A0-7C4F-BED9-5677F0850ACC}"/>
                  </a:ext>
                </a:extLst>
              </p:cNvPr>
              <p:cNvSpPr/>
              <p:nvPr/>
            </p:nvSpPr>
            <p:spPr>
              <a:xfrm>
                <a:off x="7223567" y="3393380"/>
                <a:ext cx="42017" cy="34548"/>
              </a:xfrm>
              <a:custGeom>
                <a:avLst/>
                <a:gdLst>
                  <a:gd name="connsiteX0" fmla="*/ 39052 w 42862"/>
                  <a:gd name="connsiteY0" fmla="*/ 35243 h 35242"/>
                  <a:gd name="connsiteX1" fmla="*/ 24765 w 42862"/>
                  <a:gd name="connsiteY1" fmla="*/ 27623 h 35242"/>
                  <a:gd name="connsiteX2" fmla="*/ 14288 w 42862"/>
                  <a:gd name="connsiteY2" fmla="*/ 20955 h 35242"/>
                  <a:gd name="connsiteX3" fmla="*/ 0 w 42862"/>
                  <a:gd name="connsiteY3" fmla="*/ 6668 h 35242"/>
                  <a:gd name="connsiteX4" fmla="*/ 3810 w 42862"/>
                  <a:gd name="connsiteY4" fmla="*/ 0 h 35242"/>
                  <a:gd name="connsiteX5" fmla="*/ 18098 w 42862"/>
                  <a:gd name="connsiteY5" fmla="*/ 0 h 35242"/>
                  <a:gd name="connsiteX6" fmla="*/ 28575 w 42862"/>
                  <a:gd name="connsiteY6" fmla="*/ 6668 h 35242"/>
                  <a:gd name="connsiteX7" fmla="*/ 39052 w 42862"/>
                  <a:gd name="connsiteY7" fmla="*/ 10382 h 35242"/>
                  <a:gd name="connsiteX8" fmla="*/ 42863 w 42862"/>
                  <a:gd name="connsiteY8" fmla="*/ 24670 h 35242"/>
                  <a:gd name="connsiteX9" fmla="*/ 39052 w 42862"/>
                  <a:gd name="connsiteY9" fmla="*/ 3524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862" h="35242">
                    <a:moveTo>
                      <a:pt x="39052" y="35243"/>
                    </a:moveTo>
                    <a:lnTo>
                      <a:pt x="24765" y="27623"/>
                    </a:lnTo>
                    <a:lnTo>
                      <a:pt x="14288" y="20955"/>
                    </a:lnTo>
                    <a:lnTo>
                      <a:pt x="0" y="6668"/>
                    </a:lnTo>
                    <a:lnTo>
                      <a:pt x="3810" y="0"/>
                    </a:lnTo>
                    <a:lnTo>
                      <a:pt x="18098" y="0"/>
                    </a:lnTo>
                    <a:lnTo>
                      <a:pt x="28575" y="6668"/>
                    </a:lnTo>
                    <a:lnTo>
                      <a:pt x="39052" y="10382"/>
                    </a:lnTo>
                    <a:lnTo>
                      <a:pt x="42863" y="24670"/>
                    </a:lnTo>
                    <a:lnTo>
                      <a:pt x="39052" y="3524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969D026A-E2CC-D2E5-3C8A-78082A8D7DA4}"/>
                  </a:ext>
                </a:extLst>
              </p:cNvPr>
              <p:cNvSpPr/>
              <p:nvPr/>
            </p:nvSpPr>
            <p:spPr>
              <a:xfrm>
                <a:off x="6957456" y="3558557"/>
                <a:ext cx="48554" cy="48647"/>
              </a:xfrm>
              <a:custGeom>
                <a:avLst/>
                <a:gdLst>
                  <a:gd name="connsiteX0" fmla="*/ 28575 w 49530"/>
                  <a:gd name="connsiteY0" fmla="*/ 3905 h 49625"/>
                  <a:gd name="connsiteX1" fmla="*/ 42863 w 49530"/>
                  <a:gd name="connsiteY1" fmla="*/ 0 h 49625"/>
                  <a:gd name="connsiteX2" fmla="*/ 49530 w 49530"/>
                  <a:gd name="connsiteY2" fmla="*/ 7715 h 49625"/>
                  <a:gd name="connsiteX3" fmla="*/ 42863 w 49530"/>
                  <a:gd name="connsiteY3" fmla="*/ 18193 h 49625"/>
                  <a:gd name="connsiteX4" fmla="*/ 32385 w 49530"/>
                  <a:gd name="connsiteY4" fmla="*/ 24765 h 49625"/>
                  <a:gd name="connsiteX5" fmla="*/ 28575 w 49530"/>
                  <a:gd name="connsiteY5" fmla="*/ 36290 h 49625"/>
                  <a:gd name="connsiteX6" fmla="*/ 18098 w 49530"/>
                  <a:gd name="connsiteY6" fmla="*/ 42863 h 49625"/>
                  <a:gd name="connsiteX7" fmla="*/ 11430 w 49530"/>
                  <a:gd name="connsiteY7" fmla="*/ 49625 h 49625"/>
                  <a:gd name="connsiteX8" fmla="*/ 0 w 49530"/>
                  <a:gd name="connsiteY8" fmla="*/ 46768 h 49625"/>
                  <a:gd name="connsiteX9" fmla="*/ 11430 w 49530"/>
                  <a:gd name="connsiteY9" fmla="*/ 32480 h 49625"/>
                  <a:gd name="connsiteX10" fmla="*/ 21907 w 49530"/>
                  <a:gd name="connsiteY10" fmla="*/ 14288 h 49625"/>
                  <a:gd name="connsiteX11" fmla="*/ 28575 w 49530"/>
                  <a:gd name="connsiteY11" fmla="*/ 3905 h 4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9530" h="49625">
                    <a:moveTo>
                      <a:pt x="28575" y="3905"/>
                    </a:moveTo>
                    <a:lnTo>
                      <a:pt x="42863" y="0"/>
                    </a:lnTo>
                    <a:lnTo>
                      <a:pt x="49530" y="7715"/>
                    </a:lnTo>
                    <a:lnTo>
                      <a:pt x="42863" y="18193"/>
                    </a:lnTo>
                    <a:lnTo>
                      <a:pt x="32385" y="24765"/>
                    </a:lnTo>
                    <a:lnTo>
                      <a:pt x="28575" y="36290"/>
                    </a:lnTo>
                    <a:lnTo>
                      <a:pt x="18098" y="42863"/>
                    </a:lnTo>
                    <a:lnTo>
                      <a:pt x="11430" y="49625"/>
                    </a:lnTo>
                    <a:lnTo>
                      <a:pt x="0" y="46768"/>
                    </a:lnTo>
                    <a:lnTo>
                      <a:pt x="11430" y="32480"/>
                    </a:lnTo>
                    <a:lnTo>
                      <a:pt x="21907" y="14288"/>
                    </a:lnTo>
                    <a:lnTo>
                      <a:pt x="28575" y="390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0622555A-9249-07A8-7FBA-843ED60DA501}"/>
                  </a:ext>
                </a:extLst>
              </p:cNvPr>
              <p:cNvSpPr/>
              <p:nvPr/>
            </p:nvSpPr>
            <p:spPr>
              <a:xfrm>
                <a:off x="6957456" y="3558557"/>
                <a:ext cx="48554" cy="48647"/>
              </a:xfrm>
              <a:custGeom>
                <a:avLst/>
                <a:gdLst>
                  <a:gd name="connsiteX0" fmla="*/ 28575 w 49530"/>
                  <a:gd name="connsiteY0" fmla="*/ 3905 h 49625"/>
                  <a:gd name="connsiteX1" fmla="*/ 42863 w 49530"/>
                  <a:gd name="connsiteY1" fmla="*/ 0 h 49625"/>
                  <a:gd name="connsiteX2" fmla="*/ 49530 w 49530"/>
                  <a:gd name="connsiteY2" fmla="*/ 7715 h 49625"/>
                  <a:gd name="connsiteX3" fmla="*/ 42863 w 49530"/>
                  <a:gd name="connsiteY3" fmla="*/ 18193 h 49625"/>
                  <a:gd name="connsiteX4" fmla="*/ 32385 w 49530"/>
                  <a:gd name="connsiteY4" fmla="*/ 24765 h 49625"/>
                  <a:gd name="connsiteX5" fmla="*/ 28575 w 49530"/>
                  <a:gd name="connsiteY5" fmla="*/ 36290 h 49625"/>
                  <a:gd name="connsiteX6" fmla="*/ 18098 w 49530"/>
                  <a:gd name="connsiteY6" fmla="*/ 42863 h 49625"/>
                  <a:gd name="connsiteX7" fmla="*/ 11430 w 49530"/>
                  <a:gd name="connsiteY7" fmla="*/ 49625 h 49625"/>
                  <a:gd name="connsiteX8" fmla="*/ 0 w 49530"/>
                  <a:gd name="connsiteY8" fmla="*/ 46768 h 49625"/>
                  <a:gd name="connsiteX9" fmla="*/ 11430 w 49530"/>
                  <a:gd name="connsiteY9" fmla="*/ 32480 h 49625"/>
                  <a:gd name="connsiteX10" fmla="*/ 21907 w 49530"/>
                  <a:gd name="connsiteY10" fmla="*/ 14288 h 49625"/>
                  <a:gd name="connsiteX11" fmla="*/ 28575 w 49530"/>
                  <a:gd name="connsiteY11" fmla="*/ 3905 h 4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9530" h="49625">
                    <a:moveTo>
                      <a:pt x="28575" y="3905"/>
                    </a:moveTo>
                    <a:lnTo>
                      <a:pt x="42863" y="0"/>
                    </a:lnTo>
                    <a:lnTo>
                      <a:pt x="49530" y="7715"/>
                    </a:lnTo>
                    <a:lnTo>
                      <a:pt x="42863" y="18193"/>
                    </a:lnTo>
                    <a:lnTo>
                      <a:pt x="32385" y="24765"/>
                    </a:lnTo>
                    <a:lnTo>
                      <a:pt x="28575" y="36290"/>
                    </a:lnTo>
                    <a:lnTo>
                      <a:pt x="18098" y="42863"/>
                    </a:lnTo>
                    <a:lnTo>
                      <a:pt x="11430" y="49625"/>
                    </a:lnTo>
                    <a:lnTo>
                      <a:pt x="0" y="46768"/>
                    </a:lnTo>
                    <a:lnTo>
                      <a:pt x="11430" y="32480"/>
                    </a:lnTo>
                    <a:lnTo>
                      <a:pt x="21907" y="14288"/>
                    </a:lnTo>
                    <a:lnTo>
                      <a:pt x="28575" y="39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A46AF30A-5212-97A0-ABB9-070E6ADDD0AE}"/>
                  </a:ext>
                </a:extLst>
              </p:cNvPr>
              <p:cNvSpPr/>
              <p:nvPr/>
            </p:nvSpPr>
            <p:spPr>
              <a:xfrm>
                <a:off x="6968660" y="3479283"/>
                <a:ext cx="185811" cy="149303"/>
              </a:xfrm>
              <a:custGeom>
                <a:avLst/>
                <a:gdLst>
                  <a:gd name="connsiteX0" fmla="*/ 17145 w 189547"/>
                  <a:gd name="connsiteY0" fmla="*/ 84772 h 152304"/>
                  <a:gd name="connsiteX1" fmla="*/ 13335 w 189547"/>
                  <a:gd name="connsiteY1" fmla="*/ 57150 h 152304"/>
                  <a:gd name="connsiteX2" fmla="*/ 13335 w 189547"/>
                  <a:gd name="connsiteY2" fmla="*/ 42863 h 152304"/>
                  <a:gd name="connsiteX3" fmla="*/ 17145 w 189547"/>
                  <a:gd name="connsiteY3" fmla="*/ 35242 h 152304"/>
                  <a:gd name="connsiteX4" fmla="*/ 31432 w 189547"/>
                  <a:gd name="connsiteY4" fmla="*/ 21907 h 152304"/>
                  <a:gd name="connsiteX5" fmla="*/ 35243 w 189547"/>
                  <a:gd name="connsiteY5" fmla="*/ 7620 h 152304"/>
                  <a:gd name="connsiteX6" fmla="*/ 45720 w 189547"/>
                  <a:gd name="connsiteY6" fmla="*/ 14288 h 152304"/>
                  <a:gd name="connsiteX7" fmla="*/ 66675 w 189547"/>
                  <a:gd name="connsiteY7" fmla="*/ 14288 h 152304"/>
                  <a:gd name="connsiteX8" fmla="*/ 70485 w 189547"/>
                  <a:gd name="connsiteY8" fmla="*/ 7620 h 152304"/>
                  <a:gd name="connsiteX9" fmla="*/ 80963 w 189547"/>
                  <a:gd name="connsiteY9" fmla="*/ 7620 h 152304"/>
                  <a:gd name="connsiteX10" fmla="*/ 91440 w 189547"/>
                  <a:gd name="connsiteY10" fmla="*/ 18002 h 152304"/>
                  <a:gd name="connsiteX11" fmla="*/ 122872 w 189547"/>
                  <a:gd name="connsiteY11" fmla="*/ 14288 h 152304"/>
                  <a:gd name="connsiteX12" fmla="*/ 143827 w 189547"/>
                  <a:gd name="connsiteY12" fmla="*/ 0 h 152304"/>
                  <a:gd name="connsiteX13" fmla="*/ 189547 w 189547"/>
                  <a:gd name="connsiteY13" fmla="*/ 0 h 152304"/>
                  <a:gd name="connsiteX14" fmla="*/ 189547 w 189547"/>
                  <a:gd name="connsiteY14" fmla="*/ 7620 h 152304"/>
                  <a:gd name="connsiteX15" fmla="*/ 164782 w 189547"/>
                  <a:gd name="connsiteY15" fmla="*/ 24670 h 152304"/>
                  <a:gd name="connsiteX16" fmla="*/ 158115 w 189547"/>
                  <a:gd name="connsiteY16" fmla="*/ 80867 h 152304"/>
                  <a:gd name="connsiteX17" fmla="*/ 94297 w 189547"/>
                  <a:gd name="connsiteY17" fmla="*/ 119920 h 152304"/>
                  <a:gd name="connsiteX18" fmla="*/ 48577 w 189547"/>
                  <a:gd name="connsiteY18" fmla="*/ 148495 h 152304"/>
                  <a:gd name="connsiteX19" fmla="*/ 35243 w 189547"/>
                  <a:gd name="connsiteY19" fmla="*/ 152305 h 152304"/>
                  <a:gd name="connsiteX20" fmla="*/ 20955 w 189547"/>
                  <a:gd name="connsiteY20" fmla="*/ 144780 h 152304"/>
                  <a:gd name="connsiteX21" fmla="*/ 10477 w 189547"/>
                  <a:gd name="connsiteY21" fmla="*/ 140970 h 152304"/>
                  <a:gd name="connsiteX22" fmla="*/ 2857 w 189547"/>
                  <a:gd name="connsiteY22" fmla="*/ 138017 h 152304"/>
                  <a:gd name="connsiteX23" fmla="*/ 0 w 189547"/>
                  <a:gd name="connsiteY23" fmla="*/ 130492 h 152304"/>
                  <a:gd name="connsiteX24" fmla="*/ 17145 w 189547"/>
                  <a:gd name="connsiteY24" fmla="*/ 117157 h 152304"/>
                  <a:gd name="connsiteX25" fmla="*/ 20955 w 189547"/>
                  <a:gd name="connsiteY25" fmla="*/ 105632 h 152304"/>
                  <a:gd name="connsiteX26" fmla="*/ 31432 w 189547"/>
                  <a:gd name="connsiteY26" fmla="*/ 99060 h 152304"/>
                  <a:gd name="connsiteX27" fmla="*/ 38100 w 189547"/>
                  <a:gd name="connsiteY27" fmla="*/ 88582 h 152304"/>
                  <a:gd name="connsiteX28" fmla="*/ 31432 w 189547"/>
                  <a:gd name="connsiteY28" fmla="*/ 80867 h 152304"/>
                  <a:gd name="connsiteX29" fmla="*/ 17145 w 189547"/>
                  <a:gd name="connsiteY29" fmla="*/ 84772 h 152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89547" h="152304">
                    <a:moveTo>
                      <a:pt x="17145" y="84772"/>
                    </a:moveTo>
                    <a:lnTo>
                      <a:pt x="13335" y="57150"/>
                    </a:lnTo>
                    <a:lnTo>
                      <a:pt x="13335" y="42863"/>
                    </a:lnTo>
                    <a:lnTo>
                      <a:pt x="17145" y="35242"/>
                    </a:lnTo>
                    <a:lnTo>
                      <a:pt x="31432" y="21907"/>
                    </a:lnTo>
                    <a:lnTo>
                      <a:pt x="35243" y="7620"/>
                    </a:lnTo>
                    <a:lnTo>
                      <a:pt x="45720" y="14288"/>
                    </a:lnTo>
                    <a:lnTo>
                      <a:pt x="66675" y="14288"/>
                    </a:lnTo>
                    <a:lnTo>
                      <a:pt x="70485" y="7620"/>
                    </a:lnTo>
                    <a:lnTo>
                      <a:pt x="80963" y="7620"/>
                    </a:lnTo>
                    <a:lnTo>
                      <a:pt x="91440" y="18002"/>
                    </a:lnTo>
                    <a:lnTo>
                      <a:pt x="122872" y="14288"/>
                    </a:lnTo>
                    <a:lnTo>
                      <a:pt x="143827" y="0"/>
                    </a:lnTo>
                    <a:lnTo>
                      <a:pt x="189547" y="0"/>
                    </a:lnTo>
                    <a:lnTo>
                      <a:pt x="189547" y="7620"/>
                    </a:lnTo>
                    <a:lnTo>
                      <a:pt x="164782" y="24670"/>
                    </a:lnTo>
                    <a:lnTo>
                      <a:pt x="158115" y="80867"/>
                    </a:lnTo>
                    <a:lnTo>
                      <a:pt x="94297" y="119920"/>
                    </a:lnTo>
                    <a:lnTo>
                      <a:pt x="48577" y="148495"/>
                    </a:lnTo>
                    <a:lnTo>
                      <a:pt x="35243" y="152305"/>
                    </a:lnTo>
                    <a:lnTo>
                      <a:pt x="20955" y="144780"/>
                    </a:lnTo>
                    <a:lnTo>
                      <a:pt x="10477" y="140970"/>
                    </a:lnTo>
                    <a:lnTo>
                      <a:pt x="2857" y="138017"/>
                    </a:lnTo>
                    <a:lnTo>
                      <a:pt x="0" y="130492"/>
                    </a:lnTo>
                    <a:lnTo>
                      <a:pt x="17145" y="117157"/>
                    </a:lnTo>
                    <a:lnTo>
                      <a:pt x="20955" y="105632"/>
                    </a:lnTo>
                    <a:lnTo>
                      <a:pt x="31432" y="99060"/>
                    </a:lnTo>
                    <a:lnTo>
                      <a:pt x="38100" y="88582"/>
                    </a:lnTo>
                    <a:lnTo>
                      <a:pt x="31432" y="80867"/>
                    </a:lnTo>
                    <a:lnTo>
                      <a:pt x="17145" y="8477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04DA84A8-69B8-7378-AC55-2A3CCC78D416}"/>
                  </a:ext>
                </a:extLst>
              </p:cNvPr>
              <p:cNvSpPr/>
              <p:nvPr/>
            </p:nvSpPr>
            <p:spPr>
              <a:xfrm>
                <a:off x="6968660" y="3479283"/>
                <a:ext cx="185811" cy="149303"/>
              </a:xfrm>
              <a:custGeom>
                <a:avLst/>
                <a:gdLst>
                  <a:gd name="connsiteX0" fmla="*/ 17145 w 189547"/>
                  <a:gd name="connsiteY0" fmla="*/ 84772 h 152304"/>
                  <a:gd name="connsiteX1" fmla="*/ 13335 w 189547"/>
                  <a:gd name="connsiteY1" fmla="*/ 57150 h 152304"/>
                  <a:gd name="connsiteX2" fmla="*/ 13335 w 189547"/>
                  <a:gd name="connsiteY2" fmla="*/ 42863 h 152304"/>
                  <a:gd name="connsiteX3" fmla="*/ 17145 w 189547"/>
                  <a:gd name="connsiteY3" fmla="*/ 35242 h 152304"/>
                  <a:gd name="connsiteX4" fmla="*/ 31432 w 189547"/>
                  <a:gd name="connsiteY4" fmla="*/ 21907 h 152304"/>
                  <a:gd name="connsiteX5" fmla="*/ 35243 w 189547"/>
                  <a:gd name="connsiteY5" fmla="*/ 7620 h 152304"/>
                  <a:gd name="connsiteX6" fmla="*/ 45720 w 189547"/>
                  <a:gd name="connsiteY6" fmla="*/ 14288 h 152304"/>
                  <a:gd name="connsiteX7" fmla="*/ 66675 w 189547"/>
                  <a:gd name="connsiteY7" fmla="*/ 14288 h 152304"/>
                  <a:gd name="connsiteX8" fmla="*/ 70485 w 189547"/>
                  <a:gd name="connsiteY8" fmla="*/ 7620 h 152304"/>
                  <a:gd name="connsiteX9" fmla="*/ 80963 w 189547"/>
                  <a:gd name="connsiteY9" fmla="*/ 7620 h 152304"/>
                  <a:gd name="connsiteX10" fmla="*/ 91440 w 189547"/>
                  <a:gd name="connsiteY10" fmla="*/ 18002 h 152304"/>
                  <a:gd name="connsiteX11" fmla="*/ 122872 w 189547"/>
                  <a:gd name="connsiteY11" fmla="*/ 14288 h 152304"/>
                  <a:gd name="connsiteX12" fmla="*/ 143827 w 189547"/>
                  <a:gd name="connsiteY12" fmla="*/ 0 h 152304"/>
                  <a:gd name="connsiteX13" fmla="*/ 189547 w 189547"/>
                  <a:gd name="connsiteY13" fmla="*/ 0 h 152304"/>
                  <a:gd name="connsiteX14" fmla="*/ 189547 w 189547"/>
                  <a:gd name="connsiteY14" fmla="*/ 7620 h 152304"/>
                  <a:gd name="connsiteX15" fmla="*/ 164782 w 189547"/>
                  <a:gd name="connsiteY15" fmla="*/ 24670 h 152304"/>
                  <a:gd name="connsiteX16" fmla="*/ 158115 w 189547"/>
                  <a:gd name="connsiteY16" fmla="*/ 80867 h 152304"/>
                  <a:gd name="connsiteX17" fmla="*/ 94297 w 189547"/>
                  <a:gd name="connsiteY17" fmla="*/ 119920 h 152304"/>
                  <a:gd name="connsiteX18" fmla="*/ 48577 w 189547"/>
                  <a:gd name="connsiteY18" fmla="*/ 148495 h 152304"/>
                  <a:gd name="connsiteX19" fmla="*/ 35243 w 189547"/>
                  <a:gd name="connsiteY19" fmla="*/ 152305 h 152304"/>
                  <a:gd name="connsiteX20" fmla="*/ 20955 w 189547"/>
                  <a:gd name="connsiteY20" fmla="*/ 144780 h 152304"/>
                  <a:gd name="connsiteX21" fmla="*/ 10477 w 189547"/>
                  <a:gd name="connsiteY21" fmla="*/ 140970 h 152304"/>
                  <a:gd name="connsiteX22" fmla="*/ 2857 w 189547"/>
                  <a:gd name="connsiteY22" fmla="*/ 138017 h 152304"/>
                  <a:gd name="connsiteX23" fmla="*/ 0 w 189547"/>
                  <a:gd name="connsiteY23" fmla="*/ 130492 h 152304"/>
                  <a:gd name="connsiteX24" fmla="*/ 17145 w 189547"/>
                  <a:gd name="connsiteY24" fmla="*/ 117157 h 152304"/>
                  <a:gd name="connsiteX25" fmla="*/ 20955 w 189547"/>
                  <a:gd name="connsiteY25" fmla="*/ 105632 h 152304"/>
                  <a:gd name="connsiteX26" fmla="*/ 31432 w 189547"/>
                  <a:gd name="connsiteY26" fmla="*/ 99060 h 152304"/>
                  <a:gd name="connsiteX27" fmla="*/ 38100 w 189547"/>
                  <a:gd name="connsiteY27" fmla="*/ 88582 h 152304"/>
                  <a:gd name="connsiteX28" fmla="*/ 31432 w 189547"/>
                  <a:gd name="connsiteY28" fmla="*/ 80867 h 152304"/>
                  <a:gd name="connsiteX29" fmla="*/ 17145 w 189547"/>
                  <a:gd name="connsiteY29" fmla="*/ 84772 h 152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89547" h="152304">
                    <a:moveTo>
                      <a:pt x="17145" y="84772"/>
                    </a:moveTo>
                    <a:lnTo>
                      <a:pt x="13335" y="57150"/>
                    </a:lnTo>
                    <a:lnTo>
                      <a:pt x="13335" y="42863"/>
                    </a:lnTo>
                    <a:lnTo>
                      <a:pt x="17145" y="35242"/>
                    </a:lnTo>
                    <a:lnTo>
                      <a:pt x="31432" y="21907"/>
                    </a:lnTo>
                    <a:lnTo>
                      <a:pt x="35243" y="7620"/>
                    </a:lnTo>
                    <a:lnTo>
                      <a:pt x="45720" y="14288"/>
                    </a:lnTo>
                    <a:lnTo>
                      <a:pt x="66675" y="14288"/>
                    </a:lnTo>
                    <a:lnTo>
                      <a:pt x="70485" y="7620"/>
                    </a:lnTo>
                    <a:lnTo>
                      <a:pt x="80963" y="7620"/>
                    </a:lnTo>
                    <a:lnTo>
                      <a:pt x="91440" y="18002"/>
                    </a:lnTo>
                    <a:lnTo>
                      <a:pt x="122872" y="14288"/>
                    </a:lnTo>
                    <a:lnTo>
                      <a:pt x="143827" y="0"/>
                    </a:lnTo>
                    <a:lnTo>
                      <a:pt x="189547" y="0"/>
                    </a:lnTo>
                    <a:lnTo>
                      <a:pt x="189547" y="7620"/>
                    </a:lnTo>
                    <a:lnTo>
                      <a:pt x="164782" y="24670"/>
                    </a:lnTo>
                    <a:lnTo>
                      <a:pt x="158115" y="80867"/>
                    </a:lnTo>
                    <a:lnTo>
                      <a:pt x="94297" y="119920"/>
                    </a:lnTo>
                    <a:lnTo>
                      <a:pt x="48577" y="148495"/>
                    </a:lnTo>
                    <a:lnTo>
                      <a:pt x="35243" y="152305"/>
                    </a:lnTo>
                    <a:lnTo>
                      <a:pt x="20955" y="144780"/>
                    </a:lnTo>
                    <a:lnTo>
                      <a:pt x="10477" y="140970"/>
                    </a:lnTo>
                    <a:lnTo>
                      <a:pt x="2857" y="138017"/>
                    </a:lnTo>
                    <a:lnTo>
                      <a:pt x="0" y="130492"/>
                    </a:lnTo>
                    <a:lnTo>
                      <a:pt x="17145" y="117157"/>
                    </a:lnTo>
                    <a:lnTo>
                      <a:pt x="20955" y="105632"/>
                    </a:lnTo>
                    <a:lnTo>
                      <a:pt x="31432" y="99060"/>
                    </a:lnTo>
                    <a:lnTo>
                      <a:pt x="38100" y="88582"/>
                    </a:lnTo>
                    <a:lnTo>
                      <a:pt x="31432" y="80867"/>
                    </a:lnTo>
                    <a:lnTo>
                      <a:pt x="17145" y="847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ACC8F9EF-0D38-68F2-07C9-CE3FA84A350F}"/>
                  </a:ext>
                </a:extLst>
              </p:cNvPr>
              <p:cNvSpPr/>
              <p:nvPr/>
            </p:nvSpPr>
            <p:spPr>
              <a:xfrm>
                <a:off x="6934112" y="3604403"/>
                <a:ext cx="41084" cy="110180"/>
              </a:xfrm>
              <a:custGeom>
                <a:avLst/>
                <a:gdLst>
                  <a:gd name="connsiteX0" fmla="*/ 27623 w 41910"/>
                  <a:gd name="connsiteY0" fmla="*/ 24670 h 112395"/>
                  <a:gd name="connsiteX1" fmla="*/ 38100 w 41910"/>
                  <a:gd name="connsiteY1" fmla="*/ 24670 h 112395"/>
                  <a:gd name="connsiteX2" fmla="*/ 41910 w 41910"/>
                  <a:gd name="connsiteY2" fmla="*/ 13335 h 112395"/>
                  <a:gd name="connsiteX3" fmla="*/ 38100 w 41910"/>
                  <a:gd name="connsiteY3" fmla="*/ 10382 h 112395"/>
                  <a:gd name="connsiteX4" fmla="*/ 35243 w 41910"/>
                  <a:gd name="connsiteY4" fmla="*/ 2858 h 112395"/>
                  <a:gd name="connsiteX5" fmla="*/ 23813 w 41910"/>
                  <a:gd name="connsiteY5" fmla="*/ 0 h 112395"/>
                  <a:gd name="connsiteX6" fmla="*/ 23813 w 41910"/>
                  <a:gd name="connsiteY6" fmla="*/ 10382 h 112395"/>
                  <a:gd name="connsiteX7" fmla="*/ 20955 w 41910"/>
                  <a:gd name="connsiteY7" fmla="*/ 24670 h 112395"/>
                  <a:gd name="connsiteX8" fmla="*/ 17145 w 41910"/>
                  <a:gd name="connsiteY8" fmla="*/ 35147 h 112395"/>
                  <a:gd name="connsiteX9" fmla="*/ 10477 w 41910"/>
                  <a:gd name="connsiteY9" fmla="*/ 45720 h 112395"/>
                  <a:gd name="connsiteX10" fmla="*/ 6668 w 41910"/>
                  <a:gd name="connsiteY10" fmla="*/ 52388 h 112395"/>
                  <a:gd name="connsiteX11" fmla="*/ 0 w 41910"/>
                  <a:gd name="connsiteY11" fmla="*/ 62770 h 112395"/>
                  <a:gd name="connsiteX12" fmla="*/ 2857 w 41910"/>
                  <a:gd name="connsiteY12" fmla="*/ 70485 h 112395"/>
                  <a:gd name="connsiteX13" fmla="*/ 10477 w 41910"/>
                  <a:gd name="connsiteY13" fmla="*/ 83820 h 112395"/>
                  <a:gd name="connsiteX14" fmla="*/ 17145 w 41910"/>
                  <a:gd name="connsiteY14" fmla="*/ 101822 h 112395"/>
                  <a:gd name="connsiteX15" fmla="*/ 20955 w 41910"/>
                  <a:gd name="connsiteY15" fmla="*/ 112395 h 112395"/>
                  <a:gd name="connsiteX16" fmla="*/ 31432 w 41910"/>
                  <a:gd name="connsiteY16" fmla="*/ 91345 h 112395"/>
                  <a:gd name="connsiteX17" fmla="*/ 35243 w 41910"/>
                  <a:gd name="connsiteY17" fmla="*/ 73247 h 112395"/>
                  <a:gd name="connsiteX18" fmla="*/ 35243 w 41910"/>
                  <a:gd name="connsiteY18" fmla="*/ 52388 h 112395"/>
                  <a:gd name="connsiteX19" fmla="*/ 27623 w 41910"/>
                  <a:gd name="connsiteY19" fmla="*/ 52388 h 112395"/>
                  <a:gd name="connsiteX20" fmla="*/ 23813 w 41910"/>
                  <a:gd name="connsiteY20" fmla="*/ 31433 h 112395"/>
                  <a:gd name="connsiteX21" fmla="*/ 27623 w 41910"/>
                  <a:gd name="connsiteY21" fmla="*/ 24670 h 112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1910" h="112395">
                    <a:moveTo>
                      <a:pt x="27623" y="24670"/>
                    </a:moveTo>
                    <a:lnTo>
                      <a:pt x="38100" y="24670"/>
                    </a:lnTo>
                    <a:lnTo>
                      <a:pt x="41910" y="13335"/>
                    </a:lnTo>
                    <a:lnTo>
                      <a:pt x="38100" y="10382"/>
                    </a:lnTo>
                    <a:lnTo>
                      <a:pt x="35243" y="2858"/>
                    </a:lnTo>
                    <a:lnTo>
                      <a:pt x="23813" y="0"/>
                    </a:lnTo>
                    <a:lnTo>
                      <a:pt x="23813" y="10382"/>
                    </a:lnTo>
                    <a:lnTo>
                      <a:pt x="20955" y="24670"/>
                    </a:lnTo>
                    <a:lnTo>
                      <a:pt x="17145" y="35147"/>
                    </a:lnTo>
                    <a:lnTo>
                      <a:pt x="10477" y="45720"/>
                    </a:lnTo>
                    <a:lnTo>
                      <a:pt x="6668" y="52388"/>
                    </a:lnTo>
                    <a:lnTo>
                      <a:pt x="0" y="62770"/>
                    </a:lnTo>
                    <a:lnTo>
                      <a:pt x="2857" y="70485"/>
                    </a:lnTo>
                    <a:lnTo>
                      <a:pt x="10477" y="83820"/>
                    </a:lnTo>
                    <a:lnTo>
                      <a:pt x="17145" y="101822"/>
                    </a:lnTo>
                    <a:lnTo>
                      <a:pt x="20955" y="112395"/>
                    </a:lnTo>
                    <a:lnTo>
                      <a:pt x="31432" y="91345"/>
                    </a:lnTo>
                    <a:lnTo>
                      <a:pt x="35243" y="73247"/>
                    </a:lnTo>
                    <a:lnTo>
                      <a:pt x="35243" y="52388"/>
                    </a:lnTo>
                    <a:lnTo>
                      <a:pt x="27623" y="52388"/>
                    </a:lnTo>
                    <a:lnTo>
                      <a:pt x="23813" y="31433"/>
                    </a:lnTo>
                    <a:lnTo>
                      <a:pt x="27623" y="2467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60378E52-CE17-D500-D4FF-19D26CD3976A}"/>
                  </a:ext>
                </a:extLst>
              </p:cNvPr>
              <p:cNvSpPr/>
              <p:nvPr/>
            </p:nvSpPr>
            <p:spPr>
              <a:xfrm>
                <a:off x="6934112" y="3604403"/>
                <a:ext cx="41084" cy="110180"/>
              </a:xfrm>
              <a:custGeom>
                <a:avLst/>
                <a:gdLst>
                  <a:gd name="connsiteX0" fmla="*/ 27623 w 41910"/>
                  <a:gd name="connsiteY0" fmla="*/ 24670 h 112395"/>
                  <a:gd name="connsiteX1" fmla="*/ 38100 w 41910"/>
                  <a:gd name="connsiteY1" fmla="*/ 24670 h 112395"/>
                  <a:gd name="connsiteX2" fmla="*/ 41910 w 41910"/>
                  <a:gd name="connsiteY2" fmla="*/ 13335 h 112395"/>
                  <a:gd name="connsiteX3" fmla="*/ 38100 w 41910"/>
                  <a:gd name="connsiteY3" fmla="*/ 10382 h 112395"/>
                  <a:gd name="connsiteX4" fmla="*/ 35243 w 41910"/>
                  <a:gd name="connsiteY4" fmla="*/ 2858 h 112395"/>
                  <a:gd name="connsiteX5" fmla="*/ 23813 w 41910"/>
                  <a:gd name="connsiteY5" fmla="*/ 0 h 112395"/>
                  <a:gd name="connsiteX6" fmla="*/ 23813 w 41910"/>
                  <a:gd name="connsiteY6" fmla="*/ 10382 h 112395"/>
                  <a:gd name="connsiteX7" fmla="*/ 20955 w 41910"/>
                  <a:gd name="connsiteY7" fmla="*/ 24670 h 112395"/>
                  <a:gd name="connsiteX8" fmla="*/ 17145 w 41910"/>
                  <a:gd name="connsiteY8" fmla="*/ 35147 h 112395"/>
                  <a:gd name="connsiteX9" fmla="*/ 10477 w 41910"/>
                  <a:gd name="connsiteY9" fmla="*/ 45720 h 112395"/>
                  <a:gd name="connsiteX10" fmla="*/ 6668 w 41910"/>
                  <a:gd name="connsiteY10" fmla="*/ 52388 h 112395"/>
                  <a:gd name="connsiteX11" fmla="*/ 0 w 41910"/>
                  <a:gd name="connsiteY11" fmla="*/ 62770 h 112395"/>
                  <a:gd name="connsiteX12" fmla="*/ 2857 w 41910"/>
                  <a:gd name="connsiteY12" fmla="*/ 70485 h 112395"/>
                  <a:gd name="connsiteX13" fmla="*/ 10477 w 41910"/>
                  <a:gd name="connsiteY13" fmla="*/ 83820 h 112395"/>
                  <a:gd name="connsiteX14" fmla="*/ 17145 w 41910"/>
                  <a:gd name="connsiteY14" fmla="*/ 101822 h 112395"/>
                  <a:gd name="connsiteX15" fmla="*/ 20955 w 41910"/>
                  <a:gd name="connsiteY15" fmla="*/ 112395 h 112395"/>
                  <a:gd name="connsiteX16" fmla="*/ 31432 w 41910"/>
                  <a:gd name="connsiteY16" fmla="*/ 91345 h 112395"/>
                  <a:gd name="connsiteX17" fmla="*/ 35243 w 41910"/>
                  <a:gd name="connsiteY17" fmla="*/ 73247 h 112395"/>
                  <a:gd name="connsiteX18" fmla="*/ 35243 w 41910"/>
                  <a:gd name="connsiteY18" fmla="*/ 52388 h 112395"/>
                  <a:gd name="connsiteX19" fmla="*/ 27623 w 41910"/>
                  <a:gd name="connsiteY19" fmla="*/ 52388 h 112395"/>
                  <a:gd name="connsiteX20" fmla="*/ 23813 w 41910"/>
                  <a:gd name="connsiteY20" fmla="*/ 31433 h 112395"/>
                  <a:gd name="connsiteX21" fmla="*/ 27623 w 41910"/>
                  <a:gd name="connsiteY21" fmla="*/ 24670 h 112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1910" h="112395">
                    <a:moveTo>
                      <a:pt x="27623" y="24670"/>
                    </a:moveTo>
                    <a:lnTo>
                      <a:pt x="38100" y="24670"/>
                    </a:lnTo>
                    <a:lnTo>
                      <a:pt x="41910" y="13335"/>
                    </a:lnTo>
                    <a:lnTo>
                      <a:pt x="38100" y="10382"/>
                    </a:lnTo>
                    <a:lnTo>
                      <a:pt x="35243" y="2858"/>
                    </a:lnTo>
                    <a:lnTo>
                      <a:pt x="23813" y="0"/>
                    </a:lnTo>
                    <a:lnTo>
                      <a:pt x="23813" y="10382"/>
                    </a:lnTo>
                    <a:lnTo>
                      <a:pt x="20955" y="24670"/>
                    </a:lnTo>
                    <a:lnTo>
                      <a:pt x="17145" y="35147"/>
                    </a:lnTo>
                    <a:lnTo>
                      <a:pt x="10477" y="45720"/>
                    </a:lnTo>
                    <a:lnTo>
                      <a:pt x="6668" y="52388"/>
                    </a:lnTo>
                    <a:lnTo>
                      <a:pt x="0" y="62770"/>
                    </a:lnTo>
                    <a:lnTo>
                      <a:pt x="2857" y="70485"/>
                    </a:lnTo>
                    <a:lnTo>
                      <a:pt x="10477" y="83820"/>
                    </a:lnTo>
                    <a:lnTo>
                      <a:pt x="17145" y="101822"/>
                    </a:lnTo>
                    <a:lnTo>
                      <a:pt x="20955" y="112395"/>
                    </a:lnTo>
                    <a:lnTo>
                      <a:pt x="31432" y="91345"/>
                    </a:lnTo>
                    <a:lnTo>
                      <a:pt x="35243" y="73247"/>
                    </a:lnTo>
                    <a:lnTo>
                      <a:pt x="35243" y="52388"/>
                    </a:lnTo>
                    <a:lnTo>
                      <a:pt x="27623" y="52388"/>
                    </a:lnTo>
                    <a:lnTo>
                      <a:pt x="23813" y="31433"/>
                    </a:lnTo>
                    <a:lnTo>
                      <a:pt x="27623" y="246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5B4481ED-FE8E-EA2C-79E7-9ADEBCFD2F21}"/>
                  </a:ext>
                </a:extLst>
              </p:cNvPr>
              <p:cNvSpPr/>
              <p:nvPr/>
            </p:nvSpPr>
            <p:spPr>
              <a:xfrm>
                <a:off x="7068569" y="3468920"/>
                <a:ext cx="244635" cy="255936"/>
              </a:xfrm>
              <a:custGeom>
                <a:avLst/>
                <a:gdLst>
                  <a:gd name="connsiteX0" fmla="*/ 158115 w 249554"/>
                  <a:gd name="connsiteY0" fmla="*/ 3905 h 261080"/>
                  <a:gd name="connsiteX1" fmla="*/ 165735 w 249554"/>
                  <a:gd name="connsiteY1" fmla="*/ 18193 h 261080"/>
                  <a:gd name="connsiteX2" fmla="*/ 186690 w 249554"/>
                  <a:gd name="connsiteY2" fmla="*/ 49530 h 261080"/>
                  <a:gd name="connsiteX3" fmla="*/ 200977 w 249554"/>
                  <a:gd name="connsiteY3" fmla="*/ 53435 h 261080"/>
                  <a:gd name="connsiteX4" fmla="*/ 193357 w 249554"/>
                  <a:gd name="connsiteY4" fmla="*/ 63817 h 261080"/>
                  <a:gd name="connsiteX5" fmla="*/ 197167 w 249554"/>
                  <a:gd name="connsiteY5" fmla="*/ 78105 h 261080"/>
                  <a:gd name="connsiteX6" fmla="*/ 186690 w 249554"/>
                  <a:gd name="connsiteY6" fmla="*/ 84868 h 261080"/>
                  <a:gd name="connsiteX7" fmla="*/ 176213 w 249554"/>
                  <a:gd name="connsiteY7" fmla="*/ 109633 h 261080"/>
                  <a:gd name="connsiteX8" fmla="*/ 197167 w 249554"/>
                  <a:gd name="connsiteY8" fmla="*/ 130492 h 261080"/>
                  <a:gd name="connsiteX9" fmla="*/ 207645 w 249554"/>
                  <a:gd name="connsiteY9" fmla="*/ 148590 h 261080"/>
                  <a:gd name="connsiteX10" fmla="*/ 232410 w 249554"/>
                  <a:gd name="connsiteY10" fmla="*/ 159067 h 261080"/>
                  <a:gd name="connsiteX11" fmla="*/ 246697 w 249554"/>
                  <a:gd name="connsiteY11" fmla="*/ 173355 h 261080"/>
                  <a:gd name="connsiteX12" fmla="*/ 239077 w 249554"/>
                  <a:gd name="connsiteY12" fmla="*/ 198215 h 261080"/>
                  <a:gd name="connsiteX13" fmla="*/ 249555 w 249554"/>
                  <a:gd name="connsiteY13" fmla="*/ 219170 h 261080"/>
                  <a:gd name="connsiteX14" fmla="*/ 246697 w 249554"/>
                  <a:gd name="connsiteY14" fmla="*/ 229552 h 261080"/>
                  <a:gd name="connsiteX15" fmla="*/ 232410 w 249554"/>
                  <a:gd name="connsiteY15" fmla="*/ 233458 h 261080"/>
                  <a:gd name="connsiteX16" fmla="*/ 214313 w 249554"/>
                  <a:gd name="connsiteY16" fmla="*/ 246793 h 261080"/>
                  <a:gd name="connsiteX17" fmla="*/ 214313 w 249554"/>
                  <a:gd name="connsiteY17" fmla="*/ 261080 h 261080"/>
                  <a:gd name="connsiteX18" fmla="*/ 158115 w 249554"/>
                  <a:gd name="connsiteY18" fmla="*/ 261080 h 261080"/>
                  <a:gd name="connsiteX19" fmla="*/ 133350 w 249554"/>
                  <a:gd name="connsiteY19" fmla="*/ 240030 h 261080"/>
                  <a:gd name="connsiteX20" fmla="*/ 120015 w 249554"/>
                  <a:gd name="connsiteY20" fmla="*/ 240030 h 261080"/>
                  <a:gd name="connsiteX21" fmla="*/ 101917 w 249554"/>
                  <a:gd name="connsiteY21" fmla="*/ 211455 h 261080"/>
                  <a:gd name="connsiteX22" fmla="*/ 38100 w 249554"/>
                  <a:gd name="connsiteY22" fmla="*/ 176308 h 261080"/>
                  <a:gd name="connsiteX23" fmla="*/ 2857 w 249554"/>
                  <a:gd name="connsiteY23" fmla="*/ 169640 h 261080"/>
                  <a:gd name="connsiteX24" fmla="*/ 0 w 249554"/>
                  <a:gd name="connsiteY24" fmla="*/ 127730 h 261080"/>
                  <a:gd name="connsiteX25" fmla="*/ 56197 w 249554"/>
                  <a:gd name="connsiteY25" fmla="*/ 91440 h 261080"/>
                  <a:gd name="connsiteX26" fmla="*/ 62865 w 249554"/>
                  <a:gd name="connsiteY26" fmla="*/ 35242 h 261080"/>
                  <a:gd name="connsiteX27" fmla="*/ 87630 w 249554"/>
                  <a:gd name="connsiteY27" fmla="*/ 18193 h 261080"/>
                  <a:gd name="connsiteX28" fmla="*/ 87630 w 249554"/>
                  <a:gd name="connsiteY28" fmla="*/ 10573 h 261080"/>
                  <a:gd name="connsiteX29" fmla="*/ 105727 w 249554"/>
                  <a:gd name="connsiteY29" fmla="*/ 0 h 261080"/>
                  <a:gd name="connsiteX30" fmla="*/ 154305 w 249554"/>
                  <a:gd name="connsiteY30" fmla="*/ 10573 h 261080"/>
                  <a:gd name="connsiteX31" fmla="*/ 158115 w 249554"/>
                  <a:gd name="connsiteY31" fmla="*/ 3905 h 261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49554" h="261080">
                    <a:moveTo>
                      <a:pt x="158115" y="3905"/>
                    </a:moveTo>
                    <a:lnTo>
                      <a:pt x="165735" y="18193"/>
                    </a:lnTo>
                    <a:lnTo>
                      <a:pt x="186690" y="49530"/>
                    </a:lnTo>
                    <a:lnTo>
                      <a:pt x="200977" y="53435"/>
                    </a:lnTo>
                    <a:lnTo>
                      <a:pt x="193357" y="63817"/>
                    </a:lnTo>
                    <a:lnTo>
                      <a:pt x="197167" y="78105"/>
                    </a:lnTo>
                    <a:lnTo>
                      <a:pt x="186690" y="84868"/>
                    </a:lnTo>
                    <a:lnTo>
                      <a:pt x="176213" y="109633"/>
                    </a:lnTo>
                    <a:lnTo>
                      <a:pt x="197167" y="130492"/>
                    </a:lnTo>
                    <a:lnTo>
                      <a:pt x="207645" y="148590"/>
                    </a:lnTo>
                    <a:lnTo>
                      <a:pt x="232410" y="159067"/>
                    </a:lnTo>
                    <a:lnTo>
                      <a:pt x="246697" y="173355"/>
                    </a:lnTo>
                    <a:lnTo>
                      <a:pt x="239077" y="198215"/>
                    </a:lnTo>
                    <a:lnTo>
                      <a:pt x="249555" y="219170"/>
                    </a:lnTo>
                    <a:lnTo>
                      <a:pt x="246697" y="229552"/>
                    </a:lnTo>
                    <a:lnTo>
                      <a:pt x="232410" y="233458"/>
                    </a:lnTo>
                    <a:lnTo>
                      <a:pt x="214313" y="246793"/>
                    </a:lnTo>
                    <a:lnTo>
                      <a:pt x="214313" y="261080"/>
                    </a:lnTo>
                    <a:lnTo>
                      <a:pt x="158115" y="261080"/>
                    </a:lnTo>
                    <a:lnTo>
                      <a:pt x="133350" y="240030"/>
                    </a:lnTo>
                    <a:lnTo>
                      <a:pt x="120015" y="240030"/>
                    </a:lnTo>
                    <a:lnTo>
                      <a:pt x="101917" y="211455"/>
                    </a:lnTo>
                    <a:lnTo>
                      <a:pt x="38100" y="176308"/>
                    </a:lnTo>
                    <a:lnTo>
                      <a:pt x="2857" y="169640"/>
                    </a:lnTo>
                    <a:lnTo>
                      <a:pt x="0" y="127730"/>
                    </a:lnTo>
                    <a:lnTo>
                      <a:pt x="56197" y="91440"/>
                    </a:lnTo>
                    <a:lnTo>
                      <a:pt x="62865" y="35242"/>
                    </a:lnTo>
                    <a:lnTo>
                      <a:pt x="87630" y="18193"/>
                    </a:lnTo>
                    <a:lnTo>
                      <a:pt x="87630" y="10573"/>
                    </a:lnTo>
                    <a:lnTo>
                      <a:pt x="105727" y="0"/>
                    </a:lnTo>
                    <a:lnTo>
                      <a:pt x="154305" y="10573"/>
                    </a:lnTo>
                    <a:lnTo>
                      <a:pt x="158115" y="39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74BC5278-7833-E263-FDCD-D8C68CEA5853}"/>
                  </a:ext>
                </a:extLst>
              </p:cNvPr>
              <p:cNvSpPr/>
              <p:nvPr/>
            </p:nvSpPr>
            <p:spPr>
              <a:xfrm>
                <a:off x="7424318" y="3862954"/>
                <a:ext cx="213822" cy="225122"/>
              </a:xfrm>
              <a:custGeom>
                <a:avLst/>
                <a:gdLst>
                  <a:gd name="connsiteX0" fmla="*/ 91440 w 218122"/>
                  <a:gd name="connsiteY0" fmla="*/ 53435 h 229647"/>
                  <a:gd name="connsiteX1" fmla="*/ 122873 w 218122"/>
                  <a:gd name="connsiteY1" fmla="*/ 0 h 229647"/>
                  <a:gd name="connsiteX2" fmla="*/ 143827 w 218122"/>
                  <a:gd name="connsiteY2" fmla="*/ 14288 h 229647"/>
                  <a:gd name="connsiteX3" fmla="*/ 158115 w 218122"/>
                  <a:gd name="connsiteY3" fmla="*/ 24860 h 229647"/>
                  <a:gd name="connsiteX4" fmla="*/ 179070 w 218122"/>
                  <a:gd name="connsiteY4" fmla="*/ 28575 h 229647"/>
                  <a:gd name="connsiteX5" fmla="*/ 218123 w 218122"/>
                  <a:gd name="connsiteY5" fmla="*/ 63913 h 229647"/>
                  <a:gd name="connsiteX6" fmla="*/ 203835 w 218122"/>
                  <a:gd name="connsiteY6" fmla="*/ 88678 h 229647"/>
                  <a:gd name="connsiteX7" fmla="*/ 182880 w 218122"/>
                  <a:gd name="connsiteY7" fmla="*/ 113347 h 229647"/>
                  <a:gd name="connsiteX8" fmla="*/ 172402 w 218122"/>
                  <a:gd name="connsiteY8" fmla="*/ 116300 h 229647"/>
                  <a:gd name="connsiteX9" fmla="*/ 151448 w 218122"/>
                  <a:gd name="connsiteY9" fmla="*/ 123825 h 229647"/>
                  <a:gd name="connsiteX10" fmla="*/ 154305 w 218122"/>
                  <a:gd name="connsiteY10" fmla="*/ 141065 h 229647"/>
                  <a:gd name="connsiteX11" fmla="*/ 158115 w 218122"/>
                  <a:gd name="connsiteY11" fmla="*/ 159163 h 229647"/>
                  <a:gd name="connsiteX12" fmla="*/ 140970 w 218122"/>
                  <a:gd name="connsiteY12" fmla="*/ 162973 h 229647"/>
                  <a:gd name="connsiteX13" fmla="*/ 126682 w 218122"/>
                  <a:gd name="connsiteY13" fmla="*/ 173450 h 229647"/>
                  <a:gd name="connsiteX14" fmla="*/ 119063 w 218122"/>
                  <a:gd name="connsiteY14" fmla="*/ 183928 h 229647"/>
                  <a:gd name="connsiteX15" fmla="*/ 119063 w 218122"/>
                  <a:gd name="connsiteY15" fmla="*/ 194310 h 229647"/>
                  <a:gd name="connsiteX16" fmla="*/ 94298 w 218122"/>
                  <a:gd name="connsiteY16" fmla="*/ 198215 h 229647"/>
                  <a:gd name="connsiteX17" fmla="*/ 91440 w 218122"/>
                  <a:gd name="connsiteY17" fmla="*/ 208597 h 229647"/>
                  <a:gd name="connsiteX18" fmla="*/ 80963 w 218122"/>
                  <a:gd name="connsiteY18" fmla="*/ 225838 h 229647"/>
                  <a:gd name="connsiteX19" fmla="*/ 45720 w 218122"/>
                  <a:gd name="connsiteY19" fmla="*/ 222885 h 229647"/>
                  <a:gd name="connsiteX20" fmla="*/ 27623 w 218122"/>
                  <a:gd name="connsiteY20" fmla="*/ 229648 h 229647"/>
                  <a:gd name="connsiteX21" fmla="*/ 0 w 218122"/>
                  <a:gd name="connsiteY21" fmla="*/ 165735 h 229647"/>
                  <a:gd name="connsiteX22" fmla="*/ 20955 w 218122"/>
                  <a:gd name="connsiteY22" fmla="*/ 148685 h 229647"/>
                  <a:gd name="connsiteX23" fmla="*/ 83820 w 218122"/>
                  <a:gd name="connsiteY23" fmla="*/ 127635 h 229647"/>
                  <a:gd name="connsiteX24" fmla="*/ 98107 w 218122"/>
                  <a:gd name="connsiteY24" fmla="*/ 95250 h 229647"/>
                  <a:gd name="connsiteX25" fmla="*/ 98107 w 218122"/>
                  <a:gd name="connsiteY25" fmla="*/ 70485 h 229647"/>
                  <a:gd name="connsiteX26" fmla="*/ 91440 w 218122"/>
                  <a:gd name="connsiteY26" fmla="*/ 53435 h 229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122" h="229647">
                    <a:moveTo>
                      <a:pt x="91440" y="53435"/>
                    </a:moveTo>
                    <a:lnTo>
                      <a:pt x="122873" y="0"/>
                    </a:lnTo>
                    <a:lnTo>
                      <a:pt x="143827" y="14288"/>
                    </a:lnTo>
                    <a:lnTo>
                      <a:pt x="158115" y="24860"/>
                    </a:lnTo>
                    <a:lnTo>
                      <a:pt x="179070" y="28575"/>
                    </a:lnTo>
                    <a:lnTo>
                      <a:pt x="218123" y="63913"/>
                    </a:lnTo>
                    <a:lnTo>
                      <a:pt x="203835" y="88678"/>
                    </a:lnTo>
                    <a:lnTo>
                      <a:pt x="182880" y="113347"/>
                    </a:lnTo>
                    <a:lnTo>
                      <a:pt x="172402" y="116300"/>
                    </a:lnTo>
                    <a:lnTo>
                      <a:pt x="151448" y="123825"/>
                    </a:lnTo>
                    <a:lnTo>
                      <a:pt x="154305" y="141065"/>
                    </a:lnTo>
                    <a:lnTo>
                      <a:pt x="158115" y="159163"/>
                    </a:lnTo>
                    <a:lnTo>
                      <a:pt x="140970" y="162973"/>
                    </a:lnTo>
                    <a:lnTo>
                      <a:pt x="126682" y="173450"/>
                    </a:lnTo>
                    <a:lnTo>
                      <a:pt x="119063" y="183928"/>
                    </a:lnTo>
                    <a:lnTo>
                      <a:pt x="119063" y="194310"/>
                    </a:lnTo>
                    <a:lnTo>
                      <a:pt x="94298" y="198215"/>
                    </a:lnTo>
                    <a:lnTo>
                      <a:pt x="91440" y="208597"/>
                    </a:lnTo>
                    <a:lnTo>
                      <a:pt x="80963" y="225838"/>
                    </a:lnTo>
                    <a:lnTo>
                      <a:pt x="45720" y="222885"/>
                    </a:lnTo>
                    <a:lnTo>
                      <a:pt x="27623" y="229648"/>
                    </a:lnTo>
                    <a:lnTo>
                      <a:pt x="0" y="165735"/>
                    </a:lnTo>
                    <a:lnTo>
                      <a:pt x="20955" y="148685"/>
                    </a:lnTo>
                    <a:lnTo>
                      <a:pt x="83820" y="127635"/>
                    </a:lnTo>
                    <a:lnTo>
                      <a:pt x="98107" y="95250"/>
                    </a:lnTo>
                    <a:lnTo>
                      <a:pt x="98107" y="70485"/>
                    </a:lnTo>
                    <a:lnTo>
                      <a:pt x="91440" y="5343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27F1D254-1427-A9C1-F590-55E4492F934D}"/>
                  </a:ext>
                </a:extLst>
              </p:cNvPr>
              <p:cNvSpPr/>
              <p:nvPr/>
            </p:nvSpPr>
            <p:spPr>
              <a:xfrm>
                <a:off x="7172212" y="4025423"/>
                <a:ext cx="279183" cy="172740"/>
              </a:xfrm>
              <a:custGeom>
                <a:avLst/>
                <a:gdLst>
                  <a:gd name="connsiteX0" fmla="*/ 87630 w 284797"/>
                  <a:gd name="connsiteY0" fmla="*/ 151543 h 176212"/>
                  <a:gd name="connsiteX1" fmla="*/ 73343 w 284797"/>
                  <a:gd name="connsiteY1" fmla="*/ 162878 h 176212"/>
                  <a:gd name="connsiteX2" fmla="*/ 62865 w 284797"/>
                  <a:gd name="connsiteY2" fmla="*/ 176213 h 176212"/>
                  <a:gd name="connsiteX3" fmla="*/ 27623 w 284797"/>
                  <a:gd name="connsiteY3" fmla="*/ 176213 h 176212"/>
                  <a:gd name="connsiteX4" fmla="*/ 14288 w 284797"/>
                  <a:gd name="connsiteY4" fmla="*/ 169640 h 176212"/>
                  <a:gd name="connsiteX5" fmla="*/ 0 w 284797"/>
                  <a:gd name="connsiteY5" fmla="*/ 116300 h 176212"/>
                  <a:gd name="connsiteX6" fmla="*/ 0 w 284797"/>
                  <a:gd name="connsiteY6" fmla="*/ 74390 h 176212"/>
                  <a:gd name="connsiteX7" fmla="*/ 14288 w 284797"/>
                  <a:gd name="connsiteY7" fmla="*/ 42863 h 176212"/>
                  <a:gd name="connsiteX8" fmla="*/ 73343 w 284797"/>
                  <a:gd name="connsiteY8" fmla="*/ 39053 h 176212"/>
                  <a:gd name="connsiteX9" fmla="*/ 126682 w 284797"/>
                  <a:gd name="connsiteY9" fmla="*/ 49625 h 176212"/>
                  <a:gd name="connsiteX10" fmla="*/ 172402 w 284797"/>
                  <a:gd name="connsiteY10" fmla="*/ 7715 h 176212"/>
                  <a:gd name="connsiteX11" fmla="*/ 224790 w 284797"/>
                  <a:gd name="connsiteY11" fmla="*/ 0 h 176212"/>
                  <a:gd name="connsiteX12" fmla="*/ 257175 w 284797"/>
                  <a:gd name="connsiteY12" fmla="*/ 0 h 176212"/>
                  <a:gd name="connsiteX13" fmla="*/ 284798 w 284797"/>
                  <a:gd name="connsiteY13" fmla="*/ 63913 h 176212"/>
                  <a:gd name="connsiteX14" fmla="*/ 263843 w 284797"/>
                  <a:gd name="connsiteY14" fmla="*/ 74390 h 176212"/>
                  <a:gd name="connsiteX15" fmla="*/ 249555 w 284797"/>
                  <a:gd name="connsiteY15" fmla="*/ 84868 h 176212"/>
                  <a:gd name="connsiteX16" fmla="*/ 249555 w 284797"/>
                  <a:gd name="connsiteY16" fmla="*/ 99155 h 176212"/>
                  <a:gd name="connsiteX17" fmla="*/ 239077 w 284797"/>
                  <a:gd name="connsiteY17" fmla="*/ 105728 h 176212"/>
                  <a:gd name="connsiteX18" fmla="*/ 200025 w 284797"/>
                  <a:gd name="connsiteY18" fmla="*/ 116300 h 176212"/>
                  <a:gd name="connsiteX19" fmla="*/ 182880 w 284797"/>
                  <a:gd name="connsiteY19" fmla="*/ 120015 h 176212"/>
                  <a:gd name="connsiteX20" fmla="*/ 168593 w 284797"/>
                  <a:gd name="connsiteY20" fmla="*/ 141065 h 176212"/>
                  <a:gd name="connsiteX21" fmla="*/ 137160 w 284797"/>
                  <a:gd name="connsiteY21" fmla="*/ 138113 h 176212"/>
                  <a:gd name="connsiteX22" fmla="*/ 122873 w 284797"/>
                  <a:gd name="connsiteY22" fmla="*/ 155353 h 176212"/>
                  <a:gd name="connsiteX23" fmla="*/ 98107 w 284797"/>
                  <a:gd name="connsiteY23" fmla="*/ 155353 h 176212"/>
                  <a:gd name="connsiteX24" fmla="*/ 87630 w 284797"/>
                  <a:gd name="connsiteY24" fmla="*/ 15154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84797" h="176212">
                    <a:moveTo>
                      <a:pt x="87630" y="151543"/>
                    </a:moveTo>
                    <a:lnTo>
                      <a:pt x="73343" y="162878"/>
                    </a:lnTo>
                    <a:lnTo>
                      <a:pt x="62865" y="176213"/>
                    </a:lnTo>
                    <a:lnTo>
                      <a:pt x="27623" y="176213"/>
                    </a:lnTo>
                    <a:lnTo>
                      <a:pt x="14288" y="169640"/>
                    </a:lnTo>
                    <a:lnTo>
                      <a:pt x="0" y="116300"/>
                    </a:lnTo>
                    <a:lnTo>
                      <a:pt x="0" y="74390"/>
                    </a:lnTo>
                    <a:lnTo>
                      <a:pt x="14288" y="42863"/>
                    </a:lnTo>
                    <a:lnTo>
                      <a:pt x="73343" y="39053"/>
                    </a:lnTo>
                    <a:lnTo>
                      <a:pt x="126682" y="49625"/>
                    </a:lnTo>
                    <a:lnTo>
                      <a:pt x="172402" y="7715"/>
                    </a:lnTo>
                    <a:lnTo>
                      <a:pt x="224790" y="0"/>
                    </a:lnTo>
                    <a:lnTo>
                      <a:pt x="257175" y="0"/>
                    </a:lnTo>
                    <a:lnTo>
                      <a:pt x="284798" y="63913"/>
                    </a:lnTo>
                    <a:lnTo>
                      <a:pt x="263843" y="74390"/>
                    </a:lnTo>
                    <a:lnTo>
                      <a:pt x="249555" y="84868"/>
                    </a:lnTo>
                    <a:lnTo>
                      <a:pt x="249555" y="99155"/>
                    </a:lnTo>
                    <a:lnTo>
                      <a:pt x="239077" y="105728"/>
                    </a:lnTo>
                    <a:lnTo>
                      <a:pt x="200025" y="116300"/>
                    </a:lnTo>
                    <a:lnTo>
                      <a:pt x="182880" y="120015"/>
                    </a:lnTo>
                    <a:lnTo>
                      <a:pt x="168593" y="141065"/>
                    </a:lnTo>
                    <a:lnTo>
                      <a:pt x="137160" y="138113"/>
                    </a:lnTo>
                    <a:lnTo>
                      <a:pt x="122873" y="155353"/>
                    </a:lnTo>
                    <a:lnTo>
                      <a:pt x="98107" y="155353"/>
                    </a:lnTo>
                    <a:lnTo>
                      <a:pt x="87630" y="15154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967806AC-C64D-EEB9-5D8F-27C7B75FF0F5}"/>
                  </a:ext>
                </a:extLst>
              </p:cNvPr>
              <p:cNvSpPr/>
              <p:nvPr/>
            </p:nvSpPr>
            <p:spPr>
              <a:xfrm>
                <a:off x="7206760" y="3396089"/>
                <a:ext cx="527554" cy="446417"/>
              </a:xfrm>
              <a:custGeom>
                <a:avLst/>
                <a:gdLst>
                  <a:gd name="connsiteX0" fmla="*/ 133350 w 538162"/>
                  <a:gd name="connsiteY0" fmla="*/ 42863 h 455390"/>
                  <a:gd name="connsiteX1" fmla="*/ 140970 w 538162"/>
                  <a:gd name="connsiteY1" fmla="*/ 67723 h 455390"/>
                  <a:gd name="connsiteX2" fmla="*/ 176213 w 538162"/>
                  <a:gd name="connsiteY2" fmla="*/ 84868 h 455390"/>
                  <a:gd name="connsiteX3" fmla="*/ 197168 w 538162"/>
                  <a:gd name="connsiteY3" fmla="*/ 99155 h 455390"/>
                  <a:gd name="connsiteX4" fmla="*/ 249555 w 538162"/>
                  <a:gd name="connsiteY4" fmla="*/ 99155 h 455390"/>
                  <a:gd name="connsiteX5" fmla="*/ 274320 w 538162"/>
                  <a:gd name="connsiteY5" fmla="*/ 84868 h 455390"/>
                  <a:gd name="connsiteX6" fmla="*/ 313372 w 538162"/>
                  <a:gd name="connsiteY6" fmla="*/ 57150 h 455390"/>
                  <a:gd name="connsiteX7" fmla="*/ 359093 w 538162"/>
                  <a:gd name="connsiteY7" fmla="*/ 49625 h 455390"/>
                  <a:gd name="connsiteX8" fmla="*/ 398145 w 538162"/>
                  <a:gd name="connsiteY8" fmla="*/ 63913 h 455390"/>
                  <a:gd name="connsiteX9" fmla="*/ 450532 w 538162"/>
                  <a:gd name="connsiteY9" fmla="*/ 92488 h 455390"/>
                  <a:gd name="connsiteX10" fmla="*/ 479107 w 538162"/>
                  <a:gd name="connsiteY10" fmla="*/ 99155 h 455390"/>
                  <a:gd name="connsiteX11" fmla="*/ 481965 w 538162"/>
                  <a:gd name="connsiteY11" fmla="*/ 138113 h 455390"/>
                  <a:gd name="connsiteX12" fmla="*/ 464820 w 538162"/>
                  <a:gd name="connsiteY12" fmla="*/ 173450 h 455390"/>
                  <a:gd name="connsiteX13" fmla="*/ 461010 w 538162"/>
                  <a:gd name="connsiteY13" fmla="*/ 222885 h 455390"/>
                  <a:gd name="connsiteX14" fmla="*/ 471488 w 538162"/>
                  <a:gd name="connsiteY14" fmla="*/ 264890 h 455390"/>
                  <a:gd name="connsiteX15" fmla="*/ 496252 w 538162"/>
                  <a:gd name="connsiteY15" fmla="*/ 264890 h 455390"/>
                  <a:gd name="connsiteX16" fmla="*/ 492443 w 538162"/>
                  <a:gd name="connsiteY16" fmla="*/ 285750 h 455390"/>
                  <a:gd name="connsiteX17" fmla="*/ 467677 w 538162"/>
                  <a:gd name="connsiteY17" fmla="*/ 310610 h 455390"/>
                  <a:gd name="connsiteX18" fmla="*/ 479107 w 538162"/>
                  <a:gd name="connsiteY18" fmla="*/ 328613 h 455390"/>
                  <a:gd name="connsiteX19" fmla="*/ 502920 w 538162"/>
                  <a:gd name="connsiteY19" fmla="*/ 356235 h 455390"/>
                  <a:gd name="connsiteX20" fmla="*/ 524827 w 538162"/>
                  <a:gd name="connsiteY20" fmla="*/ 374428 h 455390"/>
                  <a:gd name="connsiteX21" fmla="*/ 524827 w 538162"/>
                  <a:gd name="connsiteY21" fmla="*/ 395288 h 455390"/>
                  <a:gd name="connsiteX22" fmla="*/ 538163 w 538162"/>
                  <a:gd name="connsiteY22" fmla="*/ 395288 h 455390"/>
                  <a:gd name="connsiteX23" fmla="*/ 538163 w 538162"/>
                  <a:gd name="connsiteY23" fmla="*/ 409575 h 455390"/>
                  <a:gd name="connsiteX24" fmla="*/ 514350 w 538162"/>
                  <a:gd name="connsiteY24" fmla="*/ 413385 h 455390"/>
                  <a:gd name="connsiteX25" fmla="*/ 489585 w 538162"/>
                  <a:gd name="connsiteY25" fmla="*/ 426815 h 455390"/>
                  <a:gd name="connsiteX26" fmla="*/ 489585 w 538162"/>
                  <a:gd name="connsiteY26" fmla="*/ 455390 h 455390"/>
                  <a:gd name="connsiteX27" fmla="*/ 415290 w 538162"/>
                  <a:gd name="connsiteY27" fmla="*/ 448723 h 455390"/>
                  <a:gd name="connsiteX28" fmla="*/ 365760 w 538162"/>
                  <a:gd name="connsiteY28" fmla="*/ 434435 h 455390"/>
                  <a:gd name="connsiteX29" fmla="*/ 362902 w 538162"/>
                  <a:gd name="connsiteY29" fmla="*/ 405860 h 455390"/>
                  <a:gd name="connsiteX30" fmla="*/ 344805 w 538162"/>
                  <a:gd name="connsiteY30" fmla="*/ 391573 h 455390"/>
                  <a:gd name="connsiteX31" fmla="*/ 330518 w 538162"/>
                  <a:gd name="connsiteY31" fmla="*/ 395288 h 455390"/>
                  <a:gd name="connsiteX32" fmla="*/ 313372 w 538162"/>
                  <a:gd name="connsiteY32" fmla="*/ 409575 h 455390"/>
                  <a:gd name="connsiteX33" fmla="*/ 288607 w 538162"/>
                  <a:gd name="connsiteY33" fmla="*/ 413385 h 455390"/>
                  <a:gd name="connsiteX34" fmla="*/ 242888 w 538162"/>
                  <a:gd name="connsiteY34" fmla="*/ 395288 h 455390"/>
                  <a:gd name="connsiteX35" fmla="*/ 207645 w 538162"/>
                  <a:gd name="connsiteY35" fmla="*/ 363950 h 455390"/>
                  <a:gd name="connsiteX36" fmla="*/ 182880 w 538162"/>
                  <a:gd name="connsiteY36" fmla="*/ 331565 h 455390"/>
                  <a:gd name="connsiteX37" fmla="*/ 172402 w 538162"/>
                  <a:gd name="connsiteY37" fmla="*/ 310610 h 455390"/>
                  <a:gd name="connsiteX38" fmla="*/ 140970 w 538162"/>
                  <a:gd name="connsiteY38" fmla="*/ 303847 h 455390"/>
                  <a:gd name="connsiteX39" fmla="*/ 122872 w 538162"/>
                  <a:gd name="connsiteY39" fmla="*/ 310610 h 455390"/>
                  <a:gd name="connsiteX40" fmla="*/ 105727 w 538162"/>
                  <a:gd name="connsiteY40" fmla="*/ 303847 h 455390"/>
                  <a:gd name="connsiteX41" fmla="*/ 108585 w 538162"/>
                  <a:gd name="connsiteY41" fmla="*/ 293465 h 455390"/>
                  <a:gd name="connsiteX42" fmla="*/ 98107 w 538162"/>
                  <a:gd name="connsiteY42" fmla="*/ 272510 h 455390"/>
                  <a:gd name="connsiteX43" fmla="*/ 105727 w 538162"/>
                  <a:gd name="connsiteY43" fmla="*/ 247650 h 455390"/>
                  <a:gd name="connsiteX44" fmla="*/ 83820 w 538162"/>
                  <a:gd name="connsiteY44" fmla="*/ 229648 h 455390"/>
                  <a:gd name="connsiteX45" fmla="*/ 66675 w 538162"/>
                  <a:gd name="connsiteY45" fmla="*/ 222885 h 455390"/>
                  <a:gd name="connsiteX46" fmla="*/ 35243 w 538162"/>
                  <a:gd name="connsiteY46" fmla="*/ 183928 h 455390"/>
                  <a:gd name="connsiteX47" fmla="*/ 45720 w 538162"/>
                  <a:gd name="connsiteY47" fmla="*/ 159163 h 455390"/>
                  <a:gd name="connsiteX48" fmla="*/ 56197 w 538162"/>
                  <a:gd name="connsiteY48" fmla="*/ 152400 h 455390"/>
                  <a:gd name="connsiteX49" fmla="*/ 52388 w 538162"/>
                  <a:gd name="connsiteY49" fmla="*/ 138113 h 455390"/>
                  <a:gd name="connsiteX50" fmla="*/ 60007 w 538162"/>
                  <a:gd name="connsiteY50" fmla="*/ 127730 h 455390"/>
                  <a:gd name="connsiteX51" fmla="*/ 45720 w 538162"/>
                  <a:gd name="connsiteY51" fmla="*/ 123825 h 455390"/>
                  <a:gd name="connsiteX52" fmla="*/ 27622 w 538162"/>
                  <a:gd name="connsiteY52" fmla="*/ 95250 h 455390"/>
                  <a:gd name="connsiteX53" fmla="*/ 17145 w 538162"/>
                  <a:gd name="connsiteY53" fmla="*/ 78200 h 455390"/>
                  <a:gd name="connsiteX54" fmla="*/ 10477 w 538162"/>
                  <a:gd name="connsiteY54" fmla="*/ 60008 h 455390"/>
                  <a:gd name="connsiteX55" fmla="*/ 6668 w 538162"/>
                  <a:gd name="connsiteY55" fmla="*/ 42863 h 455390"/>
                  <a:gd name="connsiteX56" fmla="*/ 2857 w 538162"/>
                  <a:gd name="connsiteY56" fmla="*/ 28575 h 455390"/>
                  <a:gd name="connsiteX57" fmla="*/ 0 w 538162"/>
                  <a:gd name="connsiteY57" fmla="*/ 14288 h 455390"/>
                  <a:gd name="connsiteX58" fmla="*/ 2857 w 538162"/>
                  <a:gd name="connsiteY58" fmla="*/ 7620 h 455390"/>
                  <a:gd name="connsiteX59" fmla="*/ 17145 w 538162"/>
                  <a:gd name="connsiteY59" fmla="*/ 3905 h 455390"/>
                  <a:gd name="connsiteX60" fmla="*/ 41910 w 538162"/>
                  <a:gd name="connsiteY60" fmla="*/ 24860 h 455390"/>
                  <a:gd name="connsiteX61" fmla="*/ 56197 w 538162"/>
                  <a:gd name="connsiteY61" fmla="*/ 32480 h 455390"/>
                  <a:gd name="connsiteX62" fmla="*/ 60007 w 538162"/>
                  <a:gd name="connsiteY62" fmla="*/ 21908 h 455390"/>
                  <a:gd name="connsiteX63" fmla="*/ 73343 w 538162"/>
                  <a:gd name="connsiteY63" fmla="*/ 24860 h 455390"/>
                  <a:gd name="connsiteX64" fmla="*/ 83820 w 538162"/>
                  <a:gd name="connsiteY64" fmla="*/ 18193 h 455390"/>
                  <a:gd name="connsiteX65" fmla="*/ 105727 w 538162"/>
                  <a:gd name="connsiteY65" fmla="*/ 0 h 455390"/>
                  <a:gd name="connsiteX66" fmla="*/ 112395 w 538162"/>
                  <a:gd name="connsiteY66" fmla="*/ 3905 h 455390"/>
                  <a:gd name="connsiteX67" fmla="*/ 112395 w 538162"/>
                  <a:gd name="connsiteY67" fmla="*/ 18193 h 455390"/>
                  <a:gd name="connsiteX68" fmla="*/ 119063 w 538162"/>
                  <a:gd name="connsiteY68" fmla="*/ 28575 h 455390"/>
                  <a:gd name="connsiteX69" fmla="*/ 108585 w 538162"/>
                  <a:gd name="connsiteY69" fmla="*/ 32480 h 455390"/>
                  <a:gd name="connsiteX70" fmla="*/ 119063 w 538162"/>
                  <a:gd name="connsiteY70" fmla="*/ 42863 h 455390"/>
                  <a:gd name="connsiteX71" fmla="*/ 133350 w 538162"/>
                  <a:gd name="connsiteY71" fmla="*/ 42863 h 455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538162" h="455390">
                    <a:moveTo>
                      <a:pt x="133350" y="42863"/>
                    </a:moveTo>
                    <a:lnTo>
                      <a:pt x="140970" y="67723"/>
                    </a:lnTo>
                    <a:lnTo>
                      <a:pt x="176213" y="84868"/>
                    </a:lnTo>
                    <a:lnTo>
                      <a:pt x="197168" y="99155"/>
                    </a:lnTo>
                    <a:lnTo>
                      <a:pt x="249555" y="99155"/>
                    </a:lnTo>
                    <a:lnTo>
                      <a:pt x="274320" y="84868"/>
                    </a:lnTo>
                    <a:lnTo>
                      <a:pt x="313372" y="57150"/>
                    </a:lnTo>
                    <a:lnTo>
                      <a:pt x="359093" y="49625"/>
                    </a:lnTo>
                    <a:lnTo>
                      <a:pt x="398145" y="63913"/>
                    </a:lnTo>
                    <a:lnTo>
                      <a:pt x="450532" y="92488"/>
                    </a:lnTo>
                    <a:lnTo>
                      <a:pt x="479107" y="99155"/>
                    </a:lnTo>
                    <a:lnTo>
                      <a:pt x="481965" y="138113"/>
                    </a:lnTo>
                    <a:lnTo>
                      <a:pt x="464820" y="173450"/>
                    </a:lnTo>
                    <a:lnTo>
                      <a:pt x="461010" y="222885"/>
                    </a:lnTo>
                    <a:lnTo>
                      <a:pt x="471488" y="264890"/>
                    </a:lnTo>
                    <a:lnTo>
                      <a:pt x="496252" y="264890"/>
                    </a:lnTo>
                    <a:lnTo>
                      <a:pt x="492443" y="285750"/>
                    </a:lnTo>
                    <a:lnTo>
                      <a:pt x="467677" y="310610"/>
                    </a:lnTo>
                    <a:lnTo>
                      <a:pt x="479107" y="328613"/>
                    </a:lnTo>
                    <a:lnTo>
                      <a:pt x="502920" y="356235"/>
                    </a:lnTo>
                    <a:lnTo>
                      <a:pt x="524827" y="374428"/>
                    </a:lnTo>
                    <a:lnTo>
                      <a:pt x="524827" y="395288"/>
                    </a:lnTo>
                    <a:lnTo>
                      <a:pt x="538163" y="395288"/>
                    </a:lnTo>
                    <a:lnTo>
                      <a:pt x="538163" y="409575"/>
                    </a:lnTo>
                    <a:lnTo>
                      <a:pt x="514350" y="413385"/>
                    </a:lnTo>
                    <a:lnTo>
                      <a:pt x="489585" y="426815"/>
                    </a:lnTo>
                    <a:lnTo>
                      <a:pt x="489585" y="455390"/>
                    </a:lnTo>
                    <a:lnTo>
                      <a:pt x="415290" y="448723"/>
                    </a:lnTo>
                    <a:lnTo>
                      <a:pt x="365760" y="434435"/>
                    </a:lnTo>
                    <a:lnTo>
                      <a:pt x="362902" y="405860"/>
                    </a:lnTo>
                    <a:lnTo>
                      <a:pt x="344805" y="391573"/>
                    </a:lnTo>
                    <a:lnTo>
                      <a:pt x="330518" y="395288"/>
                    </a:lnTo>
                    <a:lnTo>
                      <a:pt x="313372" y="409575"/>
                    </a:lnTo>
                    <a:lnTo>
                      <a:pt x="288607" y="413385"/>
                    </a:lnTo>
                    <a:lnTo>
                      <a:pt x="242888" y="395288"/>
                    </a:lnTo>
                    <a:lnTo>
                      <a:pt x="207645" y="363950"/>
                    </a:lnTo>
                    <a:lnTo>
                      <a:pt x="182880" y="331565"/>
                    </a:lnTo>
                    <a:lnTo>
                      <a:pt x="172402" y="310610"/>
                    </a:lnTo>
                    <a:lnTo>
                      <a:pt x="140970" y="303847"/>
                    </a:lnTo>
                    <a:lnTo>
                      <a:pt x="122872" y="310610"/>
                    </a:lnTo>
                    <a:lnTo>
                      <a:pt x="105727" y="303847"/>
                    </a:lnTo>
                    <a:lnTo>
                      <a:pt x="108585" y="293465"/>
                    </a:lnTo>
                    <a:lnTo>
                      <a:pt x="98107" y="272510"/>
                    </a:lnTo>
                    <a:lnTo>
                      <a:pt x="105727" y="247650"/>
                    </a:lnTo>
                    <a:lnTo>
                      <a:pt x="83820" y="229648"/>
                    </a:lnTo>
                    <a:lnTo>
                      <a:pt x="66675" y="222885"/>
                    </a:lnTo>
                    <a:lnTo>
                      <a:pt x="35243" y="183928"/>
                    </a:lnTo>
                    <a:lnTo>
                      <a:pt x="45720" y="159163"/>
                    </a:lnTo>
                    <a:lnTo>
                      <a:pt x="56197" y="152400"/>
                    </a:lnTo>
                    <a:lnTo>
                      <a:pt x="52388" y="138113"/>
                    </a:lnTo>
                    <a:lnTo>
                      <a:pt x="60007" y="127730"/>
                    </a:lnTo>
                    <a:lnTo>
                      <a:pt x="45720" y="123825"/>
                    </a:lnTo>
                    <a:lnTo>
                      <a:pt x="27622" y="95250"/>
                    </a:lnTo>
                    <a:lnTo>
                      <a:pt x="17145" y="78200"/>
                    </a:lnTo>
                    <a:lnTo>
                      <a:pt x="10477" y="60008"/>
                    </a:lnTo>
                    <a:lnTo>
                      <a:pt x="6668" y="42863"/>
                    </a:lnTo>
                    <a:lnTo>
                      <a:pt x="2857" y="28575"/>
                    </a:lnTo>
                    <a:lnTo>
                      <a:pt x="0" y="14288"/>
                    </a:lnTo>
                    <a:lnTo>
                      <a:pt x="2857" y="7620"/>
                    </a:lnTo>
                    <a:lnTo>
                      <a:pt x="17145" y="3905"/>
                    </a:lnTo>
                    <a:lnTo>
                      <a:pt x="41910" y="24860"/>
                    </a:lnTo>
                    <a:lnTo>
                      <a:pt x="56197" y="32480"/>
                    </a:lnTo>
                    <a:lnTo>
                      <a:pt x="60007" y="21908"/>
                    </a:lnTo>
                    <a:lnTo>
                      <a:pt x="73343" y="24860"/>
                    </a:lnTo>
                    <a:lnTo>
                      <a:pt x="83820" y="18193"/>
                    </a:lnTo>
                    <a:lnTo>
                      <a:pt x="105727" y="0"/>
                    </a:lnTo>
                    <a:lnTo>
                      <a:pt x="112395" y="3905"/>
                    </a:lnTo>
                    <a:lnTo>
                      <a:pt x="112395" y="18193"/>
                    </a:lnTo>
                    <a:lnTo>
                      <a:pt x="119063" y="28575"/>
                    </a:lnTo>
                    <a:lnTo>
                      <a:pt x="108585" y="32480"/>
                    </a:lnTo>
                    <a:lnTo>
                      <a:pt x="119063" y="42863"/>
                    </a:lnTo>
                    <a:lnTo>
                      <a:pt x="133350" y="4286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38E09F33-F3F0-A898-2676-58EDD57DD843}"/>
                  </a:ext>
                </a:extLst>
              </p:cNvPr>
              <p:cNvSpPr/>
              <p:nvPr/>
            </p:nvSpPr>
            <p:spPr>
              <a:xfrm>
                <a:off x="7658682" y="3434464"/>
                <a:ext cx="390297" cy="280120"/>
              </a:xfrm>
              <a:custGeom>
                <a:avLst/>
                <a:gdLst>
                  <a:gd name="connsiteX0" fmla="*/ 20955 w 398145"/>
                  <a:gd name="connsiteY0" fmla="*/ 98965 h 285750"/>
                  <a:gd name="connsiteX1" fmla="*/ 41910 w 398145"/>
                  <a:gd name="connsiteY1" fmla="*/ 98965 h 285750"/>
                  <a:gd name="connsiteX2" fmla="*/ 60008 w 398145"/>
                  <a:gd name="connsiteY2" fmla="*/ 105727 h 285750"/>
                  <a:gd name="connsiteX3" fmla="*/ 77153 w 398145"/>
                  <a:gd name="connsiteY3" fmla="*/ 84677 h 285750"/>
                  <a:gd name="connsiteX4" fmla="*/ 99060 w 398145"/>
                  <a:gd name="connsiteY4" fmla="*/ 78010 h 285750"/>
                  <a:gd name="connsiteX5" fmla="*/ 120015 w 398145"/>
                  <a:gd name="connsiteY5" fmla="*/ 45720 h 285750"/>
                  <a:gd name="connsiteX6" fmla="*/ 147638 w 398145"/>
                  <a:gd name="connsiteY6" fmla="*/ 35147 h 285750"/>
                  <a:gd name="connsiteX7" fmla="*/ 169545 w 398145"/>
                  <a:gd name="connsiteY7" fmla="*/ 35147 h 285750"/>
                  <a:gd name="connsiteX8" fmla="*/ 203835 w 398145"/>
                  <a:gd name="connsiteY8" fmla="*/ 45720 h 285750"/>
                  <a:gd name="connsiteX9" fmla="*/ 221933 w 398145"/>
                  <a:gd name="connsiteY9" fmla="*/ 53340 h 285750"/>
                  <a:gd name="connsiteX10" fmla="*/ 257175 w 398145"/>
                  <a:gd name="connsiteY10" fmla="*/ 32290 h 285750"/>
                  <a:gd name="connsiteX11" fmla="*/ 271463 w 398145"/>
                  <a:gd name="connsiteY11" fmla="*/ 28575 h 285750"/>
                  <a:gd name="connsiteX12" fmla="*/ 288608 w 398145"/>
                  <a:gd name="connsiteY12" fmla="*/ 0 h 285750"/>
                  <a:gd name="connsiteX13" fmla="*/ 302895 w 398145"/>
                  <a:gd name="connsiteY13" fmla="*/ 10477 h 285750"/>
                  <a:gd name="connsiteX14" fmla="*/ 306705 w 398145"/>
                  <a:gd name="connsiteY14" fmla="*/ 32290 h 285750"/>
                  <a:gd name="connsiteX15" fmla="*/ 302895 w 398145"/>
                  <a:gd name="connsiteY15" fmla="*/ 45720 h 285750"/>
                  <a:gd name="connsiteX16" fmla="*/ 302895 w 398145"/>
                  <a:gd name="connsiteY16" fmla="*/ 56102 h 285750"/>
                  <a:gd name="connsiteX17" fmla="*/ 320993 w 398145"/>
                  <a:gd name="connsiteY17" fmla="*/ 53340 h 285750"/>
                  <a:gd name="connsiteX18" fmla="*/ 334328 w 398145"/>
                  <a:gd name="connsiteY18" fmla="*/ 45720 h 285750"/>
                  <a:gd name="connsiteX19" fmla="*/ 348615 w 398145"/>
                  <a:gd name="connsiteY19" fmla="*/ 35147 h 285750"/>
                  <a:gd name="connsiteX20" fmla="*/ 398145 w 398145"/>
                  <a:gd name="connsiteY20" fmla="*/ 35147 h 285750"/>
                  <a:gd name="connsiteX21" fmla="*/ 398145 w 398145"/>
                  <a:gd name="connsiteY21" fmla="*/ 49435 h 285750"/>
                  <a:gd name="connsiteX22" fmla="*/ 377190 w 398145"/>
                  <a:gd name="connsiteY22" fmla="*/ 53340 h 285750"/>
                  <a:gd name="connsiteX23" fmla="*/ 348615 w 398145"/>
                  <a:gd name="connsiteY23" fmla="*/ 53340 h 285750"/>
                  <a:gd name="connsiteX24" fmla="*/ 334328 w 398145"/>
                  <a:gd name="connsiteY24" fmla="*/ 53340 h 285750"/>
                  <a:gd name="connsiteX25" fmla="*/ 327660 w 398145"/>
                  <a:gd name="connsiteY25" fmla="*/ 56102 h 285750"/>
                  <a:gd name="connsiteX26" fmla="*/ 306705 w 398145"/>
                  <a:gd name="connsiteY26" fmla="*/ 70390 h 285750"/>
                  <a:gd name="connsiteX27" fmla="*/ 296228 w 398145"/>
                  <a:gd name="connsiteY27" fmla="*/ 80963 h 285750"/>
                  <a:gd name="connsiteX28" fmla="*/ 302895 w 398145"/>
                  <a:gd name="connsiteY28" fmla="*/ 91440 h 285750"/>
                  <a:gd name="connsiteX29" fmla="*/ 306705 w 398145"/>
                  <a:gd name="connsiteY29" fmla="*/ 102870 h 285750"/>
                  <a:gd name="connsiteX30" fmla="*/ 302895 w 398145"/>
                  <a:gd name="connsiteY30" fmla="*/ 120015 h 285750"/>
                  <a:gd name="connsiteX31" fmla="*/ 296228 w 398145"/>
                  <a:gd name="connsiteY31" fmla="*/ 138113 h 285750"/>
                  <a:gd name="connsiteX32" fmla="*/ 267653 w 398145"/>
                  <a:gd name="connsiteY32" fmla="*/ 148590 h 285750"/>
                  <a:gd name="connsiteX33" fmla="*/ 260985 w 398145"/>
                  <a:gd name="connsiteY33" fmla="*/ 169450 h 285750"/>
                  <a:gd name="connsiteX34" fmla="*/ 250508 w 398145"/>
                  <a:gd name="connsiteY34" fmla="*/ 176213 h 285750"/>
                  <a:gd name="connsiteX35" fmla="*/ 242888 w 398145"/>
                  <a:gd name="connsiteY35" fmla="*/ 194215 h 285750"/>
                  <a:gd name="connsiteX36" fmla="*/ 242888 w 398145"/>
                  <a:gd name="connsiteY36" fmla="*/ 219075 h 285750"/>
                  <a:gd name="connsiteX37" fmla="*/ 200978 w 398145"/>
                  <a:gd name="connsiteY37" fmla="*/ 219075 h 285750"/>
                  <a:gd name="connsiteX38" fmla="*/ 193358 w 398145"/>
                  <a:gd name="connsiteY38" fmla="*/ 233363 h 285750"/>
                  <a:gd name="connsiteX39" fmla="*/ 165735 w 398145"/>
                  <a:gd name="connsiteY39" fmla="*/ 233363 h 285750"/>
                  <a:gd name="connsiteX40" fmla="*/ 158115 w 398145"/>
                  <a:gd name="connsiteY40" fmla="*/ 243840 h 285750"/>
                  <a:gd name="connsiteX41" fmla="*/ 155258 w 398145"/>
                  <a:gd name="connsiteY41" fmla="*/ 275177 h 285750"/>
                  <a:gd name="connsiteX42" fmla="*/ 137160 w 398145"/>
                  <a:gd name="connsiteY42" fmla="*/ 278987 h 285750"/>
                  <a:gd name="connsiteX43" fmla="*/ 74295 w 398145"/>
                  <a:gd name="connsiteY43" fmla="*/ 285750 h 285750"/>
                  <a:gd name="connsiteX44" fmla="*/ 41910 w 398145"/>
                  <a:gd name="connsiteY44" fmla="*/ 285750 h 285750"/>
                  <a:gd name="connsiteX45" fmla="*/ 31433 w 398145"/>
                  <a:gd name="connsiteY45" fmla="*/ 275177 h 285750"/>
                  <a:gd name="connsiteX46" fmla="*/ 14288 w 398145"/>
                  <a:gd name="connsiteY46" fmla="*/ 281940 h 285750"/>
                  <a:gd name="connsiteX47" fmla="*/ 6668 w 398145"/>
                  <a:gd name="connsiteY47" fmla="*/ 271463 h 285750"/>
                  <a:gd name="connsiteX48" fmla="*/ 31433 w 398145"/>
                  <a:gd name="connsiteY48" fmla="*/ 246602 h 285750"/>
                  <a:gd name="connsiteX49" fmla="*/ 35243 w 398145"/>
                  <a:gd name="connsiteY49" fmla="*/ 225742 h 285750"/>
                  <a:gd name="connsiteX50" fmla="*/ 10478 w 398145"/>
                  <a:gd name="connsiteY50" fmla="*/ 225742 h 285750"/>
                  <a:gd name="connsiteX51" fmla="*/ 6668 w 398145"/>
                  <a:gd name="connsiteY51" fmla="*/ 200977 h 285750"/>
                  <a:gd name="connsiteX52" fmla="*/ 0 w 398145"/>
                  <a:gd name="connsiteY52" fmla="*/ 183737 h 285750"/>
                  <a:gd name="connsiteX53" fmla="*/ 3810 w 398145"/>
                  <a:gd name="connsiteY53" fmla="*/ 134302 h 285750"/>
                  <a:gd name="connsiteX54" fmla="*/ 20955 w 398145"/>
                  <a:gd name="connsiteY54" fmla="*/ 98965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98145" h="285750">
                    <a:moveTo>
                      <a:pt x="20955" y="98965"/>
                    </a:moveTo>
                    <a:lnTo>
                      <a:pt x="41910" y="98965"/>
                    </a:lnTo>
                    <a:lnTo>
                      <a:pt x="60008" y="105727"/>
                    </a:lnTo>
                    <a:lnTo>
                      <a:pt x="77153" y="84677"/>
                    </a:lnTo>
                    <a:lnTo>
                      <a:pt x="99060" y="78010"/>
                    </a:lnTo>
                    <a:lnTo>
                      <a:pt x="120015" y="45720"/>
                    </a:lnTo>
                    <a:lnTo>
                      <a:pt x="147638" y="35147"/>
                    </a:lnTo>
                    <a:lnTo>
                      <a:pt x="169545" y="35147"/>
                    </a:lnTo>
                    <a:lnTo>
                      <a:pt x="203835" y="45720"/>
                    </a:lnTo>
                    <a:lnTo>
                      <a:pt x="221933" y="53340"/>
                    </a:lnTo>
                    <a:lnTo>
                      <a:pt x="257175" y="32290"/>
                    </a:lnTo>
                    <a:lnTo>
                      <a:pt x="271463" y="28575"/>
                    </a:lnTo>
                    <a:lnTo>
                      <a:pt x="288608" y="0"/>
                    </a:lnTo>
                    <a:lnTo>
                      <a:pt x="302895" y="10477"/>
                    </a:lnTo>
                    <a:lnTo>
                      <a:pt x="306705" y="32290"/>
                    </a:lnTo>
                    <a:lnTo>
                      <a:pt x="302895" y="45720"/>
                    </a:lnTo>
                    <a:lnTo>
                      <a:pt x="302895" y="56102"/>
                    </a:lnTo>
                    <a:lnTo>
                      <a:pt x="320993" y="53340"/>
                    </a:lnTo>
                    <a:lnTo>
                      <a:pt x="334328" y="45720"/>
                    </a:lnTo>
                    <a:lnTo>
                      <a:pt x="348615" y="35147"/>
                    </a:lnTo>
                    <a:lnTo>
                      <a:pt x="398145" y="35147"/>
                    </a:lnTo>
                    <a:lnTo>
                      <a:pt x="398145" y="49435"/>
                    </a:lnTo>
                    <a:lnTo>
                      <a:pt x="377190" y="53340"/>
                    </a:lnTo>
                    <a:lnTo>
                      <a:pt x="348615" y="53340"/>
                    </a:lnTo>
                    <a:lnTo>
                      <a:pt x="334328" y="53340"/>
                    </a:lnTo>
                    <a:lnTo>
                      <a:pt x="327660" y="56102"/>
                    </a:lnTo>
                    <a:lnTo>
                      <a:pt x="306705" y="70390"/>
                    </a:lnTo>
                    <a:lnTo>
                      <a:pt x="296228" y="80963"/>
                    </a:lnTo>
                    <a:lnTo>
                      <a:pt x="302895" y="91440"/>
                    </a:lnTo>
                    <a:lnTo>
                      <a:pt x="306705" y="102870"/>
                    </a:lnTo>
                    <a:lnTo>
                      <a:pt x="302895" y="120015"/>
                    </a:lnTo>
                    <a:lnTo>
                      <a:pt x="296228" y="138113"/>
                    </a:lnTo>
                    <a:lnTo>
                      <a:pt x="267653" y="148590"/>
                    </a:lnTo>
                    <a:lnTo>
                      <a:pt x="260985" y="169450"/>
                    </a:lnTo>
                    <a:lnTo>
                      <a:pt x="250508" y="176213"/>
                    </a:lnTo>
                    <a:lnTo>
                      <a:pt x="242888" y="194215"/>
                    </a:lnTo>
                    <a:lnTo>
                      <a:pt x="242888" y="219075"/>
                    </a:lnTo>
                    <a:lnTo>
                      <a:pt x="200978" y="219075"/>
                    </a:lnTo>
                    <a:lnTo>
                      <a:pt x="193358" y="233363"/>
                    </a:lnTo>
                    <a:lnTo>
                      <a:pt x="165735" y="233363"/>
                    </a:lnTo>
                    <a:lnTo>
                      <a:pt x="158115" y="243840"/>
                    </a:lnTo>
                    <a:lnTo>
                      <a:pt x="155258" y="275177"/>
                    </a:lnTo>
                    <a:lnTo>
                      <a:pt x="137160" y="278987"/>
                    </a:lnTo>
                    <a:lnTo>
                      <a:pt x="74295" y="285750"/>
                    </a:lnTo>
                    <a:lnTo>
                      <a:pt x="41910" y="285750"/>
                    </a:lnTo>
                    <a:lnTo>
                      <a:pt x="31433" y="275177"/>
                    </a:lnTo>
                    <a:lnTo>
                      <a:pt x="14288" y="281940"/>
                    </a:lnTo>
                    <a:lnTo>
                      <a:pt x="6668" y="271463"/>
                    </a:lnTo>
                    <a:lnTo>
                      <a:pt x="31433" y="246602"/>
                    </a:lnTo>
                    <a:lnTo>
                      <a:pt x="35243" y="225742"/>
                    </a:lnTo>
                    <a:lnTo>
                      <a:pt x="10478" y="225742"/>
                    </a:lnTo>
                    <a:lnTo>
                      <a:pt x="6668" y="200977"/>
                    </a:lnTo>
                    <a:lnTo>
                      <a:pt x="0" y="183737"/>
                    </a:lnTo>
                    <a:lnTo>
                      <a:pt x="3810" y="134302"/>
                    </a:lnTo>
                    <a:lnTo>
                      <a:pt x="20955" y="9896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9" name="Freeform: Shape 208">
                <a:extLst>
                  <a:ext uri="{FF2B5EF4-FFF2-40B4-BE49-F238E27FC236}">
                    <a16:creationId xmlns:a16="http://schemas.microsoft.com/office/drawing/2014/main" id="{23C093D2-AA0C-18CC-BF4D-004207B7726B}"/>
                  </a:ext>
                </a:extLst>
              </p:cNvPr>
              <p:cNvSpPr/>
              <p:nvPr/>
            </p:nvSpPr>
            <p:spPr>
              <a:xfrm>
                <a:off x="6954655" y="3594133"/>
                <a:ext cx="116715" cy="130722"/>
              </a:xfrm>
              <a:custGeom>
                <a:avLst/>
                <a:gdLst>
                  <a:gd name="connsiteX0" fmla="*/ 116205 w 119062"/>
                  <a:gd name="connsiteY0" fmla="*/ 0 h 133350"/>
                  <a:gd name="connsiteX1" fmla="*/ 119063 w 119062"/>
                  <a:gd name="connsiteY1" fmla="*/ 41910 h 133350"/>
                  <a:gd name="connsiteX2" fmla="*/ 116205 w 119062"/>
                  <a:gd name="connsiteY2" fmla="*/ 52388 h 133350"/>
                  <a:gd name="connsiteX3" fmla="*/ 66675 w 119062"/>
                  <a:gd name="connsiteY3" fmla="*/ 58960 h 133350"/>
                  <a:gd name="connsiteX4" fmla="*/ 87630 w 119062"/>
                  <a:gd name="connsiteY4" fmla="*/ 87535 h 133350"/>
                  <a:gd name="connsiteX5" fmla="*/ 77152 w 119062"/>
                  <a:gd name="connsiteY5" fmla="*/ 98012 h 133350"/>
                  <a:gd name="connsiteX6" fmla="*/ 73343 w 119062"/>
                  <a:gd name="connsiteY6" fmla="*/ 108585 h 133350"/>
                  <a:gd name="connsiteX7" fmla="*/ 52388 w 119062"/>
                  <a:gd name="connsiteY7" fmla="*/ 112300 h 133350"/>
                  <a:gd name="connsiteX8" fmla="*/ 41910 w 119062"/>
                  <a:gd name="connsiteY8" fmla="*/ 126587 h 133350"/>
                  <a:gd name="connsiteX9" fmla="*/ 35243 w 119062"/>
                  <a:gd name="connsiteY9" fmla="*/ 133350 h 133350"/>
                  <a:gd name="connsiteX10" fmla="*/ 0 w 119062"/>
                  <a:gd name="connsiteY10" fmla="*/ 122873 h 133350"/>
                  <a:gd name="connsiteX11" fmla="*/ 10477 w 119062"/>
                  <a:gd name="connsiteY11" fmla="*/ 101822 h 133350"/>
                  <a:gd name="connsiteX12" fmla="*/ 14288 w 119062"/>
                  <a:gd name="connsiteY12" fmla="*/ 83725 h 133350"/>
                  <a:gd name="connsiteX13" fmla="*/ 14288 w 119062"/>
                  <a:gd name="connsiteY13" fmla="*/ 62865 h 133350"/>
                  <a:gd name="connsiteX14" fmla="*/ 17145 w 119062"/>
                  <a:gd name="connsiteY14" fmla="*/ 48578 h 133350"/>
                  <a:gd name="connsiteX15" fmla="*/ 17145 w 119062"/>
                  <a:gd name="connsiteY15" fmla="*/ 35147 h 133350"/>
                  <a:gd name="connsiteX16" fmla="*/ 20955 w 119062"/>
                  <a:gd name="connsiteY16" fmla="*/ 23813 h 133350"/>
                  <a:gd name="connsiteX17" fmla="*/ 27622 w 119062"/>
                  <a:gd name="connsiteY17" fmla="*/ 27623 h 133350"/>
                  <a:gd name="connsiteX18" fmla="*/ 35243 w 119062"/>
                  <a:gd name="connsiteY18" fmla="*/ 27623 h 133350"/>
                  <a:gd name="connsiteX19" fmla="*/ 49530 w 119062"/>
                  <a:gd name="connsiteY19" fmla="*/ 35147 h 133350"/>
                  <a:gd name="connsiteX20" fmla="*/ 62865 w 119062"/>
                  <a:gd name="connsiteY20" fmla="*/ 31337 h 133350"/>
                  <a:gd name="connsiteX21" fmla="*/ 116205 w 119062"/>
                  <a:gd name="connsiteY21" fmla="*/ 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062" h="133350">
                    <a:moveTo>
                      <a:pt x="116205" y="0"/>
                    </a:moveTo>
                    <a:lnTo>
                      <a:pt x="119063" y="41910"/>
                    </a:lnTo>
                    <a:lnTo>
                      <a:pt x="116205" y="52388"/>
                    </a:lnTo>
                    <a:lnTo>
                      <a:pt x="66675" y="58960"/>
                    </a:lnTo>
                    <a:lnTo>
                      <a:pt x="87630" y="87535"/>
                    </a:lnTo>
                    <a:lnTo>
                      <a:pt x="77152" y="98012"/>
                    </a:lnTo>
                    <a:lnTo>
                      <a:pt x="73343" y="108585"/>
                    </a:lnTo>
                    <a:lnTo>
                      <a:pt x="52388" y="112300"/>
                    </a:lnTo>
                    <a:lnTo>
                      <a:pt x="41910" y="126587"/>
                    </a:lnTo>
                    <a:lnTo>
                      <a:pt x="35243" y="133350"/>
                    </a:lnTo>
                    <a:lnTo>
                      <a:pt x="0" y="122873"/>
                    </a:lnTo>
                    <a:lnTo>
                      <a:pt x="10477" y="101822"/>
                    </a:lnTo>
                    <a:lnTo>
                      <a:pt x="14288" y="83725"/>
                    </a:lnTo>
                    <a:lnTo>
                      <a:pt x="14288" y="62865"/>
                    </a:lnTo>
                    <a:lnTo>
                      <a:pt x="17145" y="48578"/>
                    </a:lnTo>
                    <a:lnTo>
                      <a:pt x="17145" y="35147"/>
                    </a:lnTo>
                    <a:lnTo>
                      <a:pt x="20955" y="23813"/>
                    </a:lnTo>
                    <a:lnTo>
                      <a:pt x="27622" y="27623"/>
                    </a:lnTo>
                    <a:lnTo>
                      <a:pt x="35243" y="27623"/>
                    </a:lnTo>
                    <a:lnTo>
                      <a:pt x="49530" y="35147"/>
                    </a:lnTo>
                    <a:lnTo>
                      <a:pt x="62865" y="31337"/>
                    </a:lnTo>
                    <a:lnTo>
                      <a:pt x="11620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8C892628-009E-D2F8-2E3A-453AA7984516}"/>
                  </a:ext>
                </a:extLst>
              </p:cNvPr>
              <p:cNvSpPr/>
              <p:nvPr/>
            </p:nvSpPr>
            <p:spPr>
              <a:xfrm>
                <a:off x="6954655" y="3594133"/>
                <a:ext cx="116715" cy="130722"/>
              </a:xfrm>
              <a:custGeom>
                <a:avLst/>
                <a:gdLst>
                  <a:gd name="connsiteX0" fmla="*/ 116205 w 119062"/>
                  <a:gd name="connsiteY0" fmla="*/ 0 h 133350"/>
                  <a:gd name="connsiteX1" fmla="*/ 119063 w 119062"/>
                  <a:gd name="connsiteY1" fmla="*/ 41910 h 133350"/>
                  <a:gd name="connsiteX2" fmla="*/ 116205 w 119062"/>
                  <a:gd name="connsiteY2" fmla="*/ 52388 h 133350"/>
                  <a:gd name="connsiteX3" fmla="*/ 66675 w 119062"/>
                  <a:gd name="connsiteY3" fmla="*/ 58960 h 133350"/>
                  <a:gd name="connsiteX4" fmla="*/ 87630 w 119062"/>
                  <a:gd name="connsiteY4" fmla="*/ 87535 h 133350"/>
                  <a:gd name="connsiteX5" fmla="*/ 77152 w 119062"/>
                  <a:gd name="connsiteY5" fmla="*/ 98012 h 133350"/>
                  <a:gd name="connsiteX6" fmla="*/ 73343 w 119062"/>
                  <a:gd name="connsiteY6" fmla="*/ 108585 h 133350"/>
                  <a:gd name="connsiteX7" fmla="*/ 52388 w 119062"/>
                  <a:gd name="connsiteY7" fmla="*/ 112300 h 133350"/>
                  <a:gd name="connsiteX8" fmla="*/ 41910 w 119062"/>
                  <a:gd name="connsiteY8" fmla="*/ 126587 h 133350"/>
                  <a:gd name="connsiteX9" fmla="*/ 35243 w 119062"/>
                  <a:gd name="connsiteY9" fmla="*/ 133350 h 133350"/>
                  <a:gd name="connsiteX10" fmla="*/ 0 w 119062"/>
                  <a:gd name="connsiteY10" fmla="*/ 122873 h 133350"/>
                  <a:gd name="connsiteX11" fmla="*/ 10477 w 119062"/>
                  <a:gd name="connsiteY11" fmla="*/ 101822 h 133350"/>
                  <a:gd name="connsiteX12" fmla="*/ 14288 w 119062"/>
                  <a:gd name="connsiteY12" fmla="*/ 83725 h 133350"/>
                  <a:gd name="connsiteX13" fmla="*/ 14288 w 119062"/>
                  <a:gd name="connsiteY13" fmla="*/ 62865 h 133350"/>
                  <a:gd name="connsiteX14" fmla="*/ 17145 w 119062"/>
                  <a:gd name="connsiteY14" fmla="*/ 48578 h 133350"/>
                  <a:gd name="connsiteX15" fmla="*/ 17145 w 119062"/>
                  <a:gd name="connsiteY15" fmla="*/ 35147 h 133350"/>
                  <a:gd name="connsiteX16" fmla="*/ 20955 w 119062"/>
                  <a:gd name="connsiteY16" fmla="*/ 23813 h 133350"/>
                  <a:gd name="connsiteX17" fmla="*/ 27622 w 119062"/>
                  <a:gd name="connsiteY17" fmla="*/ 27623 h 133350"/>
                  <a:gd name="connsiteX18" fmla="*/ 35243 w 119062"/>
                  <a:gd name="connsiteY18" fmla="*/ 27623 h 133350"/>
                  <a:gd name="connsiteX19" fmla="*/ 49530 w 119062"/>
                  <a:gd name="connsiteY19" fmla="*/ 35147 h 133350"/>
                  <a:gd name="connsiteX20" fmla="*/ 62865 w 119062"/>
                  <a:gd name="connsiteY20" fmla="*/ 31337 h 133350"/>
                  <a:gd name="connsiteX21" fmla="*/ 116205 w 119062"/>
                  <a:gd name="connsiteY21" fmla="*/ 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062" h="133350">
                    <a:moveTo>
                      <a:pt x="116205" y="0"/>
                    </a:moveTo>
                    <a:lnTo>
                      <a:pt x="119063" y="41910"/>
                    </a:lnTo>
                    <a:lnTo>
                      <a:pt x="116205" y="52388"/>
                    </a:lnTo>
                    <a:lnTo>
                      <a:pt x="66675" y="58960"/>
                    </a:lnTo>
                    <a:lnTo>
                      <a:pt x="87630" y="87535"/>
                    </a:lnTo>
                    <a:lnTo>
                      <a:pt x="77152" y="98012"/>
                    </a:lnTo>
                    <a:lnTo>
                      <a:pt x="73343" y="108585"/>
                    </a:lnTo>
                    <a:lnTo>
                      <a:pt x="52388" y="112300"/>
                    </a:lnTo>
                    <a:lnTo>
                      <a:pt x="41910" y="126587"/>
                    </a:lnTo>
                    <a:lnTo>
                      <a:pt x="35243" y="133350"/>
                    </a:lnTo>
                    <a:lnTo>
                      <a:pt x="0" y="122873"/>
                    </a:lnTo>
                    <a:lnTo>
                      <a:pt x="10477" y="101822"/>
                    </a:lnTo>
                    <a:lnTo>
                      <a:pt x="14288" y="83725"/>
                    </a:lnTo>
                    <a:lnTo>
                      <a:pt x="14288" y="62865"/>
                    </a:lnTo>
                    <a:lnTo>
                      <a:pt x="17145" y="48578"/>
                    </a:lnTo>
                    <a:lnTo>
                      <a:pt x="17145" y="35147"/>
                    </a:lnTo>
                    <a:lnTo>
                      <a:pt x="20955" y="23813"/>
                    </a:lnTo>
                    <a:lnTo>
                      <a:pt x="27622" y="27623"/>
                    </a:lnTo>
                    <a:lnTo>
                      <a:pt x="35243" y="27623"/>
                    </a:lnTo>
                    <a:lnTo>
                      <a:pt x="49530" y="35147"/>
                    </a:lnTo>
                    <a:lnTo>
                      <a:pt x="62865" y="31337"/>
                    </a:lnTo>
                    <a:lnTo>
                      <a:pt x="11620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DE09984C-6B80-A568-C5F4-E576E90C881C}"/>
                  </a:ext>
                </a:extLst>
              </p:cNvPr>
              <p:cNvSpPr/>
              <p:nvPr/>
            </p:nvSpPr>
            <p:spPr>
              <a:xfrm>
                <a:off x="6957456" y="3628587"/>
                <a:ext cx="14005" cy="27171"/>
              </a:xfrm>
              <a:custGeom>
                <a:avLst/>
                <a:gdLst>
                  <a:gd name="connsiteX0" fmla="*/ 14288 w 14287"/>
                  <a:gd name="connsiteY0" fmla="*/ 0 h 27717"/>
                  <a:gd name="connsiteX1" fmla="*/ 3810 w 14287"/>
                  <a:gd name="connsiteY1" fmla="*/ 0 h 27717"/>
                  <a:gd name="connsiteX2" fmla="*/ 0 w 14287"/>
                  <a:gd name="connsiteY2" fmla="*/ 6763 h 27717"/>
                  <a:gd name="connsiteX3" fmla="*/ 0 w 14287"/>
                  <a:gd name="connsiteY3" fmla="*/ 17240 h 27717"/>
                  <a:gd name="connsiteX4" fmla="*/ 3810 w 14287"/>
                  <a:gd name="connsiteY4" fmla="*/ 27718 h 27717"/>
                  <a:gd name="connsiteX5" fmla="*/ 11430 w 14287"/>
                  <a:gd name="connsiteY5" fmla="*/ 27718 h 27717"/>
                  <a:gd name="connsiteX6" fmla="*/ 14288 w 14287"/>
                  <a:gd name="connsiteY6" fmla="*/ 13430 h 27717"/>
                  <a:gd name="connsiteX7" fmla="*/ 14288 w 14287"/>
                  <a:gd name="connsiteY7" fmla="*/ 2953 h 27717"/>
                  <a:gd name="connsiteX8" fmla="*/ 14288 w 14287"/>
                  <a:gd name="connsiteY8" fmla="*/ 0 h 2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287" h="27717">
                    <a:moveTo>
                      <a:pt x="14288" y="0"/>
                    </a:moveTo>
                    <a:lnTo>
                      <a:pt x="3810" y="0"/>
                    </a:lnTo>
                    <a:lnTo>
                      <a:pt x="0" y="6763"/>
                    </a:lnTo>
                    <a:lnTo>
                      <a:pt x="0" y="17240"/>
                    </a:lnTo>
                    <a:lnTo>
                      <a:pt x="3810" y="27718"/>
                    </a:lnTo>
                    <a:lnTo>
                      <a:pt x="11430" y="27718"/>
                    </a:lnTo>
                    <a:lnTo>
                      <a:pt x="14288" y="13430"/>
                    </a:lnTo>
                    <a:lnTo>
                      <a:pt x="14288" y="2953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BCCECC7F-F975-DB95-B08F-03E07811F86E}"/>
                  </a:ext>
                </a:extLst>
              </p:cNvPr>
              <p:cNvSpPr/>
              <p:nvPr/>
            </p:nvSpPr>
            <p:spPr>
              <a:xfrm>
                <a:off x="6957456" y="3628587"/>
                <a:ext cx="14005" cy="27171"/>
              </a:xfrm>
              <a:custGeom>
                <a:avLst/>
                <a:gdLst>
                  <a:gd name="connsiteX0" fmla="*/ 14288 w 14287"/>
                  <a:gd name="connsiteY0" fmla="*/ 0 h 27717"/>
                  <a:gd name="connsiteX1" fmla="*/ 3810 w 14287"/>
                  <a:gd name="connsiteY1" fmla="*/ 0 h 27717"/>
                  <a:gd name="connsiteX2" fmla="*/ 0 w 14287"/>
                  <a:gd name="connsiteY2" fmla="*/ 6763 h 27717"/>
                  <a:gd name="connsiteX3" fmla="*/ 0 w 14287"/>
                  <a:gd name="connsiteY3" fmla="*/ 17240 h 27717"/>
                  <a:gd name="connsiteX4" fmla="*/ 3810 w 14287"/>
                  <a:gd name="connsiteY4" fmla="*/ 27718 h 27717"/>
                  <a:gd name="connsiteX5" fmla="*/ 11430 w 14287"/>
                  <a:gd name="connsiteY5" fmla="*/ 27718 h 27717"/>
                  <a:gd name="connsiteX6" fmla="*/ 14288 w 14287"/>
                  <a:gd name="connsiteY6" fmla="*/ 13430 h 27717"/>
                  <a:gd name="connsiteX7" fmla="*/ 14288 w 14287"/>
                  <a:gd name="connsiteY7" fmla="*/ 2953 h 27717"/>
                  <a:gd name="connsiteX8" fmla="*/ 14288 w 14287"/>
                  <a:gd name="connsiteY8" fmla="*/ 0 h 2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287" h="27717">
                    <a:moveTo>
                      <a:pt x="14288" y="0"/>
                    </a:moveTo>
                    <a:lnTo>
                      <a:pt x="3810" y="0"/>
                    </a:lnTo>
                    <a:lnTo>
                      <a:pt x="0" y="6763"/>
                    </a:lnTo>
                    <a:lnTo>
                      <a:pt x="0" y="17240"/>
                    </a:lnTo>
                    <a:lnTo>
                      <a:pt x="3810" y="27718"/>
                    </a:lnTo>
                    <a:lnTo>
                      <a:pt x="11430" y="27718"/>
                    </a:lnTo>
                    <a:lnTo>
                      <a:pt x="14288" y="13430"/>
                    </a:lnTo>
                    <a:lnTo>
                      <a:pt x="14288" y="2953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29333515-644A-4DEF-447E-35757BACFC65}"/>
                  </a:ext>
                </a:extLst>
              </p:cNvPr>
              <p:cNvSpPr/>
              <p:nvPr/>
            </p:nvSpPr>
            <p:spPr>
              <a:xfrm>
                <a:off x="7392571" y="3818228"/>
                <a:ext cx="17740" cy="44725"/>
              </a:xfrm>
              <a:custGeom>
                <a:avLst/>
                <a:gdLst>
                  <a:gd name="connsiteX0" fmla="*/ 0 w 18097"/>
                  <a:gd name="connsiteY0" fmla="*/ 39053 h 45624"/>
                  <a:gd name="connsiteX1" fmla="*/ 0 w 18097"/>
                  <a:gd name="connsiteY1" fmla="*/ 18097 h 45624"/>
                  <a:gd name="connsiteX2" fmla="*/ 7620 w 18097"/>
                  <a:gd name="connsiteY2" fmla="*/ 0 h 45624"/>
                  <a:gd name="connsiteX3" fmla="*/ 14288 w 18097"/>
                  <a:gd name="connsiteY3" fmla="*/ 0 h 45624"/>
                  <a:gd name="connsiteX4" fmla="*/ 18098 w 18097"/>
                  <a:gd name="connsiteY4" fmla="*/ 14288 h 45624"/>
                  <a:gd name="connsiteX5" fmla="*/ 18098 w 18097"/>
                  <a:gd name="connsiteY5" fmla="*/ 24765 h 45624"/>
                  <a:gd name="connsiteX6" fmla="*/ 14288 w 18097"/>
                  <a:gd name="connsiteY6" fmla="*/ 39053 h 45624"/>
                  <a:gd name="connsiteX7" fmla="*/ 7620 w 18097"/>
                  <a:gd name="connsiteY7" fmla="*/ 45625 h 45624"/>
                  <a:gd name="connsiteX8" fmla="*/ 0 w 18097"/>
                  <a:gd name="connsiteY8" fmla="*/ 39053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097" h="45624">
                    <a:moveTo>
                      <a:pt x="0" y="39053"/>
                    </a:moveTo>
                    <a:lnTo>
                      <a:pt x="0" y="18097"/>
                    </a:lnTo>
                    <a:lnTo>
                      <a:pt x="7620" y="0"/>
                    </a:lnTo>
                    <a:lnTo>
                      <a:pt x="14288" y="0"/>
                    </a:lnTo>
                    <a:lnTo>
                      <a:pt x="18098" y="14288"/>
                    </a:lnTo>
                    <a:lnTo>
                      <a:pt x="18098" y="24765"/>
                    </a:lnTo>
                    <a:lnTo>
                      <a:pt x="14288" y="39053"/>
                    </a:lnTo>
                    <a:lnTo>
                      <a:pt x="7620" y="45625"/>
                    </a:lnTo>
                    <a:lnTo>
                      <a:pt x="0" y="3905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C3400C11-DB35-AA72-C4C0-7FF6498A80EC}"/>
                  </a:ext>
                </a:extLst>
              </p:cNvPr>
              <p:cNvSpPr/>
              <p:nvPr/>
            </p:nvSpPr>
            <p:spPr>
              <a:xfrm>
                <a:off x="5337443" y="2384016"/>
                <a:ext cx="285720" cy="141833"/>
              </a:xfrm>
              <a:custGeom>
                <a:avLst/>
                <a:gdLst>
                  <a:gd name="connsiteX0" fmla="*/ 23813 w 291465"/>
                  <a:gd name="connsiteY0" fmla="*/ 49435 h 144684"/>
                  <a:gd name="connsiteX1" fmla="*/ 0 w 291465"/>
                  <a:gd name="connsiteY1" fmla="*/ 49435 h 144684"/>
                  <a:gd name="connsiteX2" fmla="*/ 10478 w 291465"/>
                  <a:gd name="connsiteY2" fmla="*/ 31432 h 144684"/>
                  <a:gd name="connsiteX3" fmla="*/ 17145 w 291465"/>
                  <a:gd name="connsiteY3" fmla="*/ 17145 h 144684"/>
                  <a:gd name="connsiteX4" fmla="*/ 35243 w 291465"/>
                  <a:gd name="connsiteY4" fmla="*/ 2857 h 144684"/>
                  <a:gd name="connsiteX5" fmla="*/ 52388 w 291465"/>
                  <a:gd name="connsiteY5" fmla="*/ 10477 h 144684"/>
                  <a:gd name="connsiteX6" fmla="*/ 73343 w 291465"/>
                  <a:gd name="connsiteY6" fmla="*/ 24765 h 144684"/>
                  <a:gd name="connsiteX7" fmla="*/ 77153 w 291465"/>
                  <a:gd name="connsiteY7" fmla="*/ 41815 h 144684"/>
                  <a:gd name="connsiteX8" fmla="*/ 83820 w 291465"/>
                  <a:gd name="connsiteY8" fmla="*/ 49435 h 144684"/>
                  <a:gd name="connsiteX9" fmla="*/ 94297 w 291465"/>
                  <a:gd name="connsiteY9" fmla="*/ 41815 h 144684"/>
                  <a:gd name="connsiteX10" fmla="*/ 101918 w 291465"/>
                  <a:gd name="connsiteY10" fmla="*/ 31432 h 144684"/>
                  <a:gd name="connsiteX11" fmla="*/ 112395 w 291465"/>
                  <a:gd name="connsiteY11" fmla="*/ 20860 h 144684"/>
                  <a:gd name="connsiteX12" fmla="*/ 119063 w 291465"/>
                  <a:gd name="connsiteY12" fmla="*/ 27527 h 144684"/>
                  <a:gd name="connsiteX13" fmla="*/ 126682 w 291465"/>
                  <a:gd name="connsiteY13" fmla="*/ 38100 h 144684"/>
                  <a:gd name="connsiteX14" fmla="*/ 140018 w 291465"/>
                  <a:gd name="connsiteY14" fmla="*/ 24765 h 144684"/>
                  <a:gd name="connsiteX15" fmla="*/ 151447 w 291465"/>
                  <a:gd name="connsiteY15" fmla="*/ 14288 h 144684"/>
                  <a:gd name="connsiteX16" fmla="*/ 161925 w 291465"/>
                  <a:gd name="connsiteY16" fmla="*/ 20860 h 144684"/>
                  <a:gd name="connsiteX17" fmla="*/ 182880 w 291465"/>
                  <a:gd name="connsiteY17" fmla="*/ 24765 h 144684"/>
                  <a:gd name="connsiteX18" fmla="*/ 207645 w 291465"/>
                  <a:gd name="connsiteY18" fmla="*/ 14288 h 144684"/>
                  <a:gd name="connsiteX19" fmla="*/ 224790 w 291465"/>
                  <a:gd name="connsiteY19" fmla="*/ 0 h 144684"/>
                  <a:gd name="connsiteX20" fmla="*/ 245745 w 291465"/>
                  <a:gd name="connsiteY20" fmla="*/ 20860 h 144684"/>
                  <a:gd name="connsiteX21" fmla="*/ 263843 w 291465"/>
                  <a:gd name="connsiteY21" fmla="*/ 27527 h 144684"/>
                  <a:gd name="connsiteX22" fmla="*/ 278130 w 291465"/>
                  <a:gd name="connsiteY22" fmla="*/ 41815 h 144684"/>
                  <a:gd name="connsiteX23" fmla="*/ 291465 w 291465"/>
                  <a:gd name="connsiteY23" fmla="*/ 60007 h 144684"/>
                  <a:gd name="connsiteX24" fmla="*/ 291465 w 291465"/>
                  <a:gd name="connsiteY24" fmla="*/ 73247 h 144684"/>
                  <a:gd name="connsiteX25" fmla="*/ 274320 w 291465"/>
                  <a:gd name="connsiteY25" fmla="*/ 87535 h 144684"/>
                  <a:gd name="connsiteX26" fmla="*/ 245745 w 291465"/>
                  <a:gd name="connsiteY26" fmla="*/ 105727 h 144684"/>
                  <a:gd name="connsiteX27" fmla="*/ 210503 w 291465"/>
                  <a:gd name="connsiteY27" fmla="*/ 120015 h 144684"/>
                  <a:gd name="connsiteX28" fmla="*/ 179070 w 291465"/>
                  <a:gd name="connsiteY28" fmla="*/ 130397 h 144684"/>
                  <a:gd name="connsiteX29" fmla="*/ 154305 w 291465"/>
                  <a:gd name="connsiteY29" fmla="*/ 144685 h 144684"/>
                  <a:gd name="connsiteX30" fmla="*/ 129540 w 291465"/>
                  <a:gd name="connsiteY30" fmla="*/ 144685 h 144684"/>
                  <a:gd name="connsiteX31" fmla="*/ 101918 w 291465"/>
                  <a:gd name="connsiteY31" fmla="*/ 133350 h 144684"/>
                  <a:gd name="connsiteX32" fmla="*/ 83820 w 291465"/>
                  <a:gd name="connsiteY32" fmla="*/ 122777 h 144684"/>
                  <a:gd name="connsiteX33" fmla="*/ 31432 w 291465"/>
                  <a:gd name="connsiteY33" fmla="*/ 122777 h 144684"/>
                  <a:gd name="connsiteX34" fmla="*/ 56197 w 291465"/>
                  <a:gd name="connsiteY34" fmla="*/ 109538 h 144684"/>
                  <a:gd name="connsiteX35" fmla="*/ 59055 w 291465"/>
                  <a:gd name="connsiteY35" fmla="*/ 91440 h 144684"/>
                  <a:gd name="connsiteX36" fmla="*/ 45720 w 291465"/>
                  <a:gd name="connsiteY36" fmla="*/ 84677 h 144684"/>
                  <a:gd name="connsiteX37" fmla="*/ 23813 w 291465"/>
                  <a:gd name="connsiteY37" fmla="*/ 80963 h 144684"/>
                  <a:gd name="connsiteX38" fmla="*/ 2857 w 291465"/>
                  <a:gd name="connsiteY38" fmla="*/ 77152 h 144684"/>
                  <a:gd name="connsiteX39" fmla="*/ 31432 w 291465"/>
                  <a:gd name="connsiteY39" fmla="*/ 66675 h 144684"/>
                  <a:gd name="connsiteX40" fmla="*/ 52388 w 291465"/>
                  <a:gd name="connsiteY40" fmla="*/ 56102 h 144684"/>
                  <a:gd name="connsiteX41" fmla="*/ 41910 w 291465"/>
                  <a:gd name="connsiteY41" fmla="*/ 49435 h 144684"/>
                  <a:gd name="connsiteX42" fmla="*/ 23813 w 291465"/>
                  <a:gd name="connsiteY42" fmla="*/ 49435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291465" h="144684">
                    <a:moveTo>
                      <a:pt x="23813" y="49435"/>
                    </a:moveTo>
                    <a:lnTo>
                      <a:pt x="0" y="49435"/>
                    </a:lnTo>
                    <a:lnTo>
                      <a:pt x="10478" y="31432"/>
                    </a:lnTo>
                    <a:lnTo>
                      <a:pt x="17145" y="17145"/>
                    </a:lnTo>
                    <a:lnTo>
                      <a:pt x="35243" y="2857"/>
                    </a:lnTo>
                    <a:lnTo>
                      <a:pt x="52388" y="10477"/>
                    </a:lnTo>
                    <a:lnTo>
                      <a:pt x="73343" y="24765"/>
                    </a:lnTo>
                    <a:lnTo>
                      <a:pt x="77153" y="41815"/>
                    </a:lnTo>
                    <a:lnTo>
                      <a:pt x="83820" y="49435"/>
                    </a:lnTo>
                    <a:lnTo>
                      <a:pt x="94297" y="41815"/>
                    </a:lnTo>
                    <a:lnTo>
                      <a:pt x="101918" y="31432"/>
                    </a:lnTo>
                    <a:lnTo>
                      <a:pt x="112395" y="20860"/>
                    </a:lnTo>
                    <a:lnTo>
                      <a:pt x="119063" y="27527"/>
                    </a:lnTo>
                    <a:lnTo>
                      <a:pt x="126682" y="38100"/>
                    </a:lnTo>
                    <a:lnTo>
                      <a:pt x="140018" y="24765"/>
                    </a:lnTo>
                    <a:lnTo>
                      <a:pt x="151447" y="14288"/>
                    </a:lnTo>
                    <a:lnTo>
                      <a:pt x="161925" y="20860"/>
                    </a:lnTo>
                    <a:lnTo>
                      <a:pt x="182880" y="24765"/>
                    </a:lnTo>
                    <a:lnTo>
                      <a:pt x="207645" y="14288"/>
                    </a:lnTo>
                    <a:lnTo>
                      <a:pt x="224790" y="0"/>
                    </a:lnTo>
                    <a:lnTo>
                      <a:pt x="245745" y="20860"/>
                    </a:lnTo>
                    <a:lnTo>
                      <a:pt x="263843" y="27527"/>
                    </a:lnTo>
                    <a:lnTo>
                      <a:pt x="278130" y="41815"/>
                    </a:lnTo>
                    <a:lnTo>
                      <a:pt x="291465" y="60007"/>
                    </a:lnTo>
                    <a:lnTo>
                      <a:pt x="291465" y="73247"/>
                    </a:lnTo>
                    <a:lnTo>
                      <a:pt x="274320" y="87535"/>
                    </a:lnTo>
                    <a:lnTo>
                      <a:pt x="245745" y="105727"/>
                    </a:lnTo>
                    <a:lnTo>
                      <a:pt x="210503" y="120015"/>
                    </a:lnTo>
                    <a:lnTo>
                      <a:pt x="179070" y="130397"/>
                    </a:lnTo>
                    <a:lnTo>
                      <a:pt x="154305" y="144685"/>
                    </a:lnTo>
                    <a:lnTo>
                      <a:pt x="129540" y="144685"/>
                    </a:lnTo>
                    <a:lnTo>
                      <a:pt x="101918" y="133350"/>
                    </a:lnTo>
                    <a:lnTo>
                      <a:pt x="83820" y="122777"/>
                    </a:lnTo>
                    <a:lnTo>
                      <a:pt x="31432" y="122777"/>
                    </a:lnTo>
                    <a:lnTo>
                      <a:pt x="56197" y="109538"/>
                    </a:lnTo>
                    <a:lnTo>
                      <a:pt x="59055" y="91440"/>
                    </a:lnTo>
                    <a:lnTo>
                      <a:pt x="45720" y="84677"/>
                    </a:lnTo>
                    <a:lnTo>
                      <a:pt x="23813" y="80963"/>
                    </a:lnTo>
                    <a:lnTo>
                      <a:pt x="2857" y="77152"/>
                    </a:lnTo>
                    <a:lnTo>
                      <a:pt x="31432" y="66675"/>
                    </a:lnTo>
                    <a:lnTo>
                      <a:pt x="52388" y="56102"/>
                    </a:lnTo>
                    <a:lnTo>
                      <a:pt x="41910" y="49435"/>
                    </a:lnTo>
                    <a:lnTo>
                      <a:pt x="23813" y="4943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0C728E16-A4CC-B914-6AAF-C1A094FC6FC9}"/>
                  </a:ext>
                </a:extLst>
              </p:cNvPr>
              <p:cNvSpPr/>
              <p:nvPr/>
            </p:nvSpPr>
            <p:spPr>
              <a:xfrm>
                <a:off x="3472796" y="4053435"/>
                <a:ext cx="99908" cy="110274"/>
              </a:xfrm>
              <a:custGeom>
                <a:avLst/>
                <a:gdLst>
                  <a:gd name="connsiteX0" fmla="*/ 60008 w 101917"/>
                  <a:gd name="connsiteY0" fmla="*/ 112490 h 112490"/>
                  <a:gd name="connsiteX1" fmla="*/ 74295 w 101917"/>
                  <a:gd name="connsiteY1" fmla="*/ 99155 h 112490"/>
                  <a:gd name="connsiteX2" fmla="*/ 84772 w 101917"/>
                  <a:gd name="connsiteY2" fmla="*/ 87725 h 112490"/>
                  <a:gd name="connsiteX3" fmla="*/ 91440 w 101917"/>
                  <a:gd name="connsiteY3" fmla="*/ 80963 h 112490"/>
                  <a:gd name="connsiteX4" fmla="*/ 101917 w 101917"/>
                  <a:gd name="connsiteY4" fmla="*/ 66675 h 112490"/>
                  <a:gd name="connsiteX5" fmla="*/ 95250 w 101917"/>
                  <a:gd name="connsiteY5" fmla="*/ 60103 h 112490"/>
                  <a:gd name="connsiteX6" fmla="*/ 84772 w 101917"/>
                  <a:gd name="connsiteY6" fmla="*/ 60103 h 112490"/>
                  <a:gd name="connsiteX7" fmla="*/ 84772 w 101917"/>
                  <a:gd name="connsiteY7" fmla="*/ 0 h 112490"/>
                  <a:gd name="connsiteX8" fmla="*/ 31433 w 101917"/>
                  <a:gd name="connsiteY8" fmla="*/ 3905 h 112490"/>
                  <a:gd name="connsiteX9" fmla="*/ 28575 w 101917"/>
                  <a:gd name="connsiteY9" fmla="*/ 10478 h 112490"/>
                  <a:gd name="connsiteX10" fmla="*/ 31433 w 101917"/>
                  <a:gd name="connsiteY10" fmla="*/ 24765 h 112490"/>
                  <a:gd name="connsiteX11" fmla="*/ 45720 w 101917"/>
                  <a:gd name="connsiteY11" fmla="*/ 35338 h 112490"/>
                  <a:gd name="connsiteX12" fmla="*/ 52388 w 101917"/>
                  <a:gd name="connsiteY12" fmla="*/ 45815 h 112490"/>
                  <a:gd name="connsiteX13" fmla="*/ 45720 w 101917"/>
                  <a:gd name="connsiteY13" fmla="*/ 49625 h 112490"/>
                  <a:gd name="connsiteX14" fmla="*/ 24765 w 101917"/>
                  <a:gd name="connsiteY14" fmla="*/ 52388 h 112490"/>
                  <a:gd name="connsiteX15" fmla="*/ 17145 w 101917"/>
                  <a:gd name="connsiteY15" fmla="*/ 49625 h 112490"/>
                  <a:gd name="connsiteX16" fmla="*/ 6667 w 101917"/>
                  <a:gd name="connsiteY16" fmla="*/ 63913 h 112490"/>
                  <a:gd name="connsiteX17" fmla="*/ 3810 w 101917"/>
                  <a:gd name="connsiteY17" fmla="*/ 74390 h 112490"/>
                  <a:gd name="connsiteX18" fmla="*/ 0 w 101917"/>
                  <a:gd name="connsiteY18" fmla="*/ 95250 h 112490"/>
                  <a:gd name="connsiteX19" fmla="*/ 10478 w 101917"/>
                  <a:gd name="connsiteY19" fmla="*/ 102013 h 112490"/>
                  <a:gd name="connsiteX20" fmla="*/ 20955 w 101917"/>
                  <a:gd name="connsiteY20" fmla="*/ 109538 h 112490"/>
                  <a:gd name="connsiteX21" fmla="*/ 39053 w 101917"/>
                  <a:gd name="connsiteY21" fmla="*/ 112490 h 112490"/>
                  <a:gd name="connsiteX22" fmla="*/ 60008 w 101917"/>
                  <a:gd name="connsiteY22" fmla="*/ 112490 h 112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917" h="112490">
                    <a:moveTo>
                      <a:pt x="60008" y="112490"/>
                    </a:moveTo>
                    <a:lnTo>
                      <a:pt x="74295" y="99155"/>
                    </a:lnTo>
                    <a:lnTo>
                      <a:pt x="84772" y="87725"/>
                    </a:lnTo>
                    <a:lnTo>
                      <a:pt x="91440" y="80963"/>
                    </a:lnTo>
                    <a:lnTo>
                      <a:pt x="101917" y="66675"/>
                    </a:lnTo>
                    <a:lnTo>
                      <a:pt x="95250" y="60103"/>
                    </a:lnTo>
                    <a:lnTo>
                      <a:pt x="84772" y="60103"/>
                    </a:lnTo>
                    <a:lnTo>
                      <a:pt x="84772" y="0"/>
                    </a:lnTo>
                    <a:lnTo>
                      <a:pt x="31433" y="3905"/>
                    </a:lnTo>
                    <a:lnTo>
                      <a:pt x="28575" y="10478"/>
                    </a:lnTo>
                    <a:lnTo>
                      <a:pt x="31433" y="24765"/>
                    </a:lnTo>
                    <a:lnTo>
                      <a:pt x="45720" y="35338"/>
                    </a:lnTo>
                    <a:lnTo>
                      <a:pt x="52388" y="45815"/>
                    </a:lnTo>
                    <a:lnTo>
                      <a:pt x="45720" y="49625"/>
                    </a:lnTo>
                    <a:lnTo>
                      <a:pt x="24765" y="52388"/>
                    </a:lnTo>
                    <a:lnTo>
                      <a:pt x="17145" y="49625"/>
                    </a:lnTo>
                    <a:lnTo>
                      <a:pt x="6667" y="63913"/>
                    </a:lnTo>
                    <a:lnTo>
                      <a:pt x="3810" y="74390"/>
                    </a:lnTo>
                    <a:lnTo>
                      <a:pt x="0" y="95250"/>
                    </a:lnTo>
                    <a:lnTo>
                      <a:pt x="10478" y="102013"/>
                    </a:lnTo>
                    <a:lnTo>
                      <a:pt x="20955" y="109538"/>
                    </a:lnTo>
                    <a:lnTo>
                      <a:pt x="39053" y="112490"/>
                    </a:lnTo>
                    <a:lnTo>
                      <a:pt x="60008" y="11249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23E5EA8D-3B50-3ABA-CB27-F7EFAAA780CE}"/>
                  </a:ext>
                </a:extLst>
              </p:cNvPr>
              <p:cNvSpPr/>
              <p:nvPr/>
            </p:nvSpPr>
            <p:spPr>
              <a:xfrm>
                <a:off x="3472796" y="4053435"/>
                <a:ext cx="99908" cy="110274"/>
              </a:xfrm>
              <a:custGeom>
                <a:avLst/>
                <a:gdLst>
                  <a:gd name="connsiteX0" fmla="*/ 60008 w 101917"/>
                  <a:gd name="connsiteY0" fmla="*/ 112490 h 112490"/>
                  <a:gd name="connsiteX1" fmla="*/ 74295 w 101917"/>
                  <a:gd name="connsiteY1" fmla="*/ 99155 h 112490"/>
                  <a:gd name="connsiteX2" fmla="*/ 84772 w 101917"/>
                  <a:gd name="connsiteY2" fmla="*/ 87725 h 112490"/>
                  <a:gd name="connsiteX3" fmla="*/ 91440 w 101917"/>
                  <a:gd name="connsiteY3" fmla="*/ 80963 h 112490"/>
                  <a:gd name="connsiteX4" fmla="*/ 101917 w 101917"/>
                  <a:gd name="connsiteY4" fmla="*/ 66675 h 112490"/>
                  <a:gd name="connsiteX5" fmla="*/ 95250 w 101917"/>
                  <a:gd name="connsiteY5" fmla="*/ 60103 h 112490"/>
                  <a:gd name="connsiteX6" fmla="*/ 84772 w 101917"/>
                  <a:gd name="connsiteY6" fmla="*/ 60103 h 112490"/>
                  <a:gd name="connsiteX7" fmla="*/ 84772 w 101917"/>
                  <a:gd name="connsiteY7" fmla="*/ 0 h 112490"/>
                  <a:gd name="connsiteX8" fmla="*/ 31433 w 101917"/>
                  <a:gd name="connsiteY8" fmla="*/ 3905 h 112490"/>
                  <a:gd name="connsiteX9" fmla="*/ 28575 w 101917"/>
                  <a:gd name="connsiteY9" fmla="*/ 10478 h 112490"/>
                  <a:gd name="connsiteX10" fmla="*/ 31433 w 101917"/>
                  <a:gd name="connsiteY10" fmla="*/ 24765 h 112490"/>
                  <a:gd name="connsiteX11" fmla="*/ 45720 w 101917"/>
                  <a:gd name="connsiteY11" fmla="*/ 35338 h 112490"/>
                  <a:gd name="connsiteX12" fmla="*/ 52388 w 101917"/>
                  <a:gd name="connsiteY12" fmla="*/ 45815 h 112490"/>
                  <a:gd name="connsiteX13" fmla="*/ 45720 w 101917"/>
                  <a:gd name="connsiteY13" fmla="*/ 49625 h 112490"/>
                  <a:gd name="connsiteX14" fmla="*/ 24765 w 101917"/>
                  <a:gd name="connsiteY14" fmla="*/ 52388 h 112490"/>
                  <a:gd name="connsiteX15" fmla="*/ 17145 w 101917"/>
                  <a:gd name="connsiteY15" fmla="*/ 49625 h 112490"/>
                  <a:gd name="connsiteX16" fmla="*/ 6667 w 101917"/>
                  <a:gd name="connsiteY16" fmla="*/ 63913 h 112490"/>
                  <a:gd name="connsiteX17" fmla="*/ 3810 w 101917"/>
                  <a:gd name="connsiteY17" fmla="*/ 74390 h 112490"/>
                  <a:gd name="connsiteX18" fmla="*/ 0 w 101917"/>
                  <a:gd name="connsiteY18" fmla="*/ 95250 h 112490"/>
                  <a:gd name="connsiteX19" fmla="*/ 10478 w 101917"/>
                  <a:gd name="connsiteY19" fmla="*/ 102013 h 112490"/>
                  <a:gd name="connsiteX20" fmla="*/ 20955 w 101917"/>
                  <a:gd name="connsiteY20" fmla="*/ 109538 h 112490"/>
                  <a:gd name="connsiteX21" fmla="*/ 39053 w 101917"/>
                  <a:gd name="connsiteY21" fmla="*/ 112490 h 112490"/>
                  <a:gd name="connsiteX22" fmla="*/ 60008 w 101917"/>
                  <a:gd name="connsiteY22" fmla="*/ 112490 h 112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917" h="112490">
                    <a:moveTo>
                      <a:pt x="60008" y="112490"/>
                    </a:moveTo>
                    <a:lnTo>
                      <a:pt x="74295" y="99155"/>
                    </a:lnTo>
                    <a:lnTo>
                      <a:pt x="84772" y="87725"/>
                    </a:lnTo>
                    <a:lnTo>
                      <a:pt x="91440" y="80963"/>
                    </a:lnTo>
                    <a:lnTo>
                      <a:pt x="101917" y="66675"/>
                    </a:lnTo>
                    <a:lnTo>
                      <a:pt x="95250" y="60103"/>
                    </a:lnTo>
                    <a:lnTo>
                      <a:pt x="84772" y="60103"/>
                    </a:lnTo>
                    <a:lnTo>
                      <a:pt x="84772" y="0"/>
                    </a:lnTo>
                    <a:lnTo>
                      <a:pt x="31433" y="3905"/>
                    </a:lnTo>
                    <a:lnTo>
                      <a:pt x="28575" y="10478"/>
                    </a:lnTo>
                    <a:lnTo>
                      <a:pt x="31433" y="24765"/>
                    </a:lnTo>
                    <a:lnTo>
                      <a:pt x="45720" y="35338"/>
                    </a:lnTo>
                    <a:lnTo>
                      <a:pt x="52388" y="45815"/>
                    </a:lnTo>
                    <a:lnTo>
                      <a:pt x="45720" y="49625"/>
                    </a:lnTo>
                    <a:lnTo>
                      <a:pt x="24765" y="52388"/>
                    </a:lnTo>
                    <a:lnTo>
                      <a:pt x="17145" y="49625"/>
                    </a:lnTo>
                    <a:lnTo>
                      <a:pt x="6667" y="63913"/>
                    </a:lnTo>
                    <a:lnTo>
                      <a:pt x="3810" y="74390"/>
                    </a:lnTo>
                    <a:lnTo>
                      <a:pt x="0" y="95250"/>
                    </a:lnTo>
                    <a:lnTo>
                      <a:pt x="10478" y="102013"/>
                    </a:lnTo>
                    <a:lnTo>
                      <a:pt x="20955" y="109538"/>
                    </a:lnTo>
                    <a:lnTo>
                      <a:pt x="39053" y="112490"/>
                    </a:lnTo>
                    <a:lnTo>
                      <a:pt x="60008" y="1124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1A3D2EF2-63A1-5962-D537-8F4733655A4B}"/>
                  </a:ext>
                </a:extLst>
              </p:cNvPr>
              <p:cNvSpPr/>
              <p:nvPr/>
            </p:nvSpPr>
            <p:spPr>
              <a:xfrm>
                <a:off x="3555897" y="4035694"/>
                <a:ext cx="20542" cy="76659"/>
              </a:xfrm>
              <a:custGeom>
                <a:avLst/>
                <a:gdLst>
                  <a:gd name="connsiteX0" fmla="*/ 17145 w 20955"/>
                  <a:gd name="connsiteY0" fmla="*/ 0 h 78200"/>
                  <a:gd name="connsiteX1" fmla="*/ 20955 w 20955"/>
                  <a:gd name="connsiteY1" fmla="*/ 10573 h 78200"/>
                  <a:gd name="connsiteX2" fmla="*/ 17145 w 20955"/>
                  <a:gd name="connsiteY2" fmla="*/ 22003 h 78200"/>
                  <a:gd name="connsiteX3" fmla="*/ 17145 w 20955"/>
                  <a:gd name="connsiteY3" fmla="*/ 46672 h 78200"/>
                  <a:gd name="connsiteX4" fmla="*/ 17145 w 20955"/>
                  <a:gd name="connsiteY4" fmla="*/ 60103 h 78200"/>
                  <a:gd name="connsiteX5" fmla="*/ 10478 w 20955"/>
                  <a:gd name="connsiteY5" fmla="*/ 67723 h 78200"/>
                  <a:gd name="connsiteX6" fmla="*/ 0 w 20955"/>
                  <a:gd name="connsiteY6" fmla="*/ 78200 h 78200"/>
                  <a:gd name="connsiteX7" fmla="*/ 0 w 20955"/>
                  <a:gd name="connsiteY7" fmla="*/ 18097 h 78200"/>
                  <a:gd name="connsiteX8" fmla="*/ 10478 w 20955"/>
                  <a:gd name="connsiteY8" fmla="*/ 7715 h 78200"/>
                  <a:gd name="connsiteX9" fmla="*/ 17145 w 20955"/>
                  <a:gd name="connsiteY9" fmla="*/ 0 h 7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955" h="78200">
                    <a:moveTo>
                      <a:pt x="17145" y="0"/>
                    </a:moveTo>
                    <a:lnTo>
                      <a:pt x="20955" y="10573"/>
                    </a:lnTo>
                    <a:lnTo>
                      <a:pt x="17145" y="22003"/>
                    </a:lnTo>
                    <a:lnTo>
                      <a:pt x="17145" y="46672"/>
                    </a:lnTo>
                    <a:lnTo>
                      <a:pt x="17145" y="60103"/>
                    </a:lnTo>
                    <a:lnTo>
                      <a:pt x="10478" y="67723"/>
                    </a:lnTo>
                    <a:lnTo>
                      <a:pt x="0" y="78200"/>
                    </a:lnTo>
                    <a:lnTo>
                      <a:pt x="0" y="18097"/>
                    </a:lnTo>
                    <a:lnTo>
                      <a:pt x="10478" y="7715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BB4AE559-4DD4-7884-D7C4-311E290DCBD2}"/>
                  </a:ext>
                </a:extLst>
              </p:cNvPr>
              <p:cNvSpPr/>
              <p:nvPr/>
            </p:nvSpPr>
            <p:spPr>
              <a:xfrm>
                <a:off x="3555897" y="4035694"/>
                <a:ext cx="20542" cy="76659"/>
              </a:xfrm>
              <a:custGeom>
                <a:avLst/>
                <a:gdLst>
                  <a:gd name="connsiteX0" fmla="*/ 17145 w 20955"/>
                  <a:gd name="connsiteY0" fmla="*/ 0 h 78200"/>
                  <a:gd name="connsiteX1" fmla="*/ 20955 w 20955"/>
                  <a:gd name="connsiteY1" fmla="*/ 10573 h 78200"/>
                  <a:gd name="connsiteX2" fmla="*/ 17145 w 20955"/>
                  <a:gd name="connsiteY2" fmla="*/ 22003 h 78200"/>
                  <a:gd name="connsiteX3" fmla="*/ 17145 w 20955"/>
                  <a:gd name="connsiteY3" fmla="*/ 46672 h 78200"/>
                  <a:gd name="connsiteX4" fmla="*/ 17145 w 20955"/>
                  <a:gd name="connsiteY4" fmla="*/ 60103 h 78200"/>
                  <a:gd name="connsiteX5" fmla="*/ 10478 w 20955"/>
                  <a:gd name="connsiteY5" fmla="*/ 67723 h 78200"/>
                  <a:gd name="connsiteX6" fmla="*/ 0 w 20955"/>
                  <a:gd name="connsiteY6" fmla="*/ 78200 h 78200"/>
                  <a:gd name="connsiteX7" fmla="*/ 0 w 20955"/>
                  <a:gd name="connsiteY7" fmla="*/ 18097 h 78200"/>
                  <a:gd name="connsiteX8" fmla="*/ 10478 w 20955"/>
                  <a:gd name="connsiteY8" fmla="*/ 7715 h 78200"/>
                  <a:gd name="connsiteX9" fmla="*/ 17145 w 20955"/>
                  <a:gd name="connsiteY9" fmla="*/ 0 h 7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955" h="78200">
                    <a:moveTo>
                      <a:pt x="17145" y="0"/>
                    </a:moveTo>
                    <a:lnTo>
                      <a:pt x="20955" y="10573"/>
                    </a:lnTo>
                    <a:lnTo>
                      <a:pt x="17145" y="22003"/>
                    </a:lnTo>
                    <a:lnTo>
                      <a:pt x="17145" y="46672"/>
                    </a:lnTo>
                    <a:lnTo>
                      <a:pt x="17145" y="60103"/>
                    </a:lnTo>
                    <a:lnTo>
                      <a:pt x="10478" y="67723"/>
                    </a:lnTo>
                    <a:lnTo>
                      <a:pt x="0" y="78200"/>
                    </a:lnTo>
                    <a:lnTo>
                      <a:pt x="0" y="18097"/>
                    </a:lnTo>
                    <a:lnTo>
                      <a:pt x="10478" y="7715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56A58EEE-4EC6-2CF5-8465-F72902AC96EF}"/>
                  </a:ext>
                </a:extLst>
              </p:cNvPr>
              <p:cNvSpPr/>
              <p:nvPr/>
            </p:nvSpPr>
            <p:spPr>
              <a:xfrm>
                <a:off x="3531621" y="4146808"/>
                <a:ext cx="58824" cy="38283"/>
              </a:xfrm>
              <a:custGeom>
                <a:avLst/>
                <a:gdLst>
                  <a:gd name="connsiteX0" fmla="*/ 0 w 60007"/>
                  <a:gd name="connsiteY0" fmla="*/ 17240 h 39052"/>
                  <a:gd name="connsiteX1" fmla="*/ 20955 w 60007"/>
                  <a:gd name="connsiteY1" fmla="*/ 0 h 39052"/>
                  <a:gd name="connsiteX2" fmla="*/ 31433 w 60007"/>
                  <a:gd name="connsiteY2" fmla="*/ 6763 h 39052"/>
                  <a:gd name="connsiteX3" fmla="*/ 41910 w 60007"/>
                  <a:gd name="connsiteY3" fmla="*/ 14288 h 39052"/>
                  <a:gd name="connsiteX4" fmla="*/ 56197 w 60007"/>
                  <a:gd name="connsiteY4" fmla="*/ 17240 h 39052"/>
                  <a:gd name="connsiteX5" fmla="*/ 60008 w 60007"/>
                  <a:gd name="connsiteY5" fmla="*/ 24765 h 39052"/>
                  <a:gd name="connsiteX6" fmla="*/ 52388 w 60007"/>
                  <a:gd name="connsiteY6" fmla="*/ 35338 h 39052"/>
                  <a:gd name="connsiteX7" fmla="*/ 45720 w 60007"/>
                  <a:gd name="connsiteY7" fmla="*/ 39053 h 39052"/>
                  <a:gd name="connsiteX8" fmla="*/ 27622 w 60007"/>
                  <a:gd name="connsiteY8" fmla="*/ 31528 h 39052"/>
                  <a:gd name="connsiteX9" fmla="*/ 14288 w 60007"/>
                  <a:gd name="connsiteY9" fmla="*/ 24765 h 39052"/>
                  <a:gd name="connsiteX10" fmla="*/ 0 w 60007"/>
                  <a:gd name="connsiteY10" fmla="*/ 17240 h 3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007" h="39052">
                    <a:moveTo>
                      <a:pt x="0" y="17240"/>
                    </a:moveTo>
                    <a:lnTo>
                      <a:pt x="20955" y="0"/>
                    </a:lnTo>
                    <a:lnTo>
                      <a:pt x="31433" y="6763"/>
                    </a:lnTo>
                    <a:lnTo>
                      <a:pt x="41910" y="14288"/>
                    </a:lnTo>
                    <a:lnTo>
                      <a:pt x="56197" y="17240"/>
                    </a:lnTo>
                    <a:lnTo>
                      <a:pt x="60008" y="24765"/>
                    </a:lnTo>
                    <a:lnTo>
                      <a:pt x="52388" y="35338"/>
                    </a:lnTo>
                    <a:lnTo>
                      <a:pt x="45720" y="39053"/>
                    </a:lnTo>
                    <a:lnTo>
                      <a:pt x="27622" y="31528"/>
                    </a:lnTo>
                    <a:lnTo>
                      <a:pt x="14288" y="24765"/>
                    </a:lnTo>
                    <a:lnTo>
                      <a:pt x="0" y="1724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33F8855F-D469-75DD-428C-3A7D71E643E1}"/>
                  </a:ext>
                </a:extLst>
              </p:cNvPr>
              <p:cNvSpPr/>
              <p:nvPr/>
            </p:nvSpPr>
            <p:spPr>
              <a:xfrm>
                <a:off x="3531621" y="4146808"/>
                <a:ext cx="58824" cy="38283"/>
              </a:xfrm>
              <a:custGeom>
                <a:avLst/>
                <a:gdLst>
                  <a:gd name="connsiteX0" fmla="*/ 0 w 60007"/>
                  <a:gd name="connsiteY0" fmla="*/ 17240 h 39052"/>
                  <a:gd name="connsiteX1" fmla="*/ 20955 w 60007"/>
                  <a:gd name="connsiteY1" fmla="*/ 0 h 39052"/>
                  <a:gd name="connsiteX2" fmla="*/ 31433 w 60007"/>
                  <a:gd name="connsiteY2" fmla="*/ 6763 h 39052"/>
                  <a:gd name="connsiteX3" fmla="*/ 41910 w 60007"/>
                  <a:gd name="connsiteY3" fmla="*/ 14288 h 39052"/>
                  <a:gd name="connsiteX4" fmla="*/ 56197 w 60007"/>
                  <a:gd name="connsiteY4" fmla="*/ 17240 h 39052"/>
                  <a:gd name="connsiteX5" fmla="*/ 60008 w 60007"/>
                  <a:gd name="connsiteY5" fmla="*/ 24765 h 39052"/>
                  <a:gd name="connsiteX6" fmla="*/ 52388 w 60007"/>
                  <a:gd name="connsiteY6" fmla="*/ 35338 h 39052"/>
                  <a:gd name="connsiteX7" fmla="*/ 45720 w 60007"/>
                  <a:gd name="connsiteY7" fmla="*/ 39053 h 39052"/>
                  <a:gd name="connsiteX8" fmla="*/ 27622 w 60007"/>
                  <a:gd name="connsiteY8" fmla="*/ 31528 h 39052"/>
                  <a:gd name="connsiteX9" fmla="*/ 14288 w 60007"/>
                  <a:gd name="connsiteY9" fmla="*/ 24765 h 39052"/>
                  <a:gd name="connsiteX10" fmla="*/ 0 w 60007"/>
                  <a:gd name="connsiteY10" fmla="*/ 17240 h 3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007" h="39052">
                    <a:moveTo>
                      <a:pt x="0" y="17240"/>
                    </a:moveTo>
                    <a:lnTo>
                      <a:pt x="20955" y="0"/>
                    </a:lnTo>
                    <a:lnTo>
                      <a:pt x="31433" y="6763"/>
                    </a:lnTo>
                    <a:lnTo>
                      <a:pt x="41910" y="14288"/>
                    </a:lnTo>
                    <a:lnTo>
                      <a:pt x="56197" y="17240"/>
                    </a:lnTo>
                    <a:lnTo>
                      <a:pt x="60008" y="24765"/>
                    </a:lnTo>
                    <a:lnTo>
                      <a:pt x="52388" y="35338"/>
                    </a:lnTo>
                    <a:lnTo>
                      <a:pt x="45720" y="39053"/>
                    </a:lnTo>
                    <a:lnTo>
                      <a:pt x="27622" y="31528"/>
                    </a:lnTo>
                    <a:lnTo>
                      <a:pt x="14288" y="24765"/>
                    </a:lnTo>
                    <a:lnTo>
                      <a:pt x="0" y="1724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A18895FD-707F-A796-5908-915D23E98CFE}"/>
                  </a:ext>
                </a:extLst>
              </p:cNvPr>
              <p:cNvSpPr/>
              <p:nvPr/>
            </p:nvSpPr>
            <p:spPr>
              <a:xfrm>
                <a:off x="3552163" y="4108619"/>
                <a:ext cx="165269" cy="83102"/>
              </a:xfrm>
              <a:custGeom>
                <a:avLst/>
                <a:gdLst>
                  <a:gd name="connsiteX0" fmla="*/ 20955 w 168592"/>
                  <a:gd name="connsiteY0" fmla="*/ 10382 h 84772"/>
                  <a:gd name="connsiteX1" fmla="*/ 45720 w 168592"/>
                  <a:gd name="connsiteY1" fmla="*/ 3810 h 84772"/>
                  <a:gd name="connsiteX2" fmla="*/ 60008 w 168592"/>
                  <a:gd name="connsiteY2" fmla="*/ 3810 h 84772"/>
                  <a:gd name="connsiteX3" fmla="*/ 74295 w 168592"/>
                  <a:gd name="connsiteY3" fmla="*/ 7620 h 84772"/>
                  <a:gd name="connsiteX4" fmla="*/ 91440 w 168592"/>
                  <a:gd name="connsiteY4" fmla="*/ 3810 h 84772"/>
                  <a:gd name="connsiteX5" fmla="*/ 112395 w 168592"/>
                  <a:gd name="connsiteY5" fmla="*/ 0 h 84772"/>
                  <a:gd name="connsiteX6" fmla="*/ 130492 w 168592"/>
                  <a:gd name="connsiteY6" fmla="*/ 0 h 84772"/>
                  <a:gd name="connsiteX7" fmla="*/ 140970 w 168592"/>
                  <a:gd name="connsiteY7" fmla="*/ 0 h 84772"/>
                  <a:gd name="connsiteX8" fmla="*/ 147638 w 168592"/>
                  <a:gd name="connsiteY8" fmla="*/ 7620 h 84772"/>
                  <a:gd name="connsiteX9" fmla="*/ 168592 w 168592"/>
                  <a:gd name="connsiteY9" fmla="*/ 20860 h 84772"/>
                  <a:gd name="connsiteX10" fmla="*/ 165735 w 168592"/>
                  <a:gd name="connsiteY10" fmla="*/ 28575 h 84772"/>
                  <a:gd name="connsiteX11" fmla="*/ 155258 w 168592"/>
                  <a:gd name="connsiteY11" fmla="*/ 31432 h 84772"/>
                  <a:gd name="connsiteX12" fmla="*/ 140970 w 168592"/>
                  <a:gd name="connsiteY12" fmla="*/ 31432 h 84772"/>
                  <a:gd name="connsiteX13" fmla="*/ 122872 w 168592"/>
                  <a:gd name="connsiteY13" fmla="*/ 31432 h 84772"/>
                  <a:gd name="connsiteX14" fmla="*/ 112395 w 168592"/>
                  <a:gd name="connsiteY14" fmla="*/ 38957 h 84772"/>
                  <a:gd name="connsiteX15" fmla="*/ 99060 w 168592"/>
                  <a:gd name="connsiteY15" fmla="*/ 53245 h 84772"/>
                  <a:gd name="connsiteX16" fmla="*/ 84772 w 168592"/>
                  <a:gd name="connsiteY16" fmla="*/ 56197 h 84772"/>
                  <a:gd name="connsiteX17" fmla="*/ 74295 w 168592"/>
                  <a:gd name="connsiteY17" fmla="*/ 60007 h 84772"/>
                  <a:gd name="connsiteX18" fmla="*/ 70485 w 168592"/>
                  <a:gd name="connsiteY18" fmla="*/ 74295 h 84772"/>
                  <a:gd name="connsiteX19" fmla="*/ 63817 w 168592"/>
                  <a:gd name="connsiteY19" fmla="*/ 80963 h 84772"/>
                  <a:gd name="connsiteX20" fmla="*/ 52388 w 168592"/>
                  <a:gd name="connsiteY20" fmla="*/ 84772 h 84772"/>
                  <a:gd name="connsiteX21" fmla="*/ 52388 w 168592"/>
                  <a:gd name="connsiteY21" fmla="*/ 74295 h 84772"/>
                  <a:gd name="connsiteX22" fmla="*/ 49530 w 168592"/>
                  <a:gd name="connsiteY22" fmla="*/ 63722 h 84772"/>
                  <a:gd name="connsiteX23" fmla="*/ 39053 w 168592"/>
                  <a:gd name="connsiteY23" fmla="*/ 63722 h 84772"/>
                  <a:gd name="connsiteX24" fmla="*/ 35242 w 168592"/>
                  <a:gd name="connsiteY24" fmla="*/ 56197 h 84772"/>
                  <a:gd name="connsiteX25" fmla="*/ 10478 w 168592"/>
                  <a:gd name="connsiteY25" fmla="*/ 45720 h 84772"/>
                  <a:gd name="connsiteX26" fmla="*/ 0 w 168592"/>
                  <a:gd name="connsiteY26" fmla="*/ 38957 h 84772"/>
                  <a:gd name="connsiteX27" fmla="*/ 20955 w 168592"/>
                  <a:gd name="connsiteY27" fmla="*/ 10382 h 8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68592" h="84772">
                    <a:moveTo>
                      <a:pt x="20955" y="10382"/>
                    </a:moveTo>
                    <a:lnTo>
                      <a:pt x="45720" y="3810"/>
                    </a:lnTo>
                    <a:lnTo>
                      <a:pt x="60008" y="3810"/>
                    </a:lnTo>
                    <a:lnTo>
                      <a:pt x="74295" y="7620"/>
                    </a:lnTo>
                    <a:lnTo>
                      <a:pt x="91440" y="3810"/>
                    </a:lnTo>
                    <a:lnTo>
                      <a:pt x="112395" y="0"/>
                    </a:lnTo>
                    <a:lnTo>
                      <a:pt x="130492" y="0"/>
                    </a:lnTo>
                    <a:lnTo>
                      <a:pt x="140970" y="0"/>
                    </a:lnTo>
                    <a:lnTo>
                      <a:pt x="147638" y="7620"/>
                    </a:lnTo>
                    <a:lnTo>
                      <a:pt x="168592" y="20860"/>
                    </a:lnTo>
                    <a:lnTo>
                      <a:pt x="165735" y="28575"/>
                    </a:lnTo>
                    <a:lnTo>
                      <a:pt x="155258" y="31432"/>
                    </a:lnTo>
                    <a:lnTo>
                      <a:pt x="140970" y="31432"/>
                    </a:lnTo>
                    <a:lnTo>
                      <a:pt x="122872" y="31432"/>
                    </a:lnTo>
                    <a:lnTo>
                      <a:pt x="112395" y="38957"/>
                    </a:lnTo>
                    <a:lnTo>
                      <a:pt x="99060" y="53245"/>
                    </a:lnTo>
                    <a:lnTo>
                      <a:pt x="84772" y="56197"/>
                    </a:lnTo>
                    <a:lnTo>
                      <a:pt x="74295" y="60007"/>
                    </a:lnTo>
                    <a:lnTo>
                      <a:pt x="70485" y="74295"/>
                    </a:lnTo>
                    <a:lnTo>
                      <a:pt x="63817" y="80963"/>
                    </a:lnTo>
                    <a:lnTo>
                      <a:pt x="52388" y="84772"/>
                    </a:lnTo>
                    <a:lnTo>
                      <a:pt x="52388" y="74295"/>
                    </a:lnTo>
                    <a:lnTo>
                      <a:pt x="49530" y="63722"/>
                    </a:lnTo>
                    <a:lnTo>
                      <a:pt x="39053" y="63722"/>
                    </a:lnTo>
                    <a:lnTo>
                      <a:pt x="35242" y="56197"/>
                    </a:lnTo>
                    <a:lnTo>
                      <a:pt x="10478" y="45720"/>
                    </a:lnTo>
                    <a:lnTo>
                      <a:pt x="0" y="38957"/>
                    </a:lnTo>
                    <a:lnTo>
                      <a:pt x="20955" y="1038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CA720BE8-0093-B925-3623-D6265CE78354}"/>
                  </a:ext>
                </a:extLst>
              </p:cNvPr>
              <p:cNvSpPr/>
              <p:nvPr/>
            </p:nvSpPr>
            <p:spPr>
              <a:xfrm>
                <a:off x="3552163" y="4108619"/>
                <a:ext cx="165269" cy="83102"/>
              </a:xfrm>
              <a:custGeom>
                <a:avLst/>
                <a:gdLst>
                  <a:gd name="connsiteX0" fmla="*/ 20955 w 168592"/>
                  <a:gd name="connsiteY0" fmla="*/ 10382 h 84772"/>
                  <a:gd name="connsiteX1" fmla="*/ 45720 w 168592"/>
                  <a:gd name="connsiteY1" fmla="*/ 3810 h 84772"/>
                  <a:gd name="connsiteX2" fmla="*/ 60008 w 168592"/>
                  <a:gd name="connsiteY2" fmla="*/ 3810 h 84772"/>
                  <a:gd name="connsiteX3" fmla="*/ 74295 w 168592"/>
                  <a:gd name="connsiteY3" fmla="*/ 7620 h 84772"/>
                  <a:gd name="connsiteX4" fmla="*/ 91440 w 168592"/>
                  <a:gd name="connsiteY4" fmla="*/ 3810 h 84772"/>
                  <a:gd name="connsiteX5" fmla="*/ 112395 w 168592"/>
                  <a:gd name="connsiteY5" fmla="*/ 0 h 84772"/>
                  <a:gd name="connsiteX6" fmla="*/ 130492 w 168592"/>
                  <a:gd name="connsiteY6" fmla="*/ 0 h 84772"/>
                  <a:gd name="connsiteX7" fmla="*/ 140970 w 168592"/>
                  <a:gd name="connsiteY7" fmla="*/ 0 h 84772"/>
                  <a:gd name="connsiteX8" fmla="*/ 147638 w 168592"/>
                  <a:gd name="connsiteY8" fmla="*/ 7620 h 84772"/>
                  <a:gd name="connsiteX9" fmla="*/ 168592 w 168592"/>
                  <a:gd name="connsiteY9" fmla="*/ 20860 h 84772"/>
                  <a:gd name="connsiteX10" fmla="*/ 165735 w 168592"/>
                  <a:gd name="connsiteY10" fmla="*/ 28575 h 84772"/>
                  <a:gd name="connsiteX11" fmla="*/ 155258 w 168592"/>
                  <a:gd name="connsiteY11" fmla="*/ 31432 h 84772"/>
                  <a:gd name="connsiteX12" fmla="*/ 140970 w 168592"/>
                  <a:gd name="connsiteY12" fmla="*/ 31432 h 84772"/>
                  <a:gd name="connsiteX13" fmla="*/ 122872 w 168592"/>
                  <a:gd name="connsiteY13" fmla="*/ 31432 h 84772"/>
                  <a:gd name="connsiteX14" fmla="*/ 112395 w 168592"/>
                  <a:gd name="connsiteY14" fmla="*/ 38957 h 84772"/>
                  <a:gd name="connsiteX15" fmla="*/ 99060 w 168592"/>
                  <a:gd name="connsiteY15" fmla="*/ 53245 h 84772"/>
                  <a:gd name="connsiteX16" fmla="*/ 84772 w 168592"/>
                  <a:gd name="connsiteY16" fmla="*/ 56197 h 84772"/>
                  <a:gd name="connsiteX17" fmla="*/ 74295 w 168592"/>
                  <a:gd name="connsiteY17" fmla="*/ 60007 h 84772"/>
                  <a:gd name="connsiteX18" fmla="*/ 70485 w 168592"/>
                  <a:gd name="connsiteY18" fmla="*/ 74295 h 84772"/>
                  <a:gd name="connsiteX19" fmla="*/ 63817 w 168592"/>
                  <a:gd name="connsiteY19" fmla="*/ 80963 h 84772"/>
                  <a:gd name="connsiteX20" fmla="*/ 52388 w 168592"/>
                  <a:gd name="connsiteY20" fmla="*/ 84772 h 84772"/>
                  <a:gd name="connsiteX21" fmla="*/ 52388 w 168592"/>
                  <a:gd name="connsiteY21" fmla="*/ 74295 h 84772"/>
                  <a:gd name="connsiteX22" fmla="*/ 49530 w 168592"/>
                  <a:gd name="connsiteY22" fmla="*/ 63722 h 84772"/>
                  <a:gd name="connsiteX23" fmla="*/ 39053 w 168592"/>
                  <a:gd name="connsiteY23" fmla="*/ 63722 h 84772"/>
                  <a:gd name="connsiteX24" fmla="*/ 35242 w 168592"/>
                  <a:gd name="connsiteY24" fmla="*/ 56197 h 84772"/>
                  <a:gd name="connsiteX25" fmla="*/ 10478 w 168592"/>
                  <a:gd name="connsiteY25" fmla="*/ 45720 h 84772"/>
                  <a:gd name="connsiteX26" fmla="*/ 0 w 168592"/>
                  <a:gd name="connsiteY26" fmla="*/ 38957 h 84772"/>
                  <a:gd name="connsiteX27" fmla="*/ 20955 w 168592"/>
                  <a:gd name="connsiteY27" fmla="*/ 10382 h 8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68592" h="84772">
                    <a:moveTo>
                      <a:pt x="20955" y="10382"/>
                    </a:moveTo>
                    <a:lnTo>
                      <a:pt x="45720" y="3810"/>
                    </a:lnTo>
                    <a:lnTo>
                      <a:pt x="60008" y="3810"/>
                    </a:lnTo>
                    <a:lnTo>
                      <a:pt x="74295" y="7620"/>
                    </a:lnTo>
                    <a:lnTo>
                      <a:pt x="91440" y="3810"/>
                    </a:lnTo>
                    <a:lnTo>
                      <a:pt x="112395" y="0"/>
                    </a:lnTo>
                    <a:lnTo>
                      <a:pt x="130492" y="0"/>
                    </a:lnTo>
                    <a:lnTo>
                      <a:pt x="140970" y="0"/>
                    </a:lnTo>
                    <a:lnTo>
                      <a:pt x="147638" y="7620"/>
                    </a:lnTo>
                    <a:lnTo>
                      <a:pt x="168592" y="20860"/>
                    </a:lnTo>
                    <a:lnTo>
                      <a:pt x="165735" y="28575"/>
                    </a:lnTo>
                    <a:lnTo>
                      <a:pt x="155258" y="31432"/>
                    </a:lnTo>
                    <a:lnTo>
                      <a:pt x="140970" y="31432"/>
                    </a:lnTo>
                    <a:lnTo>
                      <a:pt x="122872" y="31432"/>
                    </a:lnTo>
                    <a:lnTo>
                      <a:pt x="112395" y="38957"/>
                    </a:lnTo>
                    <a:lnTo>
                      <a:pt x="99060" y="53245"/>
                    </a:lnTo>
                    <a:lnTo>
                      <a:pt x="84772" y="56197"/>
                    </a:lnTo>
                    <a:lnTo>
                      <a:pt x="74295" y="60007"/>
                    </a:lnTo>
                    <a:lnTo>
                      <a:pt x="70485" y="74295"/>
                    </a:lnTo>
                    <a:lnTo>
                      <a:pt x="63817" y="80963"/>
                    </a:lnTo>
                    <a:lnTo>
                      <a:pt x="52388" y="84772"/>
                    </a:lnTo>
                    <a:lnTo>
                      <a:pt x="52388" y="74295"/>
                    </a:lnTo>
                    <a:lnTo>
                      <a:pt x="49530" y="63722"/>
                    </a:lnTo>
                    <a:lnTo>
                      <a:pt x="39053" y="63722"/>
                    </a:lnTo>
                    <a:lnTo>
                      <a:pt x="35242" y="56197"/>
                    </a:lnTo>
                    <a:lnTo>
                      <a:pt x="10478" y="45720"/>
                    </a:lnTo>
                    <a:lnTo>
                      <a:pt x="0" y="38957"/>
                    </a:lnTo>
                    <a:lnTo>
                      <a:pt x="20955" y="1038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CB346C52-1C42-BAEA-79F6-DB9D2E9D2C3A}"/>
                  </a:ext>
                </a:extLst>
              </p:cNvPr>
              <p:cNvSpPr/>
              <p:nvPr/>
            </p:nvSpPr>
            <p:spPr>
              <a:xfrm>
                <a:off x="3603518" y="4136631"/>
                <a:ext cx="111113" cy="113821"/>
              </a:xfrm>
              <a:custGeom>
                <a:avLst/>
                <a:gdLst>
                  <a:gd name="connsiteX0" fmla="*/ 95250 w 113347"/>
                  <a:gd name="connsiteY0" fmla="*/ 116110 h 116109"/>
                  <a:gd name="connsiteX1" fmla="*/ 78105 w 113347"/>
                  <a:gd name="connsiteY1" fmla="*/ 108585 h 116109"/>
                  <a:gd name="connsiteX2" fmla="*/ 46672 w 113347"/>
                  <a:gd name="connsiteY2" fmla="*/ 105632 h 116109"/>
                  <a:gd name="connsiteX3" fmla="*/ 24765 w 113347"/>
                  <a:gd name="connsiteY3" fmla="*/ 87535 h 116109"/>
                  <a:gd name="connsiteX4" fmla="*/ 11430 w 113347"/>
                  <a:gd name="connsiteY4" fmla="*/ 73247 h 116109"/>
                  <a:gd name="connsiteX5" fmla="*/ 0 w 113347"/>
                  <a:gd name="connsiteY5" fmla="*/ 56197 h 116109"/>
                  <a:gd name="connsiteX6" fmla="*/ 18097 w 113347"/>
                  <a:gd name="connsiteY6" fmla="*/ 45720 h 116109"/>
                  <a:gd name="connsiteX7" fmla="*/ 21908 w 113347"/>
                  <a:gd name="connsiteY7" fmla="*/ 31432 h 116109"/>
                  <a:gd name="connsiteX8" fmla="*/ 46672 w 113347"/>
                  <a:gd name="connsiteY8" fmla="*/ 24670 h 116109"/>
                  <a:gd name="connsiteX9" fmla="*/ 60008 w 113347"/>
                  <a:gd name="connsiteY9" fmla="*/ 10382 h 116109"/>
                  <a:gd name="connsiteX10" fmla="*/ 70485 w 113347"/>
                  <a:gd name="connsiteY10" fmla="*/ 2857 h 116109"/>
                  <a:gd name="connsiteX11" fmla="*/ 88583 w 113347"/>
                  <a:gd name="connsiteY11" fmla="*/ 2857 h 116109"/>
                  <a:gd name="connsiteX12" fmla="*/ 102870 w 113347"/>
                  <a:gd name="connsiteY12" fmla="*/ 2857 h 116109"/>
                  <a:gd name="connsiteX13" fmla="*/ 113347 w 113347"/>
                  <a:gd name="connsiteY13" fmla="*/ 0 h 116109"/>
                  <a:gd name="connsiteX14" fmla="*/ 113347 w 113347"/>
                  <a:gd name="connsiteY14" fmla="*/ 10382 h 116109"/>
                  <a:gd name="connsiteX15" fmla="*/ 109538 w 113347"/>
                  <a:gd name="connsiteY15" fmla="*/ 31432 h 116109"/>
                  <a:gd name="connsiteX16" fmla="*/ 102870 w 113347"/>
                  <a:gd name="connsiteY16" fmla="*/ 52388 h 116109"/>
                  <a:gd name="connsiteX17" fmla="*/ 99060 w 113347"/>
                  <a:gd name="connsiteY17" fmla="*/ 73247 h 116109"/>
                  <a:gd name="connsiteX18" fmla="*/ 99060 w 113347"/>
                  <a:gd name="connsiteY18" fmla="*/ 91345 h 116109"/>
                  <a:gd name="connsiteX19" fmla="*/ 95250 w 113347"/>
                  <a:gd name="connsiteY19" fmla="*/ 116110 h 116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347" h="116109">
                    <a:moveTo>
                      <a:pt x="95250" y="116110"/>
                    </a:moveTo>
                    <a:lnTo>
                      <a:pt x="78105" y="108585"/>
                    </a:lnTo>
                    <a:lnTo>
                      <a:pt x="46672" y="105632"/>
                    </a:lnTo>
                    <a:lnTo>
                      <a:pt x="24765" y="87535"/>
                    </a:lnTo>
                    <a:lnTo>
                      <a:pt x="11430" y="73247"/>
                    </a:lnTo>
                    <a:lnTo>
                      <a:pt x="0" y="56197"/>
                    </a:lnTo>
                    <a:lnTo>
                      <a:pt x="18097" y="45720"/>
                    </a:lnTo>
                    <a:lnTo>
                      <a:pt x="21908" y="31432"/>
                    </a:lnTo>
                    <a:lnTo>
                      <a:pt x="46672" y="24670"/>
                    </a:lnTo>
                    <a:lnTo>
                      <a:pt x="60008" y="10382"/>
                    </a:lnTo>
                    <a:lnTo>
                      <a:pt x="70485" y="2857"/>
                    </a:lnTo>
                    <a:lnTo>
                      <a:pt x="88583" y="2857"/>
                    </a:lnTo>
                    <a:lnTo>
                      <a:pt x="102870" y="2857"/>
                    </a:lnTo>
                    <a:lnTo>
                      <a:pt x="113347" y="0"/>
                    </a:lnTo>
                    <a:lnTo>
                      <a:pt x="113347" y="10382"/>
                    </a:lnTo>
                    <a:lnTo>
                      <a:pt x="109538" y="31432"/>
                    </a:lnTo>
                    <a:lnTo>
                      <a:pt x="102870" y="52388"/>
                    </a:lnTo>
                    <a:lnTo>
                      <a:pt x="99060" y="73247"/>
                    </a:lnTo>
                    <a:lnTo>
                      <a:pt x="99060" y="91345"/>
                    </a:lnTo>
                    <a:lnTo>
                      <a:pt x="95250" y="1161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D247D122-A90C-4FEB-B571-580DEEFF789E}"/>
                  </a:ext>
                </a:extLst>
              </p:cNvPr>
              <p:cNvSpPr/>
              <p:nvPr/>
            </p:nvSpPr>
            <p:spPr>
              <a:xfrm>
                <a:off x="3603518" y="4136631"/>
                <a:ext cx="111113" cy="113821"/>
              </a:xfrm>
              <a:custGeom>
                <a:avLst/>
                <a:gdLst>
                  <a:gd name="connsiteX0" fmla="*/ 95250 w 113347"/>
                  <a:gd name="connsiteY0" fmla="*/ 116110 h 116109"/>
                  <a:gd name="connsiteX1" fmla="*/ 78105 w 113347"/>
                  <a:gd name="connsiteY1" fmla="*/ 108585 h 116109"/>
                  <a:gd name="connsiteX2" fmla="*/ 46672 w 113347"/>
                  <a:gd name="connsiteY2" fmla="*/ 105632 h 116109"/>
                  <a:gd name="connsiteX3" fmla="*/ 24765 w 113347"/>
                  <a:gd name="connsiteY3" fmla="*/ 87535 h 116109"/>
                  <a:gd name="connsiteX4" fmla="*/ 11430 w 113347"/>
                  <a:gd name="connsiteY4" fmla="*/ 73247 h 116109"/>
                  <a:gd name="connsiteX5" fmla="*/ 0 w 113347"/>
                  <a:gd name="connsiteY5" fmla="*/ 56197 h 116109"/>
                  <a:gd name="connsiteX6" fmla="*/ 18097 w 113347"/>
                  <a:gd name="connsiteY6" fmla="*/ 45720 h 116109"/>
                  <a:gd name="connsiteX7" fmla="*/ 21908 w 113347"/>
                  <a:gd name="connsiteY7" fmla="*/ 31432 h 116109"/>
                  <a:gd name="connsiteX8" fmla="*/ 46672 w 113347"/>
                  <a:gd name="connsiteY8" fmla="*/ 24670 h 116109"/>
                  <a:gd name="connsiteX9" fmla="*/ 60008 w 113347"/>
                  <a:gd name="connsiteY9" fmla="*/ 10382 h 116109"/>
                  <a:gd name="connsiteX10" fmla="*/ 70485 w 113347"/>
                  <a:gd name="connsiteY10" fmla="*/ 2857 h 116109"/>
                  <a:gd name="connsiteX11" fmla="*/ 88583 w 113347"/>
                  <a:gd name="connsiteY11" fmla="*/ 2857 h 116109"/>
                  <a:gd name="connsiteX12" fmla="*/ 102870 w 113347"/>
                  <a:gd name="connsiteY12" fmla="*/ 2857 h 116109"/>
                  <a:gd name="connsiteX13" fmla="*/ 113347 w 113347"/>
                  <a:gd name="connsiteY13" fmla="*/ 0 h 116109"/>
                  <a:gd name="connsiteX14" fmla="*/ 113347 w 113347"/>
                  <a:gd name="connsiteY14" fmla="*/ 10382 h 116109"/>
                  <a:gd name="connsiteX15" fmla="*/ 109538 w 113347"/>
                  <a:gd name="connsiteY15" fmla="*/ 31432 h 116109"/>
                  <a:gd name="connsiteX16" fmla="*/ 102870 w 113347"/>
                  <a:gd name="connsiteY16" fmla="*/ 52388 h 116109"/>
                  <a:gd name="connsiteX17" fmla="*/ 99060 w 113347"/>
                  <a:gd name="connsiteY17" fmla="*/ 73247 h 116109"/>
                  <a:gd name="connsiteX18" fmla="*/ 99060 w 113347"/>
                  <a:gd name="connsiteY18" fmla="*/ 91345 h 116109"/>
                  <a:gd name="connsiteX19" fmla="*/ 95250 w 113347"/>
                  <a:gd name="connsiteY19" fmla="*/ 116110 h 116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347" h="116109">
                    <a:moveTo>
                      <a:pt x="95250" y="116110"/>
                    </a:moveTo>
                    <a:lnTo>
                      <a:pt x="78105" y="108585"/>
                    </a:lnTo>
                    <a:lnTo>
                      <a:pt x="46672" y="105632"/>
                    </a:lnTo>
                    <a:lnTo>
                      <a:pt x="24765" y="87535"/>
                    </a:lnTo>
                    <a:lnTo>
                      <a:pt x="11430" y="73247"/>
                    </a:lnTo>
                    <a:lnTo>
                      <a:pt x="0" y="56197"/>
                    </a:lnTo>
                    <a:lnTo>
                      <a:pt x="18097" y="45720"/>
                    </a:lnTo>
                    <a:lnTo>
                      <a:pt x="21908" y="31432"/>
                    </a:lnTo>
                    <a:lnTo>
                      <a:pt x="46672" y="24670"/>
                    </a:lnTo>
                    <a:lnTo>
                      <a:pt x="60008" y="10382"/>
                    </a:lnTo>
                    <a:lnTo>
                      <a:pt x="70485" y="2857"/>
                    </a:lnTo>
                    <a:lnTo>
                      <a:pt x="88583" y="2857"/>
                    </a:lnTo>
                    <a:lnTo>
                      <a:pt x="102870" y="2857"/>
                    </a:lnTo>
                    <a:lnTo>
                      <a:pt x="113347" y="0"/>
                    </a:lnTo>
                    <a:lnTo>
                      <a:pt x="113347" y="10382"/>
                    </a:lnTo>
                    <a:lnTo>
                      <a:pt x="109538" y="31432"/>
                    </a:lnTo>
                    <a:lnTo>
                      <a:pt x="102870" y="52388"/>
                    </a:lnTo>
                    <a:lnTo>
                      <a:pt x="99060" y="73247"/>
                    </a:lnTo>
                    <a:lnTo>
                      <a:pt x="99060" y="91345"/>
                    </a:lnTo>
                    <a:lnTo>
                      <a:pt x="95250" y="1161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BA50A5D0-D8BB-6FEF-4E05-8284E3B90443}"/>
                  </a:ext>
                </a:extLst>
              </p:cNvPr>
              <p:cNvSpPr/>
              <p:nvPr/>
            </p:nvSpPr>
            <p:spPr>
              <a:xfrm>
                <a:off x="3645536" y="4240181"/>
                <a:ext cx="85902" cy="75632"/>
              </a:xfrm>
              <a:custGeom>
                <a:avLst/>
                <a:gdLst>
                  <a:gd name="connsiteX0" fmla="*/ 31433 w 87629"/>
                  <a:gd name="connsiteY0" fmla="*/ 35338 h 77152"/>
                  <a:gd name="connsiteX1" fmla="*/ 20955 w 87629"/>
                  <a:gd name="connsiteY1" fmla="*/ 27718 h 77152"/>
                  <a:gd name="connsiteX2" fmla="*/ 17145 w 87629"/>
                  <a:gd name="connsiteY2" fmla="*/ 39053 h 77152"/>
                  <a:gd name="connsiteX3" fmla="*/ 14288 w 87629"/>
                  <a:gd name="connsiteY3" fmla="*/ 42005 h 77152"/>
                  <a:gd name="connsiteX4" fmla="*/ 3810 w 87629"/>
                  <a:gd name="connsiteY4" fmla="*/ 35338 h 77152"/>
                  <a:gd name="connsiteX5" fmla="*/ 0 w 87629"/>
                  <a:gd name="connsiteY5" fmla="*/ 27718 h 77152"/>
                  <a:gd name="connsiteX6" fmla="*/ 0 w 87629"/>
                  <a:gd name="connsiteY6" fmla="*/ 17240 h 77152"/>
                  <a:gd name="connsiteX7" fmla="*/ 3810 w 87629"/>
                  <a:gd name="connsiteY7" fmla="*/ 10478 h 77152"/>
                  <a:gd name="connsiteX8" fmla="*/ 3810 w 87629"/>
                  <a:gd name="connsiteY8" fmla="*/ 0 h 77152"/>
                  <a:gd name="connsiteX9" fmla="*/ 31433 w 87629"/>
                  <a:gd name="connsiteY9" fmla="*/ 2953 h 77152"/>
                  <a:gd name="connsiteX10" fmla="*/ 52388 w 87629"/>
                  <a:gd name="connsiteY10" fmla="*/ 10478 h 77152"/>
                  <a:gd name="connsiteX11" fmla="*/ 60008 w 87629"/>
                  <a:gd name="connsiteY11" fmla="*/ 17240 h 77152"/>
                  <a:gd name="connsiteX12" fmla="*/ 73342 w 87629"/>
                  <a:gd name="connsiteY12" fmla="*/ 31528 h 77152"/>
                  <a:gd name="connsiteX13" fmla="*/ 84772 w 87629"/>
                  <a:gd name="connsiteY13" fmla="*/ 42005 h 77152"/>
                  <a:gd name="connsiteX14" fmla="*/ 87630 w 87629"/>
                  <a:gd name="connsiteY14" fmla="*/ 49625 h 77152"/>
                  <a:gd name="connsiteX15" fmla="*/ 80963 w 87629"/>
                  <a:gd name="connsiteY15" fmla="*/ 52388 h 77152"/>
                  <a:gd name="connsiteX16" fmla="*/ 77153 w 87629"/>
                  <a:gd name="connsiteY16" fmla="*/ 62865 h 77152"/>
                  <a:gd name="connsiteX17" fmla="*/ 73342 w 87629"/>
                  <a:gd name="connsiteY17" fmla="*/ 74390 h 77152"/>
                  <a:gd name="connsiteX18" fmla="*/ 66675 w 87629"/>
                  <a:gd name="connsiteY18" fmla="*/ 77153 h 77152"/>
                  <a:gd name="connsiteX19" fmla="*/ 60008 w 87629"/>
                  <a:gd name="connsiteY19" fmla="*/ 56293 h 77152"/>
                  <a:gd name="connsiteX20" fmla="*/ 49530 w 87629"/>
                  <a:gd name="connsiteY20" fmla="*/ 45815 h 77152"/>
                  <a:gd name="connsiteX21" fmla="*/ 41910 w 87629"/>
                  <a:gd name="connsiteY21" fmla="*/ 42005 h 77152"/>
                  <a:gd name="connsiteX22" fmla="*/ 31433 w 87629"/>
                  <a:gd name="connsiteY22" fmla="*/ 35338 h 77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7629" h="77152">
                    <a:moveTo>
                      <a:pt x="31433" y="35338"/>
                    </a:moveTo>
                    <a:lnTo>
                      <a:pt x="20955" y="27718"/>
                    </a:lnTo>
                    <a:lnTo>
                      <a:pt x="17145" y="39053"/>
                    </a:lnTo>
                    <a:lnTo>
                      <a:pt x="14288" y="42005"/>
                    </a:lnTo>
                    <a:lnTo>
                      <a:pt x="3810" y="35338"/>
                    </a:lnTo>
                    <a:lnTo>
                      <a:pt x="0" y="27718"/>
                    </a:lnTo>
                    <a:lnTo>
                      <a:pt x="0" y="17240"/>
                    </a:lnTo>
                    <a:lnTo>
                      <a:pt x="3810" y="10478"/>
                    </a:lnTo>
                    <a:lnTo>
                      <a:pt x="3810" y="0"/>
                    </a:lnTo>
                    <a:lnTo>
                      <a:pt x="31433" y="2953"/>
                    </a:lnTo>
                    <a:lnTo>
                      <a:pt x="52388" y="10478"/>
                    </a:lnTo>
                    <a:lnTo>
                      <a:pt x="60008" y="17240"/>
                    </a:lnTo>
                    <a:lnTo>
                      <a:pt x="73342" y="31528"/>
                    </a:lnTo>
                    <a:lnTo>
                      <a:pt x="84772" y="42005"/>
                    </a:lnTo>
                    <a:lnTo>
                      <a:pt x="87630" y="49625"/>
                    </a:lnTo>
                    <a:lnTo>
                      <a:pt x="80963" y="52388"/>
                    </a:lnTo>
                    <a:lnTo>
                      <a:pt x="77153" y="62865"/>
                    </a:lnTo>
                    <a:lnTo>
                      <a:pt x="73342" y="74390"/>
                    </a:lnTo>
                    <a:lnTo>
                      <a:pt x="66675" y="77153"/>
                    </a:lnTo>
                    <a:lnTo>
                      <a:pt x="60008" y="56293"/>
                    </a:lnTo>
                    <a:lnTo>
                      <a:pt x="49530" y="45815"/>
                    </a:lnTo>
                    <a:lnTo>
                      <a:pt x="41910" y="42005"/>
                    </a:lnTo>
                    <a:lnTo>
                      <a:pt x="31433" y="353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6D7C4278-618B-C5EC-28B0-6198D0ABF6AD}"/>
                  </a:ext>
                </a:extLst>
              </p:cNvPr>
              <p:cNvSpPr/>
              <p:nvPr/>
            </p:nvSpPr>
            <p:spPr>
              <a:xfrm>
                <a:off x="3645536" y="4240181"/>
                <a:ext cx="85902" cy="75632"/>
              </a:xfrm>
              <a:custGeom>
                <a:avLst/>
                <a:gdLst>
                  <a:gd name="connsiteX0" fmla="*/ 31433 w 87629"/>
                  <a:gd name="connsiteY0" fmla="*/ 35338 h 77152"/>
                  <a:gd name="connsiteX1" fmla="*/ 20955 w 87629"/>
                  <a:gd name="connsiteY1" fmla="*/ 27718 h 77152"/>
                  <a:gd name="connsiteX2" fmla="*/ 17145 w 87629"/>
                  <a:gd name="connsiteY2" fmla="*/ 39053 h 77152"/>
                  <a:gd name="connsiteX3" fmla="*/ 14288 w 87629"/>
                  <a:gd name="connsiteY3" fmla="*/ 42005 h 77152"/>
                  <a:gd name="connsiteX4" fmla="*/ 3810 w 87629"/>
                  <a:gd name="connsiteY4" fmla="*/ 35338 h 77152"/>
                  <a:gd name="connsiteX5" fmla="*/ 0 w 87629"/>
                  <a:gd name="connsiteY5" fmla="*/ 27718 h 77152"/>
                  <a:gd name="connsiteX6" fmla="*/ 0 w 87629"/>
                  <a:gd name="connsiteY6" fmla="*/ 17240 h 77152"/>
                  <a:gd name="connsiteX7" fmla="*/ 3810 w 87629"/>
                  <a:gd name="connsiteY7" fmla="*/ 10478 h 77152"/>
                  <a:gd name="connsiteX8" fmla="*/ 3810 w 87629"/>
                  <a:gd name="connsiteY8" fmla="*/ 0 h 77152"/>
                  <a:gd name="connsiteX9" fmla="*/ 31433 w 87629"/>
                  <a:gd name="connsiteY9" fmla="*/ 2953 h 77152"/>
                  <a:gd name="connsiteX10" fmla="*/ 52388 w 87629"/>
                  <a:gd name="connsiteY10" fmla="*/ 10478 h 77152"/>
                  <a:gd name="connsiteX11" fmla="*/ 60008 w 87629"/>
                  <a:gd name="connsiteY11" fmla="*/ 17240 h 77152"/>
                  <a:gd name="connsiteX12" fmla="*/ 73342 w 87629"/>
                  <a:gd name="connsiteY12" fmla="*/ 31528 h 77152"/>
                  <a:gd name="connsiteX13" fmla="*/ 84772 w 87629"/>
                  <a:gd name="connsiteY13" fmla="*/ 42005 h 77152"/>
                  <a:gd name="connsiteX14" fmla="*/ 87630 w 87629"/>
                  <a:gd name="connsiteY14" fmla="*/ 49625 h 77152"/>
                  <a:gd name="connsiteX15" fmla="*/ 80963 w 87629"/>
                  <a:gd name="connsiteY15" fmla="*/ 52388 h 77152"/>
                  <a:gd name="connsiteX16" fmla="*/ 77153 w 87629"/>
                  <a:gd name="connsiteY16" fmla="*/ 62865 h 77152"/>
                  <a:gd name="connsiteX17" fmla="*/ 73342 w 87629"/>
                  <a:gd name="connsiteY17" fmla="*/ 74390 h 77152"/>
                  <a:gd name="connsiteX18" fmla="*/ 66675 w 87629"/>
                  <a:gd name="connsiteY18" fmla="*/ 77153 h 77152"/>
                  <a:gd name="connsiteX19" fmla="*/ 60008 w 87629"/>
                  <a:gd name="connsiteY19" fmla="*/ 56293 h 77152"/>
                  <a:gd name="connsiteX20" fmla="*/ 49530 w 87629"/>
                  <a:gd name="connsiteY20" fmla="*/ 45815 h 77152"/>
                  <a:gd name="connsiteX21" fmla="*/ 41910 w 87629"/>
                  <a:gd name="connsiteY21" fmla="*/ 42005 h 77152"/>
                  <a:gd name="connsiteX22" fmla="*/ 31433 w 87629"/>
                  <a:gd name="connsiteY22" fmla="*/ 35338 h 77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7629" h="77152">
                    <a:moveTo>
                      <a:pt x="31433" y="35338"/>
                    </a:moveTo>
                    <a:lnTo>
                      <a:pt x="20955" y="27718"/>
                    </a:lnTo>
                    <a:lnTo>
                      <a:pt x="17145" y="39053"/>
                    </a:lnTo>
                    <a:lnTo>
                      <a:pt x="14288" y="42005"/>
                    </a:lnTo>
                    <a:lnTo>
                      <a:pt x="3810" y="35338"/>
                    </a:lnTo>
                    <a:lnTo>
                      <a:pt x="0" y="27718"/>
                    </a:lnTo>
                    <a:lnTo>
                      <a:pt x="0" y="17240"/>
                    </a:lnTo>
                    <a:lnTo>
                      <a:pt x="3810" y="10478"/>
                    </a:lnTo>
                    <a:lnTo>
                      <a:pt x="3810" y="0"/>
                    </a:lnTo>
                    <a:lnTo>
                      <a:pt x="31433" y="2953"/>
                    </a:lnTo>
                    <a:lnTo>
                      <a:pt x="52388" y="10478"/>
                    </a:lnTo>
                    <a:lnTo>
                      <a:pt x="60008" y="17240"/>
                    </a:lnTo>
                    <a:lnTo>
                      <a:pt x="73342" y="31528"/>
                    </a:lnTo>
                    <a:lnTo>
                      <a:pt x="84772" y="42005"/>
                    </a:lnTo>
                    <a:lnTo>
                      <a:pt x="87630" y="49625"/>
                    </a:lnTo>
                    <a:lnTo>
                      <a:pt x="80963" y="52388"/>
                    </a:lnTo>
                    <a:lnTo>
                      <a:pt x="77153" y="62865"/>
                    </a:lnTo>
                    <a:lnTo>
                      <a:pt x="73342" y="74390"/>
                    </a:lnTo>
                    <a:lnTo>
                      <a:pt x="66675" y="77153"/>
                    </a:lnTo>
                    <a:lnTo>
                      <a:pt x="60008" y="56293"/>
                    </a:lnTo>
                    <a:lnTo>
                      <a:pt x="49530" y="45815"/>
                    </a:lnTo>
                    <a:lnTo>
                      <a:pt x="41910" y="42005"/>
                    </a:lnTo>
                    <a:lnTo>
                      <a:pt x="31433" y="353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0BC775C6-E370-3ACA-E853-0220BFEF8026}"/>
                  </a:ext>
                </a:extLst>
              </p:cNvPr>
              <p:cNvSpPr/>
              <p:nvPr/>
            </p:nvSpPr>
            <p:spPr>
              <a:xfrm>
                <a:off x="3710896" y="4285094"/>
                <a:ext cx="176473" cy="65361"/>
              </a:xfrm>
              <a:custGeom>
                <a:avLst/>
                <a:gdLst>
                  <a:gd name="connsiteX0" fmla="*/ 155258 w 180022"/>
                  <a:gd name="connsiteY0" fmla="*/ 59912 h 66675"/>
                  <a:gd name="connsiteX1" fmla="*/ 144780 w 180022"/>
                  <a:gd name="connsiteY1" fmla="*/ 56197 h 66675"/>
                  <a:gd name="connsiteX2" fmla="*/ 140970 w 180022"/>
                  <a:gd name="connsiteY2" fmla="*/ 49435 h 66675"/>
                  <a:gd name="connsiteX3" fmla="*/ 140970 w 180022"/>
                  <a:gd name="connsiteY3" fmla="*/ 39053 h 66675"/>
                  <a:gd name="connsiteX4" fmla="*/ 140970 w 180022"/>
                  <a:gd name="connsiteY4" fmla="*/ 28575 h 66675"/>
                  <a:gd name="connsiteX5" fmla="*/ 137160 w 180022"/>
                  <a:gd name="connsiteY5" fmla="*/ 20860 h 66675"/>
                  <a:gd name="connsiteX6" fmla="*/ 126683 w 180022"/>
                  <a:gd name="connsiteY6" fmla="*/ 17050 h 66675"/>
                  <a:gd name="connsiteX7" fmla="*/ 116205 w 180022"/>
                  <a:gd name="connsiteY7" fmla="*/ 17050 h 66675"/>
                  <a:gd name="connsiteX8" fmla="*/ 109537 w 180022"/>
                  <a:gd name="connsiteY8" fmla="*/ 20860 h 66675"/>
                  <a:gd name="connsiteX9" fmla="*/ 105727 w 180022"/>
                  <a:gd name="connsiteY9" fmla="*/ 28575 h 66675"/>
                  <a:gd name="connsiteX10" fmla="*/ 91440 w 180022"/>
                  <a:gd name="connsiteY10" fmla="*/ 31337 h 66675"/>
                  <a:gd name="connsiteX11" fmla="*/ 84772 w 180022"/>
                  <a:gd name="connsiteY11" fmla="*/ 39053 h 66675"/>
                  <a:gd name="connsiteX12" fmla="*/ 87630 w 180022"/>
                  <a:gd name="connsiteY12" fmla="*/ 45625 h 66675"/>
                  <a:gd name="connsiteX13" fmla="*/ 91440 w 180022"/>
                  <a:gd name="connsiteY13" fmla="*/ 52388 h 66675"/>
                  <a:gd name="connsiteX14" fmla="*/ 91440 w 180022"/>
                  <a:gd name="connsiteY14" fmla="*/ 63722 h 66675"/>
                  <a:gd name="connsiteX15" fmla="*/ 77153 w 180022"/>
                  <a:gd name="connsiteY15" fmla="*/ 66675 h 66675"/>
                  <a:gd name="connsiteX16" fmla="*/ 66675 w 180022"/>
                  <a:gd name="connsiteY16" fmla="*/ 56197 h 66675"/>
                  <a:gd name="connsiteX17" fmla="*/ 56197 w 180022"/>
                  <a:gd name="connsiteY17" fmla="*/ 45625 h 66675"/>
                  <a:gd name="connsiteX18" fmla="*/ 45720 w 180022"/>
                  <a:gd name="connsiteY18" fmla="*/ 39053 h 66675"/>
                  <a:gd name="connsiteX19" fmla="*/ 31433 w 180022"/>
                  <a:gd name="connsiteY19" fmla="*/ 35147 h 66675"/>
                  <a:gd name="connsiteX20" fmla="*/ 24765 w 180022"/>
                  <a:gd name="connsiteY20" fmla="*/ 31337 h 66675"/>
                  <a:gd name="connsiteX21" fmla="*/ 14288 w 180022"/>
                  <a:gd name="connsiteY21" fmla="*/ 35147 h 66675"/>
                  <a:gd name="connsiteX22" fmla="*/ 0 w 180022"/>
                  <a:gd name="connsiteY22" fmla="*/ 31337 h 66675"/>
                  <a:gd name="connsiteX23" fmla="*/ 6667 w 180022"/>
                  <a:gd name="connsiteY23" fmla="*/ 24765 h 66675"/>
                  <a:gd name="connsiteX24" fmla="*/ 10478 w 180022"/>
                  <a:gd name="connsiteY24" fmla="*/ 14288 h 66675"/>
                  <a:gd name="connsiteX25" fmla="*/ 20955 w 180022"/>
                  <a:gd name="connsiteY25" fmla="*/ 3810 h 66675"/>
                  <a:gd name="connsiteX26" fmla="*/ 31433 w 180022"/>
                  <a:gd name="connsiteY26" fmla="*/ 6572 h 66675"/>
                  <a:gd name="connsiteX27" fmla="*/ 39053 w 180022"/>
                  <a:gd name="connsiteY27" fmla="*/ 14288 h 66675"/>
                  <a:gd name="connsiteX28" fmla="*/ 53340 w 180022"/>
                  <a:gd name="connsiteY28" fmla="*/ 20860 h 66675"/>
                  <a:gd name="connsiteX29" fmla="*/ 66675 w 180022"/>
                  <a:gd name="connsiteY29" fmla="*/ 20860 h 66675"/>
                  <a:gd name="connsiteX30" fmla="*/ 77153 w 180022"/>
                  <a:gd name="connsiteY30" fmla="*/ 17050 h 66675"/>
                  <a:gd name="connsiteX31" fmla="*/ 91440 w 180022"/>
                  <a:gd name="connsiteY31" fmla="*/ 10478 h 66675"/>
                  <a:gd name="connsiteX32" fmla="*/ 109537 w 180022"/>
                  <a:gd name="connsiteY32" fmla="*/ 3810 h 66675"/>
                  <a:gd name="connsiteX33" fmla="*/ 126683 w 180022"/>
                  <a:gd name="connsiteY33" fmla="*/ 0 h 66675"/>
                  <a:gd name="connsiteX34" fmla="*/ 144780 w 180022"/>
                  <a:gd name="connsiteY34" fmla="*/ 3810 h 66675"/>
                  <a:gd name="connsiteX35" fmla="*/ 155258 w 180022"/>
                  <a:gd name="connsiteY35" fmla="*/ 10478 h 66675"/>
                  <a:gd name="connsiteX36" fmla="*/ 165735 w 180022"/>
                  <a:gd name="connsiteY36" fmla="*/ 17050 h 66675"/>
                  <a:gd name="connsiteX37" fmla="*/ 172402 w 180022"/>
                  <a:gd name="connsiteY37" fmla="*/ 28575 h 66675"/>
                  <a:gd name="connsiteX38" fmla="*/ 180023 w 180022"/>
                  <a:gd name="connsiteY38" fmla="*/ 35147 h 66675"/>
                  <a:gd name="connsiteX39" fmla="*/ 176212 w 180022"/>
                  <a:gd name="connsiteY39" fmla="*/ 45625 h 66675"/>
                  <a:gd name="connsiteX40" fmla="*/ 165735 w 180022"/>
                  <a:gd name="connsiteY40" fmla="*/ 52388 h 66675"/>
                  <a:gd name="connsiteX41" fmla="*/ 155258 w 180022"/>
                  <a:gd name="connsiteY41" fmla="*/ 59912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80022" h="66675">
                    <a:moveTo>
                      <a:pt x="155258" y="59912"/>
                    </a:moveTo>
                    <a:lnTo>
                      <a:pt x="144780" y="56197"/>
                    </a:lnTo>
                    <a:lnTo>
                      <a:pt x="140970" y="49435"/>
                    </a:lnTo>
                    <a:lnTo>
                      <a:pt x="140970" y="39053"/>
                    </a:lnTo>
                    <a:lnTo>
                      <a:pt x="140970" y="28575"/>
                    </a:lnTo>
                    <a:lnTo>
                      <a:pt x="137160" y="20860"/>
                    </a:lnTo>
                    <a:lnTo>
                      <a:pt x="126683" y="17050"/>
                    </a:lnTo>
                    <a:lnTo>
                      <a:pt x="116205" y="17050"/>
                    </a:lnTo>
                    <a:lnTo>
                      <a:pt x="109537" y="20860"/>
                    </a:lnTo>
                    <a:lnTo>
                      <a:pt x="105727" y="28575"/>
                    </a:lnTo>
                    <a:lnTo>
                      <a:pt x="91440" y="31337"/>
                    </a:lnTo>
                    <a:lnTo>
                      <a:pt x="84772" y="39053"/>
                    </a:lnTo>
                    <a:lnTo>
                      <a:pt x="87630" y="45625"/>
                    </a:lnTo>
                    <a:lnTo>
                      <a:pt x="91440" y="52388"/>
                    </a:lnTo>
                    <a:lnTo>
                      <a:pt x="91440" y="63722"/>
                    </a:lnTo>
                    <a:lnTo>
                      <a:pt x="77153" y="66675"/>
                    </a:lnTo>
                    <a:lnTo>
                      <a:pt x="66675" y="56197"/>
                    </a:lnTo>
                    <a:lnTo>
                      <a:pt x="56197" y="45625"/>
                    </a:lnTo>
                    <a:lnTo>
                      <a:pt x="45720" y="39053"/>
                    </a:lnTo>
                    <a:lnTo>
                      <a:pt x="31433" y="35147"/>
                    </a:lnTo>
                    <a:lnTo>
                      <a:pt x="24765" y="31337"/>
                    </a:lnTo>
                    <a:lnTo>
                      <a:pt x="14288" y="35147"/>
                    </a:lnTo>
                    <a:lnTo>
                      <a:pt x="0" y="31337"/>
                    </a:lnTo>
                    <a:lnTo>
                      <a:pt x="6667" y="24765"/>
                    </a:lnTo>
                    <a:lnTo>
                      <a:pt x="10478" y="14288"/>
                    </a:lnTo>
                    <a:lnTo>
                      <a:pt x="20955" y="3810"/>
                    </a:lnTo>
                    <a:lnTo>
                      <a:pt x="31433" y="6572"/>
                    </a:lnTo>
                    <a:lnTo>
                      <a:pt x="39053" y="14288"/>
                    </a:lnTo>
                    <a:lnTo>
                      <a:pt x="53340" y="20860"/>
                    </a:lnTo>
                    <a:lnTo>
                      <a:pt x="66675" y="20860"/>
                    </a:lnTo>
                    <a:lnTo>
                      <a:pt x="77153" y="17050"/>
                    </a:lnTo>
                    <a:lnTo>
                      <a:pt x="91440" y="10478"/>
                    </a:lnTo>
                    <a:lnTo>
                      <a:pt x="109537" y="3810"/>
                    </a:lnTo>
                    <a:lnTo>
                      <a:pt x="126683" y="0"/>
                    </a:lnTo>
                    <a:lnTo>
                      <a:pt x="144780" y="3810"/>
                    </a:lnTo>
                    <a:lnTo>
                      <a:pt x="155258" y="10478"/>
                    </a:lnTo>
                    <a:lnTo>
                      <a:pt x="165735" y="17050"/>
                    </a:lnTo>
                    <a:lnTo>
                      <a:pt x="172402" y="28575"/>
                    </a:lnTo>
                    <a:lnTo>
                      <a:pt x="180023" y="35147"/>
                    </a:lnTo>
                    <a:lnTo>
                      <a:pt x="176212" y="45625"/>
                    </a:lnTo>
                    <a:lnTo>
                      <a:pt x="165735" y="52388"/>
                    </a:lnTo>
                    <a:lnTo>
                      <a:pt x="155258" y="5991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E5485752-1164-3C16-265B-9D0929B568AC}"/>
                  </a:ext>
                </a:extLst>
              </p:cNvPr>
              <p:cNvSpPr/>
              <p:nvPr/>
            </p:nvSpPr>
            <p:spPr>
              <a:xfrm>
                <a:off x="3710896" y="4285094"/>
                <a:ext cx="176473" cy="65361"/>
              </a:xfrm>
              <a:custGeom>
                <a:avLst/>
                <a:gdLst>
                  <a:gd name="connsiteX0" fmla="*/ 155258 w 180022"/>
                  <a:gd name="connsiteY0" fmla="*/ 59912 h 66675"/>
                  <a:gd name="connsiteX1" fmla="*/ 144780 w 180022"/>
                  <a:gd name="connsiteY1" fmla="*/ 56197 h 66675"/>
                  <a:gd name="connsiteX2" fmla="*/ 140970 w 180022"/>
                  <a:gd name="connsiteY2" fmla="*/ 49435 h 66675"/>
                  <a:gd name="connsiteX3" fmla="*/ 140970 w 180022"/>
                  <a:gd name="connsiteY3" fmla="*/ 39053 h 66675"/>
                  <a:gd name="connsiteX4" fmla="*/ 140970 w 180022"/>
                  <a:gd name="connsiteY4" fmla="*/ 28575 h 66675"/>
                  <a:gd name="connsiteX5" fmla="*/ 137160 w 180022"/>
                  <a:gd name="connsiteY5" fmla="*/ 20860 h 66675"/>
                  <a:gd name="connsiteX6" fmla="*/ 126683 w 180022"/>
                  <a:gd name="connsiteY6" fmla="*/ 17050 h 66675"/>
                  <a:gd name="connsiteX7" fmla="*/ 116205 w 180022"/>
                  <a:gd name="connsiteY7" fmla="*/ 17050 h 66675"/>
                  <a:gd name="connsiteX8" fmla="*/ 109537 w 180022"/>
                  <a:gd name="connsiteY8" fmla="*/ 20860 h 66675"/>
                  <a:gd name="connsiteX9" fmla="*/ 105727 w 180022"/>
                  <a:gd name="connsiteY9" fmla="*/ 28575 h 66675"/>
                  <a:gd name="connsiteX10" fmla="*/ 91440 w 180022"/>
                  <a:gd name="connsiteY10" fmla="*/ 31337 h 66675"/>
                  <a:gd name="connsiteX11" fmla="*/ 84772 w 180022"/>
                  <a:gd name="connsiteY11" fmla="*/ 39053 h 66675"/>
                  <a:gd name="connsiteX12" fmla="*/ 87630 w 180022"/>
                  <a:gd name="connsiteY12" fmla="*/ 45625 h 66675"/>
                  <a:gd name="connsiteX13" fmla="*/ 91440 w 180022"/>
                  <a:gd name="connsiteY13" fmla="*/ 52388 h 66675"/>
                  <a:gd name="connsiteX14" fmla="*/ 91440 w 180022"/>
                  <a:gd name="connsiteY14" fmla="*/ 63722 h 66675"/>
                  <a:gd name="connsiteX15" fmla="*/ 77153 w 180022"/>
                  <a:gd name="connsiteY15" fmla="*/ 66675 h 66675"/>
                  <a:gd name="connsiteX16" fmla="*/ 66675 w 180022"/>
                  <a:gd name="connsiteY16" fmla="*/ 56197 h 66675"/>
                  <a:gd name="connsiteX17" fmla="*/ 56197 w 180022"/>
                  <a:gd name="connsiteY17" fmla="*/ 45625 h 66675"/>
                  <a:gd name="connsiteX18" fmla="*/ 45720 w 180022"/>
                  <a:gd name="connsiteY18" fmla="*/ 39053 h 66675"/>
                  <a:gd name="connsiteX19" fmla="*/ 31433 w 180022"/>
                  <a:gd name="connsiteY19" fmla="*/ 35147 h 66675"/>
                  <a:gd name="connsiteX20" fmla="*/ 24765 w 180022"/>
                  <a:gd name="connsiteY20" fmla="*/ 31337 h 66675"/>
                  <a:gd name="connsiteX21" fmla="*/ 14288 w 180022"/>
                  <a:gd name="connsiteY21" fmla="*/ 35147 h 66675"/>
                  <a:gd name="connsiteX22" fmla="*/ 0 w 180022"/>
                  <a:gd name="connsiteY22" fmla="*/ 31337 h 66675"/>
                  <a:gd name="connsiteX23" fmla="*/ 6667 w 180022"/>
                  <a:gd name="connsiteY23" fmla="*/ 24765 h 66675"/>
                  <a:gd name="connsiteX24" fmla="*/ 10478 w 180022"/>
                  <a:gd name="connsiteY24" fmla="*/ 14288 h 66675"/>
                  <a:gd name="connsiteX25" fmla="*/ 20955 w 180022"/>
                  <a:gd name="connsiteY25" fmla="*/ 3810 h 66675"/>
                  <a:gd name="connsiteX26" fmla="*/ 31433 w 180022"/>
                  <a:gd name="connsiteY26" fmla="*/ 6572 h 66675"/>
                  <a:gd name="connsiteX27" fmla="*/ 39053 w 180022"/>
                  <a:gd name="connsiteY27" fmla="*/ 14288 h 66675"/>
                  <a:gd name="connsiteX28" fmla="*/ 53340 w 180022"/>
                  <a:gd name="connsiteY28" fmla="*/ 20860 h 66675"/>
                  <a:gd name="connsiteX29" fmla="*/ 66675 w 180022"/>
                  <a:gd name="connsiteY29" fmla="*/ 20860 h 66675"/>
                  <a:gd name="connsiteX30" fmla="*/ 77153 w 180022"/>
                  <a:gd name="connsiteY30" fmla="*/ 17050 h 66675"/>
                  <a:gd name="connsiteX31" fmla="*/ 91440 w 180022"/>
                  <a:gd name="connsiteY31" fmla="*/ 10478 h 66675"/>
                  <a:gd name="connsiteX32" fmla="*/ 109537 w 180022"/>
                  <a:gd name="connsiteY32" fmla="*/ 3810 h 66675"/>
                  <a:gd name="connsiteX33" fmla="*/ 126683 w 180022"/>
                  <a:gd name="connsiteY33" fmla="*/ 0 h 66675"/>
                  <a:gd name="connsiteX34" fmla="*/ 144780 w 180022"/>
                  <a:gd name="connsiteY34" fmla="*/ 3810 h 66675"/>
                  <a:gd name="connsiteX35" fmla="*/ 155258 w 180022"/>
                  <a:gd name="connsiteY35" fmla="*/ 10478 h 66675"/>
                  <a:gd name="connsiteX36" fmla="*/ 165735 w 180022"/>
                  <a:gd name="connsiteY36" fmla="*/ 17050 h 66675"/>
                  <a:gd name="connsiteX37" fmla="*/ 172402 w 180022"/>
                  <a:gd name="connsiteY37" fmla="*/ 28575 h 66675"/>
                  <a:gd name="connsiteX38" fmla="*/ 180023 w 180022"/>
                  <a:gd name="connsiteY38" fmla="*/ 35147 h 66675"/>
                  <a:gd name="connsiteX39" fmla="*/ 176212 w 180022"/>
                  <a:gd name="connsiteY39" fmla="*/ 45625 h 66675"/>
                  <a:gd name="connsiteX40" fmla="*/ 165735 w 180022"/>
                  <a:gd name="connsiteY40" fmla="*/ 52388 h 66675"/>
                  <a:gd name="connsiteX41" fmla="*/ 155258 w 180022"/>
                  <a:gd name="connsiteY41" fmla="*/ 59912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80022" h="66675">
                    <a:moveTo>
                      <a:pt x="155258" y="59912"/>
                    </a:moveTo>
                    <a:lnTo>
                      <a:pt x="144780" y="56197"/>
                    </a:lnTo>
                    <a:lnTo>
                      <a:pt x="140970" y="49435"/>
                    </a:lnTo>
                    <a:lnTo>
                      <a:pt x="140970" y="39053"/>
                    </a:lnTo>
                    <a:lnTo>
                      <a:pt x="140970" y="28575"/>
                    </a:lnTo>
                    <a:lnTo>
                      <a:pt x="137160" y="20860"/>
                    </a:lnTo>
                    <a:lnTo>
                      <a:pt x="126683" y="17050"/>
                    </a:lnTo>
                    <a:lnTo>
                      <a:pt x="116205" y="17050"/>
                    </a:lnTo>
                    <a:lnTo>
                      <a:pt x="109537" y="20860"/>
                    </a:lnTo>
                    <a:lnTo>
                      <a:pt x="105727" y="28575"/>
                    </a:lnTo>
                    <a:lnTo>
                      <a:pt x="91440" y="31337"/>
                    </a:lnTo>
                    <a:lnTo>
                      <a:pt x="84772" y="39053"/>
                    </a:lnTo>
                    <a:lnTo>
                      <a:pt x="87630" y="45625"/>
                    </a:lnTo>
                    <a:lnTo>
                      <a:pt x="91440" y="52388"/>
                    </a:lnTo>
                    <a:lnTo>
                      <a:pt x="91440" y="63722"/>
                    </a:lnTo>
                    <a:lnTo>
                      <a:pt x="77153" y="66675"/>
                    </a:lnTo>
                    <a:lnTo>
                      <a:pt x="66675" y="56197"/>
                    </a:lnTo>
                    <a:lnTo>
                      <a:pt x="56197" y="45625"/>
                    </a:lnTo>
                    <a:lnTo>
                      <a:pt x="45720" y="39053"/>
                    </a:lnTo>
                    <a:lnTo>
                      <a:pt x="31433" y="35147"/>
                    </a:lnTo>
                    <a:lnTo>
                      <a:pt x="24765" y="31337"/>
                    </a:lnTo>
                    <a:lnTo>
                      <a:pt x="14288" y="35147"/>
                    </a:lnTo>
                    <a:lnTo>
                      <a:pt x="0" y="31337"/>
                    </a:lnTo>
                    <a:lnTo>
                      <a:pt x="6667" y="24765"/>
                    </a:lnTo>
                    <a:lnTo>
                      <a:pt x="10478" y="14288"/>
                    </a:lnTo>
                    <a:lnTo>
                      <a:pt x="20955" y="3810"/>
                    </a:lnTo>
                    <a:lnTo>
                      <a:pt x="31433" y="6572"/>
                    </a:lnTo>
                    <a:lnTo>
                      <a:pt x="39053" y="14288"/>
                    </a:lnTo>
                    <a:lnTo>
                      <a:pt x="53340" y="20860"/>
                    </a:lnTo>
                    <a:lnTo>
                      <a:pt x="66675" y="20860"/>
                    </a:lnTo>
                    <a:lnTo>
                      <a:pt x="77153" y="17050"/>
                    </a:lnTo>
                    <a:lnTo>
                      <a:pt x="91440" y="10478"/>
                    </a:lnTo>
                    <a:lnTo>
                      <a:pt x="109537" y="3810"/>
                    </a:lnTo>
                    <a:lnTo>
                      <a:pt x="126683" y="0"/>
                    </a:lnTo>
                    <a:lnTo>
                      <a:pt x="144780" y="3810"/>
                    </a:lnTo>
                    <a:lnTo>
                      <a:pt x="155258" y="10478"/>
                    </a:lnTo>
                    <a:lnTo>
                      <a:pt x="165735" y="17050"/>
                    </a:lnTo>
                    <a:lnTo>
                      <a:pt x="172402" y="28575"/>
                    </a:lnTo>
                    <a:lnTo>
                      <a:pt x="180023" y="35147"/>
                    </a:lnTo>
                    <a:lnTo>
                      <a:pt x="176212" y="45625"/>
                    </a:lnTo>
                    <a:lnTo>
                      <a:pt x="165735" y="52388"/>
                    </a:lnTo>
                    <a:lnTo>
                      <a:pt x="155258" y="5991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6D6F6450-DBA9-500C-93D1-6E35A13E993B}"/>
                  </a:ext>
                </a:extLst>
              </p:cNvPr>
              <p:cNvSpPr/>
              <p:nvPr/>
            </p:nvSpPr>
            <p:spPr>
              <a:xfrm>
                <a:off x="3672613" y="3901330"/>
                <a:ext cx="286653" cy="97014"/>
              </a:xfrm>
              <a:custGeom>
                <a:avLst/>
                <a:gdLst>
                  <a:gd name="connsiteX0" fmla="*/ 260985 w 292417"/>
                  <a:gd name="connsiteY0" fmla="*/ 98965 h 98964"/>
                  <a:gd name="connsiteX1" fmla="*/ 246698 w 292417"/>
                  <a:gd name="connsiteY1" fmla="*/ 91440 h 98964"/>
                  <a:gd name="connsiteX2" fmla="*/ 229552 w 292417"/>
                  <a:gd name="connsiteY2" fmla="*/ 91440 h 98964"/>
                  <a:gd name="connsiteX3" fmla="*/ 219075 w 292417"/>
                  <a:gd name="connsiteY3" fmla="*/ 98965 h 98964"/>
                  <a:gd name="connsiteX4" fmla="*/ 204788 w 292417"/>
                  <a:gd name="connsiteY4" fmla="*/ 95250 h 98964"/>
                  <a:gd name="connsiteX5" fmla="*/ 208598 w 292417"/>
                  <a:gd name="connsiteY5" fmla="*/ 80963 h 98964"/>
                  <a:gd name="connsiteX6" fmla="*/ 204788 w 292417"/>
                  <a:gd name="connsiteY6" fmla="*/ 70390 h 98964"/>
                  <a:gd name="connsiteX7" fmla="*/ 183833 w 292417"/>
                  <a:gd name="connsiteY7" fmla="*/ 70390 h 98964"/>
                  <a:gd name="connsiteX8" fmla="*/ 176213 w 292417"/>
                  <a:gd name="connsiteY8" fmla="*/ 56102 h 98964"/>
                  <a:gd name="connsiteX9" fmla="*/ 165735 w 292417"/>
                  <a:gd name="connsiteY9" fmla="*/ 53340 h 98964"/>
                  <a:gd name="connsiteX10" fmla="*/ 140970 w 292417"/>
                  <a:gd name="connsiteY10" fmla="*/ 45625 h 98964"/>
                  <a:gd name="connsiteX11" fmla="*/ 134302 w 292417"/>
                  <a:gd name="connsiteY11" fmla="*/ 39053 h 98964"/>
                  <a:gd name="connsiteX12" fmla="*/ 109538 w 292417"/>
                  <a:gd name="connsiteY12" fmla="*/ 31337 h 98964"/>
                  <a:gd name="connsiteX13" fmla="*/ 84773 w 292417"/>
                  <a:gd name="connsiteY13" fmla="*/ 28575 h 98964"/>
                  <a:gd name="connsiteX14" fmla="*/ 78105 w 292417"/>
                  <a:gd name="connsiteY14" fmla="*/ 20955 h 98964"/>
                  <a:gd name="connsiteX15" fmla="*/ 60008 w 292417"/>
                  <a:gd name="connsiteY15" fmla="*/ 17050 h 98964"/>
                  <a:gd name="connsiteX16" fmla="*/ 49530 w 292417"/>
                  <a:gd name="connsiteY16" fmla="*/ 24765 h 98964"/>
                  <a:gd name="connsiteX17" fmla="*/ 35243 w 292417"/>
                  <a:gd name="connsiteY17" fmla="*/ 31337 h 98964"/>
                  <a:gd name="connsiteX18" fmla="*/ 21908 w 292417"/>
                  <a:gd name="connsiteY18" fmla="*/ 39053 h 98964"/>
                  <a:gd name="connsiteX19" fmla="*/ 0 w 292417"/>
                  <a:gd name="connsiteY19" fmla="*/ 39053 h 98964"/>
                  <a:gd name="connsiteX20" fmla="*/ 3810 w 292417"/>
                  <a:gd name="connsiteY20" fmla="*/ 28575 h 98964"/>
                  <a:gd name="connsiteX21" fmla="*/ 18098 w 292417"/>
                  <a:gd name="connsiteY21" fmla="*/ 10478 h 98964"/>
                  <a:gd name="connsiteX22" fmla="*/ 45720 w 292417"/>
                  <a:gd name="connsiteY22" fmla="*/ 3715 h 98964"/>
                  <a:gd name="connsiteX23" fmla="*/ 70485 w 292417"/>
                  <a:gd name="connsiteY23" fmla="*/ 0 h 98964"/>
                  <a:gd name="connsiteX24" fmla="*/ 102870 w 292417"/>
                  <a:gd name="connsiteY24" fmla="*/ 0 h 98964"/>
                  <a:gd name="connsiteX25" fmla="*/ 130493 w 292417"/>
                  <a:gd name="connsiteY25" fmla="*/ 6668 h 98964"/>
                  <a:gd name="connsiteX26" fmla="*/ 155258 w 292417"/>
                  <a:gd name="connsiteY26" fmla="*/ 17050 h 98964"/>
                  <a:gd name="connsiteX27" fmla="*/ 183833 w 292417"/>
                  <a:gd name="connsiteY27" fmla="*/ 24765 h 98964"/>
                  <a:gd name="connsiteX28" fmla="*/ 194310 w 292417"/>
                  <a:gd name="connsiteY28" fmla="*/ 35243 h 98964"/>
                  <a:gd name="connsiteX29" fmla="*/ 204788 w 292417"/>
                  <a:gd name="connsiteY29" fmla="*/ 41815 h 98964"/>
                  <a:gd name="connsiteX30" fmla="*/ 229552 w 292417"/>
                  <a:gd name="connsiteY30" fmla="*/ 53340 h 98964"/>
                  <a:gd name="connsiteX31" fmla="*/ 250508 w 292417"/>
                  <a:gd name="connsiteY31" fmla="*/ 59912 h 98964"/>
                  <a:gd name="connsiteX32" fmla="*/ 271463 w 292417"/>
                  <a:gd name="connsiteY32" fmla="*/ 70390 h 98964"/>
                  <a:gd name="connsiteX33" fmla="*/ 292417 w 292417"/>
                  <a:gd name="connsiteY33" fmla="*/ 80963 h 98964"/>
                  <a:gd name="connsiteX34" fmla="*/ 281940 w 292417"/>
                  <a:gd name="connsiteY34" fmla="*/ 88487 h 98964"/>
                  <a:gd name="connsiteX35" fmla="*/ 267652 w 292417"/>
                  <a:gd name="connsiteY35" fmla="*/ 91440 h 98964"/>
                  <a:gd name="connsiteX36" fmla="*/ 264795 w 292417"/>
                  <a:gd name="connsiteY36" fmla="*/ 98965 h 98964"/>
                  <a:gd name="connsiteX37" fmla="*/ 260985 w 292417"/>
                  <a:gd name="connsiteY37" fmla="*/ 98965 h 98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92417" h="98964">
                    <a:moveTo>
                      <a:pt x="260985" y="98965"/>
                    </a:moveTo>
                    <a:lnTo>
                      <a:pt x="246698" y="91440"/>
                    </a:lnTo>
                    <a:lnTo>
                      <a:pt x="229552" y="91440"/>
                    </a:lnTo>
                    <a:lnTo>
                      <a:pt x="219075" y="98965"/>
                    </a:lnTo>
                    <a:lnTo>
                      <a:pt x="204788" y="95250"/>
                    </a:lnTo>
                    <a:lnTo>
                      <a:pt x="208598" y="80963"/>
                    </a:lnTo>
                    <a:lnTo>
                      <a:pt x="204788" y="70390"/>
                    </a:lnTo>
                    <a:lnTo>
                      <a:pt x="183833" y="70390"/>
                    </a:lnTo>
                    <a:lnTo>
                      <a:pt x="176213" y="56102"/>
                    </a:lnTo>
                    <a:lnTo>
                      <a:pt x="165735" y="53340"/>
                    </a:lnTo>
                    <a:lnTo>
                      <a:pt x="140970" y="45625"/>
                    </a:lnTo>
                    <a:lnTo>
                      <a:pt x="134302" y="39053"/>
                    </a:lnTo>
                    <a:lnTo>
                      <a:pt x="109538" y="31337"/>
                    </a:lnTo>
                    <a:lnTo>
                      <a:pt x="84773" y="28575"/>
                    </a:lnTo>
                    <a:lnTo>
                      <a:pt x="78105" y="20955"/>
                    </a:lnTo>
                    <a:lnTo>
                      <a:pt x="60008" y="17050"/>
                    </a:lnTo>
                    <a:lnTo>
                      <a:pt x="49530" y="24765"/>
                    </a:lnTo>
                    <a:lnTo>
                      <a:pt x="35243" y="31337"/>
                    </a:lnTo>
                    <a:lnTo>
                      <a:pt x="21908" y="39053"/>
                    </a:lnTo>
                    <a:lnTo>
                      <a:pt x="0" y="39053"/>
                    </a:lnTo>
                    <a:lnTo>
                      <a:pt x="3810" y="28575"/>
                    </a:lnTo>
                    <a:lnTo>
                      <a:pt x="18098" y="10478"/>
                    </a:lnTo>
                    <a:lnTo>
                      <a:pt x="45720" y="3715"/>
                    </a:lnTo>
                    <a:lnTo>
                      <a:pt x="70485" y="0"/>
                    </a:lnTo>
                    <a:lnTo>
                      <a:pt x="102870" y="0"/>
                    </a:lnTo>
                    <a:lnTo>
                      <a:pt x="130493" y="6668"/>
                    </a:lnTo>
                    <a:lnTo>
                      <a:pt x="155258" y="17050"/>
                    </a:lnTo>
                    <a:lnTo>
                      <a:pt x="183833" y="24765"/>
                    </a:lnTo>
                    <a:lnTo>
                      <a:pt x="194310" y="35243"/>
                    </a:lnTo>
                    <a:lnTo>
                      <a:pt x="204788" y="41815"/>
                    </a:lnTo>
                    <a:lnTo>
                      <a:pt x="229552" y="53340"/>
                    </a:lnTo>
                    <a:lnTo>
                      <a:pt x="250508" y="59912"/>
                    </a:lnTo>
                    <a:lnTo>
                      <a:pt x="271463" y="70390"/>
                    </a:lnTo>
                    <a:lnTo>
                      <a:pt x="292417" y="80963"/>
                    </a:lnTo>
                    <a:lnTo>
                      <a:pt x="281940" y="88487"/>
                    </a:lnTo>
                    <a:lnTo>
                      <a:pt x="267652" y="91440"/>
                    </a:lnTo>
                    <a:lnTo>
                      <a:pt x="264795" y="98965"/>
                    </a:lnTo>
                    <a:lnTo>
                      <a:pt x="260985" y="9896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91F2C78C-8EF8-624F-0A5D-9B05F1C5B299}"/>
                  </a:ext>
                </a:extLst>
              </p:cNvPr>
              <p:cNvSpPr/>
              <p:nvPr/>
            </p:nvSpPr>
            <p:spPr>
              <a:xfrm>
                <a:off x="3672613" y="3901330"/>
                <a:ext cx="286653" cy="97014"/>
              </a:xfrm>
              <a:custGeom>
                <a:avLst/>
                <a:gdLst>
                  <a:gd name="connsiteX0" fmla="*/ 260985 w 292417"/>
                  <a:gd name="connsiteY0" fmla="*/ 98965 h 98964"/>
                  <a:gd name="connsiteX1" fmla="*/ 246698 w 292417"/>
                  <a:gd name="connsiteY1" fmla="*/ 91440 h 98964"/>
                  <a:gd name="connsiteX2" fmla="*/ 229552 w 292417"/>
                  <a:gd name="connsiteY2" fmla="*/ 91440 h 98964"/>
                  <a:gd name="connsiteX3" fmla="*/ 219075 w 292417"/>
                  <a:gd name="connsiteY3" fmla="*/ 98965 h 98964"/>
                  <a:gd name="connsiteX4" fmla="*/ 204788 w 292417"/>
                  <a:gd name="connsiteY4" fmla="*/ 95250 h 98964"/>
                  <a:gd name="connsiteX5" fmla="*/ 208598 w 292417"/>
                  <a:gd name="connsiteY5" fmla="*/ 80963 h 98964"/>
                  <a:gd name="connsiteX6" fmla="*/ 204788 w 292417"/>
                  <a:gd name="connsiteY6" fmla="*/ 70390 h 98964"/>
                  <a:gd name="connsiteX7" fmla="*/ 183833 w 292417"/>
                  <a:gd name="connsiteY7" fmla="*/ 70390 h 98964"/>
                  <a:gd name="connsiteX8" fmla="*/ 176213 w 292417"/>
                  <a:gd name="connsiteY8" fmla="*/ 56102 h 98964"/>
                  <a:gd name="connsiteX9" fmla="*/ 165735 w 292417"/>
                  <a:gd name="connsiteY9" fmla="*/ 53340 h 98964"/>
                  <a:gd name="connsiteX10" fmla="*/ 140970 w 292417"/>
                  <a:gd name="connsiteY10" fmla="*/ 45625 h 98964"/>
                  <a:gd name="connsiteX11" fmla="*/ 134302 w 292417"/>
                  <a:gd name="connsiteY11" fmla="*/ 39053 h 98964"/>
                  <a:gd name="connsiteX12" fmla="*/ 109538 w 292417"/>
                  <a:gd name="connsiteY12" fmla="*/ 31337 h 98964"/>
                  <a:gd name="connsiteX13" fmla="*/ 84773 w 292417"/>
                  <a:gd name="connsiteY13" fmla="*/ 28575 h 98964"/>
                  <a:gd name="connsiteX14" fmla="*/ 78105 w 292417"/>
                  <a:gd name="connsiteY14" fmla="*/ 20955 h 98964"/>
                  <a:gd name="connsiteX15" fmla="*/ 60008 w 292417"/>
                  <a:gd name="connsiteY15" fmla="*/ 17050 h 98964"/>
                  <a:gd name="connsiteX16" fmla="*/ 49530 w 292417"/>
                  <a:gd name="connsiteY16" fmla="*/ 24765 h 98964"/>
                  <a:gd name="connsiteX17" fmla="*/ 35243 w 292417"/>
                  <a:gd name="connsiteY17" fmla="*/ 31337 h 98964"/>
                  <a:gd name="connsiteX18" fmla="*/ 21908 w 292417"/>
                  <a:gd name="connsiteY18" fmla="*/ 39053 h 98964"/>
                  <a:gd name="connsiteX19" fmla="*/ 0 w 292417"/>
                  <a:gd name="connsiteY19" fmla="*/ 39053 h 98964"/>
                  <a:gd name="connsiteX20" fmla="*/ 3810 w 292417"/>
                  <a:gd name="connsiteY20" fmla="*/ 28575 h 98964"/>
                  <a:gd name="connsiteX21" fmla="*/ 18098 w 292417"/>
                  <a:gd name="connsiteY21" fmla="*/ 10478 h 98964"/>
                  <a:gd name="connsiteX22" fmla="*/ 45720 w 292417"/>
                  <a:gd name="connsiteY22" fmla="*/ 3715 h 98964"/>
                  <a:gd name="connsiteX23" fmla="*/ 70485 w 292417"/>
                  <a:gd name="connsiteY23" fmla="*/ 0 h 98964"/>
                  <a:gd name="connsiteX24" fmla="*/ 102870 w 292417"/>
                  <a:gd name="connsiteY24" fmla="*/ 0 h 98964"/>
                  <a:gd name="connsiteX25" fmla="*/ 130493 w 292417"/>
                  <a:gd name="connsiteY25" fmla="*/ 6668 h 98964"/>
                  <a:gd name="connsiteX26" fmla="*/ 155258 w 292417"/>
                  <a:gd name="connsiteY26" fmla="*/ 17050 h 98964"/>
                  <a:gd name="connsiteX27" fmla="*/ 183833 w 292417"/>
                  <a:gd name="connsiteY27" fmla="*/ 24765 h 98964"/>
                  <a:gd name="connsiteX28" fmla="*/ 194310 w 292417"/>
                  <a:gd name="connsiteY28" fmla="*/ 35243 h 98964"/>
                  <a:gd name="connsiteX29" fmla="*/ 204788 w 292417"/>
                  <a:gd name="connsiteY29" fmla="*/ 41815 h 98964"/>
                  <a:gd name="connsiteX30" fmla="*/ 229552 w 292417"/>
                  <a:gd name="connsiteY30" fmla="*/ 53340 h 98964"/>
                  <a:gd name="connsiteX31" fmla="*/ 250508 w 292417"/>
                  <a:gd name="connsiteY31" fmla="*/ 59912 h 98964"/>
                  <a:gd name="connsiteX32" fmla="*/ 271463 w 292417"/>
                  <a:gd name="connsiteY32" fmla="*/ 70390 h 98964"/>
                  <a:gd name="connsiteX33" fmla="*/ 292417 w 292417"/>
                  <a:gd name="connsiteY33" fmla="*/ 80963 h 98964"/>
                  <a:gd name="connsiteX34" fmla="*/ 281940 w 292417"/>
                  <a:gd name="connsiteY34" fmla="*/ 88487 h 98964"/>
                  <a:gd name="connsiteX35" fmla="*/ 267652 w 292417"/>
                  <a:gd name="connsiteY35" fmla="*/ 91440 h 98964"/>
                  <a:gd name="connsiteX36" fmla="*/ 264795 w 292417"/>
                  <a:gd name="connsiteY36" fmla="*/ 98965 h 98964"/>
                  <a:gd name="connsiteX37" fmla="*/ 260985 w 292417"/>
                  <a:gd name="connsiteY37" fmla="*/ 98965 h 98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92417" h="98964">
                    <a:moveTo>
                      <a:pt x="260985" y="98965"/>
                    </a:moveTo>
                    <a:lnTo>
                      <a:pt x="246698" y="91440"/>
                    </a:lnTo>
                    <a:lnTo>
                      <a:pt x="229552" y="91440"/>
                    </a:lnTo>
                    <a:lnTo>
                      <a:pt x="219075" y="98965"/>
                    </a:lnTo>
                    <a:lnTo>
                      <a:pt x="204788" y="95250"/>
                    </a:lnTo>
                    <a:lnTo>
                      <a:pt x="208598" y="80963"/>
                    </a:lnTo>
                    <a:lnTo>
                      <a:pt x="204788" y="70390"/>
                    </a:lnTo>
                    <a:lnTo>
                      <a:pt x="183833" y="70390"/>
                    </a:lnTo>
                    <a:lnTo>
                      <a:pt x="176213" y="56102"/>
                    </a:lnTo>
                    <a:lnTo>
                      <a:pt x="165735" y="53340"/>
                    </a:lnTo>
                    <a:lnTo>
                      <a:pt x="140970" y="45625"/>
                    </a:lnTo>
                    <a:lnTo>
                      <a:pt x="134302" y="39053"/>
                    </a:lnTo>
                    <a:lnTo>
                      <a:pt x="109538" y="31337"/>
                    </a:lnTo>
                    <a:lnTo>
                      <a:pt x="84773" y="28575"/>
                    </a:lnTo>
                    <a:lnTo>
                      <a:pt x="78105" y="20955"/>
                    </a:lnTo>
                    <a:lnTo>
                      <a:pt x="60008" y="17050"/>
                    </a:lnTo>
                    <a:lnTo>
                      <a:pt x="49530" y="24765"/>
                    </a:lnTo>
                    <a:lnTo>
                      <a:pt x="35243" y="31337"/>
                    </a:lnTo>
                    <a:lnTo>
                      <a:pt x="21908" y="39053"/>
                    </a:lnTo>
                    <a:lnTo>
                      <a:pt x="0" y="39053"/>
                    </a:lnTo>
                    <a:lnTo>
                      <a:pt x="3810" y="28575"/>
                    </a:lnTo>
                    <a:lnTo>
                      <a:pt x="18098" y="10478"/>
                    </a:lnTo>
                    <a:lnTo>
                      <a:pt x="45720" y="3715"/>
                    </a:lnTo>
                    <a:lnTo>
                      <a:pt x="70485" y="0"/>
                    </a:lnTo>
                    <a:lnTo>
                      <a:pt x="102870" y="0"/>
                    </a:lnTo>
                    <a:lnTo>
                      <a:pt x="130493" y="6668"/>
                    </a:lnTo>
                    <a:lnTo>
                      <a:pt x="155258" y="17050"/>
                    </a:lnTo>
                    <a:lnTo>
                      <a:pt x="183833" y="24765"/>
                    </a:lnTo>
                    <a:lnTo>
                      <a:pt x="194310" y="35243"/>
                    </a:lnTo>
                    <a:lnTo>
                      <a:pt x="204788" y="41815"/>
                    </a:lnTo>
                    <a:lnTo>
                      <a:pt x="229552" y="53340"/>
                    </a:lnTo>
                    <a:lnTo>
                      <a:pt x="250508" y="59912"/>
                    </a:lnTo>
                    <a:lnTo>
                      <a:pt x="271463" y="70390"/>
                    </a:lnTo>
                    <a:lnTo>
                      <a:pt x="292417" y="80963"/>
                    </a:lnTo>
                    <a:lnTo>
                      <a:pt x="281940" y="88487"/>
                    </a:lnTo>
                    <a:lnTo>
                      <a:pt x="267652" y="91440"/>
                    </a:lnTo>
                    <a:lnTo>
                      <a:pt x="264795" y="98965"/>
                    </a:lnTo>
                    <a:lnTo>
                      <a:pt x="260985" y="9896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E2C76194-01DC-16A6-4296-4C131174FE72}"/>
                  </a:ext>
                </a:extLst>
              </p:cNvPr>
              <p:cNvSpPr/>
              <p:nvPr/>
            </p:nvSpPr>
            <p:spPr>
              <a:xfrm>
                <a:off x="3959266" y="3990968"/>
                <a:ext cx="76565" cy="52289"/>
              </a:xfrm>
              <a:custGeom>
                <a:avLst/>
                <a:gdLst>
                  <a:gd name="connsiteX0" fmla="*/ 0 w 78105"/>
                  <a:gd name="connsiteY0" fmla="*/ 49435 h 53340"/>
                  <a:gd name="connsiteX1" fmla="*/ 28575 w 78105"/>
                  <a:gd name="connsiteY1" fmla="*/ 53340 h 53340"/>
                  <a:gd name="connsiteX2" fmla="*/ 56197 w 78105"/>
                  <a:gd name="connsiteY2" fmla="*/ 53340 h 53340"/>
                  <a:gd name="connsiteX3" fmla="*/ 70485 w 78105"/>
                  <a:gd name="connsiteY3" fmla="*/ 53340 h 53340"/>
                  <a:gd name="connsiteX4" fmla="*/ 70485 w 78105"/>
                  <a:gd name="connsiteY4" fmla="*/ 42863 h 53340"/>
                  <a:gd name="connsiteX5" fmla="*/ 63818 w 78105"/>
                  <a:gd name="connsiteY5" fmla="*/ 35147 h 53340"/>
                  <a:gd name="connsiteX6" fmla="*/ 74295 w 78105"/>
                  <a:gd name="connsiteY6" fmla="*/ 32385 h 53340"/>
                  <a:gd name="connsiteX7" fmla="*/ 78105 w 78105"/>
                  <a:gd name="connsiteY7" fmla="*/ 24765 h 53340"/>
                  <a:gd name="connsiteX8" fmla="*/ 74295 w 78105"/>
                  <a:gd name="connsiteY8" fmla="*/ 7525 h 53340"/>
                  <a:gd name="connsiteX9" fmla="*/ 56197 w 78105"/>
                  <a:gd name="connsiteY9" fmla="*/ 3810 h 53340"/>
                  <a:gd name="connsiteX10" fmla="*/ 42863 w 78105"/>
                  <a:gd name="connsiteY10" fmla="*/ 0 h 53340"/>
                  <a:gd name="connsiteX11" fmla="*/ 28575 w 78105"/>
                  <a:gd name="connsiteY11" fmla="*/ 3810 h 53340"/>
                  <a:gd name="connsiteX12" fmla="*/ 39053 w 78105"/>
                  <a:gd name="connsiteY12" fmla="*/ 10478 h 53340"/>
                  <a:gd name="connsiteX13" fmla="*/ 49530 w 78105"/>
                  <a:gd name="connsiteY13" fmla="*/ 24765 h 53340"/>
                  <a:gd name="connsiteX14" fmla="*/ 49530 w 78105"/>
                  <a:gd name="connsiteY14" fmla="*/ 35147 h 53340"/>
                  <a:gd name="connsiteX15" fmla="*/ 35243 w 78105"/>
                  <a:gd name="connsiteY15" fmla="*/ 35147 h 53340"/>
                  <a:gd name="connsiteX16" fmla="*/ 24765 w 78105"/>
                  <a:gd name="connsiteY16" fmla="*/ 32385 h 53340"/>
                  <a:gd name="connsiteX17" fmla="*/ 10478 w 78105"/>
                  <a:gd name="connsiteY17" fmla="*/ 35147 h 53340"/>
                  <a:gd name="connsiteX18" fmla="*/ 0 w 78105"/>
                  <a:gd name="connsiteY18" fmla="*/ 35147 h 53340"/>
                  <a:gd name="connsiteX19" fmla="*/ 0 w 78105"/>
                  <a:gd name="connsiteY19" fmla="*/ 49435 h 53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78105" h="53340">
                    <a:moveTo>
                      <a:pt x="0" y="49435"/>
                    </a:moveTo>
                    <a:lnTo>
                      <a:pt x="28575" y="53340"/>
                    </a:lnTo>
                    <a:lnTo>
                      <a:pt x="56197" y="53340"/>
                    </a:lnTo>
                    <a:lnTo>
                      <a:pt x="70485" y="53340"/>
                    </a:lnTo>
                    <a:lnTo>
                      <a:pt x="70485" y="42863"/>
                    </a:lnTo>
                    <a:lnTo>
                      <a:pt x="63818" y="35147"/>
                    </a:lnTo>
                    <a:lnTo>
                      <a:pt x="74295" y="32385"/>
                    </a:lnTo>
                    <a:lnTo>
                      <a:pt x="78105" y="24765"/>
                    </a:lnTo>
                    <a:lnTo>
                      <a:pt x="74295" y="7525"/>
                    </a:lnTo>
                    <a:lnTo>
                      <a:pt x="56197" y="3810"/>
                    </a:lnTo>
                    <a:lnTo>
                      <a:pt x="42863" y="0"/>
                    </a:lnTo>
                    <a:lnTo>
                      <a:pt x="28575" y="3810"/>
                    </a:lnTo>
                    <a:lnTo>
                      <a:pt x="39053" y="10478"/>
                    </a:lnTo>
                    <a:lnTo>
                      <a:pt x="49530" y="24765"/>
                    </a:lnTo>
                    <a:lnTo>
                      <a:pt x="49530" y="35147"/>
                    </a:lnTo>
                    <a:lnTo>
                      <a:pt x="35243" y="35147"/>
                    </a:lnTo>
                    <a:lnTo>
                      <a:pt x="24765" y="32385"/>
                    </a:lnTo>
                    <a:lnTo>
                      <a:pt x="10478" y="35147"/>
                    </a:lnTo>
                    <a:lnTo>
                      <a:pt x="0" y="35147"/>
                    </a:lnTo>
                    <a:lnTo>
                      <a:pt x="0" y="4943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1F9193D3-439C-4802-815B-E91CFBB0AFE2}"/>
                  </a:ext>
                </a:extLst>
              </p:cNvPr>
              <p:cNvSpPr/>
              <p:nvPr/>
            </p:nvSpPr>
            <p:spPr>
              <a:xfrm>
                <a:off x="3959266" y="3990968"/>
                <a:ext cx="76565" cy="52289"/>
              </a:xfrm>
              <a:custGeom>
                <a:avLst/>
                <a:gdLst>
                  <a:gd name="connsiteX0" fmla="*/ 0 w 78105"/>
                  <a:gd name="connsiteY0" fmla="*/ 49435 h 53340"/>
                  <a:gd name="connsiteX1" fmla="*/ 28575 w 78105"/>
                  <a:gd name="connsiteY1" fmla="*/ 53340 h 53340"/>
                  <a:gd name="connsiteX2" fmla="*/ 56197 w 78105"/>
                  <a:gd name="connsiteY2" fmla="*/ 53340 h 53340"/>
                  <a:gd name="connsiteX3" fmla="*/ 70485 w 78105"/>
                  <a:gd name="connsiteY3" fmla="*/ 53340 h 53340"/>
                  <a:gd name="connsiteX4" fmla="*/ 70485 w 78105"/>
                  <a:gd name="connsiteY4" fmla="*/ 42863 h 53340"/>
                  <a:gd name="connsiteX5" fmla="*/ 63818 w 78105"/>
                  <a:gd name="connsiteY5" fmla="*/ 35147 h 53340"/>
                  <a:gd name="connsiteX6" fmla="*/ 74295 w 78105"/>
                  <a:gd name="connsiteY6" fmla="*/ 32385 h 53340"/>
                  <a:gd name="connsiteX7" fmla="*/ 78105 w 78105"/>
                  <a:gd name="connsiteY7" fmla="*/ 24765 h 53340"/>
                  <a:gd name="connsiteX8" fmla="*/ 74295 w 78105"/>
                  <a:gd name="connsiteY8" fmla="*/ 7525 h 53340"/>
                  <a:gd name="connsiteX9" fmla="*/ 56197 w 78105"/>
                  <a:gd name="connsiteY9" fmla="*/ 3810 h 53340"/>
                  <a:gd name="connsiteX10" fmla="*/ 42863 w 78105"/>
                  <a:gd name="connsiteY10" fmla="*/ 0 h 53340"/>
                  <a:gd name="connsiteX11" fmla="*/ 28575 w 78105"/>
                  <a:gd name="connsiteY11" fmla="*/ 3810 h 53340"/>
                  <a:gd name="connsiteX12" fmla="*/ 39053 w 78105"/>
                  <a:gd name="connsiteY12" fmla="*/ 10478 h 53340"/>
                  <a:gd name="connsiteX13" fmla="*/ 49530 w 78105"/>
                  <a:gd name="connsiteY13" fmla="*/ 24765 h 53340"/>
                  <a:gd name="connsiteX14" fmla="*/ 49530 w 78105"/>
                  <a:gd name="connsiteY14" fmla="*/ 35147 h 53340"/>
                  <a:gd name="connsiteX15" fmla="*/ 35243 w 78105"/>
                  <a:gd name="connsiteY15" fmla="*/ 35147 h 53340"/>
                  <a:gd name="connsiteX16" fmla="*/ 24765 w 78105"/>
                  <a:gd name="connsiteY16" fmla="*/ 32385 h 53340"/>
                  <a:gd name="connsiteX17" fmla="*/ 10478 w 78105"/>
                  <a:gd name="connsiteY17" fmla="*/ 35147 h 53340"/>
                  <a:gd name="connsiteX18" fmla="*/ 0 w 78105"/>
                  <a:gd name="connsiteY18" fmla="*/ 35147 h 53340"/>
                  <a:gd name="connsiteX19" fmla="*/ 0 w 78105"/>
                  <a:gd name="connsiteY19" fmla="*/ 49435 h 53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78105" h="53340">
                    <a:moveTo>
                      <a:pt x="0" y="49435"/>
                    </a:moveTo>
                    <a:lnTo>
                      <a:pt x="28575" y="53340"/>
                    </a:lnTo>
                    <a:lnTo>
                      <a:pt x="56197" y="53340"/>
                    </a:lnTo>
                    <a:lnTo>
                      <a:pt x="70485" y="53340"/>
                    </a:lnTo>
                    <a:lnTo>
                      <a:pt x="70485" y="42863"/>
                    </a:lnTo>
                    <a:lnTo>
                      <a:pt x="63818" y="35147"/>
                    </a:lnTo>
                    <a:lnTo>
                      <a:pt x="74295" y="32385"/>
                    </a:lnTo>
                    <a:lnTo>
                      <a:pt x="78105" y="24765"/>
                    </a:lnTo>
                    <a:lnTo>
                      <a:pt x="74295" y="7525"/>
                    </a:lnTo>
                    <a:lnTo>
                      <a:pt x="56197" y="3810"/>
                    </a:lnTo>
                    <a:lnTo>
                      <a:pt x="42863" y="0"/>
                    </a:lnTo>
                    <a:lnTo>
                      <a:pt x="28575" y="3810"/>
                    </a:lnTo>
                    <a:lnTo>
                      <a:pt x="39053" y="10478"/>
                    </a:lnTo>
                    <a:lnTo>
                      <a:pt x="49530" y="24765"/>
                    </a:lnTo>
                    <a:lnTo>
                      <a:pt x="49530" y="35147"/>
                    </a:lnTo>
                    <a:lnTo>
                      <a:pt x="35243" y="35147"/>
                    </a:lnTo>
                    <a:lnTo>
                      <a:pt x="24765" y="32385"/>
                    </a:lnTo>
                    <a:lnTo>
                      <a:pt x="10478" y="35147"/>
                    </a:lnTo>
                    <a:lnTo>
                      <a:pt x="0" y="35147"/>
                    </a:lnTo>
                    <a:lnTo>
                      <a:pt x="0" y="4943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08604592-3297-BB42-BAC2-5293D0379FA4}"/>
                  </a:ext>
                </a:extLst>
              </p:cNvPr>
              <p:cNvSpPr/>
              <p:nvPr/>
            </p:nvSpPr>
            <p:spPr>
              <a:xfrm>
                <a:off x="3852822" y="4029252"/>
                <a:ext cx="55089" cy="30813"/>
              </a:xfrm>
              <a:custGeom>
                <a:avLst/>
                <a:gdLst>
                  <a:gd name="connsiteX0" fmla="*/ 0 w 56197"/>
                  <a:gd name="connsiteY0" fmla="*/ 10382 h 31432"/>
                  <a:gd name="connsiteX1" fmla="*/ 10478 w 56197"/>
                  <a:gd name="connsiteY1" fmla="*/ 0 h 31432"/>
                  <a:gd name="connsiteX2" fmla="*/ 24765 w 56197"/>
                  <a:gd name="connsiteY2" fmla="*/ 0 h 31432"/>
                  <a:gd name="connsiteX3" fmla="*/ 35243 w 56197"/>
                  <a:gd name="connsiteY3" fmla="*/ 3810 h 31432"/>
                  <a:gd name="connsiteX4" fmla="*/ 48578 w 56197"/>
                  <a:gd name="connsiteY4" fmla="*/ 10382 h 31432"/>
                  <a:gd name="connsiteX5" fmla="*/ 56197 w 56197"/>
                  <a:gd name="connsiteY5" fmla="*/ 17145 h 31432"/>
                  <a:gd name="connsiteX6" fmla="*/ 41910 w 56197"/>
                  <a:gd name="connsiteY6" fmla="*/ 24670 h 31432"/>
                  <a:gd name="connsiteX7" fmla="*/ 31432 w 56197"/>
                  <a:gd name="connsiteY7" fmla="*/ 24670 h 31432"/>
                  <a:gd name="connsiteX8" fmla="*/ 24765 w 56197"/>
                  <a:gd name="connsiteY8" fmla="*/ 31432 h 31432"/>
                  <a:gd name="connsiteX9" fmla="*/ 17145 w 56197"/>
                  <a:gd name="connsiteY9" fmla="*/ 20860 h 31432"/>
                  <a:gd name="connsiteX10" fmla="*/ 10478 w 56197"/>
                  <a:gd name="connsiteY10" fmla="*/ 14288 h 31432"/>
                  <a:gd name="connsiteX11" fmla="*/ 0 w 56197"/>
                  <a:gd name="connsiteY11" fmla="*/ 10382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6197" h="31432">
                    <a:moveTo>
                      <a:pt x="0" y="10382"/>
                    </a:moveTo>
                    <a:lnTo>
                      <a:pt x="10478" y="0"/>
                    </a:lnTo>
                    <a:lnTo>
                      <a:pt x="24765" y="0"/>
                    </a:lnTo>
                    <a:lnTo>
                      <a:pt x="35243" y="3810"/>
                    </a:lnTo>
                    <a:lnTo>
                      <a:pt x="48578" y="10382"/>
                    </a:lnTo>
                    <a:lnTo>
                      <a:pt x="56197" y="17145"/>
                    </a:lnTo>
                    <a:lnTo>
                      <a:pt x="41910" y="24670"/>
                    </a:lnTo>
                    <a:lnTo>
                      <a:pt x="31432" y="24670"/>
                    </a:lnTo>
                    <a:lnTo>
                      <a:pt x="24765" y="31432"/>
                    </a:lnTo>
                    <a:lnTo>
                      <a:pt x="17145" y="20860"/>
                    </a:lnTo>
                    <a:lnTo>
                      <a:pt x="10478" y="14288"/>
                    </a:lnTo>
                    <a:lnTo>
                      <a:pt x="0" y="1038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0CE16C34-4346-3FF8-9906-2F7C8621603B}"/>
                  </a:ext>
                </a:extLst>
              </p:cNvPr>
              <p:cNvSpPr/>
              <p:nvPr/>
            </p:nvSpPr>
            <p:spPr>
              <a:xfrm>
                <a:off x="3852822" y="4029252"/>
                <a:ext cx="55089" cy="30813"/>
              </a:xfrm>
              <a:custGeom>
                <a:avLst/>
                <a:gdLst>
                  <a:gd name="connsiteX0" fmla="*/ 0 w 56197"/>
                  <a:gd name="connsiteY0" fmla="*/ 10382 h 31432"/>
                  <a:gd name="connsiteX1" fmla="*/ 10478 w 56197"/>
                  <a:gd name="connsiteY1" fmla="*/ 0 h 31432"/>
                  <a:gd name="connsiteX2" fmla="*/ 24765 w 56197"/>
                  <a:gd name="connsiteY2" fmla="*/ 0 h 31432"/>
                  <a:gd name="connsiteX3" fmla="*/ 35243 w 56197"/>
                  <a:gd name="connsiteY3" fmla="*/ 3810 h 31432"/>
                  <a:gd name="connsiteX4" fmla="*/ 48578 w 56197"/>
                  <a:gd name="connsiteY4" fmla="*/ 10382 h 31432"/>
                  <a:gd name="connsiteX5" fmla="*/ 56197 w 56197"/>
                  <a:gd name="connsiteY5" fmla="*/ 17145 h 31432"/>
                  <a:gd name="connsiteX6" fmla="*/ 41910 w 56197"/>
                  <a:gd name="connsiteY6" fmla="*/ 24670 h 31432"/>
                  <a:gd name="connsiteX7" fmla="*/ 31432 w 56197"/>
                  <a:gd name="connsiteY7" fmla="*/ 24670 h 31432"/>
                  <a:gd name="connsiteX8" fmla="*/ 24765 w 56197"/>
                  <a:gd name="connsiteY8" fmla="*/ 31432 h 31432"/>
                  <a:gd name="connsiteX9" fmla="*/ 17145 w 56197"/>
                  <a:gd name="connsiteY9" fmla="*/ 20860 h 31432"/>
                  <a:gd name="connsiteX10" fmla="*/ 10478 w 56197"/>
                  <a:gd name="connsiteY10" fmla="*/ 14288 h 31432"/>
                  <a:gd name="connsiteX11" fmla="*/ 0 w 56197"/>
                  <a:gd name="connsiteY11" fmla="*/ 10382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6197" h="31432">
                    <a:moveTo>
                      <a:pt x="0" y="10382"/>
                    </a:moveTo>
                    <a:lnTo>
                      <a:pt x="10478" y="0"/>
                    </a:lnTo>
                    <a:lnTo>
                      <a:pt x="24765" y="0"/>
                    </a:lnTo>
                    <a:lnTo>
                      <a:pt x="35243" y="3810"/>
                    </a:lnTo>
                    <a:lnTo>
                      <a:pt x="48578" y="10382"/>
                    </a:lnTo>
                    <a:lnTo>
                      <a:pt x="56197" y="17145"/>
                    </a:lnTo>
                    <a:lnTo>
                      <a:pt x="41910" y="24670"/>
                    </a:lnTo>
                    <a:lnTo>
                      <a:pt x="31432" y="24670"/>
                    </a:lnTo>
                    <a:lnTo>
                      <a:pt x="24765" y="31432"/>
                    </a:lnTo>
                    <a:lnTo>
                      <a:pt x="17145" y="20860"/>
                    </a:lnTo>
                    <a:lnTo>
                      <a:pt x="10478" y="14288"/>
                    </a:lnTo>
                    <a:lnTo>
                      <a:pt x="0" y="1038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F794E91C-1B0A-9A16-DBB2-AD7FE619A273}"/>
                  </a:ext>
                </a:extLst>
              </p:cNvPr>
              <p:cNvSpPr/>
              <p:nvPr/>
            </p:nvSpPr>
            <p:spPr>
              <a:xfrm>
                <a:off x="4021826" y="3998345"/>
                <a:ext cx="99908" cy="61719"/>
              </a:xfrm>
              <a:custGeom>
                <a:avLst/>
                <a:gdLst>
                  <a:gd name="connsiteX0" fmla="*/ 10478 w 101917"/>
                  <a:gd name="connsiteY0" fmla="*/ 0 h 62960"/>
                  <a:gd name="connsiteX1" fmla="*/ 27622 w 101917"/>
                  <a:gd name="connsiteY1" fmla="*/ 2953 h 62960"/>
                  <a:gd name="connsiteX2" fmla="*/ 41910 w 101917"/>
                  <a:gd name="connsiteY2" fmla="*/ 2953 h 62960"/>
                  <a:gd name="connsiteX3" fmla="*/ 60007 w 101917"/>
                  <a:gd name="connsiteY3" fmla="*/ 6763 h 62960"/>
                  <a:gd name="connsiteX4" fmla="*/ 70485 w 101917"/>
                  <a:gd name="connsiteY4" fmla="*/ 10573 h 62960"/>
                  <a:gd name="connsiteX5" fmla="*/ 80963 w 101917"/>
                  <a:gd name="connsiteY5" fmla="*/ 17240 h 62960"/>
                  <a:gd name="connsiteX6" fmla="*/ 98107 w 101917"/>
                  <a:gd name="connsiteY6" fmla="*/ 27622 h 62960"/>
                  <a:gd name="connsiteX7" fmla="*/ 101917 w 101917"/>
                  <a:gd name="connsiteY7" fmla="*/ 35338 h 62960"/>
                  <a:gd name="connsiteX8" fmla="*/ 95250 w 101917"/>
                  <a:gd name="connsiteY8" fmla="*/ 41910 h 62960"/>
                  <a:gd name="connsiteX9" fmla="*/ 77153 w 101917"/>
                  <a:gd name="connsiteY9" fmla="*/ 38100 h 62960"/>
                  <a:gd name="connsiteX10" fmla="*/ 66675 w 101917"/>
                  <a:gd name="connsiteY10" fmla="*/ 38100 h 62960"/>
                  <a:gd name="connsiteX11" fmla="*/ 52388 w 101917"/>
                  <a:gd name="connsiteY11" fmla="*/ 41910 h 62960"/>
                  <a:gd name="connsiteX12" fmla="*/ 41910 w 101917"/>
                  <a:gd name="connsiteY12" fmla="*/ 41910 h 62960"/>
                  <a:gd name="connsiteX13" fmla="*/ 35242 w 101917"/>
                  <a:gd name="connsiteY13" fmla="*/ 35338 h 62960"/>
                  <a:gd name="connsiteX14" fmla="*/ 24765 w 101917"/>
                  <a:gd name="connsiteY14" fmla="*/ 38100 h 62960"/>
                  <a:gd name="connsiteX15" fmla="*/ 20955 w 101917"/>
                  <a:gd name="connsiteY15" fmla="*/ 48673 h 62960"/>
                  <a:gd name="connsiteX16" fmla="*/ 20955 w 101917"/>
                  <a:gd name="connsiteY16" fmla="*/ 60103 h 62960"/>
                  <a:gd name="connsiteX17" fmla="*/ 14288 w 101917"/>
                  <a:gd name="connsiteY17" fmla="*/ 62960 h 62960"/>
                  <a:gd name="connsiteX18" fmla="*/ 6667 w 101917"/>
                  <a:gd name="connsiteY18" fmla="*/ 52388 h 62960"/>
                  <a:gd name="connsiteX19" fmla="*/ 6667 w 101917"/>
                  <a:gd name="connsiteY19" fmla="*/ 45815 h 62960"/>
                  <a:gd name="connsiteX20" fmla="*/ 6667 w 101917"/>
                  <a:gd name="connsiteY20" fmla="*/ 35338 h 62960"/>
                  <a:gd name="connsiteX21" fmla="*/ 0 w 101917"/>
                  <a:gd name="connsiteY21" fmla="*/ 27622 h 62960"/>
                  <a:gd name="connsiteX22" fmla="*/ 10478 w 101917"/>
                  <a:gd name="connsiteY22" fmla="*/ 24860 h 62960"/>
                  <a:gd name="connsiteX23" fmla="*/ 14288 w 101917"/>
                  <a:gd name="connsiteY23" fmla="*/ 17240 h 62960"/>
                  <a:gd name="connsiteX24" fmla="*/ 10478 w 101917"/>
                  <a:gd name="connsiteY24" fmla="*/ 0 h 62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01917" h="62960">
                    <a:moveTo>
                      <a:pt x="10478" y="0"/>
                    </a:moveTo>
                    <a:lnTo>
                      <a:pt x="27622" y="2953"/>
                    </a:lnTo>
                    <a:lnTo>
                      <a:pt x="41910" y="2953"/>
                    </a:lnTo>
                    <a:lnTo>
                      <a:pt x="60007" y="6763"/>
                    </a:lnTo>
                    <a:lnTo>
                      <a:pt x="70485" y="10573"/>
                    </a:lnTo>
                    <a:lnTo>
                      <a:pt x="80963" y="17240"/>
                    </a:lnTo>
                    <a:lnTo>
                      <a:pt x="98107" y="27622"/>
                    </a:lnTo>
                    <a:lnTo>
                      <a:pt x="101917" y="35338"/>
                    </a:lnTo>
                    <a:lnTo>
                      <a:pt x="95250" y="41910"/>
                    </a:lnTo>
                    <a:lnTo>
                      <a:pt x="77153" y="38100"/>
                    </a:lnTo>
                    <a:lnTo>
                      <a:pt x="66675" y="38100"/>
                    </a:lnTo>
                    <a:lnTo>
                      <a:pt x="52388" y="41910"/>
                    </a:lnTo>
                    <a:lnTo>
                      <a:pt x="41910" y="41910"/>
                    </a:lnTo>
                    <a:lnTo>
                      <a:pt x="35242" y="35338"/>
                    </a:lnTo>
                    <a:lnTo>
                      <a:pt x="24765" y="38100"/>
                    </a:lnTo>
                    <a:lnTo>
                      <a:pt x="20955" y="48673"/>
                    </a:lnTo>
                    <a:lnTo>
                      <a:pt x="20955" y="60103"/>
                    </a:lnTo>
                    <a:lnTo>
                      <a:pt x="14288" y="62960"/>
                    </a:lnTo>
                    <a:lnTo>
                      <a:pt x="6667" y="52388"/>
                    </a:lnTo>
                    <a:lnTo>
                      <a:pt x="6667" y="45815"/>
                    </a:lnTo>
                    <a:lnTo>
                      <a:pt x="6667" y="35338"/>
                    </a:lnTo>
                    <a:lnTo>
                      <a:pt x="0" y="27622"/>
                    </a:lnTo>
                    <a:lnTo>
                      <a:pt x="10478" y="24860"/>
                    </a:lnTo>
                    <a:lnTo>
                      <a:pt x="14288" y="17240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FDDC62F4-68A5-6A9E-AC05-98841F6FCBF3}"/>
                  </a:ext>
                </a:extLst>
              </p:cNvPr>
              <p:cNvSpPr/>
              <p:nvPr/>
            </p:nvSpPr>
            <p:spPr>
              <a:xfrm>
                <a:off x="4021826" y="3998345"/>
                <a:ext cx="99908" cy="61719"/>
              </a:xfrm>
              <a:custGeom>
                <a:avLst/>
                <a:gdLst>
                  <a:gd name="connsiteX0" fmla="*/ 10478 w 101917"/>
                  <a:gd name="connsiteY0" fmla="*/ 0 h 62960"/>
                  <a:gd name="connsiteX1" fmla="*/ 27622 w 101917"/>
                  <a:gd name="connsiteY1" fmla="*/ 2953 h 62960"/>
                  <a:gd name="connsiteX2" fmla="*/ 41910 w 101917"/>
                  <a:gd name="connsiteY2" fmla="*/ 2953 h 62960"/>
                  <a:gd name="connsiteX3" fmla="*/ 60007 w 101917"/>
                  <a:gd name="connsiteY3" fmla="*/ 6763 h 62960"/>
                  <a:gd name="connsiteX4" fmla="*/ 70485 w 101917"/>
                  <a:gd name="connsiteY4" fmla="*/ 10573 h 62960"/>
                  <a:gd name="connsiteX5" fmla="*/ 80963 w 101917"/>
                  <a:gd name="connsiteY5" fmla="*/ 17240 h 62960"/>
                  <a:gd name="connsiteX6" fmla="*/ 98107 w 101917"/>
                  <a:gd name="connsiteY6" fmla="*/ 27622 h 62960"/>
                  <a:gd name="connsiteX7" fmla="*/ 101917 w 101917"/>
                  <a:gd name="connsiteY7" fmla="*/ 35338 h 62960"/>
                  <a:gd name="connsiteX8" fmla="*/ 95250 w 101917"/>
                  <a:gd name="connsiteY8" fmla="*/ 41910 h 62960"/>
                  <a:gd name="connsiteX9" fmla="*/ 77153 w 101917"/>
                  <a:gd name="connsiteY9" fmla="*/ 38100 h 62960"/>
                  <a:gd name="connsiteX10" fmla="*/ 66675 w 101917"/>
                  <a:gd name="connsiteY10" fmla="*/ 38100 h 62960"/>
                  <a:gd name="connsiteX11" fmla="*/ 52388 w 101917"/>
                  <a:gd name="connsiteY11" fmla="*/ 41910 h 62960"/>
                  <a:gd name="connsiteX12" fmla="*/ 41910 w 101917"/>
                  <a:gd name="connsiteY12" fmla="*/ 41910 h 62960"/>
                  <a:gd name="connsiteX13" fmla="*/ 35242 w 101917"/>
                  <a:gd name="connsiteY13" fmla="*/ 35338 h 62960"/>
                  <a:gd name="connsiteX14" fmla="*/ 24765 w 101917"/>
                  <a:gd name="connsiteY14" fmla="*/ 38100 h 62960"/>
                  <a:gd name="connsiteX15" fmla="*/ 20955 w 101917"/>
                  <a:gd name="connsiteY15" fmla="*/ 48673 h 62960"/>
                  <a:gd name="connsiteX16" fmla="*/ 20955 w 101917"/>
                  <a:gd name="connsiteY16" fmla="*/ 60103 h 62960"/>
                  <a:gd name="connsiteX17" fmla="*/ 14288 w 101917"/>
                  <a:gd name="connsiteY17" fmla="*/ 62960 h 62960"/>
                  <a:gd name="connsiteX18" fmla="*/ 6667 w 101917"/>
                  <a:gd name="connsiteY18" fmla="*/ 52388 h 62960"/>
                  <a:gd name="connsiteX19" fmla="*/ 6667 w 101917"/>
                  <a:gd name="connsiteY19" fmla="*/ 45815 h 62960"/>
                  <a:gd name="connsiteX20" fmla="*/ 6667 w 101917"/>
                  <a:gd name="connsiteY20" fmla="*/ 35338 h 62960"/>
                  <a:gd name="connsiteX21" fmla="*/ 0 w 101917"/>
                  <a:gd name="connsiteY21" fmla="*/ 27622 h 62960"/>
                  <a:gd name="connsiteX22" fmla="*/ 10478 w 101917"/>
                  <a:gd name="connsiteY22" fmla="*/ 24860 h 62960"/>
                  <a:gd name="connsiteX23" fmla="*/ 14288 w 101917"/>
                  <a:gd name="connsiteY23" fmla="*/ 17240 h 62960"/>
                  <a:gd name="connsiteX24" fmla="*/ 10478 w 101917"/>
                  <a:gd name="connsiteY24" fmla="*/ 0 h 62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01917" h="62960">
                    <a:moveTo>
                      <a:pt x="10478" y="0"/>
                    </a:moveTo>
                    <a:lnTo>
                      <a:pt x="27622" y="2953"/>
                    </a:lnTo>
                    <a:lnTo>
                      <a:pt x="41910" y="2953"/>
                    </a:lnTo>
                    <a:lnTo>
                      <a:pt x="60007" y="6763"/>
                    </a:lnTo>
                    <a:lnTo>
                      <a:pt x="70485" y="10573"/>
                    </a:lnTo>
                    <a:lnTo>
                      <a:pt x="80963" y="17240"/>
                    </a:lnTo>
                    <a:lnTo>
                      <a:pt x="98107" y="27622"/>
                    </a:lnTo>
                    <a:lnTo>
                      <a:pt x="101917" y="35338"/>
                    </a:lnTo>
                    <a:lnTo>
                      <a:pt x="95250" y="41910"/>
                    </a:lnTo>
                    <a:lnTo>
                      <a:pt x="77153" y="38100"/>
                    </a:lnTo>
                    <a:lnTo>
                      <a:pt x="66675" y="38100"/>
                    </a:lnTo>
                    <a:lnTo>
                      <a:pt x="52388" y="41910"/>
                    </a:lnTo>
                    <a:lnTo>
                      <a:pt x="41910" y="41910"/>
                    </a:lnTo>
                    <a:lnTo>
                      <a:pt x="35242" y="35338"/>
                    </a:lnTo>
                    <a:lnTo>
                      <a:pt x="24765" y="38100"/>
                    </a:lnTo>
                    <a:lnTo>
                      <a:pt x="20955" y="48673"/>
                    </a:lnTo>
                    <a:lnTo>
                      <a:pt x="20955" y="60103"/>
                    </a:lnTo>
                    <a:lnTo>
                      <a:pt x="14288" y="62960"/>
                    </a:lnTo>
                    <a:lnTo>
                      <a:pt x="6667" y="52388"/>
                    </a:lnTo>
                    <a:lnTo>
                      <a:pt x="6667" y="45815"/>
                    </a:lnTo>
                    <a:lnTo>
                      <a:pt x="6667" y="35338"/>
                    </a:lnTo>
                    <a:lnTo>
                      <a:pt x="0" y="27622"/>
                    </a:lnTo>
                    <a:lnTo>
                      <a:pt x="10478" y="24860"/>
                    </a:lnTo>
                    <a:lnTo>
                      <a:pt x="14288" y="17240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4A60255F-BE57-CE73-E7CE-D727CBDA1B06}"/>
                  </a:ext>
                </a:extLst>
              </p:cNvPr>
              <p:cNvSpPr/>
              <p:nvPr/>
            </p:nvSpPr>
            <p:spPr>
              <a:xfrm>
                <a:off x="4152548" y="4032987"/>
                <a:ext cx="44818" cy="16713"/>
              </a:xfrm>
              <a:custGeom>
                <a:avLst/>
                <a:gdLst>
                  <a:gd name="connsiteX0" fmla="*/ 32385 w 45719"/>
                  <a:gd name="connsiteY0" fmla="*/ 0 h 17049"/>
                  <a:gd name="connsiteX1" fmla="*/ 14288 w 45719"/>
                  <a:gd name="connsiteY1" fmla="*/ 0 h 17049"/>
                  <a:gd name="connsiteX2" fmla="*/ 0 w 45719"/>
                  <a:gd name="connsiteY2" fmla="*/ 6572 h 17049"/>
                  <a:gd name="connsiteX3" fmla="*/ 7620 w 45719"/>
                  <a:gd name="connsiteY3" fmla="*/ 17050 h 17049"/>
                  <a:gd name="connsiteX4" fmla="*/ 21907 w 45719"/>
                  <a:gd name="connsiteY4" fmla="*/ 17050 h 17049"/>
                  <a:gd name="connsiteX5" fmla="*/ 39053 w 45719"/>
                  <a:gd name="connsiteY5" fmla="*/ 17050 h 17049"/>
                  <a:gd name="connsiteX6" fmla="*/ 45720 w 45719"/>
                  <a:gd name="connsiteY6" fmla="*/ 13335 h 17049"/>
                  <a:gd name="connsiteX7" fmla="*/ 45720 w 45719"/>
                  <a:gd name="connsiteY7" fmla="*/ 6572 h 17049"/>
                  <a:gd name="connsiteX8" fmla="*/ 39053 w 45719"/>
                  <a:gd name="connsiteY8" fmla="*/ 0 h 17049"/>
                  <a:gd name="connsiteX9" fmla="*/ 32385 w 45719"/>
                  <a:gd name="connsiteY9" fmla="*/ 0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719" h="17049">
                    <a:moveTo>
                      <a:pt x="32385" y="0"/>
                    </a:moveTo>
                    <a:lnTo>
                      <a:pt x="14288" y="0"/>
                    </a:lnTo>
                    <a:lnTo>
                      <a:pt x="0" y="6572"/>
                    </a:lnTo>
                    <a:lnTo>
                      <a:pt x="7620" y="17050"/>
                    </a:lnTo>
                    <a:lnTo>
                      <a:pt x="21907" y="17050"/>
                    </a:lnTo>
                    <a:lnTo>
                      <a:pt x="39053" y="17050"/>
                    </a:lnTo>
                    <a:lnTo>
                      <a:pt x="45720" y="13335"/>
                    </a:lnTo>
                    <a:lnTo>
                      <a:pt x="45720" y="6572"/>
                    </a:lnTo>
                    <a:lnTo>
                      <a:pt x="39053" y="0"/>
                    </a:lnTo>
                    <a:lnTo>
                      <a:pt x="3238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A0F3C6A7-D166-663A-99C1-D543055C617B}"/>
                  </a:ext>
                </a:extLst>
              </p:cNvPr>
              <p:cNvSpPr/>
              <p:nvPr/>
            </p:nvSpPr>
            <p:spPr>
              <a:xfrm>
                <a:off x="4152548" y="4032987"/>
                <a:ext cx="44818" cy="16713"/>
              </a:xfrm>
              <a:custGeom>
                <a:avLst/>
                <a:gdLst>
                  <a:gd name="connsiteX0" fmla="*/ 32385 w 45719"/>
                  <a:gd name="connsiteY0" fmla="*/ 0 h 17049"/>
                  <a:gd name="connsiteX1" fmla="*/ 14288 w 45719"/>
                  <a:gd name="connsiteY1" fmla="*/ 0 h 17049"/>
                  <a:gd name="connsiteX2" fmla="*/ 0 w 45719"/>
                  <a:gd name="connsiteY2" fmla="*/ 6572 h 17049"/>
                  <a:gd name="connsiteX3" fmla="*/ 7620 w 45719"/>
                  <a:gd name="connsiteY3" fmla="*/ 17050 h 17049"/>
                  <a:gd name="connsiteX4" fmla="*/ 21907 w 45719"/>
                  <a:gd name="connsiteY4" fmla="*/ 17050 h 17049"/>
                  <a:gd name="connsiteX5" fmla="*/ 39053 w 45719"/>
                  <a:gd name="connsiteY5" fmla="*/ 17050 h 17049"/>
                  <a:gd name="connsiteX6" fmla="*/ 45720 w 45719"/>
                  <a:gd name="connsiteY6" fmla="*/ 13335 h 17049"/>
                  <a:gd name="connsiteX7" fmla="*/ 45720 w 45719"/>
                  <a:gd name="connsiteY7" fmla="*/ 6572 h 17049"/>
                  <a:gd name="connsiteX8" fmla="*/ 39053 w 45719"/>
                  <a:gd name="connsiteY8" fmla="*/ 0 h 17049"/>
                  <a:gd name="connsiteX9" fmla="*/ 32385 w 45719"/>
                  <a:gd name="connsiteY9" fmla="*/ 0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719" h="17049">
                    <a:moveTo>
                      <a:pt x="32385" y="0"/>
                    </a:moveTo>
                    <a:lnTo>
                      <a:pt x="14288" y="0"/>
                    </a:lnTo>
                    <a:lnTo>
                      <a:pt x="0" y="6572"/>
                    </a:lnTo>
                    <a:lnTo>
                      <a:pt x="7620" y="17050"/>
                    </a:lnTo>
                    <a:lnTo>
                      <a:pt x="21907" y="17050"/>
                    </a:lnTo>
                    <a:lnTo>
                      <a:pt x="39053" y="17050"/>
                    </a:lnTo>
                    <a:lnTo>
                      <a:pt x="45720" y="13335"/>
                    </a:lnTo>
                    <a:lnTo>
                      <a:pt x="45720" y="6572"/>
                    </a:lnTo>
                    <a:lnTo>
                      <a:pt x="39053" y="0"/>
                    </a:lnTo>
                    <a:lnTo>
                      <a:pt x="3238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98478C23-22CE-76A2-9FBF-DD73AD4D137F}"/>
                  </a:ext>
                </a:extLst>
              </p:cNvPr>
              <p:cNvSpPr/>
              <p:nvPr/>
            </p:nvSpPr>
            <p:spPr>
              <a:xfrm>
                <a:off x="3849088" y="3842506"/>
                <a:ext cx="20541" cy="28012"/>
              </a:xfrm>
              <a:custGeom>
                <a:avLst/>
                <a:gdLst>
                  <a:gd name="connsiteX0" fmla="*/ 14288 w 20954"/>
                  <a:gd name="connsiteY0" fmla="*/ 6572 h 28575"/>
                  <a:gd name="connsiteX1" fmla="*/ 3810 w 20954"/>
                  <a:gd name="connsiteY1" fmla="*/ 0 h 28575"/>
                  <a:gd name="connsiteX2" fmla="*/ 0 w 20954"/>
                  <a:gd name="connsiteY2" fmla="*/ 14288 h 28575"/>
                  <a:gd name="connsiteX3" fmla="*/ 10478 w 20954"/>
                  <a:gd name="connsiteY3" fmla="*/ 20860 h 28575"/>
                  <a:gd name="connsiteX4" fmla="*/ 17145 w 20954"/>
                  <a:gd name="connsiteY4" fmla="*/ 28575 h 28575"/>
                  <a:gd name="connsiteX5" fmla="*/ 20955 w 20954"/>
                  <a:gd name="connsiteY5" fmla="*/ 18097 h 28575"/>
                  <a:gd name="connsiteX6" fmla="*/ 14288 w 20954"/>
                  <a:gd name="connsiteY6" fmla="*/ 657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54" h="28575">
                    <a:moveTo>
                      <a:pt x="14288" y="6572"/>
                    </a:moveTo>
                    <a:lnTo>
                      <a:pt x="3810" y="0"/>
                    </a:lnTo>
                    <a:lnTo>
                      <a:pt x="0" y="14288"/>
                    </a:lnTo>
                    <a:lnTo>
                      <a:pt x="10478" y="20860"/>
                    </a:lnTo>
                    <a:lnTo>
                      <a:pt x="17145" y="28575"/>
                    </a:lnTo>
                    <a:lnTo>
                      <a:pt x="20955" y="18097"/>
                    </a:lnTo>
                    <a:lnTo>
                      <a:pt x="14288" y="657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A059F974-800F-6AF9-F1DA-9EF82887D818}"/>
                  </a:ext>
                </a:extLst>
              </p:cNvPr>
              <p:cNvSpPr/>
              <p:nvPr/>
            </p:nvSpPr>
            <p:spPr>
              <a:xfrm>
                <a:off x="3849088" y="3842506"/>
                <a:ext cx="20541" cy="28012"/>
              </a:xfrm>
              <a:custGeom>
                <a:avLst/>
                <a:gdLst>
                  <a:gd name="connsiteX0" fmla="*/ 14288 w 20954"/>
                  <a:gd name="connsiteY0" fmla="*/ 6572 h 28575"/>
                  <a:gd name="connsiteX1" fmla="*/ 3810 w 20954"/>
                  <a:gd name="connsiteY1" fmla="*/ 0 h 28575"/>
                  <a:gd name="connsiteX2" fmla="*/ 0 w 20954"/>
                  <a:gd name="connsiteY2" fmla="*/ 14288 h 28575"/>
                  <a:gd name="connsiteX3" fmla="*/ 10478 w 20954"/>
                  <a:gd name="connsiteY3" fmla="*/ 20860 h 28575"/>
                  <a:gd name="connsiteX4" fmla="*/ 17145 w 20954"/>
                  <a:gd name="connsiteY4" fmla="*/ 28575 h 28575"/>
                  <a:gd name="connsiteX5" fmla="*/ 20955 w 20954"/>
                  <a:gd name="connsiteY5" fmla="*/ 18097 h 28575"/>
                  <a:gd name="connsiteX6" fmla="*/ 14288 w 20954"/>
                  <a:gd name="connsiteY6" fmla="*/ 657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54" h="28575">
                    <a:moveTo>
                      <a:pt x="14288" y="6572"/>
                    </a:moveTo>
                    <a:lnTo>
                      <a:pt x="3810" y="0"/>
                    </a:lnTo>
                    <a:lnTo>
                      <a:pt x="0" y="14288"/>
                    </a:lnTo>
                    <a:lnTo>
                      <a:pt x="10478" y="20860"/>
                    </a:lnTo>
                    <a:lnTo>
                      <a:pt x="17145" y="28575"/>
                    </a:lnTo>
                    <a:lnTo>
                      <a:pt x="20955" y="18097"/>
                    </a:lnTo>
                    <a:lnTo>
                      <a:pt x="14288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66B04D09-D559-2E06-A3D3-DC3A31AE3DF6}"/>
                  </a:ext>
                </a:extLst>
              </p:cNvPr>
              <p:cNvSpPr/>
              <p:nvPr/>
            </p:nvSpPr>
            <p:spPr>
              <a:xfrm>
                <a:off x="4215107" y="3621211"/>
                <a:ext cx="20542" cy="14005"/>
              </a:xfrm>
              <a:custGeom>
                <a:avLst/>
                <a:gdLst>
                  <a:gd name="connsiteX0" fmla="*/ 10478 w 20955"/>
                  <a:gd name="connsiteY0" fmla="*/ 0 h 14287"/>
                  <a:gd name="connsiteX1" fmla="*/ 3810 w 20955"/>
                  <a:gd name="connsiteY1" fmla="*/ 3715 h 14287"/>
                  <a:gd name="connsiteX2" fmla="*/ 0 w 20955"/>
                  <a:gd name="connsiteY2" fmla="*/ 14288 h 14287"/>
                  <a:gd name="connsiteX3" fmla="*/ 14288 w 20955"/>
                  <a:gd name="connsiteY3" fmla="*/ 14288 h 14287"/>
                  <a:gd name="connsiteX4" fmla="*/ 20955 w 20955"/>
                  <a:gd name="connsiteY4" fmla="*/ 14288 h 14287"/>
                  <a:gd name="connsiteX5" fmla="*/ 10478 w 20955"/>
                  <a:gd name="connsiteY5" fmla="*/ 0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" h="14287">
                    <a:moveTo>
                      <a:pt x="10478" y="0"/>
                    </a:moveTo>
                    <a:lnTo>
                      <a:pt x="3810" y="3715"/>
                    </a:lnTo>
                    <a:lnTo>
                      <a:pt x="0" y="14288"/>
                    </a:lnTo>
                    <a:lnTo>
                      <a:pt x="14288" y="14288"/>
                    </a:lnTo>
                    <a:lnTo>
                      <a:pt x="20955" y="14288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FC95CA84-5129-F49A-085A-5BFF20B198A7}"/>
                  </a:ext>
                </a:extLst>
              </p:cNvPr>
              <p:cNvSpPr/>
              <p:nvPr/>
            </p:nvSpPr>
            <p:spPr>
              <a:xfrm>
                <a:off x="4215107" y="3621211"/>
                <a:ext cx="20542" cy="14005"/>
              </a:xfrm>
              <a:custGeom>
                <a:avLst/>
                <a:gdLst>
                  <a:gd name="connsiteX0" fmla="*/ 10478 w 20955"/>
                  <a:gd name="connsiteY0" fmla="*/ 0 h 14287"/>
                  <a:gd name="connsiteX1" fmla="*/ 3810 w 20955"/>
                  <a:gd name="connsiteY1" fmla="*/ 3715 h 14287"/>
                  <a:gd name="connsiteX2" fmla="*/ 0 w 20955"/>
                  <a:gd name="connsiteY2" fmla="*/ 14288 h 14287"/>
                  <a:gd name="connsiteX3" fmla="*/ 14288 w 20955"/>
                  <a:gd name="connsiteY3" fmla="*/ 14288 h 14287"/>
                  <a:gd name="connsiteX4" fmla="*/ 20955 w 20955"/>
                  <a:gd name="connsiteY4" fmla="*/ 14288 h 14287"/>
                  <a:gd name="connsiteX5" fmla="*/ 10478 w 20955"/>
                  <a:gd name="connsiteY5" fmla="*/ 0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" h="14287">
                    <a:moveTo>
                      <a:pt x="10478" y="0"/>
                    </a:moveTo>
                    <a:lnTo>
                      <a:pt x="3810" y="3715"/>
                    </a:lnTo>
                    <a:lnTo>
                      <a:pt x="0" y="14288"/>
                    </a:lnTo>
                    <a:lnTo>
                      <a:pt x="14288" y="14288"/>
                    </a:lnTo>
                    <a:lnTo>
                      <a:pt x="20955" y="14288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333D1C6C-99C3-210E-2512-065B86B7FEA2}"/>
                  </a:ext>
                </a:extLst>
              </p:cNvPr>
              <p:cNvSpPr/>
              <p:nvPr/>
            </p:nvSpPr>
            <p:spPr>
              <a:xfrm>
                <a:off x="6719355" y="3320549"/>
                <a:ext cx="504211" cy="193282"/>
              </a:xfrm>
              <a:custGeom>
                <a:avLst/>
                <a:gdLst>
                  <a:gd name="connsiteX0" fmla="*/ 18098 w 514350"/>
                  <a:gd name="connsiteY0" fmla="*/ 84677 h 197167"/>
                  <a:gd name="connsiteX1" fmla="*/ 0 w 514350"/>
                  <a:gd name="connsiteY1" fmla="*/ 80963 h 197167"/>
                  <a:gd name="connsiteX2" fmla="*/ 0 w 514350"/>
                  <a:gd name="connsiteY2" fmla="*/ 74295 h 197167"/>
                  <a:gd name="connsiteX3" fmla="*/ 10477 w 514350"/>
                  <a:gd name="connsiteY3" fmla="*/ 60007 h 197167"/>
                  <a:gd name="connsiteX4" fmla="*/ 21907 w 514350"/>
                  <a:gd name="connsiteY4" fmla="*/ 56102 h 197167"/>
                  <a:gd name="connsiteX5" fmla="*/ 45720 w 514350"/>
                  <a:gd name="connsiteY5" fmla="*/ 60007 h 197167"/>
                  <a:gd name="connsiteX6" fmla="*/ 67627 w 514350"/>
                  <a:gd name="connsiteY6" fmla="*/ 60007 h 197167"/>
                  <a:gd name="connsiteX7" fmla="*/ 80963 w 514350"/>
                  <a:gd name="connsiteY7" fmla="*/ 60007 h 197167"/>
                  <a:gd name="connsiteX8" fmla="*/ 80963 w 514350"/>
                  <a:gd name="connsiteY8" fmla="*/ 49530 h 197167"/>
                  <a:gd name="connsiteX9" fmla="*/ 91440 w 514350"/>
                  <a:gd name="connsiteY9" fmla="*/ 45720 h 197167"/>
                  <a:gd name="connsiteX10" fmla="*/ 102870 w 514350"/>
                  <a:gd name="connsiteY10" fmla="*/ 45720 h 197167"/>
                  <a:gd name="connsiteX11" fmla="*/ 91440 w 514350"/>
                  <a:gd name="connsiteY11" fmla="*/ 38957 h 197167"/>
                  <a:gd name="connsiteX12" fmla="*/ 80963 w 514350"/>
                  <a:gd name="connsiteY12" fmla="*/ 38957 h 197167"/>
                  <a:gd name="connsiteX13" fmla="*/ 80963 w 514350"/>
                  <a:gd name="connsiteY13" fmla="*/ 28575 h 197167"/>
                  <a:gd name="connsiteX14" fmla="*/ 120015 w 514350"/>
                  <a:gd name="connsiteY14" fmla="*/ 31432 h 197167"/>
                  <a:gd name="connsiteX15" fmla="*/ 144780 w 514350"/>
                  <a:gd name="connsiteY15" fmla="*/ 31432 h 197167"/>
                  <a:gd name="connsiteX16" fmla="*/ 159068 w 514350"/>
                  <a:gd name="connsiteY16" fmla="*/ 18002 h 197167"/>
                  <a:gd name="connsiteX17" fmla="*/ 194310 w 514350"/>
                  <a:gd name="connsiteY17" fmla="*/ 0 h 197167"/>
                  <a:gd name="connsiteX18" fmla="*/ 246698 w 514350"/>
                  <a:gd name="connsiteY18" fmla="*/ 0 h 197167"/>
                  <a:gd name="connsiteX19" fmla="*/ 257175 w 514350"/>
                  <a:gd name="connsiteY19" fmla="*/ 20955 h 197167"/>
                  <a:gd name="connsiteX20" fmla="*/ 271463 w 514350"/>
                  <a:gd name="connsiteY20" fmla="*/ 18002 h 197167"/>
                  <a:gd name="connsiteX21" fmla="*/ 281940 w 514350"/>
                  <a:gd name="connsiteY21" fmla="*/ 28575 h 197167"/>
                  <a:gd name="connsiteX22" fmla="*/ 296227 w 514350"/>
                  <a:gd name="connsiteY22" fmla="*/ 31432 h 197167"/>
                  <a:gd name="connsiteX23" fmla="*/ 320993 w 514350"/>
                  <a:gd name="connsiteY23" fmla="*/ 38957 h 197167"/>
                  <a:gd name="connsiteX24" fmla="*/ 352425 w 514350"/>
                  <a:gd name="connsiteY24" fmla="*/ 38957 h 197167"/>
                  <a:gd name="connsiteX25" fmla="*/ 383857 w 514350"/>
                  <a:gd name="connsiteY25" fmla="*/ 38957 h 197167"/>
                  <a:gd name="connsiteX26" fmla="*/ 412432 w 514350"/>
                  <a:gd name="connsiteY26" fmla="*/ 31432 h 197167"/>
                  <a:gd name="connsiteX27" fmla="*/ 426720 w 514350"/>
                  <a:gd name="connsiteY27" fmla="*/ 18002 h 197167"/>
                  <a:gd name="connsiteX28" fmla="*/ 437198 w 514350"/>
                  <a:gd name="connsiteY28" fmla="*/ 20955 h 197167"/>
                  <a:gd name="connsiteX29" fmla="*/ 443865 w 514350"/>
                  <a:gd name="connsiteY29" fmla="*/ 24670 h 197167"/>
                  <a:gd name="connsiteX30" fmla="*/ 447675 w 514350"/>
                  <a:gd name="connsiteY30" fmla="*/ 14288 h 197167"/>
                  <a:gd name="connsiteX31" fmla="*/ 461963 w 514350"/>
                  <a:gd name="connsiteY31" fmla="*/ 18002 h 197167"/>
                  <a:gd name="connsiteX32" fmla="*/ 472440 w 514350"/>
                  <a:gd name="connsiteY32" fmla="*/ 28575 h 197167"/>
                  <a:gd name="connsiteX33" fmla="*/ 482918 w 514350"/>
                  <a:gd name="connsiteY33" fmla="*/ 35242 h 197167"/>
                  <a:gd name="connsiteX34" fmla="*/ 482918 w 514350"/>
                  <a:gd name="connsiteY34" fmla="*/ 53245 h 197167"/>
                  <a:gd name="connsiteX35" fmla="*/ 482918 w 514350"/>
                  <a:gd name="connsiteY35" fmla="*/ 74295 h 197167"/>
                  <a:gd name="connsiteX36" fmla="*/ 503873 w 514350"/>
                  <a:gd name="connsiteY36" fmla="*/ 74295 h 197167"/>
                  <a:gd name="connsiteX37" fmla="*/ 514350 w 514350"/>
                  <a:gd name="connsiteY37" fmla="*/ 80963 h 197167"/>
                  <a:gd name="connsiteX38" fmla="*/ 500063 w 514350"/>
                  <a:gd name="connsiteY38" fmla="*/ 84677 h 197167"/>
                  <a:gd name="connsiteX39" fmla="*/ 497205 w 514350"/>
                  <a:gd name="connsiteY39" fmla="*/ 91345 h 197167"/>
                  <a:gd name="connsiteX40" fmla="*/ 500063 w 514350"/>
                  <a:gd name="connsiteY40" fmla="*/ 105632 h 197167"/>
                  <a:gd name="connsiteX41" fmla="*/ 503873 w 514350"/>
                  <a:gd name="connsiteY41" fmla="*/ 119920 h 197167"/>
                  <a:gd name="connsiteX42" fmla="*/ 507682 w 514350"/>
                  <a:gd name="connsiteY42" fmla="*/ 137065 h 197167"/>
                  <a:gd name="connsiteX43" fmla="*/ 514350 w 514350"/>
                  <a:gd name="connsiteY43" fmla="*/ 155257 h 197167"/>
                  <a:gd name="connsiteX44" fmla="*/ 510540 w 514350"/>
                  <a:gd name="connsiteY44" fmla="*/ 161925 h 197167"/>
                  <a:gd name="connsiteX45" fmla="*/ 497205 w 514350"/>
                  <a:gd name="connsiteY45" fmla="*/ 159067 h 197167"/>
                  <a:gd name="connsiteX46" fmla="*/ 461963 w 514350"/>
                  <a:gd name="connsiteY46" fmla="*/ 151352 h 197167"/>
                  <a:gd name="connsiteX47" fmla="*/ 443865 w 514350"/>
                  <a:gd name="connsiteY47" fmla="*/ 161925 h 197167"/>
                  <a:gd name="connsiteX48" fmla="*/ 398145 w 514350"/>
                  <a:gd name="connsiteY48" fmla="*/ 161925 h 197167"/>
                  <a:gd name="connsiteX49" fmla="*/ 377190 w 514350"/>
                  <a:gd name="connsiteY49" fmla="*/ 176213 h 197167"/>
                  <a:gd name="connsiteX50" fmla="*/ 345757 w 514350"/>
                  <a:gd name="connsiteY50" fmla="*/ 179927 h 197167"/>
                  <a:gd name="connsiteX51" fmla="*/ 335280 w 514350"/>
                  <a:gd name="connsiteY51" fmla="*/ 169545 h 197167"/>
                  <a:gd name="connsiteX52" fmla="*/ 324802 w 514350"/>
                  <a:gd name="connsiteY52" fmla="*/ 169545 h 197167"/>
                  <a:gd name="connsiteX53" fmla="*/ 320993 w 514350"/>
                  <a:gd name="connsiteY53" fmla="*/ 176213 h 197167"/>
                  <a:gd name="connsiteX54" fmla="*/ 300038 w 514350"/>
                  <a:gd name="connsiteY54" fmla="*/ 176213 h 197167"/>
                  <a:gd name="connsiteX55" fmla="*/ 289560 w 514350"/>
                  <a:gd name="connsiteY55" fmla="*/ 169545 h 197167"/>
                  <a:gd name="connsiteX56" fmla="*/ 285750 w 514350"/>
                  <a:gd name="connsiteY56" fmla="*/ 183832 h 197167"/>
                  <a:gd name="connsiteX57" fmla="*/ 271463 w 514350"/>
                  <a:gd name="connsiteY57" fmla="*/ 197167 h 197167"/>
                  <a:gd name="connsiteX58" fmla="*/ 267652 w 514350"/>
                  <a:gd name="connsiteY58" fmla="*/ 183832 h 197167"/>
                  <a:gd name="connsiteX59" fmla="*/ 275273 w 514350"/>
                  <a:gd name="connsiteY59" fmla="*/ 169545 h 197167"/>
                  <a:gd name="connsiteX60" fmla="*/ 264795 w 514350"/>
                  <a:gd name="connsiteY60" fmla="*/ 169545 h 197167"/>
                  <a:gd name="connsiteX61" fmla="*/ 257175 w 514350"/>
                  <a:gd name="connsiteY61" fmla="*/ 176213 h 197167"/>
                  <a:gd name="connsiteX62" fmla="*/ 232410 w 514350"/>
                  <a:gd name="connsiteY62" fmla="*/ 172307 h 197167"/>
                  <a:gd name="connsiteX63" fmla="*/ 225743 w 514350"/>
                  <a:gd name="connsiteY63" fmla="*/ 176213 h 197167"/>
                  <a:gd name="connsiteX64" fmla="*/ 211455 w 514350"/>
                  <a:gd name="connsiteY64" fmla="*/ 190500 h 197167"/>
                  <a:gd name="connsiteX65" fmla="*/ 194310 w 514350"/>
                  <a:gd name="connsiteY65" fmla="*/ 194215 h 197167"/>
                  <a:gd name="connsiteX66" fmla="*/ 176213 w 514350"/>
                  <a:gd name="connsiteY66" fmla="*/ 194215 h 197167"/>
                  <a:gd name="connsiteX67" fmla="*/ 161925 w 514350"/>
                  <a:gd name="connsiteY67" fmla="*/ 183832 h 197167"/>
                  <a:gd name="connsiteX68" fmla="*/ 140970 w 514350"/>
                  <a:gd name="connsiteY68" fmla="*/ 176213 h 197167"/>
                  <a:gd name="connsiteX69" fmla="*/ 126682 w 514350"/>
                  <a:gd name="connsiteY69" fmla="*/ 169545 h 197167"/>
                  <a:gd name="connsiteX70" fmla="*/ 116205 w 514350"/>
                  <a:gd name="connsiteY70" fmla="*/ 172307 h 197167"/>
                  <a:gd name="connsiteX71" fmla="*/ 120015 w 514350"/>
                  <a:gd name="connsiteY71" fmla="*/ 183832 h 197167"/>
                  <a:gd name="connsiteX72" fmla="*/ 116205 w 514350"/>
                  <a:gd name="connsiteY72" fmla="*/ 190500 h 197167"/>
                  <a:gd name="connsiteX73" fmla="*/ 88582 w 514350"/>
                  <a:gd name="connsiteY73" fmla="*/ 190500 h 197167"/>
                  <a:gd name="connsiteX74" fmla="*/ 70485 w 514350"/>
                  <a:gd name="connsiteY74" fmla="*/ 176213 h 197167"/>
                  <a:gd name="connsiteX75" fmla="*/ 60007 w 514350"/>
                  <a:gd name="connsiteY75" fmla="*/ 169545 h 197167"/>
                  <a:gd name="connsiteX76" fmla="*/ 35243 w 514350"/>
                  <a:gd name="connsiteY76" fmla="*/ 161925 h 197167"/>
                  <a:gd name="connsiteX77" fmla="*/ 28575 w 514350"/>
                  <a:gd name="connsiteY77" fmla="*/ 148495 h 197167"/>
                  <a:gd name="connsiteX78" fmla="*/ 28575 w 514350"/>
                  <a:gd name="connsiteY78" fmla="*/ 137065 h 197167"/>
                  <a:gd name="connsiteX79" fmla="*/ 10477 w 514350"/>
                  <a:gd name="connsiteY79" fmla="*/ 130492 h 197167"/>
                  <a:gd name="connsiteX80" fmla="*/ 18098 w 514350"/>
                  <a:gd name="connsiteY80" fmla="*/ 119920 h 197167"/>
                  <a:gd name="connsiteX81" fmla="*/ 24765 w 514350"/>
                  <a:gd name="connsiteY81" fmla="*/ 109538 h 197167"/>
                  <a:gd name="connsiteX82" fmla="*/ 21907 w 514350"/>
                  <a:gd name="connsiteY82" fmla="*/ 95250 h 197167"/>
                  <a:gd name="connsiteX83" fmla="*/ 18098 w 514350"/>
                  <a:gd name="connsiteY83" fmla="*/ 84677 h 197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514350" h="197167">
                    <a:moveTo>
                      <a:pt x="18098" y="84677"/>
                    </a:moveTo>
                    <a:lnTo>
                      <a:pt x="0" y="80963"/>
                    </a:lnTo>
                    <a:lnTo>
                      <a:pt x="0" y="74295"/>
                    </a:lnTo>
                    <a:lnTo>
                      <a:pt x="10477" y="60007"/>
                    </a:lnTo>
                    <a:lnTo>
                      <a:pt x="21907" y="56102"/>
                    </a:lnTo>
                    <a:lnTo>
                      <a:pt x="45720" y="60007"/>
                    </a:lnTo>
                    <a:lnTo>
                      <a:pt x="67627" y="60007"/>
                    </a:lnTo>
                    <a:lnTo>
                      <a:pt x="80963" y="60007"/>
                    </a:lnTo>
                    <a:lnTo>
                      <a:pt x="80963" y="49530"/>
                    </a:lnTo>
                    <a:lnTo>
                      <a:pt x="91440" y="45720"/>
                    </a:lnTo>
                    <a:lnTo>
                      <a:pt x="102870" y="45720"/>
                    </a:lnTo>
                    <a:lnTo>
                      <a:pt x="91440" y="38957"/>
                    </a:lnTo>
                    <a:lnTo>
                      <a:pt x="80963" y="38957"/>
                    </a:lnTo>
                    <a:lnTo>
                      <a:pt x="80963" y="28575"/>
                    </a:lnTo>
                    <a:lnTo>
                      <a:pt x="120015" y="31432"/>
                    </a:lnTo>
                    <a:lnTo>
                      <a:pt x="144780" y="31432"/>
                    </a:lnTo>
                    <a:lnTo>
                      <a:pt x="159068" y="18002"/>
                    </a:lnTo>
                    <a:lnTo>
                      <a:pt x="194310" y="0"/>
                    </a:lnTo>
                    <a:lnTo>
                      <a:pt x="246698" y="0"/>
                    </a:lnTo>
                    <a:lnTo>
                      <a:pt x="257175" y="20955"/>
                    </a:lnTo>
                    <a:lnTo>
                      <a:pt x="271463" y="18002"/>
                    </a:lnTo>
                    <a:lnTo>
                      <a:pt x="281940" y="28575"/>
                    </a:lnTo>
                    <a:lnTo>
                      <a:pt x="296227" y="31432"/>
                    </a:lnTo>
                    <a:lnTo>
                      <a:pt x="320993" y="38957"/>
                    </a:lnTo>
                    <a:lnTo>
                      <a:pt x="352425" y="38957"/>
                    </a:lnTo>
                    <a:lnTo>
                      <a:pt x="383857" y="38957"/>
                    </a:lnTo>
                    <a:lnTo>
                      <a:pt x="412432" y="31432"/>
                    </a:lnTo>
                    <a:lnTo>
                      <a:pt x="426720" y="18002"/>
                    </a:lnTo>
                    <a:lnTo>
                      <a:pt x="437198" y="20955"/>
                    </a:lnTo>
                    <a:lnTo>
                      <a:pt x="443865" y="24670"/>
                    </a:lnTo>
                    <a:lnTo>
                      <a:pt x="447675" y="14288"/>
                    </a:lnTo>
                    <a:lnTo>
                      <a:pt x="461963" y="18002"/>
                    </a:lnTo>
                    <a:lnTo>
                      <a:pt x="472440" y="28575"/>
                    </a:lnTo>
                    <a:lnTo>
                      <a:pt x="482918" y="35242"/>
                    </a:lnTo>
                    <a:lnTo>
                      <a:pt x="482918" y="53245"/>
                    </a:lnTo>
                    <a:lnTo>
                      <a:pt x="482918" y="74295"/>
                    </a:lnTo>
                    <a:lnTo>
                      <a:pt x="503873" y="74295"/>
                    </a:lnTo>
                    <a:lnTo>
                      <a:pt x="514350" y="80963"/>
                    </a:lnTo>
                    <a:lnTo>
                      <a:pt x="500063" y="84677"/>
                    </a:lnTo>
                    <a:lnTo>
                      <a:pt x="497205" y="91345"/>
                    </a:lnTo>
                    <a:lnTo>
                      <a:pt x="500063" y="105632"/>
                    </a:lnTo>
                    <a:lnTo>
                      <a:pt x="503873" y="119920"/>
                    </a:lnTo>
                    <a:lnTo>
                      <a:pt x="507682" y="137065"/>
                    </a:lnTo>
                    <a:lnTo>
                      <a:pt x="514350" y="155257"/>
                    </a:lnTo>
                    <a:lnTo>
                      <a:pt x="510540" y="161925"/>
                    </a:lnTo>
                    <a:lnTo>
                      <a:pt x="497205" y="159067"/>
                    </a:lnTo>
                    <a:lnTo>
                      <a:pt x="461963" y="151352"/>
                    </a:lnTo>
                    <a:lnTo>
                      <a:pt x="443865" y="161925"/>
                    </a:lnTo>
                    <a:lnTo>
                      <a:pt x="398145" y="161925"/>
                    </a:lnTo>
                    <a:lnTo>
                      <a:pt x="377190" y="176213"/>
                    </a:lnTo>
                    <a:lnTo>
                      <a:pt x="345757" y="179927"/>
                    </a:lnTo>
                    <a:lnTo>
                      <a:pt x="335280" y="169545"/>
                    </a:lnTo>
                    <a:lnTo>
                      <a:pt x="324802" y="169545"/>
                    </a:lnTo>
                    <a:lnTo>
                      <a:pt x="320993" y="176213"/>
                    </a:lnTo>
                    <a:lnTo>
                      <a:pt x="300038" y="176213"/>
                    </a:lnTo>
                    <a:lnTo>
                      <a:pt x="289560" y="169545"/>
                    </a:lnTo>
                    <a:lnTo>
                      <a:pt x="285750" y="183832"/>
                    </a:lnTo>
                    <a:lnTo>
                      <a:pt x="271463" y="197167"/>
                    </a:lnTo>
                    <a:lnTo>
                      <a:pt x="267652" y="183832"/>
                    </a:lnTo>
                    <a:lnTo>
                      <a:pt x="275273" y="169545"/>
                    </a:lnTo>
                    <a:lnTo>
                      <a:pt x="264795" y="169545"/>
                    </a:lnTo>
                    <a:lnTo>
                      <a:pt x="257175" y="176213"/>
                    </a:lnTo>
                    <a:lnTo>
                      <a:pt x="232410" y="172307"/>
                    </a:lnTo>
                    <a:lnTo>
                      <a:pt x="225743" y="176213"/>
                    </a:lnTo>
                    <a:lnTo>
                      <a:pt x="211455" y="190500"/>
                    </a:lnTo>
                    <a:lnTo>
                      <a:pt x="194310" y="194215"/>
                    </a:lnTo>
                    <a:lnTo>
                      <a:pt x="176213" y="194215"/>
                    </a:lnTo>
                    <a:lnTo>
                      <a:pt x="161925" y="183832"/>
                    </a:lnTo>
                    <a:lnTo>
                      <a:pt x="140970" y="176213"/>
                    </a:lnTo>
                    <a:lnTo>
                      <a:pt x="126682" y="169545"/>
                    </a:lnTo>
                    <a:lnTo>
                      <a:pt x="116205" y="172307"/>
                    </a:lnTo>
                    <a:lnTo>
                      <a:pt x="120015" y="183832"/>
                    </a:lnTo>
                    <a:lnTo>
                      <a:pt x="116205" y="190500"/>
                    </a:lnTo>
                    <a:lnTo>
                      <a:pt x="88582" y="190500"/>
                    </a:lnTo>
                    <a:lnTo>
                      <a:pt x="70485" y="176213"/>
                    </a:lnTo>
                    <a:lnTo>
                      <a:pt x="60007" y="169545"/>
                    </a:lnTo>
                    <a:lnTo>
                      <a:pt x="35243" y="161925"/>
                    </a:lnTo>
                    <a:lnTo>
                      <a:pt x="28575" y="148495"/>
                    </a:lnTo>
                    <a:lnTo>
                      <a:pt x="28575" y="137065"/>
                    </a:lnTo>
                    <a:lnTo>
                      <a:pt x="10477" y="130492"/>
                    </a:lnTo>
                    <a:lnTo>
                      <a:pt x="18098" y="119920"/>
                    </a:lnTo>
                    <a:lnTo>
                      <a:pt x="24765" y="109538"/>
                    </a:lnTo>
                    <a:lnTo>
                      <a:pt x="21907" y="95250"/>
                    </a:lnTo>
                    <a:lnTo>
                      <a:pt x="18098" y="8467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DABA01C7-2664-35EB-34B3-C93FEBD9D57E}"/>
                  </a:ext>
                </a:extLst>
              </p:cNvPr>
              <p:cNvSpPr/>
              <p:nvPr/>
            </p:nvSpPr>
            <p:spPr>
              <a:xfrm>
                <a:off x="6574629" y="2746304"/>
                <a:ext cx="200750" cy="93373"/>
              </a:xfrm>
              <a:custGeom>
                <a:avLst/>
                <a:gdLst>
                  <a:gd name="connsiteX0" fmla="*/ 45720 w 204787"/>
                  <a:gd name="connsiteY0" fmla="*/ 21907 h 95250"/>
                  <a:gd name="connsiteX1" fmla="*/ 63818 w 204787"/>
                  <a:gd name="connsiteY1" fmla="*/ 32290 h 95250"/>
                  <a:gd name="connsiteX2" fmla="*/ 80963 w 204787"/>
                  <a:gd name="connsiteY2" fmla="*/ 42863 h 95250"/>
                  <a:gd name="connsiteX3" fmla="*/ 95250 w 204787"/>
                  <a:gd name="connsiteY3" fmla="*/ 32290 h 95250"/>
                  <a:gd name="connsiteX4" fmla="*/ 99060 w 204787"/>
                  <a:gd name="connsiteY4" fmla="*/ 14288 h 95250"/>
                  <a:gd name="connsiteX5" fmla="*/ 99060 w 204787"/>
                  <a:gd name="connsiteY5" fmla="*/ 0 h 95250"/>
                  <a:gd name="connsiteX6" fmla="*/ 120015 w 204787"/>
                  <a:gd name="connsiteY6" fmla="*/ 0 h 95250"/>
                  <a:gd name="connsiteX7" fmla="*/ 140970 w 204787"/>
                  <a:gd name="connsiteY7" fmla="*/ 7620 h 95250"/>
                  <a:gd name="connsiteX8" fmla="*/ 155257 w 204787"/>
                  <a:gd name="connsiteY8" fmla="*/ 11430 h 95250"/>
                  <a:gd name="connsiteX9" fmla="*/ 180023 w 204787"/>
                  <a:gd name="connsiteY9" fmla="*/ 14288 h 95250"/>
                  <a:gd name="connsiteX10" fmla="*/ 182880 w 204787"/>
                  <a:gd name="connsiteY10" fmla="*/ 21907 h 95250"/>
                  <a:gd name="connsiteX11" fmla="*/ 190500 w 204787"/>
                  <a:gd name="connsiteY11" fmla="*/ 35242 h 95250"/>
                  <a:gd name="connsiteX12" fmla="*/ 197168 w 204787"/>
                  <a:gd name="connsiteY12" fmla="*/ 63817 h 95250"/>
                  <a:gd name="connsiteX13" fmla="*/ 204788 w 204787"/>
                  <a:gd name="connsiteY13" fmla="*/ 74295 h 95250"/>
                  <a:gd name="connsiteX14" fmla="*/ 182880 w 204787"/>
                  <a:gd name="connsiteY14" fmla="*/ 88582 h 95250"/>
                  <a:gd name="connsiteX15" fmla="*/ 158115 w 204787"/>
                  <a:gd name="connsiteY15" fmla="*/ 95250 h 95250"/>
                  <a:gd name="connsiteX16" fmla="*/ 109538 w 204787"/>
                  <a:gd name="connsiteY16" fmla="*/ 63817 h 95250"/>
                  <a:gd name="connsiteX17" fmla="*/ 18098 w 204787"/>
                  <a:gd name="connsiteY17" fmla="*/ 67532 h 95250"/>
                  <a:gd name="connsiteX18" fmla="*/ 0 w 204787"/>
                  <a:gd name="connsiteY18" fmla="*/ 71438 h 95250"/>
                  <a:gd name="connsiteX19" fmla="*/ 0 w 204787"/>
                  <a:gd name="connsiteY19" fmla="*/ 53245 h 95250"/>
                  <a:gd name="connsiteX20" fmla="*/ 14288 w 204787"/>
                  <a:gd name="connsiteY20" fmla="*/ 35242 h 95250"/>
                  <a:gd name="connsiteX21" fmla="*/ 24765 w 204787"/>
                  <a:gd name="connsiteY21" fmla="*/ 18002 h 95250"/>
                  <a:gd name="connsiteX22" fmla="*/ 45720 w 204787"/>
                  <a:gd name="connsiteY22" fmla="*/ 21907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4787" h="95250">
                    <a:moveTo>
                      <a:pt x="45720" y="21907"/>
                    </a:moveTo>
                    <a:lnTo>
                      <a:pt x="63818" y="32290"/>
                    </a:lnTo>
                    <a:lnTo>
                      <a:pt x="80963" y="42863"/>
                    </a:lnTo>
                    <a:lnTo>
                      <a:pt x="95250" y="32290"/>
                    </a:lnTo>
                    <a:lnTo>
                      <a:pt x="99060" y="14288"/>
                    </a:lnTo>
                    <a:lnTo>
                      <a:pt x="99060" y="0"/>
                    </a:lnTo>
                    <a:lnTo>
                      <a:pt x="120015" y="0"/>
                    </a:lnTo>
                    <a:lnTo>
                      <a:pt x="140970" y="7620"/>
                    </a:lnTo>
                    <a:lnTo>
                      <a:pt x="155257" y="11430"/>
                    </a:lnTo>
                    <a:lnTo>
                      <a:pt x="180023" y="14288"/>
                    </a:lnTo>
                    <a:lnTo>
                      <a:pt x="182880" y="21907"/>
                    </a:lnTo>
                    <a:lnTo>
                      <a:pt x="190500" y="35242"/>
                    </a:lnTo>
                    <a:lnTo>
                      <a:pt x="197168" y="63817"/>
                    </a:lnTo>
                    <a:lnTo>
                      <a:pt x="204788" y="74295"/>
                    </a:lnTo>
                    <a:lnTo>
                      <a:pt x="182880" y="88582"/>
                    </a:lnTo>
                    <a:lnTo>
                      <a:pt x="158115" y="95250"/>
                    </a:lnTo>
                    <a:lnTo>
                      <a:pt x="109538" y="63817"/>
                    </a:lnTo>
                    <a:lnTo>
                      <a:pt x="18098" y="67532"/>
                    </a:lnTo>
                    <a:lnTo>
                      <a:pt x="0" y="71438"/>
                    </a:lnTo>
                    <a:lnTo>
                      <a:pt x="0" y="53245"/>
                    </a:lnTo>
                    <a:lnTo>
                      <a:pt x="14288" y="35242"/>
                    </a:lnTo>
                    <a:lnTo>
                      <a:pt x="24765" y="18002"/>
                    </a:lnTo>
                    <a:lnTo>
                      <a:pt x="45720" y="2190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6EE2EC81-E3C3-4338-ADA0-7F5A865769A4}"/>
                  </a:ext>
                </a:extLst>
              </p:cNvPr>
              <p:cNvSpPr/>
              <p:nvPr/>
            </p:nvSpPr>
            <p:spPr>
              <a:xfrm>
                <a:off x="6574629" y="2808864"/>
                <a:ext cx="154997" cy="93373"/>
              </a:xfrm>
              <a:custGeom>
                <a:avLst/>
                <a:gdLst>
                  <a:gd name="connsiteX0" fmla="*/ 0 w 158114"/>
                  <a:gd name="connsiteY0" fmla="*/ 7620 h 95250"/>
                  <a:gd name="connsiteX1" fmla="*/ 18098 w 158114"/>
                  <a:gd name="connsiteY1" fmla="*/ 3715 h 95250"/>
                  <a:gd name="connsiteX2" fmla="*/ 109538 w 158114"/>
                  <a:gd name="connsiteY2" fmla="*/ 0 h 95250"/>
                  <a:gd name="connsiteX3" fmla="*/ 158115 w 158114"/>
                  <a:gd name="connsiteY3" fmla="*/ 31433 h 95250"/>
                  <a:gd name="connsiteX4" fmla="*/ 158115 w 158114"/>
                  <a:gd name="connsiteY4" fmla="*/ 53340 h 95250"/>
                  <a:gd name="connsiteX5" fmla="*/ 134302 w 158114"/>
                  <a:gd name="connsiteY5" fmla="*/ 60008 h 95250"/>
                  <a:gd name="connsiteX6" fmla="*/ 130493 w 158114"/>
                  <a:gd name="connsiteY6" fmla="*/ 88583 h 95250"/>
                  <a:gd name="connsiteX7" fmla="*/ 101918 w 158114"/>
                  <a:gd name="connsiteY7" fmla="*/ 91440 h 95250"/>
                  <a:gd name="connsiteX8" fmla="*/ 66675 w 158114"/>
                  <a:gd name="connsiteY8" fmla="*/ 95250 h 95250"/>
                  <a:gd name="connsiteX9" fmla="*/ 49530 w 158114"/>
                  <a:gd name="connsiteY9" fmla="*/ 78010 h 95250"/>
                  <a:gd name="connsiteX10" fmla="*/ 53340 w 158114"/>
                  <a:gd name="connsiteY10" fmla="*/ 60008 h 95250"/>
                  <a:gd name="connsiteX11" fmla="*/ 35243 w 158114"/>
                  <a:gd name="connsiteY11" fmla="*/ 53340 h 95250"/>
                  <a:gd name="connsiteX12" fmla="*/ 6668 w 158114"/>
                  <a:gd name="connsiteY12" fmla="*/ 45720 h 95250"/>
                  <a:gd name="connsiteX13" fmla="*/ 0 w 158114"/>
                  <a:gd name="connsiteY13" fmla="*/ 762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8114" h="95250">
                    <a:moveTo>
                      <a:pt x="0" y="7620"/>
                    </a:moveTo>
                    <a:lnTo>
                      <a:pt x="18098" y="3715"/>
                    </a:lnTo>
                    <a:lnTo>
                      <a:pt x="109538" y="0"/>
                    </a:lnTo>
                    <a:lnTo>
                      <a:pt x="158115" y="31433"/>
                    </a:lnTo>
                    <a:lnTo>
                      <a:pt x="158115" y="53340"/>
                    </a:lnTo>
                    <a:lnTo>
                      <a:pt x="134302" y="60008"/>
                    </a:lnTo>
                    <a:lnTo>
                      <a:pt x="130493" y="88583"/>
                    </a:lnTo>
                    <a:lnTo>
                      <a:pt x="101918" y="91440"/>
                    </a:lnTo>
                    <a:lnTo>
                      <a:pt x="66675" y="95250"/>
                    </a:lnTo>
                    <a:lnTo>
                      <a:pt x="49530" y="78010"/>
                    </a:lnTo>
                    <a:lnTo>
                      <a:pt x="53340" y="60008"/>
                    </a:lnTo>
                    <a:lnTo>
                      <a:pt x="35243" y="53340"/>
                    </a:lnTo>
                    <a:lnTo>
                      <a:pt x="6668" y="45720"/>
                    </a:lnTo>
                    <a:lnTo>
                      <a:pt x="0" y="762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3B700950-9AAE-AB33-3DF2-AE91B9426358}"/>
                  </a:ext>
                </a:extLst>
              </p:cNvPr>
              <p:cNvSpPr/>
              <p:nvPr/>
            </p:nvSpPr>
            <p:spPr>
              <a:xfrm>
                <a:off x="6536346" y="2853683"/>
                <a:ext cx="90571" cy="34548"/>
              </a:xfrm>
              <a:custGeom>
                <a:avLst/>
                <a:gdLst>
                  <a:gd name="connsiteX0" fmla="*/ 0 w 92392"/>
                  <a:gd name="connsiteY0" fmla="*/ 20955 h 35242"/>
                  <a:gd name="connsiteX1" fmla="*/ 7620 w 92392"/>
                  <a:gd name="connsiteY1" fmla="*/ 35242 h 35242"/>
                  <a:gd name="connsiteX2" fmla="*/ 88582 w 92392"/>
                  <a:gd name="connsiteY2" fmla="*/ 32290 h 35242"/>
                  <a:gd name="connsiteX3" fmla="*/ 92392 w 92392"/>
                  <a:gd name="connsiteY3" fmla="*/ 14288 h 35242"/>
                  <a:gd name="connsiteX4" fmla="*/ 53340 w 92392"/>
                  <a:gd name="connsiteY4" fmla="*/ 0 h 35242"/>
                  <a:gd name="connsiteX5" fmla="*/ 42863 w 92392"/>
                  <a:gd name="connsiteY5" fmla="*/ 14288 h 35242"/>
                  <a:gd name="connsiteX6" fmla="*/ 14288 w 92392"/>
                  <a:gd name="connsiteY6" fmla="*/ 10382 h 35242"/>
                  <a:gd name="connsiteX7" fmla="*/ 10477 w 92392"/>
                  <a:gd name="connsiteY7" fmla="*/ 20955 h 35242"/>
                  <a:gd name="connsiteX8" fmla="*/ 0 w 92392"/>
                  <a:gd name="connsiteY8" fmla="*/ 20955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392" h="35242">
                    <a:moveTo>
                      <a:pt x="0" y="20955"/>
                    </a:moveTo>
                    <a:lnTo>
                      <a:pt x="7620" y="35242"/>
                    </a:lnTo>
                    <a:lnTo>
                      <a:pt x="88582" y="32290"/>
                    </a:lnTo>
                    <a:lnTo>
                      <a:pt x="92392" y="14288"/>
                    </a:lnTo>
                    <a:lnTo>
                      <a:pt x="53340" y="0"/>
                    </a:lnTo>
                    <a:lnTo>
                      <a:pt x="42863" y="14288"/>
                    </a:lnTo>
                    <a:lnTo>
                      <a:pt x="14288" y="10382"/>
                    </a:lnTo>
                    <a:lnTo>
                      <a:pt x="10477" y="20955"/>
                    </a:lnTo>
                    <a:lnTo>
                      <a:pt x="0" y="2095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9257B833-C549-D074-92F2-9316E5962E34}"/>
                  </a:ext>
                </a:extLst>
              </p:cNvPr>
              <p:cNvSpPr/>
              <p:nvPr/>
            </p:nvSpPr>
            <p:spPr>
              <a:xfrm>
                <a:off x="6536346" y="2853683"/>
                <a:ext cx="90571" cy="34548"/>
              </a:xfrm>
              <a:custGeom>
                <a:avLst/>
                <a:gdLst>
                  <a:gd name="connsiteX0" fmla="*/ 0 w 92392"/>
                  <a:gd name="connsiteY0" fmla="*/ 20955 h 35242"/>
                  <a:gd name="connsiteX1" fmla="*/ 7620 w 92392"/>
                  <a:gd name="connsiteY1" fmla="*/ 35242 h 35242"/>
                  <a:gd name="connsiteX2" fmla="*/ 88582 w 92392"/>
                  <a:gd name="connsiteY2" fmla="*/ 32290 h 35242"/>
                  <a:gd name="connsiteX3" fmla="*/ 92392 w 92392"/>
                  <a:gd name="connsiteY3" fmla="*/ 14288 h 35242"/>
                  <a:gd name="connsiteX4" fmla="*/ 53340 w 92392"/>
                  <a:gd name="connsiteY4" fmla="*/ 0 h 35242"/>
                  <a:gd name="connsiteX5" fmla="*/ 42863 w 92392"/>
                  <a:gd name="connsiteY5" fmla="*/ 14288 h 35242"/>
                  <a:gd name="connsiteX6" fmla="*/ 14288 w 92392"/>
                  <a:gd name="connsiteY6" fmla="*/ 10382 h 35242"/>
                  <a:gd name="connsiteX7" fmla="*/ 10477 w 92392"/>
                  <a:gd name="connsiteY7" fmla="*/ 20955 h 35242"/>
                  <a:gd name="connsiteX8" fmla="*/ 0 w 92392"/>
                  <a:gd name="connsiteY8" fmla="*/ 20955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392" h="35242">
                    <a:moveTo>
                      <a:pt x="0" y="20955"/>
                    </a:moveTo>
                    <a:lnTo>
                      <a:pt x="7620" y="35242"/>
                    </a:lnTo>
                    <a:lnTo>
                      <a:pt x="88582" y="32290"/>
                    </a:lnTo>
                    <a:lnTo>
                      <a:pt x="92392" y="14288"/>
                    </a:lnTo>
                    <a:lnTo>
                      <a:pt x="53340" y="0"/>
                    </a:lnTo>
                    <a:lnTo>
                      <a:pt x="42863" y="14288"/>
                    </a:lnTo>
                    <a:lnTo>
                      <a:pt x="14288" y="10382"/>
                    </a:lnTo>
                    <a:lnTo>
                      <a:pt x="10477" y="20955"/>
                    </a:lnTo>
                    <a:lnTo>
                      <a:pt x="0" y="2095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0553C4C6-6368-C5B4-A21B-857C5EEA884E}"/>
                  </a:ext>
                </a:extLst>
              </p:cNvPr>
              <p:cNvSpPr/>
              <p:nvPr/>
            </p:nvSpPr>
            <p:spPr>
              <a:xfrm>
                <a:off x="6637189" y="2819135"/>
                <a:ext cx="258641" cy="182917"/>
              </a:xfrm>
              <a:custGeom>
                <a:avLst/>
                <a:gdLst>
                  <a:gd name="connsiteX0" fmla="*/ 2857 w 263842"/>
                  <a:gd name="connsiteY0" fmla="*/ 84773 h 186594"/>
                  <a:gd name="connsiteX1" fmla="*/ 41910 w 263842"/>
                  <a:gd name="connsiteY1" fmla="*/ 78105 h 186594"/>
                  <a:gd name="connsiteX2" fmla="*/ 66675 w 263842"/>
                  <a:gd name="connsiteY2" fmla="*/ 78105 h 186594"/>
                  <a:gd name="connsiteX3" fmla="*/ 70485 w 263842"/>
                  <a:gd name="connsiteY3" fmla="*/ 49530 h 186594"/>
                  <a:gd name="connsiteX4" fmla="*/ 94297 w 263842"/>
                  <a:gd name="connsiteY4" fmla="*/ 42863 h 186594"/>
                  <a:gd name="connsiteX5" fmla="*/ 94297 w 263842"/>
                  <a:gd name="connsiteY5" fmla="*/ 20955 h 186594"/>
                  <a:gd name="connsiteX6" fmla="*/ 119063 w 263842"/>
                  <a:gd name="connsiteY6" fmla="*/ 14288 h 186594"/>
                  <a:gd name="connsiteX7" fmla="*/ 140970 w 263842"/>
                  <a:gd name="connsiteY7" fmla="*/ 0 h 186594"/>
                  <a:gd name="connsiteX8" fmla="*/ 172402 w 263842"/>
                  <a:gd name="connsiteY8" fmla="*/ 7525 h 186594"/>
                  <a:gd name="connsiteX9" fmla="*/ 172402 w 263842"/>
                  <a:gd name="connsiteY9" fmla="*/ 18098 h 186594"/>
                  <a:gd name="connsiteX10" fmla="*/ 207645 w 263842"/>
                  <a:gd name="connsiteY10" fmla="*/ 20955 h 186594"/>
                  <a:gd name="connsiteX11" fmla="*/ 214313 w 263842"/>
                  <a:gd name="connsiteY11" fmla="*/ 59912 h 186594"/>
                  <a:gd name="connsiteX12" fmla="*/ 263843 w 263842"/>
                  <a:gd name="connsiteY12" fmla="*/ 113348 h 186594"/>
                  <a:gd name="connsiteX13" fmla="*/ 260032 w 263842"/>
                  <a:gd name="connsiteY13" fmla="*/ 116205 h 186594"/>
                  <a:gd name="connsiteX14" fmla="*/ 228600 w 263842"/>
                  <a:gd name="connsiteY14" fmla="*/ 116205 h 186594"/>
                  <a:gd name="connsiteX15" fmla="*/ 228600 w 263842"/>
                  <a:gd name="connsiteY15" fmla="*/ 151448 h 186594"/>
                  <a:gd name="connsiteX16" fmla="*/ 207645 w 263842"/>
                  <a:gd name="connsiteY16" fmla="*/ 155162 h 186594"/>
                  <a:gd name="connsiteX17" fmla="*/ 200025 w 263842"/>
                  <a:gd name="connsiteY17" fmla="*/ 186595 h 186594"/>
                  <a:gd name="connsiteX18" fmla="*/ 164782 w 263842"/>
                  <a:gd name="connsiteY18" fmla="*/ 183737 h 186594"/>
                  <a:gd name="connsiteX19" fmla="*/ 161925 w 263842"/>
                  <a:gd name="connsiteY19" fmla="*/ 173355 h 186594"/>
                  <a:gd name="connsiteX20" fmla="*/ 112395 w 263842"/>
                  <a:gd name="connsiteY20" fmla="*/ 173355 h 186594"/>
                  <a:gd name="connsiteX21" fmla="*/ 80963 w 263842"/>
                  <a:gd name="connsiteY21" fmla="*/ 165735 h 186594"/>
                  <a:gd name="connsiteX22" fmla="*/ 27622 w 263842"/>
                  <a:gd name="connsiteY22" fmla="*/ 155162 h 186594"/>
                  <a:gd name="connsiteX23" fmla="*/ 10477 w 263842"/>
                  <a:gd name="connsiteY23" fmla="*/ 180023 h 186594"/>
                  <a:gd name="connsiteX24" fmla="*/ 10477 w 263842"/>
                  <a:gd name="connsiteY24" fmla="*/ 155162 h 186594"/>
                  <a:gd name="connsiteX25" fmla="*/ 0 w 263842"/>
                  <a:gd name="connsiteY25" fmla="*/ 148495 h 186594"/>
                  <a:gd name="connsiteX26" fmla="*/ 2857 w 263842"/>
                  <a:gd name="connsiteY26" fmla="*/ 138113 h 186594"/>
                  <a:gd name="connsiteX27" fmla="*/ 17145 w 263842"/>
                  <a:gd name="connsiteY27" fmla="*/ 138113 h 186594"/>
                  <a:gd name="connsiteX28" fmla="*/ 17145 w 263842"/>
                  <a:gd name="connsiteY28" fmla="*/ 113348 h 186594"/>
                  <a:gd name="connsiteX29" fmla="*/ 10477 w 263842"/>
                  <a:gd name="connsiteY29" fmla="*/ 105632 h 186594"/>
                  <a:gd name="connsiteX30" fmla="*/ 2857 w 263842"/>
                  <a:gd name="connsiteY30" fmla="*/ 84773 h 186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63842" h="186594">
                    <a:moveTo>
                      <a:pt x="2857" y="84773"/>
                    </a:moveTo>
                    <a:lnTo>
                      <a:pt x="41910" y="78105"/>
                    </a:lnTo>
                    <a:lnTo>
                      <a:pt x="66675" y="78105"/>
                    </a:lnTo>
                    <a:lnTo>
                      <a:pt x="70485" y="49530"/>
                    </a:lnTo>
                    <a:lnTo>
                      <a:pt x="94297" y="42863"/>
                    </a:lnTo>
                    <a:lnTo>
                      <a:pt x="94297" y="20955"/>
                    </a:lnTo>
                    <a:lnTo>
                      <a:pt x="119063" y="14288"/>
                    </a:lnTo>
                    <a:lnTo>
                      <a:pt x="140970" y="0"/>
                    </a:lnTo>
                    <a:lnTo>
                      <a:pt x="172402" y="7525"/>
                    </a:lnTo>
                    <a:lnTo>
                      <a:pt x="172402" y="18098"/>
                    </a:lnTo>
                    <a:lnTo>
                      <a:pt x="207645" y="20955"/>
                    </a:lnTo>
                    <a:lnTo>
                      <a:pt x="214313" y="59912"/>
                    </a:lnTo>
                    <a:lnTo>
                      <a:pt x="263843" y="113348"/>
                    </a:lnTo>
                    <a:lnTo>
                      <a:pt x="260032" y="116205"/>
                    </a:lnTo>
                    <a:lnTo>
                      <a:pt x="228600" y="116205"/>
                    </a:lnTo>
                    <a:lnTo>
                      <a:pt x="228600" y="151448"/>
                    </a:lnTo>
                    <a:lnTo>
                      <a:pt x="207645" y="155162"/>
                    </a:lnTo>
                    <a:lnTo>
                      <a:pt x="200025" y="186595"/>
                    </a:lnTo>
                    <a:lnTo>
                      <a:pt x="164782" y="183737"/>
                    </a:lnTo>
                    <a:lnTo>
                      <a:pt x="161925" y="173355"/>
                    </a:lnTo>
                    <a:lnTo>
                      <a:pt x="112395" y="173355"/>
                    </a:lnTo>
                    <a:lnTo>
                      <a:pt x="80963" y="165735"/>
                    </a:lnTo>
                    <a:lnTo>
                      <a:pt x="27622" y="155162"/>
                    </a:lnTo>
                    <a:lnTo>
                      <a:pt x="10477" y="180023"/>
                    </a:lnTo>
                    <a:lnTo>
                      <a:pt x="10477" y="155162"/>
                    </a:lnTo>
                    <a:lnTo>
                      <a:pt x="0" y="148495"/>
                    </a:lnTo>
                    <a:lnTo>
                      <a:pt x="2857" y="138113"/>
                    </a:lnTo>
                    <a:lnTo>
                      <a:pt x="17145" y="138113"/>
                    </a:lnTo>
                    <a:lnTo>
                      <a:pt x="17145" y="113348"/>
                    </a:lnTo>
                    <a:lnTo>
                      <a:pt x="10477" y="105632"/>
                    </a:lnTo>
                    <a:lnTo>
                      <a:pt x="2857" y="8477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87F88AC3-404F-B557-6B0A-137BCB52B812}"/>
                  </a:ext>
                </a:extLst>
              </p:cNvPr>
              <p:cNvSpPr/>
              <p:nvPr/>
            </p:nvSpPr>
            <p:spPr>
              <a:xfrm>
                <a:off x="5716536" y="2888231"/>
                <a:ext cx="113913" cy="107379"/>
              </a:xfrm>
              <a:custGeom>
                <a:avLst/>
                <a:gdLst>
                  <a:gd name="connsiteX0" fmla="*/ 116205 w 116204"/>
                  <a:gd name="connsiteY0" fmla="*/ 45720 h 109537"/>
                  <a:gd name="connsiteX1" fmla="*/ 113347 w 116204"/>
                  <a:gd name="connsiteY1" fmla="*/ 78010 h 109537"/>
                  <a:gd name="connsiteX2" fmla="*/ 84772 w 116204"/>
                  <a:gd name="connsiteY2" fmla="*/ 84677 h 109537"/>
                  <a:gd name="connsiteX3" fmla="*/ 63817 w 116204"/>
                  <a:gd name="connsiteY3" fmla="*/ 92297 h 109537"/>
                  <a:gd name="connsiteX4" fmla="*/ 45720 w 116204"/>
                  <a:gd name="connsiteY4" fmla="*/ 102870 h 109537"/>
                  <a:gd name="connsiteX5" fmla="*/ 32385 w 116204"/>
                  <a:gd name="connsiteY5" fmla="*/ 109538 h 109537"/>
                  <a:gd name="connsiteX6" fmla="*/ 14288 w 116204"/>
                  <a:gd name="connsiteY6" fmla="*/ 102870 h 109537"/>
                  <a:gd name="connsiteX7" fmla="*/ 0 w 116204"/>
                  <a:gd name="connsiteY7" fmla="*/ 84677 h 109537"/>
                  <a:gd name="connsiteX8" fmla="*/ 18097 w 116204"/>
                  <a:gd name="connsiteY8" fmla="*/ 70390 h 109537"/>
                  <a:gd name="connsiteX9" fmla="*/ 20955 w 116204"/>
                  <a:gd name="connsiteY9" fmla="*/ 53340 h 109537"/>
                  <a:gd name="connsiteX10" fmla="*/ 35242 w 116204"/>
                  <a:gd name="connsiteY10" fmla="*/ 45720 h 109537"/>
                  <a:gd name="connsiteX11" fmla="*/ 24765 w 116204"/>
                  <a:gd name="connsiteY11" fmla="*/ 39052 h 109537"/>
                  <a:gd name="connsiteX12" fmla="*/ 7620 w 116204"/>
                  <a:gd name="connsiteY12" fmla="*/ 42863 h 109537"/>
                  <a:gd name="connsiteX13" fmla="*/ 3810 w 116204"/>
                  <a:gd name="connsiteY13" fmla="*/ 28575 h 109537"/>
                  <a:gd name="connsiteX14" fmla="*/ 10478 w 116204"/>
                  <a:gd name="connsiteY14" fmla="*/ 20860 h 109537"/>
                  <a:gd name="connsiteX15" fmla="*/ 7620 w 116204"/>
                  <a:gd name="connsiteY15" fmla="*/ 10477 h 109537"/>
                  <a:gd name="connsiteX16" fmla="*/ 18097 w 116204"/>
                  <a:gd name="connsiteY16" fmla="*/ 0 h 109537"/>
                  <a:gd name="connsiteX17" fmla="*/ 35242 w 116204"/>
                  <a:gd name="connsiteY17" fmla="*/ 7620 h 109537"/>
                  <a:gd name="connsiteX18" fmla="*/ 49530 w 116204"/>
                  <a:gd name="connsiteY18" fmla="*/ 3715 h 109537"/>
                  <a:gd name="connsiteX19" fmla="*/ 63817 w 116204"/>
                  <a:gd name="connsiteY19" fmla="*/ 0 h 109537"/>
                  <a:gd name="connsiteX20" fmla="*/ 78105 w 116204"/>
                  <a:gd name="connsiteY20" fmla="*/ 7620 h 109537"/>
                  <a:gd name="connsiteX21" fmla="*/ 91440 w 116204"/>
                  <a:gd name="connsiteY21" fmla="*/ 0 h 109537"/>
                  <a:gd name="connsiteX22" fmla="*/ 101917 w 116204"/>
                  <a:gd name="connsiteY22" fmla="*/ 10477 h 109537"/>
                  <a:gd name="connsiteX23" fmla="*/ 113347 w 116204"/>
                  <a:gd name="connsiteY23" fmla="*/ 20860 h 109537"/>
                  <a:gd name="connsiteX24" fmla="*/ 116205 w 116204"/>
                  <a:gd name="connsiteY24" fmla="*/ 45720 h 109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16204" h="109537">
                    <a:moveTo>
                      <a:pt x="116205" y="45720"/>
                    </a:moveTo>
                    <a:lnTo>
                      <a:pt x="113347" y="78010"/>
                    </a:lnTo>
                    <a:lnTo>
                      <a:pt x="84772" y="84677"/>
                    </a:lnTo>
                    <a:lnTo>
                      <a:pt x="63817" y="92297"/>
                    </a:lnTo>
                    <a:lnTo>
                      <a:pt x="45720" y="102870"/>
                    </a:lnTo>
                    <a:lnTo>
                      <a:pt x="32385" y="109538"/>
                    </a:lnTo>
                    <a:lnTo>
                      <a:pt x="14288" y="102870"/>
                    </a:lnTo>
                    <a:lnTo>
                      <a:pt x="0" y="84677"/>
                    </a:lnTo>
                    <a:lnTo>
                      <a:pt x="18097" y="70390"/>
                    </a:lnTo>
                    <a:lnTo>
                      <a:pt x="20955" y="53340"/>
                    </a:lnTo>
                    <a:lnTo>
                      <a:pt x="35242" y="45720"/>
                    </a:lnTo>
                    <a:lnTo>
                      <a:pt x="24765" y="39052"/>
                    </a:lnTo>
                    <a:lnTo>
                      <a:pt x="7620" y="42863"/>
                    </a:lnTo>
                    <a:lnTo>
                      <a:pt x="3810" y="28575"/>
                    </a:lnTo>
                    <a:lnTo>
                      <a:pt x="10478" y="20860"/>
                    </a:lnTo>
                    <a:lnTo>
                      <a:pt x="7620" y="10477"/>
                    </a:lnTo>
                    <a:lnTo>
                      <a:pt x="18097" y="0"/>
                    </a:lnTo>
                    <a:lnTo>
                      <a:pt x="35242" y="7620"/>
                    </a:lnTo>
                    <a:lnTo>
                      <a:pt x="49530" y="3715"/>
                    </a:lnTo>
                    <a:lnTo>
                      <a:pt x="63817" y="0"/>
                    </a:lnTo>
                    <a:lnTo>
                      <a:pt x="78105" y="7620"/>
                    </a:lnTo>
                    <a:lnTo>
                      <a:pt x="91440" y="0"/>
                    </a:lnTo>
                    <a:lnTo>
                      <a:pt x="101917" y="10477"/>
                    </a:lnTo>
                    <a:lnTo>
                      <a:pt x="113347" y="20860"/>
                    </a:lnTo>
                    <a:lnTo>
                      <a:pt x="116205" y="4572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A3AFF852-5C76-2A73-9F4C-B4BF23477276}"/>
                  </a:ext>
                </a:extLst>
              </p:cNvPr>
              <p:cNvSpPr/>
              <p:nvPr/>
            </p:nvSpPr>
            <p:spPr>
              <a:xfrm>
                <a:off x="5737077" y="3314013"/>
                <a:ext cx="93372" cy="165270"/>
              </a:xfrm>
              <a:custGeom>
                <a:avLst/>
                <a:gdLst>
                  <a:gd name="connsiteX0" fmla="*/ 63818 w 95250"/>
                  <a:gd name="connsiteY0" fmla="*/ 168593 h 168592"/>
                  <a:gd name="connsiteX1" fmla="*/ 42863 w 95250"/>
                  <a:gd name="connsiteY1" fmla="*/ 168593 h 168592"/>
                  <a:gd name="connsiteX2" fmla="*/ 21908 w 95250"/>
                  <a:gd name="connsiteY2" fmla="*/ 168593 h 168592"/>
                  <a:gd name="connsiteX3" fmla="*/ 21908 w 95250"/>
                  <a:gd name="connsiteY3" fmla="*/ 155162 h 168592"/>
                  <a:gd name="connsiteX4" fmla="*/ 21908 w 95250"/>
                  <a:gd name="connsiteY4" fmla="*/ 126587 h 168592"/>
                  <a:gd name="connsiteX5" fmla="*/ 14288 w 95250"/>
                  <a:gd name="connsiteY5" fmla="*/ 122873 h 168592"/>
                  <a:gd name="connsiteX6" fmla="*/ 0 w 95250"/>
                  <a:gd name="connsiteY6" fmla="*/ 105632 h 168592"/>
                  <a:gd name="connsiteX7" fmla="*/ 14288 w 95250"/>
                  <a:gd name="connsiteY7" fmla="*/ 87630 h 168592"/>
                  <a:gd name="connsiteX8" fmla="*/ 18098 w 95250"/>
                  <a:gd name="connsiteY8" fmla="*/ 70485 h 168592"/>
                  <a:gd name="connsiteX9" fmla="*/ 24765 w 95250"/>
                  <a:gd name="connsiteY9" fmla="*/ 45625 h 168592"/>
                  <a:gd name="connsiteX10" fmla="*/ 21908 w 95250"/>
                  <a:gd name="connsiteY10" fmla="*/ 24670 h 168592"/>
                  <a:gd name="connsiteX11" fmla="*/ 24765 w 95250"/>
                  <a:gd name="connsiteY11" fmla="*/ 0 h 168592"/>
                  <a:gd name="connsiteX12" fmla="*/ 35243 w 95250"/>
                  <a:gd name="connsiteY12" fmla="*/ 2762 h 168592"/>
                  <a:gd name="connsiteX13" fmla="*/ 46673 w 95250"/>
                  <a:gd name="connsiteY13" fmla="*/ 13335 h 168592"/>
                  <a:gd name="connsiteX14" fmla="*/ 67628 w 95250"/>
                  <a:gd name="connsiteY14" fmla="*/ 10382 h 168592"/>
                  <a:gd name="connsiteX15" fmla="*/ 84773 w 95250"/>
                  <a:gd name="connsiteY15" fmla="*/ 10382 h 168592"/>
                  <a:gd name="connsiteX16" fmla="*/ 95250 w 95250"/>
                  <a:gd name="connsiteY16" fmla="*/ 24670 h 168592"/>
                  <a:gd name="connsiteX17" fmla="*/ 92393 w 95250"/>
                  <a:gd name="connsiteY17" fmla="*/ 35243 h 168592"/>
                  <a:gd name="connsiteX18" fmla="*/ 74295 w 95250"/>
                  <a:gd name="connsiteY18" fmla="*/ 38100 h 168592"/>
                  <a:gd name="connsiteX19" fmla="*/ 74295 w 95250"/>
                  <a:gd name="connsiteY19" fmla="*/ 62770 h 168592"/>
                  <a:gd name="connsiteX20" fmla="*/ 74295 w 95250"/>
                  <a:gd name="connsiteY20" fmla="*/ 80963 h 168592"/>
                  <a:gd name="connsiteX21" fmla="*/ 70485 w 95250"/>
                  <a:gd name="connsiteY21" fmla="*/ 87630 h 168592"/>
                  <a:gd name="connsiteX22" fmla="*/ 60008 w 95250"/>
                  <a:gd name="connsiteY22" fmla="*/ 95250 h 168592"/>
                  <a:gd name="connsiteX23" fmla="*/ 60008 w 95250"/>
                  <a:gd name="connsiteY23" fmla="*/ 101918 h 168592"/>
                  <a:gd name="connsiteX24" fmla="*/ 70485 w 95250"/>
                  <a:gd name="connsiteY24" fmla="*/ 116205 h 168592"/>
                  <a:gd name="connsiteX25" fmla="*/ 60008 w 95250"/>
                  <a:gd name="connsiteY25" fmla="*/ 122873 h 168592"/>
                  <a:gd name="connsiteX26" fmla="*/ 63818 w 95250"/>
                  <a:gd name="connsiteY26" fmla="*/ 133350 h 168592"/>
                  <a:gd name="connsiteX27" fmla="*/ 67628 w 95250"/>
                  <a:gd name="connsiteY27" fmla="*/ 143732 h 168592"/>
                  <a:gd name="connsiteX28" fmla="*/ 57150 w 95250"/>
                  <a:gd name="connsiteY28" fmla="*/ 151448 h 168592"/>
                  <a:gd name="connsiteX29" fmla="*/ 63818 w 95250"/>
                  <a:gd name="connsiteY29" fmla="*/ 168593 h 16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95250" h="168592">
                    <a:moveTo>
                      <a:pt x="63818" y="168593"/>
                    </a:moveTo>
                    <a:lnTo>
                      <a:pt x="42863" y="168593"/>
                    </a:lnTo>
                    <a:lnTo>
                      <a:pt x="21908" y="168593"/>
                    </a:lnTo>
                    <a:lnTo>
                      <a:pt x="21908" y="155162"/>
                    </a:lnTo>
                    <a:lnTo>
                      <a:pt x="21908" y="126587"/>
                    </a:lnTo>
                    <a:lnTo>
                      <a:pt x="14288" y="122873"/>
                    </a:lnTo>
                    <a:lnTo>
                      <a:pt x="0" y="105632"/>
                    </a:lnTo>
                    <a:lnTo>
                      <a:pt x="14288" y="87630"/>
                    </a:lnTo>
                    <a:lnTo>
                      <a:pt x="18098" y="70485"/>
                    </a:lnTo>
                    <a:lnTo>
                      <a:pt x="24765" y="45625"/>
                    </a:lnTo>
                    <a:lnTo>
                      <a:pt x="21908" y="24670"/>
                    </a:lnTo>
                    <a:lnTo>
                      <a:pt x="24765" y="0"/>
                    </a:lnTo>
                    <a:lnTo>
                      <a:pt x="35243" y="2762"/>
                    </a:lnTo>
                    <a:lnTo>
                      <a:pt x="46673" y="13335"/>
                    </a:lnTo>
                    <a:lnTo>
                      <a:pt x="67628" y="10382"/>
                    </a:lnTo>
                    <a:lnTo>
                      <a:pt x="84773" y="10382"/>
                    </a:lnTo>
                    <a:lnTo>
                      <a:pt x="95250" y="24670"/>
                    </a:lnTo>
                    <a:lnTo>
                      <a:pt x="92393" y="35243"/>
                    </a:lnTo>
                    <a:lnTo>
                      <a:pt x="74295" y="38100"/>
                    </a:lnTo>
                    <a:lnTo>
                      <a:pt x="74295" y="62770"/>
                    </a:lnTo>
                    <a:lnTo>
                      <a:pt x="74295" y="80963"/>
                    </a:lnTo>
                    <a:lnTo>
                      <a:pt x="70485" y="87630"/>
                    </a:lnTo>
                    <a:lnTo>
                      <a:pt x="60008" y="95250"/>
                    </a:lnTo>
                    <a:lnTo>
                      <a:pt x="60008" y="101918"/>
                    </a:lnTo>
                    <a:lnTo>
                      <a:pt x="70485" y="116205"/>
                    </a:lnTo>
                    <a:lnTo>
                      <a:pt x="60008" y="122873"/>
                    </a:lnTo>
                    <a:lnTo>
                      <a:pt x="63818" y="133350"/>
                    </a:lnTo>
                    <a:lnTo>
                      <a:pt x="67628" y="143732"/>
                    </a:lnTo>
                    <a:lnTo>
                      <a:pt x="57150" y="151448"/>
                    </a:lnTo>
                    <a:lnTo>
                      <a:pt x="63818" y="16859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03F106CD-02CD-E17C-F695-1482D5EF12E1}"/>
                  </a:ext>
                </a:extLst>
              </p:cNvPr>
              <p:cNvSpPr/>
              <p:nvPr/>
            </p:nvSpPr>
            <p:spPr>
              <a:xfrm>
                <a:off x="6238488" y="3296179"/>
                <a:ext cx="23343" cy="44912"/>
              </a:xfrm>
              <a:custGeom>
                <a:avLst/>
                <a:gdLst>
                  <a:gd name="connsiteX0" fmla="*/ 17145 w 23812"/>
                  <a:gd name="connsiteY0" fmla="*/ 0 h 45815"/>
                  <a:gd name="connsiteX1" fmla="*/ 6668 w 23812"/>
                  <a:gd name="connsiteY1" fmla="*/ 3905 h 45815"/>
                  <a:gd name="connsiteX2" fmla="*/ 0 w 23812"/>
                  <a:gd name="connsiteY2" fmla="*/ 10573 h 45815"/>
                  <a:gd name="connsiteX3" fmla="*/ 0 w 23812"/>
                  <a:gd name="connsiteY3" fmla="*/ 24860 h 45815"/>
                  <a:gd name="connsiteX4" fmla="*/ 0 w 23812"/>
                  <a:gd name="connsiteY4" fmla="*/ 39148 h 45815"/>
                  <a:gd name="connsiteX5" fmla="*/ 10477 w 23812"/>
                  <a:gd name="connsiteY5" fmla="*/ 45815 h 45815"/>
                  <a:gd name="connsiteX6" fmla="*/ 17145 w 23812"/>
                  <a:gd name="connsiteY6" fmla="*/ 31528 h 45815"/>
                  <a:gd name="connsiteX7" fmla="*/ 13335 w 23812"/>
                  <a:gd name="connsiteY7" fmla="*/ 20955 h 45815"/>
                  <a:gd name="connsiteX8" fmla="*/ 23813 w 23812"/>
                  <a:gd name="connsiteY8" fmla="*/ 18193 h 45815"/>
                  <a:gd name="connsiteX9" fmla="*/ 17145 w 23812"/>
                  <a:gd name="connsiteY9" fmla="*/ 0 h 4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812" h="45815">
                    <a:moveTo>
                      <a:pt x="17145" y="0"/>
                    </a:moveTo>
                    <a:lnTo>
                      <a:pt x="6668" y="3905"/>
                    </a:lnTo>
                    <a:lnTo>
                      <a:pt x="0" y="10573"/>
                    </a:lnTo>
                    <a:lnTo>
                      <a:pt x="0" y="24860"/>
                    </a:lnTo>
                    <a:lnTo>
                      <a:pt x="0" y="39148"/>
                    </a:lnTo>
                    <a:lnTo>
                      <a:pt x="10477" y="45815"/>
                    </a:lnTo>
                    <a:lnTo>
                      <a:pt x="17145" y="31528"/>
                    </a:lnTo>
                    <a:lnTo>
                      <a:pt x="13335" y="20955"/>
                    </a:lnTo>
                    <a:lnTo>
                      <a:pt x="23813" y="18193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99DE1894-67E8-E54E-1D0C-6C4356FB5AD0}"/>
                  </a:ext>
                </a:extLst>
              </p:cNvPr>
              <p:cNvSpPr/>
              <p:nvPr/>
            </p:nvSpPr>
            <p:spPr>
              <a:xfrm>
                <a:off x="6227283" y="3355097"/>
                <a:ext cx="34547" cy="65361"/>
              </a:xfrm>
              <a:custGeom>
                <a:avLst/>
                <a:gdLst>
                  <a:gd name="connsiteX0" fmla="*/ 18098 w 35242"/>
                  <a:gd name="connsiteY0" fmla="*/ 0 h 66675"/>
                  <a:gd name="connsiteX1" fmla="*/ 14288 w 35242"/>
                  <a:gd name="connsiteY1" fmla="*/ 6572 h 66675"/>
                  <a:gd name="connsiteX2" fmla="*/ 3810 w 35242"/>
                  <a:gd name="connsiteY2" fmla="*/ 6572 h 66675"/>
                  <a:gd name="connsiteX3" fmla="*/ 0 w 35242"/>
                  <a:gd name="connsiteY3" fmla="*/ 20860 h 66675"/>
                  <a:gd name="connsiteX4" fmla="*/ 7620 w 35242"/>
                  <a:gd name="connsiteY4" fmla="*/ 28575 h 66675"/>
                  <a:gd name="connsiteX5" fmla="*/ 7620 w 35242"/>
                  <a:gd name="connsiteY5" fmla="*/ 45720 h 66675"/>
                  <a:gd name="connsiteX6" fmla="*/ 7620 w 35242"/>
                  <a:gd name="connsiteY6" fmla="*/ 63722 h 66675"/>
                  <a:gd name="connsiteX7" fmla="*/ 18098 w 35242"/>
                  <a:gd name="connsiteY7" fmla="*/ 66675 h 66675"/>
                  <a:gd name="connsiteX8" fmla="*/ 24765 w 35242"/>
                  <a:gd name="connsiteY8" fmla="*/ 60008 h 66675"/>
                  <a:gd name="connsiteX9" fmla="*/ 35243 w 35242"/>
                  <a:gd name="connsiteY9" fmla="*/ 49435 h 66675"/>
                  <a:gd name="connsiteX10" fmla="*/ 32385 w 35242"/>
                  <a:gd name="connsiteY10" fmla="*/ 24765 h 66675"/>
                  <a:gd name="connsiteX11" fmla="*/ 35243 w 35242"/>
                  <a:gd name="connsiteY11" fmla="*/ 10477 h 66675"/>
                  <a:gd name="connsiteX12" fmla="*/ 32385 w 35242"/>
                  <a:gd name="connsiteY12" fmla="*/ 3715 h 66675"/>
                  <a:gd name="connsiteX13" fmla="*/ 18098 w 35242"/>
                  <a:gd name="connsiteY13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5242" h="66675">
                    <a:moveTo>
                      <a:pt x="18098" y="0"/>
                    </a:moveTo>
                    <a:lnTo>
                      <a:pt x="14288" y="6572"/>
                    </a:lnTo>
                    <a:lnTo>
                      <a:pt x="3810" y="6572"/>
                    </a:lnTo>
                    <a:lnTo>
                      <a:pt x="0" y="20860"/>
                    </a:lnTo>
                    <a:lnTo>
                      <a:pt x="7620" y="28575"/>
                    </a:lnTo>
                    <a:lnTo>
                      <a:pt x="7620" y="45720"/>
                    </a:lnTo>
                    <a:lnTo>
                      <a:pt x="7620" y="63722"/>
                    </a:lnTo>
                    <a:lnTo>
                      <a:pt x="18098" y="66675"/>
                    </a:lnTo>
                    <a:lnTo>
                      <a:pt x="24765" y="60008"/>
                    </a:lnTo>
                    <a:lnTo>
                      <a:pt x="35243" y="49435"/>
                    </a:lnTo>
                    <a:lnTo>
                      <a:pt x="32385" y="24765"/>
                    </a:lnTo>
                    <a:lnTo>
                      <a:pt x="35243" y="10477"/>
                    </a:lnTo>
                    <a:lnTo>
                      <a:pt x="32385" y="3715"/>
                    </a:lnTo>
                    <a:lnTo>
                      <a:pt x="1809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9CAE9F54-DBED-6BC9-4438-4669499D7FCC}"/>
                  </a:ext>
                </a:extLst>
              </p:cNvPr>
              <p:cNvSpPr/>
              <p:nvPr/>
            </p:nvSpPr>
            <p:spPr>
              <a:xfrm>
                <a:off x="6329993" y="3009617"/>
                <a:ext cx="189546" cy="85809"/>
              </a:xfrm>
              <a:custGeom>
                <a:avLst/>
                <a:gdLst>
                  <a:gd name="connsiteX0" fmla="*/ 83820 w 193357"/>
                  <a:gd name="connsiteY0" fmla="*/ 0 h 87534"/>
                  <a:gd name="connsiteX1" fmla="*/ 98107 w 193357"/>
                  <a:gd name="connsiteY1" fmla="*/ 6572 h 87534"/>
                  <a:gd name="connsiteX2" fmla="*/ 119063 w 193357"/>
                  <a:gd name="connsiteY2" fmla="*/ 14288 h 87534"/>
                  <a:gd name="connsiteX3" fmla="*/ 122873 w 193357"/>
                  <a:gd name="connsiteY3" fmla="*/ 27527 h 87534"/>
                  <a:gd name="connsiteX4" fmla="*/ 137160 w 193357"/>
                  <a:gd name="connsiteY4" fmla="*/ 31433 h 87534"/>
                  <a:gd name="connsiteX5" fmla="*/ 140018 w 193357"/>
                  <a:gd name="connsiteY5" fmla="*/ 24765 h 87534"/>
                  <a:gd name="connsiteX6" fmla="*/ 154305 w 193357"/>
                  <a:gd name="connsiteY6" fmla="*/ 27527 h 87534"/>
                  <a:gd name="connsiteX7" fmla="*/ 164782 w 193357"/>
                  <a:gd name="connsiteY7" fmla="*/ 35147 h 87534"/>
                  <a:gd name="connsiteX8" fmla="*/ 179070 w 193357"/>
                  <a:gd name="connsiteY8" fmla="*/ 41815 h 87534"/>
                  <a:gd name="connsiteX9" fmla="*/ 193357 w 193357"/>
                  <a:gd name="connsiteY9" fmla="*/ 52388 h 87534"/>
                  <a:gd name="connsiteX10" fmla="*/ 175260 w 193357"/>
                  <a:gd name="connsiteY10" fmla="*/ 62865 h 87534"/>
                  <a:gd name="connsiteX11" fmla="*/ 161925 w 193357"/>
                  <a:gd name="connsiteY11" fmla="*/ 77152 h 87534"/>
                  <a:gd name="connsiteX12" fmla="*/ 143828 w 193357"/>
                  <a:gd name="connsiteY12" fmla="*/ 80963 h 87534"/>
                  <a:gd name="connsiteX13" fmla="*/ 133350 w 193357"/>
                  <a:gd name="connsiteY13" fmla="*/ 87535 h 87534"/>
                  <a:gd name="connsiteX14" fmla="*/ 116205 w 193357"/>
                  <a:gd name="connsiteY14" fmla="*/ 87535 h 87534"/>
                  <a:gd name="connsiteX15" fmla="*/ 80963 w 193357"/>
                  <a:gd name="connsiteY15" fmla="*/ 74295 h 87534"/>
                  <a:gd name="connsiteX16" fmla="*/ 77153 w 193357"/>
                  <a:gd name="connsiteY16" fmla="*/ 84677 h 87534"/>
                  <a:gd name="connsiteX17" fmla="*/ 48578 w 193357"/>
                  <a:gd name="connsiteY17" fmla="*/ 80963 h 87534"/>
                  <a:gd name="connsiteX18" fmla="*/ 35243 w 193357"/>
                  <a:gd name="connsiteY18" fmla="*/ 70390 h 87534"/>
                  <a:gd name="connsiteX19" fmla="*/ 23813 w 193357"/>
                  <a:gd name="connsiteY19" fmla="*/ 60008 h 87534"/>
                  <a:gd name="connsiteX20" fmla="*/ 0 w 193357"/>
                  <a:gd name="connsiteY20" fmla="*/ 31433 h 87534"/>
                  <a:gd name="connsiteX21" fmla="*/ 20955 w 193357"/>
                  <a:gd name="connsiteY21" fmla="*/ 20860 h 87534"/>
                  <a:gd name="connsiteX22" fmla="*/ 41910 w 193357"/>
                  <a:gd name="connsiteY22" fmla="*/ 14288 h 87534"/>
                  <a:gd name="connsiteX23" fmla="*/ 59055 w 193357"/>
                  <a:gd name="connsiteY23" fmla="*/ 6572 h 87534"/>
                  <a:gd name="connsiteX24" fmla="*/ 73343 w 193357"/>
                  <a:gd name="connsiteY24" fmla="*/ 3715 h 87534"/>
                  <a:gd name="connsiteX25" fmla="*/ 83820 w 193357"/>
                  <a:gd name="connsiteY25" fmla="*/ 0 h 87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93357" h="87534">
                    <a:moveTo>
                      <a:pt x="83820" y="0"/>
                    </a:moveTo>
                    <a:lnTo>
                      <a:pt x="98107" y="6572"/>
                    </a:lnTo>
                    <a:lnTo>
                      <a:pt x="119063" y="14288"/>
                    </a:lnTo>
                    <a:lnTo>
                      <a:pt x="122873" y="27527"/>
                    </a:lnTo>
                    <a:lnTo>
                      <a:pt x="137160" y="31433"/>
                    </a:lnTo>
                    <a:lnTo>
                      <a:pt x="140018" y="24765"/>
                    </a:lnTo>
                    <a:lnTo>
                      <a:pt x="154305" y="27527"/>
                    </a:lnTo>
                    <a:lnTo>
                      <a:pt x="164782" y="35147"/>
                    </a:lnTo>
                    <a:lnTo>
                      <a:pt x="179070" y="41815"/>
                    </a:lnTo>
                    <a:lnTo>
                      <a:pt x="193357" y="52388"/>
                    </a:lnTo>
                    <a:lnTo>
                      <a:pt x="175260" y="62865"/>
                    </a:lnTo>
                    <a:lnTo>
                      <a:pt x="161925" y="77152"/>
                    </a:lnTo>
                    <a:lnTo>
                      <a:pt x="143828" y="80963"/>
                    </a:lnTo>
                    <a:lnTo>
                      <a:pt x="133350" y="87535"/>
                    </a:lnTo>
                    <a:lnTo>
                      <a:pt x="116205" y="87535"/>
                    </a:lnTo>
                    <a:lnTo>
                      <a:pt x="80963" y="74295"/>
                    </a:lnTo>
                    <a:lnTo>
                      <a:pt x="77153" y="84677"/>
                    </a:lnTo>
                    <a:lnTo>
                      <a:pt x="48578" y="80963"/>
                    </a:lnTo>
                    <a:lnTo>
                      <a:pt x="35243" y="70390"/>
                    </a:lnTo>
                    <a:lnTo>
                      <a:pt x="23813" y="60008"/>
                    </a:lnTo>
                    <a:lnTo>
                      <a:pt x="0" y="31433"/>
                    </a:lnTo>
                    <a:lnTo>
                      <a:pt x="20955" y="20860"/>
                    </a:lnTo>
                    <a:lnTo>
                      <a:pt x="41910" y="14288"/>
                    </a:lnTo>
                    <a:lnTo>
                      <a:pt x="59055" y="6572"/>
                    </a:lnTo>
                    <a:lnTo>
                      <a:pt x="73343" y="3715"/>
                    </a:lnTo>
                    <a:lnTo>
                      <a:pt x="8382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840B88A5-F187-5A25-D35B-F013C5EDE971}"/>
                  </a:ext>
                </a:extLst>
              </p:cNvPr>
              <p:cNvSpPr/>
              <p:nvPr/>
            </p:nvSpPr>
            <p:spPr>
              <a:xfrm>
                <a:off x="6460714" y="3060971"/>
                <a:ext cx="154998" cy="66294"/>
              </a:xfrm>
              <a:custGeom>
                <a:avLst/>
                <a:gdLst>
                  <a:gd name="connsiteX0" fmla="*/ 77153 w 158115"/>
                  <a:gd name="connsiteY0" fmla="*/ 3715 h 67627"/>
                  <a:gd name="connsiteX1" fmla="*/ 84773 w 158115"/>
                  <a:gd name="connsiteY1" fmla="*/ 18002 h 67627"/>
                  <a:gd name="connsiteX2" fmla="*/ 101918 w 158115"/>
                  <a:gd name="connsiteY2" fmla="*/ 14288 h 67627"/>
                  <a:gd name="connsiteX3" fmla="*/ 120015 w 158115"/>
                  <a:gd name="connsiteY3" fmla="*/ 7620 h 67627"/>
                  <a:gd name="connsiteX4" fmla="*/ 134303 w 158115"/>
                  <a:gd name="connsiteY4" fmla="*/ 7620 h 67627"/>
                  <a:gd name="connsiteX5" fmla="*/ 151448 w 158115"/>
                  <a:gd name="connsiteY5" fmla="*/ 14288 h 67627"/>
                  <a:gd name="connsiteX6" fmla="*/ 158115 w 158115"/>
                  <a:gd name="connsiteY6" fmla="*/ 21908 h 67627"/>
                  <a:gd name="connsiteX7" fmla="*/ 151448 w 158115"/>
                  <a:gd name="connsiteY7" fmla="*/ 35147 h 67627"/>
                  <a:gd name="connsiteX8" fmla="*/ 144780 w 158115"/>
                  <a:gd name="connsiteY8" fmla="*/ 45720 h 67627"/>
                  <a:gd name="connsiteX9" fmla="*/ 126682 w 158115"/>
                  <a:gd name="connsiteY9" fmla="*/ 42863 h 67627"/>
                  <a:gd name="connsiteX10" fmla="*/ 109538 w 158115"/>
                  <a:gd name="connsiteY10" fmla="*/ 39052 h 67627"/>
                  <a:gd name="connsiteX11" fmla="*/ 99060 w 158115"/>
                  <a:gd name="connsiteY11" fmla="*/ 45720 h 67627"/>
                  <a:gd name="connsiteX12" fmla="*/ 95250 w 158115"/>
                  <a:gd name="connsiteY12" fmla="*/ 49435 h 67627"/>
                  <a:gd name="connsiteX13" fmla="*/ 77153 w 158115"/>
                  <a:gd name="connsiteY13" fmla="*/ 49435 h 67627"/>
                  <a:gd name="connsiteX14" fmla="*/ 66675 w 158115"/>
                  <a:gd name="connsiteY14" fmla="*/ 57150 h 67627"/>
                  <a:gd name="connsiteX15" fmla="*/ 53340 w 158115"/>
                  <a:gd name="connsiteY15" fmla="*/ 57150 h 67627"/>
                  <a:gd name="connsiteX16" fmla="*/ 45720 w 158115"/>
                  <a:gd name="connsiteY16" fmla="*/ 67627 h 67627"/>
                  <a:gd name="connsiteX17" fmla="*/ 31432 w 158115"/>
                  <a:gd name="connsiteY17" fmla="*/ 67627 h 67627"/>
                  <a:gd name="connsiteX18" fmla="*/ 18098 w 158115"/>
                  <a:gd name="connsiteY18" fmla="*/ 63722 h 67627"/>
                  <a:gd name="connsiteX19" fmla="*/ 6668 w 158115"/>
                  <a:gd name="connsiteY19" fmla="*/ 57150 h 67627"/>
                  <a:gd name="connsiteX20" fmla="*/ 3810 w 158115"/>
                  <a:gd name="connsiteY20" fmla="*/ 42863 h 67627"/>
                  <a:gd name="connsiteX21" fmla="*/ 0 w 158115"/>
                  <a:gd name="connsiteY21" fmla="*/ 35147 h 67627"/>
                  <a:gd name="connsiteX22" fmla="*/ 10478 w 158115"/>
                  <a:gd name="connsiteY22" fmla="*/ 28575 h 67627"/>
                  <a:gd name="connsiteX23" fmla="*/ 28575 w 158115"/>
                  <a:gd name="connsiteY23" fmla="*/ 24765 h 67627"/>
                  <a:gd name="connsiteX24" fmla="*/ 41910 w 158115"/>
                  <a:gd name="connsiteY24" fmla="*/ 10477 h 67627"/>
                  <a:gd name="connsiteX25" fmla="*/ 60007 w 158115"/>
                  <a:gd name="connsiteY25" fmla="*/ 0 h 67627"/>
                  <a:gd name="connsiteX26" fmla="*/ 77153 w 158115"/>
                  <a:gd name="connsiteY26" fmla="*/ 3715 h 67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8115" h="67627">
                    <a:moveTo>
                      <a:pt x="77153" y="3715"/>
                    </a:moveTo>
                    <a:lnTo>
                      <a:pt x="84773" y="18002"/>
                    </a:lnTo>
                    <a:lnTo>
                      <a:pt x="101918" y="14288"/>
                    </a:lnTo>
                    <a:lnTo>
                      <a:pt x="120015" y="7620"/>
                    </a:lnTo>
                    <a:lnTo>
                      <a:pt x="134303" y="7620"/>
                    </a:lnTo>
                    <a:lnTo>
                      <a:pt x="151448" y="14288"/>
                    </a:lnTo>
                    <a:lnTo>
                      <a:pt x="158115" y="21908"/>
                    </a:lnTo>
                    <a:lnTo>
                      <a:pt x="151448" y="35147"/>
                    </a:lnTo>
                    <a:lnTo>
                      <a:pt x="144780" y="45720"/>
                    </a:lnTo>
                    <a:lnTo>
                      <a:pt x="126682" y="42863"/>
                    </a:lnTo>
                    <a:lnTo>
                      <a:pt x="109538" y="39052"/>
                    </a:lnTo>
                    <a:lnTo>
                      <a:pt x="99060" y="45720"/>
                    </a:lnTo>
                    <a:lnTo>
                      <a:pt x="95250" y="49435"/>
                    </a:lnTo>
                    <a:lnTo>
                      <a:pt x="77153" y="49435"/>
                    </a:lnTo>
                    <a:lnTo>
                      <a:pt x="66675" y="57150"/>
                    </a:lnTo>
                    <a:lnTo>
                      <a:pt x="53340" y="57150"/>
                    </a:lnTo>
                    <a:lnTo>
                      <a:pt x="45720" y="67627"/>
                    </a:lnTo>
                    <a:lnTo>
                      <a:pt x="31432" y="67627"/>
                    </a:lnTo>
                    <a:lnTo>
                      <a:pt x="18098" y="63722"/>
                    </a:lnTo>
                    <a:lnTo>
                      <a:pt x="6668" y="57150"/>
                    </a:lnTo>
                    <a:lnTo>
                      <a:pt x="3810" y="42863"/>
                    </a:lnTo>
                    <a:lnTo>
                      <a:pt x="0" y="35147"/>
                    </a:lnTo>
                    <a:lnTo>
                      <a:pt x="10478" y="28575"/>
                    </a:lnTo>
                    <a:lnTo>
                      <a:pt x="28575" y="24765"/>
                    </a:lnTo>
                    <a:lnTo>
                      <a:pt x="41910" y="10477"/>
                    </a:lnTo>
                    <a:lnTo>
                      <a:pt x="60007" y="0"/>
                    </a:lnTo>
                    <a:lnTo>
                      <a:pt x="77153" y="371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B0FEC754-F4D0-C253-DEE4-1F8E4305DEA5}"/>
                  </a:ext>
                </a:extLst>
              </p:cNvPr>
              <p:cNvSpPr/>
              <p:nvPr/>
            </p:nvSpPr>
            <p:spPr>
              <a:xfrm>
                <a:off x="6259030" y="3082448"/>
                <a:ext cx="219425" cy="89544"/>
              </a:xfrm>
              <a:custGeom>
                <a:avLst/>
                <a:gdLst>
                  <a:gd name="connsiteX0" fmla="*/ 24765 w 223837"/>
                  <a:gd name="connsiteY0" fmla="*/ 80963 h 91344"/>
                  <a:gd name="connsiteX1" fmla="*/ 20955 w 223837"/>
                  <a:gd name="connsiteY1" fmla="*/ 73342 h 91344"/>
                  <a:gd name="connsiteX2" fmla="*/ 14288 w 223837"/>
                  <a:gd name="connsiteY2" fmla="*/ 73342 h 91344"/>
                  <a:gd name="connsiteX3" fmla="*/ 0 w 223837"/>
                  <a:gd name="connsiteY3" fmla="*/ 70390 h 91344"/>
                  <a:gd name="connsiteX4" fmla="*/ 2857 w 223837"/>
                  <a:gd name="connsiteY4" fmla="*/ 60007 h 91344"/>
                  <a:gd name="connsiteX5" fmla="*/ 31432 w 223837"/>
                  <a:gd name="connsiteY5" fmla="*/ 60007 h 91344"/>
                  <a:gd name="connsiteX6" fmla="*/ 54293 w 223837"/>
                  <a:gd name="connsiteY6" fmla="*/ 56102 h 91344"/>
                  <a:gd name="connsiteX7" fmla="*/ 72390 w 223837"/>
                  <a:gd name="connsiteY7" fmla="*/ 45720 h 91344"/>
                  <a:gd name="connsiteX8" fmla="*/ 93345 w 223837"/>
                  <a:gd name="connsiteY8" fmla="*/ 45720 h 91344"/>
                  <a:gd name="connsiteX9" fmla="*/ 93345 w 223837"/>
                  <a:gd name="connsiteY9" fmla="*/ 31432 h 91344"/>
                  <a:gd name="connsiteX10" fmla="*/ 120968 w 223837"/>
                  <a:gd name="connsiteY10" fmla="*/ 17145 h 91344"/>
                  <a:gd name="connsiteX11" fmla="*/ 120968 w 223837"/>
                  <a:gd name="connsiteY11" fmla="*/ 6667 h 91344"/>
                  <a:gd name="connsiteX12" fmla="*/ 149543 w 223837"/>
                  <a:gd name="connsiteY12" fmla="*/ 10382 h 91344"/>
                  <a:gd name="connsiteX13" fmla="*/ 153352 w 223837"/>
                  <a:gd name="connsiteY13" fmla="*/ 0 h 91344"/>
                  <a:gd name="connsiteX14" fmla="*/ 188595 w 223837"/>
                  <a:gd name="connsiteY14" fmla="*/ 13240 h 91344"/>
                  <a:gd name="connsiteX15" fmla="*/ 205740 w 223837"/>
                  <a:gd name="connsiteY15" fmla="*/ 13240 h 91344"/>
                  <a:gd name="connsiteX16" fmla="*/ 209550 w 223837"/>
                  <a:gd name="connsiteY16" fmla="*/ 20955 h 91344"/>
                  <a:gd name="connsiteX17" fmla="*/ 212407 w 223837"/>
                  <a:gd name="connsiteY17" fmla="*/ 35242 h 91344"/>
                  <a:gd name="connsiteX18" fmla="*/ 223838 w 223837"/>
                  <a:gd name="connsiteY18" fmla="*/ 41815 h 91344"/>
                  <a:gd name="connsiteX19" fmla="*/ 205740 w 223837"/>
                  <a:gd name="connsiteY19" fmla="*/ 48482 h 91344"/>
                  <a:gd name="connsiteX20" fmla="*/ 195263 w 223837"/>
                  <a:gd name="connsiteY20" fmla="*/ 60007 h 91344"/>
                  <a:gd name="connsiteX21" fmla="*/ 191452 w 223837"/>
                  <a:gd name="connsiteY21" fmla="*/ 70390 h 91344"/>
                  <a:gd name="connsiteX22" fmla="*/ 180975 w 223837"/>
                  <a:gd name="connsiteY22" fmla="*/ 77057 h 91344"/>
                  <a:gd name="connsiteX23" fmla="*/ 156210 w 223837"/>
                  <a:gd name="connsiteY23" fmla="*/ 87630 h 91344"/>
                  <a:gd name="connsiteX24" fmla="*/ 135255 w 223837"/>
                  <a:gd name="connsiteY24" fmla="*/ 91345 h 91344"/>
                  <a:gd name="connsiteX25" fmla="*/ 118110 w 223837"/>
                  <a:gd name="connsiteY25" fmla="*/ 83820 h 91344"/>
                  <a:gd name="connsiteX26" fmla="*/ 89535 w 223837"/>
                  <a:gd name="connsiteY26" fmla="*/ 87630 h 91344"/>
                  <a:gd name="connsiteX27" fmla="*/ 72390 w 223837"/>
                  <a:gd name="connsiteY27" fmla="*/ 80963 h 91344"/>
                  <a:gd name="connsiteX28" fmla="*/ 72390 w 223837"/>
                  <a:gd name="connsiteY28" fmla="*/ 70390 h 91344"/>
                  <a:gd name="connsiteX29" fmla="*/ 45720 w 223837"/>
                  <a:gd name="connsiteY29" fmla="*/ 70390 h 91344"/>
                  <a:gd name="connsiteX30" fmla="*/ 41910 w 223837"/>
                  <a:gd name="connsiteY30" fmla="*/ 80963 h 91344"/>
                  <a:gd name="connsiteX31" fmla="*/ 24765 w 223837"/>
                  <a:gd name="connsiteY31" fmla="*/ 80963 h 91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23837" h="91344">
                    <a:moveTo>
                      <a:pt x="24765" y="80963"/>
                    </a:moveTo>
                    <a:lnTo>
                      <a:pt x="20955" y="73342"/>
                    </a:lnTo>
                    <a:lnTo>
                      <a:pt x="14288" y="73342"/>
                    </a:lnTo>
                    <a:lnTo>
                      <a:pt x="0" y="70390"/>
                    </a:lnTo>
                    <a:lnTo>
                      <a:pt x="2857" y="60007"/>
                    </a:lnTo>
                    <a:lnTo>
                      <a:pt x="31432" y="60007"/>
                    </a:lnTo>
                    <a:lnTo>
                      <a:pt x="54293" y="56102"/>
                    </a:lnTo>
                    <a:lnTo>
                      <a:pt x="72390" y="45720"/>
                    </a:lnTo>
                    <a:lnTo>
                      <a:pt x="93345" y="45720"/>
                    </a:lnTo>
                    <a:lnTo>
                      <a:pt x="93345" y="31432"/>
                    </a:lnTo>
                    <a:lnTo>
                      <a:pt x="120968" y="17145"/>
                    </a:lnTo>
                    <a:lnTo>
                      <a:pt x="120968" y="6667"/>
                    </a:lnTo>
                    <a:lnTo>
                      <a:pt x="149543" y="10382"/>
                    </a:lnTo>
                    <a:lnTo>
                      <a:pt x="153352" y="0"/>
                    </a:lnTo>
                    <a:lnTo>
                      <a:pt x="188595" y="13240"/>
                    </a:lnTo>
                    <a:lnTo>
                      <a:pt x="205740" y="13240"/>
                    </a:lnTo>
                    <a:lnTo>
                      <a:pt x="209550" y="20955"/>
                    </a:lnTo>
                    <a:lnTo>
                      <a:pt x="212407" y="35242"/>
                    </a:lnTo>
                    <a:lnTo>
                      <a:pt x="223838" y="41815"/>
                    </a:lnTo>
                    <a:lnTo>
                      <a:pt x="205740" y="48482"/>
                    </a:lnTo>
                    <a:lnTo>
                      <a:pt x="195263" y="60007"/>
                    </a:lnTo>
                    <a:lnTo>
                      <a:pt x="191452" y="70390"/>
                    </a:lnTo>
                    <a:lnTo>
                      <a:pt x="180975" y="77057"/>
                    </a:lnTo>
                    <a:lnTo>
                      <a:pt x="156210" y="87630"/>
                    </a:lnTo>
                    <a:lnTo>
                      <a:pt x="135255" y="91345"/>
                    </a:lnTo>
                    <a:lnTo>
                      <a:pt x="118110" y="83820"/>
                    </a:lnTo>
                    <a:lnTo>
                      <a:pt x="89535" y="87630"/>
                    </a:lnTo>
                    <a:lnTo>
                      <a:pt x="72390" y="80963"/>
                    </a:lnTo>
                    <a:lnTo>
                      <a:pt x="72390" y="70390"/>
                    </a:lnTo>
                    <a:lnTo>
                      <a:pt x="45720" y="70390"/>
                    </a:lnTo>
                    <a:lnTo>
                      <a:pt x="41910" y="80963"/>
                    </a:lnTo>
                    <a:lnTo>
                      <a:pt x="24765" y="809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301E5B7A-B799-7B00-8589-0B8F65F0A89C}"/>
                  </a:ext>
                </a:extLst>
              </p:cNvPr>
              <p:cNvSpPr/>
              <p:nvPr/>
            </p:nvSpPr>
            <p:spPr>
              <a:xfrm>
                <a:off x="6446708" y="3099255"/>
                <a:ext cx="172739" cy="97108"/>
              </a:xfrm>
              <a:custGeom>
                <a:avLst/>
                <a:gdLst>
                  <a:gd name="connsiteX0" fmla="*/ 0 w 176212"/>
                  <a:gd name="connsiteY0" fmla="*/ 53245 h 99060"/>
                  <a:gd name="connsiteX1" fmla="*/ 3810 w 176212"/>
                  <a:gd name="connsiteY1" fmla="*/ 42863 h 99060"/>
                  <a:gd name="connsiteX2" fmla="*/ 14288 w 176212"/>
                  <a:gd name="connsiteY2" fmla="*/ 31337 h 99060"/>
                  <a:gd name="connsiteX3" fmla="*/ 32385 w 176212"/>
                  <a:gd name="connsiteY3" fmla="*/ 24670 h 99060"/>
                  <a:gd name="connsiteX4" fmla="*/ 60007 w 176212"/>
                  <a:gd name="connsiteY4" fmla="*/ 28575 h 99060"/>
                  <a:gd name="connsiteX5" fmla="*/ 67628 w 176212"/>
                  <a:gd name="connsiteY5" fmla="*/ 18098 h 99060"/>
                  <a:gd name="connsiteX6" fmla="*/ 80963 w 176212"/>
                  <a:gd name="connsiteY6" fmla="*/ 18098 h 99060"/>
                  <a:gd name="connsiteX7" fmla="*/ 91440 w 176212"/>
                  <a:gd name="connsiteY7" fmla="*/ 10382 h 99060"/>
                  <a:gd name="connsiteX8" fmla="*/ 109538 w 176212"/>
                  <a:gd name="connsiteY8" fmla="*/ 10382 h 99060"/>
                  <a:gd name="connsiteX9" fmla="*/ 113348 w 176212"/>
                  <a:gd name="connsiteY9" fmla="*/ 6668 h 99060"/>
                  <a:gd name="connsiteX10" fmla="*/ 123825 w 176212"/>
                  <a:gd name="connsiteY10" fmla="*/ 0 h 99060"/>
                  <a:gd name="connsiteX11" fmla="*/ 159068 w 176212"/>
                  <a:gd name="connsiteY11" fmla="*/ 6668 h 99060"/>
                  <a:gd name="connsiteX12" fmla="*/ 169545 w 176212"/>
                  <a:gd name="connsiteY12" fmla="*/ 14288 h 99060"/>
                  <a:gd name="connsiteX13" fmla="*/ 176213 w 176212"/>
                  <a:gd name="connsiteY13" fmla="*/ 24670 h 99060"/>
                  <a:gd name="connsiteX14" fmla="*/ 161925 w 176212"/>
                  <a:gd name="connsiteY14" fmla="*/ 38957 h 99060"/>
                  <a:gd name="connsiteX15" fmla="*/ 144780 w 176212"/>
                  <a:gd name="connsiteY15" fmla="*/ 63818 h 99060"/>
                  <a:gd name="connsiteX16" fmla="*/ 120015 w 176212"/>
                  <a:gd name="connsiteY16" fmla="*/ 88487 h 99060"/>
                  <a:gd name="connsiteX17" fmla="*/ 84773 w 176212"/>
                  <a:gd name="connsiteY17" fmla="*/ 88487 h 99060"/>
                  <a:gd name="connsiteX18" fmla="*/ 70485 w 176212"/>
                  <a:gd name="connsiteY18" fmla="*/ 95250 h 99060"/>
                  <a:gd name="connsiteX19" fmla="*/ 39053 w 176212"/>
                  <a:gd name="connsiteY19" fmla="*/ 99060 h 99060"/>
                  <a:gd name="connsiteX20" fmla="*/ 18098 w 176212"/>
                  <a:gd name="connsiteY20" fmla="*/ 80963 h 99060"/>
                  <a:gd name="connsiteX21" fmla="*/ 3810 w 176212"/>
                  <a:gd name="connsiteY21" fmla="*/ 66675 h 99060"/>
                  <a:gd name="connsiteX22" fmla="*/ 0 w 176212"/>
                  <a:gd name="connsiteY22" fmla="*/ 53245 h 99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6212" h="99060">
                    <a:moveTo>
                      <a:pt x="0" y="53245"/>
                    </a:moveTo>
                    <a:lnTo>
                      <a:pt x="3810" y="42863"/>
                    </a:lnTo>
                    <a:lnTo>
                      <a:pt x="14288" y="31337"/>
                    </a:lnTo>
                    <a:lnTo>
                      <a:pt x="32385" y="24670"/>
                    </a:lnTo>
                    <a:lnTo>
                      <a:pt x="60007" y="28575"/>
                    </a:lnTo>
                    <a:lnTo>
                      <a:pt x="67628" y="18098"/>
                    </a:lnTo>
                    <a:lnTo>
                      <a:pt x="80963" y="18098"/>
                    </a:lnTo>
                    <a:lnTo>
                      <a:pt x="91440" y="10382"/>
                    </a:lnTo>
                    <a:lnTo>
                      <a:pt x="109538" y="10382"/>
                    </a:lnTo>
                    <a:lnTo>
                      <a:pt x="113348" y="6668"/>
                    </a:lnTo>
                    <a:lnTo>
                      <a:pt x="123825" y="0"/>
                    </a:lnTo>
                    <a:lnTo>
                      <a:pt x="159068" y="6668"/>
                    </a:lnTo>
                    <a:lnTo>
                      <a:pt x="169545" y="14288"/>
                    </a:lnTo>
                    <a:lnTo>
                      <a:pt x="176213" y="24670"/>
                    </a:lnTo>
                    <a:lnTo>
                      <a:pt x="161925" y="38957"/>
                    </a:lnTo>
                    <a:lnTo>
                      <a:pt x="144780" y="63818"/>
                    </a:lnTo>
                    <a:lnTo>
                      <a:pt x="120015" y="88487"/>
                    </a:lnTo>
                    <a:lnTo>
                      <a:pt x="84773" y="88487"/>
                    </a:lnTo>
                    <a:lnTo>
                      <a:pt x="70485" y="95250"/>
                    </a:lnTo>
                    <a:lnTo>
                      <a:pt x="39053" y="99060"/>
                    </a:lnTo>
                    <a:lnTo>
                      <a:pt x="18098" y="80963"/>
                    </a:lnTo>
                    <a:lnTo>
                      <a:pt x="3810" y="66675"/>
                    </a:lnTo>
                    <a:lnTo>
                      <a:pt x="0" y="5324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F53AC973-F58D-5088-B26C-4F91D7B8236D}"/>
                  </a:ext>
                </a:extLst>
              </p:cNvPr>
              <p:cNvSpPr/>
              <p:nvPr/>
            </p:nvSpPr>
            <p:spPr>
              <a:xfrm>
                <a:off x="6360805" y="3151451"/>
                <a:ext cx="89638" cy="51355"/>
              </a:xfrm>
              <a:custGeom>
                <a:avLst/>
                <a:gdLst>
                  <a:gd name="connsiteX0" fmla="*/ 17145 w 91440"/>
                  <a:gd name="connsiteY0" fmla="*/ 48673 h 52387"/>
                  <a:gd name="connsiteX1" fmla="*/ 35243 w 91440"/>
                  <a:gd name="connsiteY1" fmla="*/ 52388 h 52387"/>
                  <a:gd name="connsiteX2" fmla="*/ 56198 w 91440"/>
                  <a:gd name="connsiteY2" fmla="*/ 48673 h 52387"/>
                  <a:gd name="connsiteX3" fmla="*/ 66675 w 91440"/>
                  <a:gd name="connsiteY3" fmla="*/ 38100 h 52387"/>
                  <a:gd name="connsiteX4" fmla="*/ 77153 w 91440"/>
                  <a:gd name="connsiteY4" fmla="*/ 27718 h 52387"/>
                  <a:gd name="connsiteX5" fmla="*/ 91440 w 91440"/>
                  <a:gd name="connsiteY5" fmla="*/ 13430 h 52387"/>
                  <a:gd name="connsiteX6" fmla="*/ 87630 w 91440"/>
                  <a:gd name="connsiteY6" fmla="*/ 0 h 52387"/>
                  <a:gd name="connsiteX7" fmla="*/ 77153 w 91440"/>
                  <a:gd name="connsiteY7" fmla="*/ 6667 h 52387"/>
                  <a:gd name="connsiteX8" fmla="*/ 52388 w 91440"/>
                  <a:gd name="connsiteY8" fmla="*/ 17240 h 52387"/>
                  <a:gd name="connsiteX9" fmla="*/ 31433 w 91440"/>
                  <a:gd name="connsiteY9" fmla="*/ 20955 h 52387"/>
                  <a:gd name="connsiteX10" fmla="*/ 14288 w 91440"/>
                  <a:gd name="connsiteY10" fmla="*/ 13430 h 52387"/>
                  <a:gd name="connsiteX11" fmla="*/ 3810 w 91440"/>
                  <a:gd name="connsiteY11" fmla="*/ 27718 h 52387"/>
                  <a:gd name="connsiteX12" fmla="*/ 0 w 91440"/>
                  <a:gd name="connsiteY12" fmla="*/ 42005 h 52387"/>
                  <a:gd name="connsiteX13" fmla="*/ 17145 w 91440"/>
                  <a:gd name="connsiteY13" fmla="*/ 48673 h 5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1440" h="52387">
                    <a:moveTo>
                      <a:pt x="17145" y="48673"/>
                    </a:moveTo>
                    <a:lnTo>
                      <a:pt x="35243" y="52388"/>
                    </a:lnTo>
                    <a:lnTo>
                      <a:pt x="56198" y="48673"/>
                    </a:lnTo>
                    <a:lnTo>
                      <a:pt x="66675" y="38100"/>
                    </a:lnTo>
                    <a:lnTo>
                      <a:pt x="77153" y="27718"/>
                    </a:lnTo>
                    <a:lnTo>
                      <a:pt x="91440" y="13430"/>
                    </a:lnTo>
                    <a:lnTo>
                      <a:pt x="87630" y="0"/>
                    </a:lnTo>
                    <a:lnTo>
                      <a:pt x="77153" y="6667"/>
                    </a:lnTo>
                    <a:lnTo>
                      <a:pt x="52388" y="17240"/>
                    </a:lnTo>
                    <a:lnTo>
                      <a:pt x="31433" y="20955"/>
                    </a:lnTo>
                    <a:lnTo>
                      <a:pt x="14288" y="13430"/>
                    </a:lnTo>
                    <a:lnTo>
                      <a:pt x="3810" y="27718"/>
                    </a:lnTo>
                    <a:lnTo>
                      <a:pt x="0" y="42005"/>
                    </a:lnTo>
                    <a:lnTo>
                      <a:pt x="17145" y="4867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7B977E2C-1C66-8242-5091-D6880EB8BB03}"/>
                  </a:ext>
                </a:extLst>
              </p:cNvPr>
              <p:cNvSpPr/>
              <p:nvPr/>
            </p:nvSpPr>
            <p:spPr>
              <a:xfrm>
                <a:off x="6371077" y="3164616"/>
                <a:ext cx="154997" cy="127921"/>
              </a:xfrm>
              <a:custGeom>
                <a:avLst/>
                <a:gdLst>
                  <a:gd name="connsiteX0" fmla="*/ 147638 w 158114"/>
                  <a:gd name="connsiteY0" fmla="*/ 28575 h 130492"/>
                  <a:gd name="connsiteX1" fmla="*/ 151447 w 158114"/>
                  <a:gd name="connsiteY1" fmla="*/ 42863 h 130492"/>
                  <a:gd name="connsiteX2" fmla="*/ 158115 w 158114"/>
                  <a:gd name="connsiteY2" fmla="*/ 53245 h 130492"/>
                  <a:gd name="connsiteX3" fmla="*/ 151447 w 158114"/>
                  <a:gd name="connsiteY3" fmla="*/ 59912 h 130492"/>
                  <a:gd name="connsiteX4" fmla="*/ 122872 w 158114"/>
                  <a:gd name="connsiteY4" fmla="*/ 57150 h 130492"/>
                  <a:gd name="connsiteX5" fmla="*/ 95250 w 158114"/>
                  <a:gd name="connsiteY5" fmla="*/ 53245 h 130492"/>
                  <a:gd name="connsiteX6" fmla="*/ 84772 w 158114"/>
                  <a:gd name="connsiteY6" fmla="*/ 49530 h 130492"/>
                  <a:gd name="connsiteX7" fmla="*/ 62865 w 158114"/>
                  <a:gd name="connsiteY7" fmla="*/ 53245 h 130492"/>
                  <a:gd name="connsiteX8" fmla="*/ 66675 w 158114"/>
                  <a:gd name="connsiteY8" fmla="*/ 67532 h 130492"/>
                  <a:gd name="connsiteX9" fmla="*/ 74295 w 158114"/>
                  <a:gd name="connsiteY9" fmla="*/ 88487 h 130492"/>
                  <a:gd name="connsiteX10" fmla="*/ 80963 w 158114"/>
                  <a:gd name="connsiteY10" fmla="*/ 99060 h 130492"/>
                  <a:gd name="connsiteX11" fmla="*/ 98107 w 158114"/>
                  <a:gd name="connsiteY11" fmla="*/ 113348 h 130492"/>
                  <a:gd name="connsiteX12" fmla="*/ 109538 w 158114"/>
                  <a:gd name="connsiteY12" fmla="*/ 119920 h 130492"/>
                  <a:gd name="connsiteX13" fmla="*/ 105727 w 158114"/>
                  <a:gd name="connsiteY13" fmla="*/ 130493 h 130492"/>
                  <a:gd name="connsiteX14" fmla="*/ 84772 w 158114"/>
                  <a:gd name="connsiteY14" fmla="*/ 113348 h 130492"/>
                  <a:gd name="connsiteX15" fmla="*/ 62865 w 158114"/>
                  <a:gd name="connsiteY15" fmla="*/ 99060 h 130492"/>
                  <a:gd name="connsiteX16" fmla="*/ 49530 w 158114"/>
                  <a:gd name="connsiteY16" fmla="*/ 84773 h 130492"/>
                  <a:gd name="connsiteX17" fmla="*/ 41910 w 158114"/>
                  <a:gd name="connsiteY17" fmla="*/ 70485 h 130492"/>
                  <a:gd name="connsiteX18" fmla="*/ 39052 w 158114"/>
                  <a:gd name="connsiteY18" fmla="*/ 57150 h 130492"/>
                  <a:gd name="connsiteX19" fmla="*/ 27622 w 158114"/>
                  <a:gd name="connsiteY19" fmla="*/ 57150 h 130492"/>
                  <a:gd name="connsiteX20" fmla="*/ 14288 w 158114"/>
                  <a:gd name="connsiteY20" fmla="*/ 63818 h 130492"/>
                  <a:gd name="connsiteX21" fmla="*/ 0 w 158114"/>
                  <a:gd name="connsiteY21" fmla="*/ 57150 h 130492"/>
                  <a:gd name="connsiteX22" fmla="*/ 0 w 158114"/>
                  <a:gd name="connsiteY22" fmla="*/ 42863 h 130492"/>
                  <a:gd name="connsiteX23" fmla="*/ 6668 w 158114"/>
                  <a:gd name="connsiteY23" fmla="*/ 35243 h 130492"/>
                  <a:gd name="connsiteX24" fmla="*/ 14288 w 158114"/>
                  <a:gd name="connsiteY24" fmla="*/ 38957 h 130492"/>
                  <a:gd name="connsiteX25" fmla="*/ 24765 w 158114"/>
                  <a:gd name="connsiteY25" fmla="*/ 38957 h 130492"/>
                  <a:gd name="connsiteX26" fmla="*/ 45720 w 158114"/>
                  <a:gd name="connsiteY26" fmla="*/ 35243 h 130492"/>
                  <a:gd name="connsiteX27" fmla="*/ 56197 w 158114"/>
                  <a:gd name="connsiteY27" fmla="*/ 24670 h 130492"/>
                  <a:gd name="connsiteX28" fmla="*/ 66675 w 158114"/>
                  <a:gd name="connsiteY28" fmla="*/ 14288 h 130492"/>
                  <a:gd name="connsiteX29" fmla="*/ 80963 w 158114"/>
                  <a:gd name="connsiteY29" fmla="*/ 0 h 130492"/>
                  <a:gd name="connsiteX30" fmla="*/ 95250 w 158114"/>
                  <a:gd name="connsiteY30" fmla="*/ 14288 h 130492"/>
                  <a:gd name="connsiteX31" fmla="*/ 116205 w 158114"/>
                  <a:gd name="connsiteY31" fmla="*/ 32385 h 130492"/>
                  <a:gd name="connsiteX32" fmla="*/ 130493 w 158114"/>
                  <a:gd name="connsiteY32" fmla="*/ 32385 h 130492"/>
                  <a:gd name="connsiteX33" fmla="*/ 147638 w 158114"/>
                  <a:gd name="connsiteY33" fmla="*/ 28575 h 13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58114" h="130492">
                    <a:moveTo>
                      <a:pt x="147638" y="28575"/>
                    </a:moveTo>
                    <a:lnTo>
                      <a:pt x="151447" y="42863"/>
                    </a:lnTo>
                    <a:lnTo>
                      <a:pt x="158115" y="53245"/>
                    </a:lnTo>
                    <a:lnTo>
                      <a:pt x="151447" y="59912"/>
                    </a:lnTo>
                    <a:lnTo>
                      <a:pt x="122872" y="57150"/>
                    </a:lnTo>
                    <a:lnTo>
                      <a:pt x="95250" y="53245"/>
                    </a:lnTo>
                    <a:lnTo>
                      <a:pt x="84772" y="49530"/>
                    </a:lnTo>
                    <a:lnTo>
                      <a:pt x="62865" y="53245"/>
                    </a:lnTo>
                    <a:lnTo>
                      <a:pt x="66675" y="67532"/>
                    </a:lnTo>
                    <a:lnTo>
                      <a:pt x="74295" y="88487"/>
                    </a:lnTo>
                    <a:lnTo>
                      <a:pt x="80963" y="99060"/>
                    </a:lnTo>
                    <a:lnTo>
                      <a:pt x="98107" y="113348"/>
                    </a:lnTo>
                    <a:lnTo>
                      <a:pt x="109538" y="119920"/>
                    </a:lnTo>
                    <a:lnTo>
                      <a:pt x="105727" y="130493"/>
                    </a:lnTo>
                    <a:lnTo>
                      <a:pt x="84772" y="113348"/>
                    </a:lnTo>
                    <a:lnTo>
                      <a:pt x="62865" y="99060"/>
                    </a:lnTo>
                    <a:lnTo>
                      <a:pt x="49530" y="84773"/>
                    </a:lnTo>
                    <a:lnTo>
                      <a:pt x="41910" y="70485"/>
                    </a:lnTo>
                    <a:lnTo>
                      <a:pt x="39052" y="57150"/>
                    </a:lnTo>
                    <a:lnTo>
                      <a:pt x="27622" y="57150"/>
                    </a:lnTo>
                    <a:lnTo>
                      <a:pt x="14288" y="63818"/>
                    </a:lnTo>
                    <a:lnTo>
                      <a:pt x="0" y="57150"/>
                    </a:lnTo>
                    <a:lnTo>
                      <a:pt x="0" y="42863"/>
                    </a:lnTo>
                    <a:lnTo>
                      <a:pt x="6668" y="35243"/>
                    </a:lnTo>
                    <a:lnTo>
                      <a:pt x="14288" y="38957"/>
                    </a:lnTo>
                    <a:lnTo>
                      <a:pt x="24765" y="38957"/>
                    </a:lnTo>
                    <a:lnTo>
                      <a:pt x="45720" y="35243"/>
                    </a:lnTo>
                    <a:lnTo>
                      <a:pt x="56197" y="24670"/>
                    </a:lnTo>
                    <a:lnTo>
                      <a:pt x="66675" y="14288"/>
                    </a:lnTo>
                    <a:lnTo>
                      <a:pt x="80963" y="0"/>
                    </a:lnTo>
                    <a:lnTo>
                      <a:pt x="95250" y="14288"/>
                    </a:lnTo>
                    <a:lnTo>
                      <a:pt x="116205" y="32385"/>
                    </a:lnTo>
                    <a:lnTo>
                      <a:pt x="130493" y="32385"/>
                    </a:lnTo>
                    <a:lnTo>
                      <a:pt x="147638" y="2857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2EB203ED-92A7-5BBC-B8E0-B12D967B2B5B}"/>
                  </a:ext>
                </a:extLst>
              </p:cNvPr>
              <p:cNvSpPr/>
              <p:nvPr/>
            </p:nvSpPr>
            <p:spPr>
              <a:xfrm>
                <a:off x="6371077" y="3164616"/>
                <a:ext cx="154997" cy="127921"/>
              </a:xfrm>
              <a:custGeom>
                <a:avLst/>
                <a:gdLst>
                  <a:gd name="connsiteX0" fmla="*/ 147638 w 158114"/>
                  <a:gd name="connsiteY0" fmla="*/ 28575 h 130492"/>
                  <a:gd name="connsiteX1" fmla="*/ 151447 w 158114"/>
                  <a:gd name="connsiteY1" fmla="*/ 42863 h 130492"/>
                  <a:gd name="connsiteX2" fmla="*/ 158115 w 158114"/>
                  <a:gd name="connsiteY2" fmla="*/ 53245 h 130492"/>
                  <a:gd name="connsiteX3" fmla="*/ 151447 w 158114"/>
                  <a:gd name="connsiteY3" fmla="*/ 59912 h 130492"/>
                  <a:gd name="connsiteX4" fmla="*/ 122872 w 158114"/>
                  <a:gd name="connsiteY4" fmla="*/ 57150 h 130492"/>
                  <a:gd name="connsiteX5" fmla="*/ 95250 w 158114"/>
                  <a:gd name="connsiteY5" fmla="*/ 53245 h 130492"/>
                  <a:gd name="connsiteX6" fmla="*/ 84772 w 158114"/>
                  <a:gd name="connsiteY6" fmla="*/ 49530 h 130492"/>
                  <a:gd name="connsiteX7" fmla="*/ 62865 w 158114"/>
                  <a:gd name="connsiteY7" fmla="*/ 53245 h 130492"/>
                  <a:gd name="connsiteX8" fmla="*/ 66675 w 158114"/>
                  <a:gd name="connsiteY8" fmla="*/ 67532 h 130492"/>
                  <a:gd name="connsiteX9" fmla="*/ 74295 w 158114"/>
                  <a:gd name="connsiteY9" fmla="*/ 88487 h 130492"/>
                  <a:gd name="connsiteX10" fmla="*/ 80963 w 158114"/>
                  <a:gd name="connsiteY10" fmla="*/ 99060 h 130492"/>
                  <a:gd name="connsiteX11" fmla="*/ 98107 w 158114"/>
                  <a:gd name="connsiteY11" fmla="*/ 113348 h 130492"/>
                  <a:gd name="connsiteX12" fmla="*/ 109538 w 158114"/>
                  <a:gd name="connsiteY12" fmla="*/ 119920 h 130492"/>
                  <a:gd name="connsiteX13" fmla="*/ 105727 w 158114"/>
                  <a:gd name="connsiteY13" fmla="*/ 130493 h 130492"/>
                  <a:gd name="connsiteX14" fmla="*/ 84772 w 158114"/>
                  <a:gd name="connsiteY14" fmla="*/ 113348 h 130492"/>
                  <a:gd name="connsiteX15" fmla="*/ 62865 w 158114"/>
                  <a:gd name="connsiteY15" fmla="*/ 99060 h 130492"/>
                  <a:gd name="connsiteX16" fmla="*/ 49530 w 158114"/>
                  <a:gd name="connsiteY16" fmla="*/ 84773 h 130492"/>
                  <a:gd name="connsiteX17" fmla="*/ 41910 w 158114"/>
                  <a:gd name="connsiteY17" fmla="*/ 70485 h 130492"/>
                  <a:gd name="connsiteX18" fmla="*/ 39052 w 158114"/>
                  <a:gd name="connsiteY18" fmla="*/ 57150 h 130492"/>
                  <a:gd name="connsiteX19" fmla="*/ 27622 w 158114"/>
                  <a:gd name="connsiteY19" fmla="*/ 57150 h 130492"/>
                  <a:gd name="connsiteX20" fmla="*/ 14288 w 158114"/>
                  <a:gd name="connsiteY20" fmla="*/ 63818 h 130492"/>
                  <a:gd name="connsiteX21" fmla="*/ 0 w 158114"/>
                  <a:gd name="connsiteY21" fmla="*/ 57150 h 130492"/>
                  <a:gd name="connsiteX22" fmla="*/ 0 w 158114"/>
                  <a:gd name="connsiteY22" fmla="*/ 42863 h 130492"/>
                  <a:gd name="connsiteX23" fmla="*/ 6668 w 158114"/>
                  <a:gd name="connsiteY23" fmla="*/ 35243 h 130492"/>
                  <a:gd name="connsiteX24" fmla="*/ 14288 w 158114"/>
                  <a:gd name="connsiteY24" fmla="*/ 38957 h 130492"/>
                  <a:gd name="connsiteX25" fmla="*/ 24765 w 158114"/>
                  <a:gd name="connsiteY25" fmla="*/ 38957 h 130492"/>
                  <a:gd name="connsiteX26" fmla="*/ 45720 w 158114"/>
                  <a:gd name="connsiteY26" fmla="*/ 35243 h 130492"/>
                  <a:gd name="connsiteX27" fmla="*/ 56197 w 158114"/>
                  <a:gd name="connsiteY27" fmla="*/ 24670 h 130492"/>
                  <a:gd name="connsiteX28" fmla="*/ 66675 w 158114"/>
                  <a:gd name="connsiteY28" fmla="*/ 14288 h 130492"/>
                  <a:gd name="connsiteX29" fmla="*/ 80963 w 158114"/>
                  <a:gd name="connsiteY29" fmla="*/ 0 h 130492"/>
                  <a:gd name="connsiteX30" fmla="*/ 95250 w 158114"/>
                  <a:gd name="connsiteY30" fmla="*/ 14288 h 130492"/>
                  <a:gd name="connsiteX31" fmla="*/ 116205 w 158114"/>
                  <a:gd name="connsiteY31" fmla="*/ 32385 h 130492"/>
                  <a:gd name="connsiteX32" fmla="*/ 130493 w 158114"/>
                  <a:gd name="connsiteY32" fmla="*/ 32385 h 130492"/>
                  <a:gd name="connsiteX33" fmla="*/ 147638 w 158114"/>
                  <a:gd name="connsiteY33" fmla="*/ 28575 h 13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58114" h="130492">
                    <a:moveTo>
                      <a:pt x="147638" y="28575"/>
                    </a:moveTo>
                    <a:lnTo>
                      <a:pt x="151447" y="42863"/>
                    </a:lnTo>
                    <a:lnTo>
                      <a:pt x="158115" y="53245"/>
                    </a:lnTo>
                    <a:lnTo>
                      <a:pt x="151447" y="59912"/>
                    </a:lnTo>
                    <a:lnTo>
                      <a:pt x="122872" y="57150"/>
                    </a:lnTo>
                    <a:lnTo>
                      <a:pt x="95250" y="53245"/>
                    </a:lnTo>
                    <a:lnTo>
                      <a:pt x="84772" y="49530"/>
                    </a:lnTo>
                    <a:lnTo>
                      <a:pt x="62865" y="53245"/>
                    </a:lnTo>
                    <a:lnTo>
                      <a:pt x="66675" y="67532"/>
                    </a:lnTo>
                    <a:lnTo>
                      <a:pt x="74295" y="88487"/>
                    </a:lnTo>
                    <a:lnTo>
                      <a:pt x="80963" y="99060"/>
                    </a:lnTo>
                    <a:lnTo>
                      <a:pt x="98107" y="113348"/>
                    </a:lnTo>
                    <a:lnTo>
                      <a:pt x="109538" y="119920"/>
                    </a:lnTo>
                    <a:lnTo>
                      <a:pt x="105727" y="130493"/>
                    </a:lnTo>
                    <a:lnTo>
                      <a:pt x="84772" y="113348"/>
                    </a:lnTo>
                    <a:lnTo>
                      <a:pt x="62865" y="99060"/>
                    </a:lnTo>
                    <a:lnTo>
                      <a:pt x="49530" y="84773"/>
                    </a:lnTo>
                    <a:lnTo>
                      <a:pt x="41910" y="70485"/>
                    </a:lnTo>
                    <a:lnTo>
                      <a:pt x="39052" y="57150"/>
                    </a:lnTo>
                    <a:lnTo>
                      <a:pt x="27622" y="57150"/>
                    </a:lnTo>
                    <a:lnTo>
                      <a:pt x="14288" y="63818"/>
                    </a:lnTo>
                    <a:lnTo>
                      <a:pt x="0" y="57150"/>
                    </a:lnTo>
                    <a:lnTo>
                      <a:pt x="0" y="42863"/>
                    </a:lnTo>
                    <a:lnTo>
                      <a:pt x="6668" y="35243"/>
                    </a:lnTo>
                    <a:lnTo>
                      <a:pt x="14288" y="38957"/>
                    </a:lnTo>
                    <a:lnTo>
                      <a:pt x="24765" y="38957"/>
                    </a:lnTo>
                    <a:lnTo>
                      <a:pt x="45720" y="35243"/>
                    </a:lnTo>
                    <a:lnTo>
                      <a:pt x="56197" y="24670"/>
                    </a:lnTo>
                    <a:lnTo>
                      <a:pt x="66675" y="14288"/>
                    </a:lnTo>
                    <a:lnTo>
                      <a:pt x="80963" y="0"/>
                    </a:lnTo>
                    <a:lnTo>
                      <a:pt x="95250" y="14288"/>
                    </a:lnTo>
                    <a:lnTo>
                      <a:pt x="116205" y="32385"/>
                    </a:lnTo>
                    <a:lnTo>
                      <a:pt x="130493" y="32385"/>
                    </a:lnTo>
                    <a:lnTo>
                      <a:pt x="147638" y="2857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6F4A7371-1574-C1A7-9241-8537684445F6}"/>
                  </a:ext>
                </a:extLst>
              </p:cNvPr>
              <p:cNvSpPr/>
              <p:nvPr/>
            </p:nvSpPr>
            <p:spPr>
              <a:xfrm>
                <a:off x="6432702" y="3213170"/>
                <a:ext cx="103643" cy="90572"/>
              </a:xfrm>
              <a:custGeom>
                <a:avLst/>
                <a:gdLst>
                  <a:gd name="connsiteX0" fmla="*/ 0 w 105727"/>
                  <a:gd name="connsiteY0" fmla="*/ 3715 h 92392"/>
                  <a:gd name="connsiteX1" fmla="*/ 21907 w 105727"/>
                  <a:gd name="connsiteY1" fmla="*/ 0 h 92392"/>
                  <a:gd name="connsiteX2" fmla="*/ 46673 w 105727"/>
                  <a:gd name="connsiteY2" fmla="*/ 3715 h 92392"/>
                  <a:gd name="connsiteX3" fmla="*/ 88582 w 105727"/>
                  <a:gd name="connsiteY3" fmla="*/ 10382 h 92392"/>
                  <a:gd name="connsiteX4" fmla="*/ 99060 w 105727"/>
                  <a:gd name="connsiteY4" fmla="*/ 10382 h 92392"/>
                  <a:gd name="connsiteX5" fmla="*/ 102870 w 105727"/>
                  <a:gd name="connsiteY5" fmla="*/ 24670 h 92392"/>
                  <a:gd name="connsiteX6" fmla="*/ 95250 w 105727"/>
                  <a:gd name="connsiteY6" fmla="*/ 32290 h 92392"/>
                  <a:gd name="connsiteX7" fmla="*/ 105728 w 105727"/>
                  <a:gd name="connsiteY7" fmla="*/ 45720 h 92392"/>
                  <a:gd name="connsiteX8" fmla="*/ 92393 w 105727"/>
                  <a:gd name="connsiteY8" fmla="*/ 56102 h 92392"/>
                  <a:gd name="connsiteX9" fmla="*/ 88582 w 105727"/>
                  <a:gd name="connsiteY9" fmla="*/ 70390 h 92392"/>
                  <a:gd name="connsiteX10" fmla="*/ 78105 w 105727"/>
                  <a:gd name="connsiteY10" fmla="*/ 70390 h 92392"/>
                  <a:gd name="connsiteX11" fmla="*/ 74295 w 105727"/>
                  <a:gd name="connsiteY11" fmla="*/ 92392 h 92392"/>
                  <a:gd name="connsiteX12" fmla="*/ 60007 w 105727"/>
                  <a:gd name="connsiteY12" fmla="*/ 80963 h 92392"/>
                  <a:gd name="connsiteX13" fmla="*/ 46673 w 105727"/>
                  <a:gd name="connsiteY13" fmla="*/ 70390 h 92392"/>
                  <a:gd name="connsiteX14" fmla="*/ 28575 w 105727"/>
                  <a:gd name="connsiteY14" fmla="*/ 56102 h 92392"/>
                  <a:gd name="connsiteX15" fmla="*/ 18098 w 105727"/>
                  <a:gd name="connsiteY15" fmla="*/ 49530 h 92392"/>
                  <a:gd name="connsiteX16" fmla="*/ 11430 w 105727"/>
                  <a:gd name="connsiteY16" fmla="*/ 38957 h 92392"/>
                  <a:gd name="connsiteX17" fmla="*/ 3810 w 105727"/>
                  <a:gd name="connsiteY17" fmla="*/ 18002 h 92392"/>
                  <a:gd name="connsiteX18" fmla="*/ 0 w 105727"/>
                  <a:gd name="connsiteY18" fmla="*/ 3715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5727" h="92392">
                    <a:moveTo>
                      <a:pt x="0" y="3715"/>
                    </a:moveTo>
                    <a:lnTo>
                      <a:pt x="21907" y="0"/>
                    </a:lnTo>
                    <a:lnTo>
                      <a:pt x="46673" y="3715"/>
                    </a:lnTo>
                    <a:lnTo>
                      <a:pt x="88582" y="10382"/>
                    </a:lnTo>
                    <a:lnTo>
                      <a:pt x="99060" y="10382"/>
                    </a:lnTo>
                    <a:lnTo>
                      <a:pt x="102870" y="24670"/>
                    </a:lnTo>
                    <a:lnTo>
                      <a:pt x="95250" y="32290"/>
                    </a:lnTo>
                    <a:lnTo>
                      <a:pt x="105728" y="45720"/>
                    </a:lnTo>
                    <a:lnTo>
                      <a:pt x="92393" y="56102"/>
                    </a:lnTo>
                    <a:lnTo>
                      <a:pt x="88582" y="70390"/>
                    </a:lnTo>
                    <a:lnTo>
                      <a:pt x="78105" y="70390"/>
                    </a:lnTo>
                    <a:lnTo>
                      <a:pt x="74295" y="92392"/>
                    </a:lnTo>
                    <a:lnTo>
                      <a:pt x="60007" y="80963"/>
                    </a:lnTo>
                    <a:lnTo>
                      <a:pt x="46673" y="70390"/>
                    </a:lnTo>
                    <a:lnTo>
                      <a:pt x="28575" y="56102"/>
                    </a:lnTo>
                    <a:lnTo>
                      <a:pt x="18098" y="49530"/>
                    </a:lnTo>
                    <a:lnTo>
                      <a:pt x="11430" y="38957"/>
                    </a:lnTo>
                    <a:lnTo>
                      <a:pt x="3810" y="18002"/>
                    </a:lnTo>
                    <a:lnTo>
                      <a:pt x="0" y="371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BD36D866-E9A4-98BD-C931-3997C1A1D94C}"/>
                  </a:ext>
                </a:extLst>
              </p:cNvPr>
              <p:cNvSpPr/>
              <p:nvPr/>
            </p:nvSpPr>
            <p:spPr>
              <a:xfrm>
                <a:off x="6505533" y="3185998"/>
                <a:ext cx="121384" cy="134551"/>
              </a:xfrm>
              <a:custGeom>
                <a:avLst/>
                <a:gdLst>
                  <a:gd name="connsiteX0" fmla="*/ 24765 w 123825"/>
                  <a:gd name="connsiteY0" fmla="*/ 137255 h 137255"/>
                  <a:gd name="connsiteX1" fmla="*/ 10478 w 123825"/>
                  <a:gd name="connsiteY1" fmla="*/ 126683 h 137255"/>
                  <a:gd name="connsiteX2" fmla="*/ 0 w 123825"/>
                  <a:gd name="connsiteY2" fmla="*/ 120110 h 137255"/>
                  <a:gd name="connsiteX3" fmla="*/ 3810 w 123825"/>
                  <a:gd name="connsiteY3" fmla="*/ 98108 h 137255"/>
                  <a:gd name="connsiteX4" fmla="*/ 14288 w 123825"/>
                  <a:gd name="connsiteY4" fmla="*/ 98108 h 137255"/>
                  <a:gd name="connsiteX5" fmla="*/ 18098 w 123825"/>
                  <a:gd name="connsiteY5" fmla="*/ 83820 h 137255"/>
                  <a:gd name="connsiteX6" fmla="*/ 31433 w 123825"/>
                  <a:gd name="connsiteY6" fmla="*/ 73438 h 137255"/>
                  <a:gd name="connsiteX7" fmla="*/ 20955 w 123825"/>
                  <a:gd name="connsiteY7" fmla="*/ 60008 h 137255"/>
                  <a:gd name="connsiteX8" fmla="*/ 28575 w 123825"/>
                  <a:gd name="connsiteY8" fmla="*/ 52388 h 137255"/>
                  <a:gd name="connsiteX9" fmla="*/ 24765 w 123825"/>
                  <a:gd name="connsiteY9" fmla="*/ 38100 h 137255"/>
                  <a:gd name="connsiteX10" fmla="*/ 14288 w 123825"/>
                  <a:gd name="connsiteY10" fmla="*/ 38100 h 137255"/>
                  <a:gd name="connsiteX11" fmla="*/ 20955 w 123825"/>
                  <a:gd name="connsiteY11" fmla="*/ 31433 h 137255"/>
                  <a:gd name="connsiteX12" fmla="*/ 10478 w 123825"/>
                  <a:gd name="connsiteY12" fmla="*/ 6763 h 137255"/>
                  <a:gd name="connsiteX13" fmla="*/ 24765 w 123825"/>
                  <a:gd name="connsiteY13" fmla="*/ 0 h 137255"/>
                  <a:gd name="connsiteX14" fmla="*/ 60008 w 123825"/>
                  <a:gd name="connsiteY14" fmla="*/ 0 h 137255"/>
                  <a:gd name="connsiteX15" fmla="*/ 63818 w 123825"/>
                  <a:gd name="connsiteY15" fmla="*/ 13430 h 137255"/>
                  <a:gd name="connsiteX16" fmla="*/ 74295 w 123825"/>
                  <a:gd name="connsiteY16" fmla="*/ 27718 h 137255"/>
                  <a:gd name="connsiteX17" fmla="*/ 88583 w 123825"/>
                  <a:gd name="connsiteY17" fmla="*/ 48673 h 137255"/>
                  <a:gd name="connsiteX18" fmla="*/ 116205 w 123825"/>
                  <a:gd name="connsiteY18" fmla="*/ 52388 h 137255"/>
                  <a:gd name="connsiteX19" fmla="*/ 116205 w 123825"/>
                  <a:gd name="connsiteY19" fmla="*/ 70580 h 137255"/>
                  <a:gd name="connsiteX20" fmla="*/ 105728 w 123825"/>
                  <a:gd name="connsiteY20" fmla="*/ 77248 h 137255"/>
                  <a:gd name="connsiteX21" fmla="*/ 116205 w 123825"/>
                  <a:gd name="connsiteY21" fmla="*/ 91535 h 137255"/>
                  <a:gd name="connsiteX22" fmla="*/ 123825 w 123825"/>
                  <a:gd name="connsiteY22" fmla="*/ 102013 h 137255"/>
                  <a:gd name="connsiteX23" fmla="*/ 112395 w 123825"/>
                  <a:gd name="connsiteY23" fmla="*/ 122968 h 137255"/>
                  <a:gd name="connsiteX24" fmla="*/ 95250 w 123825"/>
                  <a:gd name="connsiteY24" fmla="*/ 126683 h 137255"/>
                  <a:gd name="connsiteX25" fmla="*/ 77153 w 123825"/>
                  <a:gd name="connsiteY25" fmla="*/ 133350 h 137255"/>
                  <a:gd name="connsiteX26" fmla="*/ 63818 w 123825"/>
                  <a:gd name="connsiteY26" fmla="*/ 133350 h 137255"/>
                  <a:gd name="connsiteX27" fmla="*/ 49530 w 123825"/>
                  <a:gd name="connsiteY27" fmla="*/ 122968 h 137255"/>
                  <a:gd name="connsiteX28" fmla="*/ 35243 w 123825"/>
                  <a:gd name="connsiteY28" fmla="*/ 120110 h 137255"/>
                  <a:gd name="connsiteX29" fmla="*/ 28575 w 123825"/>
                  <a:gd name="connsiteY29" fmla="*/ 126683 h 137255"/>
                  <a:gd name="connsiteX30" fmla="*/ 24765 w 123825"/>
                  <a:gd name="connsiteY30" fmla="*/ 137255 h 137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23825" h="137255">
                    <a:moveTo>
                      <a:pt x="24765" y="137255"/>
                    </a:moveTo>
                    <a:lnTo>
                      <a:pt x="10478" y="126683"/>
                    </a:lnTo>
                    <a:lnTo>
                      <a:pt x="0" y="120110"/>
                    </a:lnTo>
                    <a:lnTo>
                      <a:pt x="3810" y="98108"/>
                    </a:lnTo>
                    <a:lnTo>
                      <a:pt x="14288" y="98108"/>
                    </a:lnTo>
                    <a:lnTo>
                      <a:pt x="18098" y="83820"/>
                    </a:lnTo>
                    <a:lnTo>
                      <a:pt x="31433" y="73438"/>
                    </a:lnTo>
                    <a:lnTo>
                      <a:pt x="20955" y="60008"/>
                    </a:lnTo>
                    <a:lnTo>
                      <a:pt x="28575" y="52388"/>
                    </a:lnTo>
                    <a:lnTo>
                      <a:pt x="24765" y="38100"/>
                    </a:lnTo>
                    <a:lnTo>
                      <a:pt x="14288" y="38100"/>
                    </a:lnTo>
                    <a:lnTo>
                      <a:pt x="20955" y="31433"/>
                    </a:lnTo>
                    <a:lnTo>
                      <a:pt x="10478" y="6763"/>
                    </a:lnTo>
                    <a:lnTo>
                      <a:pt x="24765" y="0"/>
                    </a:lnTo>
                    <a:lnTo>
                      <a:pt x="60008" y="0"/>
                    </a:lnTo>
                    <a:lnTo>
                      <a:pt x="63818" y="13430"/>
                    </a:lnTo>
                    <a:lnTo>
                      <a:pt x="74295" y="27718"/>
                    </a:lnTo>
                    <a:lnTo>
                      <a:pt x="88583" y="48673"/>
                    </a:lnTo>
                    <a:lnTo>
                      <a:pt x="116205" y="52388"/>
                    </a:lnTo>
                    <a:lnTo>
                      <a:pt x="116205" y="70580"/>
                    </a:lnTo>
                    <a:lnTo>
                      <a:pt x="105728" y="77248"/>
                    </a:lnTo>
                    <a:lnTo>
                      <a:pt x="116205" y="91535"/>
                    </a:lnTo>
                    <a:lnTo>
                      <a:pt x="123825" y="102013"/>
                    </a:lnTo>
                    <a:lnTo>
                      <a:pt x="112395" y="122968"/>
                    </a:lnTo>
                    <a:lnTo>
                      <a:pt x="95250" y="126683"/>
                    </a:lnTo>
                    <a:lnTo>
                      <a:pt x="77153" y="133350"/>
                    </a:lnTo>
                    <a:lnTo>
                      <a:pt x="63818" y="133350"/>
                    </a:lnTo>
                    <a:lnTo>
                      <a:pt x="49530" y="122968"/>
                    </a:lnTo>
                    <a:lnTo>
                      <a:pt x="35243" y="120110"/>
                    </a:lnTo>
                    <a:lnTo>
                      <a:pt x="28575" y="126683"/>
                    </a:lnTo>
                    <a:lnTo>
                      <a:pt x="24765" y="13725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63FD3914-FA51-40B0-B982-F8C03419F8CC}"/>
                  </a:ext>
                </a:extLst>
              </p:cNvPr>
              <p:cNvSpPr/>
              <p:nvPr/>
            </p:nvSpPr>
            <p:spPr>
              <a:xfrm>
                <a:off x="6564358" y="3306543"/>
                <a:ext cx="69095" cy="54997"/>
              </a:xfrm>
              <a:custGeom>
                <a:avLst/>
                <a:gdLst>
                  <a:gd name="connsiteX0" fmla="*/ 52388 w 70484"/>
                  <a:gd name="connsiteY0" fmla="*/ 0 h 56102"/>
                  <a:gd name="connsiteX1" fmla="*/ 56197 w 70484"/>
                  <a:gd name="connsiteY1" fmla="*/ 14288 h 56102"/>
                  <a:gd name="connsiteX2" fmla="*/ 66675 w 70484"/>
                  <a:gd name="connsiteY2" fmla="*/ 24670 h 56102"/>
                  <a:gd name="connsiteX3" fmla="*/ 70485 w 70484"/>
                  <a:gd name="connsiteY3" fmla="*/ 35242 h 56102"/>
                  <a:gd name="connsiteX4" fmla="*/ 56197 w 70484"/>
                  <a:gd name="connsiteY4" fmla="*/ 45720 h 56102"/>
                  <a:gd name="connsiteX5" fmla="*/ 35242 w 70484"/>
                  <a:gd name="connsiteY5" fmla="*/ 49530 h 56102"/>
                  <a:gd name="connsiteX6" fmla="*/ 10477 w 70484"/>
                  <a:gd name="connsiteY6" fmla="*/ 56102 h 56102"/>
                  <a:gd name="connsiteX7" fmla="*/ 0 w 70484"/>
                  <a:gd name="connsiteY7" fmla="*/ 35242 h 56102"/>
                  <a:gd name="connsiteX8" fmla="*/ 3810 w 70484"/>
                  <a:gd name="connsiteY8" fmla="*/ 10382 h 56102"/>
                  <a:gd name="connsiteX9" fmla="*/ 17145 w 70484"/>
                  <a:gd name="connsiteY9" fmla="*/ 10382 h 56102"/>
                  <a:gd name="connsiteX10" fmla="*/ 35242 w 70484"/>
                  <a:gd name="connsiteY10" fmla="*/ 3715 h 56102"/>
                  <a:gd name="connsiteX11" fmla="*/ 52388 w 70484"/>
                  <a:gd name="connsiteY11" fmla="*/ 0 h 56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0484" h="56102">
                    <a:moveTo>
                      <a:pt x="52388" y="0"/>
                    </a:moveTo>
                    <a:lnTo>
                      <a:pt x="56197" y="14288"/>
                    </a:lnTo>
                    <a:lnTo>
                      <a:pt x="66675" y="24670"/>
                    </a:lnTo>
                    <a:lnTo>
                      <a:pt x="70485" y="35242"/>
                    </a:lnTo>
                    <a:lnTo>
                      <a:pt x="56197" y="45720"/>
                    </a:lnTo>
                    <a:lnTo>
                      <a:pt x="35242" y="49530"/>
                    </a:lnTo>
                    <a:lnTo>
                      <a:pt x="10477" y="56102"/>
                    </a:lnTo>
                    <a:lnTo>
                      <a:pt x="0" y="35242"/>
                    </a:lnTo>
                    <a:lnTo>
                      <a:pt x="3810" y="10382"/>
                    </a:lnTo>
                    <a:lnTo>
                      <a:pt x="17145" y="10382"/>
                    </a:lnTo>
                    <a:lnTo>
                      <a:pt x="35242" y="3715"/>
                    </a:lnTo>
                    <a:lnTo>
                      <a:pt x="523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0BDACF8D-B8E7-9FD7-3416-0DBA9E5C85F9}"/>
                  </a:ext>
                </a:extLst>
              </p:cNvPr>
              <p:cNvSpPr/>
              <p:nvPr/>
            </p:nvSpPr>
            <p:spPr>
              <a:xfrm>
                <a:off x="6740831" y="3102990"/>
                <a:ext cx="89638" cy="103644"/>
              </a:xfrm>
              <a:custGeom>
                <a:avLst/>
                <a:gdLst>
                  <a:gd name="connsiteX0" fmla="*/ 35243 w 91440"/>
                  <a:gd name="connsiteY0" fmla="*/ 105727 h 105727"/>
                  <a:gd name="connsiteX1" fmla="*/ 27623 w 91440"/>
                  <a:gd name="connsiteY1" fmla="*/ 84677 h 105727"/>
                  <a:gd name="connsiteX2" fmla="*/ 35243 w 91440"/>
                  <a:gd name="connsiteY2" fmla="*/ 62865 h 105727"/>
                  <a:gd name="connsiteX3" fmla="*/ 31432 w 91440"/>
                  <a:gd name="connsiteY3" fmla="*/ 56102 h 105727"/>
                  <a:gd name="connsiteX4" fmla="*/ 23813 w 91440"/>
                  <a:gd name="connsiteY4" fmla="*/ 45720 h 105727"/>
                  <a:gd name="connsiteX5" fmla="*/ 6668 w 91440"/>
                  <a:gd name="connsiteY5" fmla="*/ 31433 h 105727"/>
                  <a:gd name="connsiteX6" fmla="*/ 2857 w 91440"/>
                  <a:gd name="connsiteY6" fmla="*/ 17145 h 105727"/>
                  <a:gd name="connsiteX7" fmla="*/ 0 w 91440"/>
                  <a:gd name="connsiteY7" fmla="*/ 6572 h 105727"/>
                  <a:gd name="connsiteX8" fmla="*/ 6668 w 91440"/>
                  <a:gd name="connsiteY8" fmla="*/ 0 h 105727"/>
                  <a:gd name="connsiteX9" fmla="*/ 31432 w 91440"/>
                  <a:gd name="connsiteY9" fmla="*/ 2858 h 105727"/>
                  <a:gd name="connsiteX10" fmla="*/ 52388 w 91440"/>
                  <a:gd name="connsiteY10" fmla="*/ 10477 h 105727"/>
                  <a:gd name="connsiteX11" fmla="*/ 59055 w 91440"/>
                  <a:gd name="connsiteY11" fmla="*/ 24765 h 105727"/>
                  <a:gd name="connsiteX12" fmla="*/ 66675 w 91440"/>
                  <a:gd name="connsiteY12" fmla="*/ 39052 h 105727"/>
                  <a:gd name="connsiteX13" fmla="*/ 83820 w 91440"/>
                  <a:gd name="connsiteY13" fmla="*/ 49435 h 105727"/>
                  <a:gd name="connsiteX14" fmla="*/ 91440 w 91440"/>
                  <a:gd name="connsiteY14" fmla="*/ 62865 h 105727"/>
                  <a:gd name="connsiteX15" fmla="*/ 83820 w 91440"/>
                  <a:gd name="connsiteY15" fmla="*/ 74295 h 105727"/>
                  <a:gd name="connsiteX16" fmla="*/ 69532 w 91440"/>
                  <a:gd name="connsiteY16" fmla="*/ 74295 h 105727"/>
                  <a:gd name="connsiteX17" fmla="*/ 52388 w 91440"/>
                  <a:gd name="connsiteY17" fmla="*/ 70390 h 105727"/>
                  <a:gd name="connsiteX18" fmla="*/ 52388 w 91440"/>
                  <a:gd name="connsiteY18" fmla="*/ 84677 h 105727"/>
                  <a:gd name="connsiteX19" fmla="*/ 41910 w 91440"/>
                  <a:gd name="connsiteY19" fmla="*/ 98108 h 105727"/>
                  <a:gd name="connsiteX20" fmla="*/ 35243 w 91440"/>
                  <a:gd name="connsiteY20" fmla="*/ 105727 h 105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91440" h="105727">
                    <a:moveTo>
                      <a:pt x="35243" y="105727"/>
                    </a:moveTo>
                    <a:lnTo>
                      <a:pt x="27623" y="84677"/>
                    </a:lnTo>
                    <a:lnTo>
                      <a:pt x="35243" y="62865"/>
                    </a:lnTo>
                    <a:lnTo>
                      <a:pt x="31432" y="56102"/>
                    </a:lnTo>
                    <a:lnTo>
                      <a:pt x="23813" y="45720"/>
                    </a:lnTo>
                    <a:lnTo>
                      <a:pt x="6668" y="31433"/>
                    </a:lnTo>
                    <a:lnTo>
                      <a:pt x="2857" y="17145"/>
                    </a:lnTo>
                    <a:lnTo>
                      <a:pt x="0" y="6572"/>
                    </a:lnTo>
                    <a:lnTo>
                      <a:pt x="6668" y="0"/>
                    </a:lnTo>
                    <a:lnTo>
                      <a:pt x="31432" y="2858"/>
                    </a:lnTo>
                    <a:lnTo>
                      <a:pt x="52388" y="10477"/>
                    </a:lnTo>
                    <a:lnTo>
                      <a:pt x="59055" y="24765"/>
                    </a:lnTo>
                    <a:lnTo>
                      <a:pt x="66675" y="39052"/>
                    </a:lnTo>
                    <a:lnTo>
                      <a:pt x="83820" y="49435"/>
                    </a:lnTo>
                    <a:lnTo>
                      <a:pt x="91440" y="62865"/>
                    </a:lnTo>
                    <a:lnTo>
                      <a:pt x="83820" y="74295"/>
                    </a:lnTo>
                    <a:lnTo>
                      <a:pt x="69532" y="74295"/>
                    </a:lnTo>
                    <a:lnTo>
                      <a:pt x="52388" y="70390"/>
                    </a:lnTo>
                    <a:lnTo>
                      <a:pt x="52388" y="84677"/>
                    </a:lnTo>
                    <a:lnTo>
                      <a:pt x="41910" y="98108"/>
                    </a:lnTo>
                    <a:lnTo>
                      <a:pt x="35243" y="10572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69C26FCB-2F5C-5C92-148C-5337CF120DBE}"/>
                  </a:ext>
                </a:extLst>
              </p:cNvPr>
              <p:cNvSpPr/>
              <p:nvPr/>
            </p:nvSpPr>
            <p:spPr>
              <a:xfrm>
                <a:off x="6740831" y="3102990"/>
                <a:ext cx="89638" cy="103644"/>
              </a:xfrm>
              <a:custGeom>
                <a:avLst/>
                <a:gdLst>
                  <a:gd name="connsiteX0" fmla="*/ 35243 w 91440"/>
                  <a:gd name="connsiteY0" fmla="*/ 105727 h 105727"/>
                  <a:gd name="connsiteX1" fmla="*/ 27623 w 91440"/>
                  <a:gd name="connsiteY1" fmla="*/ 84677 h 105727"/>
                  <a:gd name="connsiteX2" fmla="*/ 35243 w 91440"/>
                  <a:gd name="connsiteY2" fmla="*/ 62865 h 105727"/>
                  <a:gd name="connsiteX3" fmla="*/ 31432 w 91440"/>
                  <a:gd name="connsiteY3" fmla="*/ 56102 h 105727"/>
                  <a:gd name="connsiteX4" fmla="*/ 23813 w 91440"/>
                  <a:gd name="connsiteY4" fmla="*/ 45720 h 105727"/>
                  <a:gd name="connsiteX5" fmla="*/ 6668 w 91440"/>
                  <a:gd name="connsiteY5" fmla="*/ 31433 h 105727"/>
                  <a:gd name="connsiteX6" fmla="*/ 2857 w 91440"/>
                  <a:gd name="connsiteY6" fmla="*/ 17145 h 105727"/>
                  <a:gd name="connsiteX7" fmla="*/ 0 w 91440"/>
                  <a:gd name="connsiteY7" fmla="*/ 6572 h 105727"/>
                  <a:gd name="connsiteX8" fmla="*/ 6668 w 91440"/>
                  <a:gd name="connsiteY8" fmla="*/ 0 h 105727"/>
                  <a:gd name="connsiteX9" fmla="*/ 31432 w 91440"/>
                  <a:gd name="connsiteY9" fmla="*/ 2858 h 105727"/>
                  <a:gd name="connsiteX10" fmla="*/ 52388 w 91440"/>
                  <a:gd name="connsiteY10" fmla="*/ 10477 h 105727"/>
                  <a:gd name="connsiteX11" fmla="*/ 59055 w 91440"/>
                  <a:gd name="connsiteY11" fmla="*/ 24765 h 105727"/>
                  <a:gd name="connsiteX12" fmla="*/ 66675 w 91440"/>
                  <a:gd name="connsiteY12" fmla="*/ 39052 h 105727"/>
                  <a:gd name="connsiteX13" fmla="*/ 83820 w 91440"/>
                  <a:gd name="connsiteY13" fmla="*/ 49435 h 105727"/>
                  <a:gd name="connsiteX14" fmla="*/ 91440 w 91440"/>
                  <a:gd name="connsiteY14" fmla="*/ 62865 h 105727"/>
                  <a:gd name="connsiteX15" fmla="*/ 83820 w 91440"/>
                  <a:gd name="connsiteY15" fmla="*/ 74295 h 105727"/>
                  <a:gd name="connsiteX16" fmla="*/ 69532 w 91440"/>
                  <a:gd name="connsiteY16" fmla="*/ 74295 h 105727"/>
                  <a:gd name="connsiteX17" fmla="*/ 52388 w 91440"/>
                  <a:gd name="connsiteY17" fmla="*/ 70390 h 105727"/>
                  <a:gd name="connsiteX18" fmla="*/ 52388 w 91440"/>
                  <a:gd name="connsiteY18" fmla="*/ 84677 h 105727"/>
                  <a:gd name="connsiteX19" fmla="*/ 41910 w 91440"/>
                  <a:gd name="connsiteY19" fmla="*/ 98108 h 105727"/>
                  <a:gd name="connsiteX20" fmla="*/ 35243 w 91440"/>
                  <a:gd name="connsiteY20" fmla="*/ 105727 h 105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91440" h="105727">
                    <a:moveTo>
                      <a:pt x="35243" y="105727"/>
                    </a:moveTo>
                    <a:lnTo>
                      <a:pt x="27623" y="84677"/>
                    </a:lnTo>
                    <a:lnTo>
                      <a:pt x="35243" y="62865"/>
                    </a:lnTo>
                    <a:lnTo>
                      <a:pt x="31432" y="56102"/>
                    </a:lnTo>
                    <a:lnTo>
                      <a:pt x="23813" y="45720"/>
                    </a:lnTo>
                    <a:lnTo>
                      <a:pt x="6668" y="31433"/>
                    </a:lnTo>
                    <a:lnTo>
                      <a:pt x="2857" y="17145"/>
                    </a:lnTo>
                    <a:lnTo>
                      <a:pt x="0" y="6572"/>
                    </a:lnTo>
                    <a:lnTo>
                      <a:pt x="6668" y="0"/>
                    </a:lnTo>
                    <a:lnTo>
                      <a:pt x="31432" y="2858"/>
                    </a:lnTo>
                    <a:lnTo>
                      <a:pt x="52388" y="10477"/>
                    </a:lnTo>
                    <a:lnTo>
                      <a:pt x="59055" y="24765"/>
                    </a:lnTo>
                    <a:lnTo>
                      <a:pt x="66675" y="39052"/>
                    </a:lnTo>
                    <a:lnTo>
                      <a:pt x="83820" y="49435"/>
                    </a:lnTo>
                    <a:lnTo>
                      <a:pt x="91440" y="62865"/>
                    </a:lnTo>
                    <a:lnTo>
                      <a:pt x="83820" y="74295"/>
                    </a:lnTo>
                    <a:lnTo>
                      <a:pt x="69532" y="74295"/>
                    </a:lnTo>
                    <a:lnTo>
                      <a:pt x="52388" y="70390"/>
                    </a:lnTo>
                    <a:lnTo>
                      <a:pt x="52388" y="84677"/>
                    </a:lnTo>
                    <a:lnTo>
                      <a:pt x="41910" y="98108"/>
                    </a:lnTo>
                    <a:lnTo>
                      <a:pt x="35243" y="10572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CB435741-3632-E3C0-7AC3-7E51722C0C4A}"/>
                  </a:ext>
                </a:extLst>
              </p:cNvPr>
              <p:cNvSpPr/>
              <p:nvPr/>
            </p:nvSpPr>
            <p:spPr>
              <a:xfrm>
                <a:off x="6602640" y="2964704"/>
                <a:ext cx="493005" cy="276478"/>
              </a:xfrm>
              <a:custGeom>
                <a:avLst/>
                <a:gdLst>
                  <a:gd name="connsiteX0" fmla="*/ 263843 w 502919"/>
                  <a:gd name="connsiteY0" fmla="*/ 2953 h 282035"/>
                  <a:gd name="connsiteX1" fmla="*/ 278130 w 502919"/>
                  <a:gd name="connsiteY1" fmla="*/ 10573 h 282035"/>
                  <a:gd name="connsiteX2" fmla="*/ 288607 w 502919"/>
                  <a:gd name="connsiteY2" fmla="*/ 6667 h 282035"/>
                  <a:gd name="connsiteX3" fmla="*/ 295275 w 502919"/>
                  <a:gd name="connsiteY3" fmla="*/ 0 h 282035"/>
                  <a:gd name="connsiteX4" fmla="*/ 309563 w 502919"/>
                  <a:gd name="connsiteY4" fmla="*/ 0 h 282035"/>
                  <a:gd name="connsiteX5" fmla="*/ 338138 w 502919"/>
                  <a:gd name="connsiteY5" fmla="*/ 0 h 282035"/>
                  <a:gd name="connsiteX6" fmla="*/ 344805 w 502919"/>
                  <a:gd name="connsiteY6" fmla="*/ 17240 h 282035"/>
                  <a:gd name="connsiteX7" fmla="*/ 340995 w 502919"/>
                  <a:gd name="connsiteY7" fmla="*/ 38100 h 282035"/>
                  <a:gd name="connsiteX8" fmla="*/ 373380 w 502919"/>
                  <a:gd name="connsiteY8" fmla="*/ 45815 h 282035"/>
                  <a:gd name="connsiteX9" fmla="*/ 380048 w 502919"/>
                  <a:gd name="connsiteY9" fmla="*/ 70580 h 282035"/>
                  <a:gd name="connsiteX10" fmla="*/ 436245 w 502919"/>
                  <a:gd name="connsiteY10" fmla="*/ 73342 h 282035"/>
                  <a:gd name="connsiteX11" fmla="*/ 440055 w 502919"/>
                  <a:gd name="connsiteY11" fmla="*/ 84868 h 282035"/>
                  <a:gd name="connsiteX12" fmla="*/ 475298 w 502919"/>
                  <a:gd name="connsiteY12" fmla="*/ 84868 h 282035"/>
                  <a:gd name="connsiteX13" fmla="*/ 502920 w 502919"/>
                  <a:gd name="connsiteY13" fmla="*/ 101917 h 282035"/>
                  <a:gd name="connsiteX14" fmla="*/ 502920 w 502919"/>
                  <a:gd name="connsiteY14" fmla="*/ 137255 h 282035"/>
                  <a:gd name="connsiteX15" fmla="*/ 500063 w 502919"/>
                  <a:gd name="connsiteY15" fmla="*/ 158210 h 282035"/>
                  <a:gd name="connsiteX16" fmla="*/ 471488 w 502919"/>
                  <a:gd name="connsiteY16" fmla="*/ 165830 h 282035"/>
                  <a:gd name="connsiteX17" fmla="*/ 454343 w 502919"/>
                  <a:gd name="connsiteY17" fmla="*/ 172498 h 282035"/>
                  <a:gd name="connsiteX18" fmla="*/ 450532 w 502919"/>
                  <a:gd name="connsiteY18" fmla="*/ 186785 h 282035"/>
                  <a:gd name="connsiteX19" fmla="*/ 425768 w 502919"/>
                  <a:gd name="connsiteY19" fmla="*/ 197167 h 282035"/>
                  <a:gd name="connsiteX20" fmla="*/ 394335 w 502919"/>
                  <a:gd name="connsiteY20" fmla="*/ 203930 h 282035"/>
                  <a:gd name="connsiteX21" fmla="*/ 365760 w 502919"/>
                  <a:gd name="connsiteY21" fmla="*/ 218218 h 282035"/>
                  <a:gd name="connsiteX22" fmla="*/ 338138 w 502919"/>
                  <a:gd name="connsiteY22" fmla="*/ 225742 h 282035"/>
                  <a:gd name="connsiteX23" fmla="*/ 334327 w 502919"/>
                  <a:gd name="connsiteY23" fmla="*/ 232505 h 282035"/>
                  <a:gd name="connsiteX24" fmla="*/ 351473 w 502919"/>
                  <a:gd name="connsiteY24" fmla="*/ 236315 h 282035"/>
                  <a:gd name="connsiteX25" fmla="*/ 361950 w 502919"/>
                  <a:gd name="connsiteY25" fmla="*/ 246793 h 282035"/>
                  <a:gd name="connsiteX26" fmla="*/ 369570 w 502919"/>
                  <a:gd name="connsiteY26" fmla="*/ 250603 h 282035"/>
                  <a:gd name="connsiteX27" fmla="*/ 380048 w 502919"/>
                  <a:gd name="connsiteY27" fmla="*/ 253460 h 282035"/>
                  <a:gd name="connsiteX28" fmla="*/ 408623 w 502919"/>
                  <a:gd name="connsiteY28" fmla="*/ 250603 h 282035"/>
                  <a:gd name="connsiteX29" fmla="*/ 419100 w 502919"/>
                  <a:gd name="connsiteY29" fmla="*/ 253460 h 282035"/>
                  <a:gd name="connsiteX30" fmla="*/ 421957 w 502919"/>
                  <a:gd name="connsiteY30" fmla="*/ 263842 h 282035"/>
                  <a:gd name="connsiteX31" fmla="*/ 411480 w 502919"/>
                  <a:gd name="connsiteY31" fmla="*/ 263842 h 282035"/>
                  <a:gd name="connsiteX32" fmla="*/ 386715 w 502919"/>
                  <a:gd name="connsiteY32" fmla="*/ 263842 h 282035"/>
                  <a:gd name="connsiteX33" fmla="*/ 369570 w 502919"/>
                  <a:gd name="connsiteY33" fmla="*/ 263842 h 282035"/>
                  <a:gd name="connsiteX34" fmla="*/ 355282 w 502919"/>
                  <a:gd name="connsiteY34" fmla="*/ 271463 h 282035"/>
                  <a:gd name="connsiteX35" fmla="*/ 340995 w 502919"/>
                  <a:gd name="connsiteY35" fmla="*/ 282035 h 282035"/>
                  <a:gd name="connsiteX36" fmla="*/ 323850 w 502919"/>
                  <a:gd name="connsiteY36" fmla="*/ 282035 h 282035"/>
                  <a:gd name="connsiteX37" fmla="*/ 323850 w 502919"/>
                  <a:gd name="connsiteY37" fmla="*/ 267748 h 282035"/>
                  <a:gd name="connsiteX38" fmla="*/ 316230 w 502919"/>
                  <a:gd name="connsiteY38" fmla="*/ 257175 h 282035"/>
                  <a:gd name="connsiteX39" fmla="*/ 299085 w 502919"/>
                  <a:gd name="connsiteY39" fmla="*/ 246793 h 282035"/>
                  <a:gd name="connsiteX40" fmla="*/ 309563 w 502919"/>
                  <a:gd name="connsiteY40" fmla="*/ 239173 h 282035"/>
                  <a:gd name="connsiteX41" fmla="*/ 323850 w 502919"/>
                  <a:gd name="connsiteY41" fmla="*/ 232505 h 282035"/>
                  <a:gd name="connsiteX42" fmla="*/ 323850 w 502919"/>
                  <a:gd name="connsiteY42" fmla="*/ 225742 h 282035"/>
                  <a:gd name="connsiteX43" fmla="*/ 284798 w 502919"/>
                  <a:gd name="connsiteY43" fmla="*/ 225742 h 282035"/>
                  <a:gd name="connsiteX44" fmla="*/ 278130 w 502919"/>
                  <a:gd name="connsiteY44" fmla="*/ 203930 h 282035"/>
                  <a:gd name="connsiteX45" fmla="*/ 257175 w 502919"/>
                  <a:gd name="connsiteY45" fmla="*/ 203930 h 282035"/>
                  <a:gd name="connsiteX46" fmla="*/ 242888 w 502919"/>
                  <a:gd name="connsiteY46" fmla="*/ 207740 h 282035"/>
                  <a:gd name="connsiteX47" fmla="*/ 242888 w 502919"/>
                  <a:gd name="connsiteY47" fmla="*/ 222028 h 282035"/>
                  <a:gd name="connsiteX48" fmla="*/ 221932 w 502919"/>
                  <a:gd name="connsiteY48" fmla="*/ 236315 h 282035"/>
                  <a:gd name="connsiteX49" fmla="*/ 210502 w 502919"/>
                  <a:gd name="connsiteY49" fmla="*/ 257175 h 282035"/>
                  <a:gd name="connsiteX50" fmla="*/ 200025 w 502919"/>
                  <a:gd name="connsiteY50" fmla="*/ 246793 h 282035"/>
                  <a:gd name="connsiteX51" fmla="*/ 193357 w 502919"/>
                  <a:gd name="connsiteY51" fmla="*/ 253460 h 282035"/>
                  <a:gd name="connsiteX52" fmla="*/ 176213 w 502919"/>
                  <a:gd name="connsiteY52" fmla="*/ 250603 h 282035"/>
                  <a:gd name="connsiteX53" fmla="*/ 176213 w 502919"/>
                  <a:gd name="connsiteY53" fmla="*/ 246793 h 282035"/>
                  <a:gd name="connsiteX54" fmla="*/ 193357 w 502919"/>
                  <a:gd name="connsiteY54" fmla="*/ 225742 h 282035"/>
                  <a:gd name="connsiteX55" fmla="*/ 193357 w 502919"/>
                  <a:gd name="connsiteY55" fmla="*/ 211455 h 282035"/>
                  <a:gd name="connsiteX56" fmla="*/ 224790 w 502919"/>
                  <a:gd name="connsiteY56" fmla="*/ 215360 h 282035"/>
                  <a:gd name="connsiteX57" fmla="*/ 232410 w 502919"/>
                  <a:gd name="connsiteY57" fmla="*/ 203930 h 282035"/>
                  <a:gd name="connsiteX58" fmla="*/ 224790 w 502919"/>
                  <a:gd name="connsiteY58" fmla="*/ 190500 h 282035"/>
                  <a:gd name="connsiteX59" fmla="*/ 207645 w 502919"/>
                  <a:gd name="connsiteY59" fmla="*/ 180118 h 282035"/>
                  <a:gd name="connsiteX60" fmla="*/ 193357 w 502919"/>
                  <a:gd name="connsiteY60" fmla="*/ 151543 h 282035"/>
                  <a:gd name="connsiteX61" fmla="*/ 172402 w 502919"/>
                  <a:gd name="connsiteY61" fmla="*/ 143923 h 282035"/>
                  <a:gd name="connsiteX62" fmla="*/ 154305 w 502919"/>
                  <a:gd name="connsiteY62" fmla="*/ 141065 h 282035"/>
                  <a:gd name="connsiteX63" fmla="*/ 147638 w 502919"/>
                  <a:gd name="connsiteY63" fmla="*/ 141065 h 282035"/>
                  <a:gd name="connsiteX64" fmla="*/ 140970 w 502919"/>
                  <a:gd name="connsiteY64" fmla="*/ 147638 h 282035"/>
                  <a:gd name="connsiteX65" fmla="*/ 119063 w 502919"/>
                  <a:gd name="connsiteY65" fmla="*/ 147638 h 282035"/>
                  <a:gd name="connsiteX66" fmla="*/ 112395 w 502919"/>
                  <a:gd name="connsiteY66" fmla="*/ 161925 h 282035"/>
                  <a:gd name="connsiteX67" fmla="*/ 77152 w 502919"/>
                  <a:gd name="connsiteY67" fmla="*/ 161925 h 282035"/>
                  <a:gd name="connsiteX68" fmla="*/ 56198 w 502919"/>
                  <a:gd name="connsiteY68" fmla="*/ 151543 h 282035"/>
                  <a:gd name="connsiteX69" fmla="*/ 17145 w 502919"/>
                  <a:gd name="connsiteY69" fmla="*/ 165830 h 282035"/>
                  <a:gd name="connsiteX70" fmla="*/ 10477 w 502919"/>
                  <a:gd name="connsiteY70" fmla="*/ 151543 h 282035"/>
                  <a:gd name="connsiteX71" fmla="*/ 0 w 502919"/>
                  <a:gd name="connsiteY71" fmla="*/ 143923 h 282035"/>
                  <a:gd name="connsiteX72" fmla="*/ 6668 w 502919"/>
                  <a:gd name="connsiteY72" fmla="*/ 133350 h 282035"/>
                  <a:gd name="connsiteX73" fmla="*/ 13335 w 502919"/>
                  <a:gd name="connsiteY73" fmla="*/ 116205 h 282035"/>
                  <a:gd name="connsiteX74" fmla="*/ 17145 w 502919"/>
                  <a:gd name="connsiteY74" fmla="*/ 101917 h 282035"/>
                  <a:gd name="connsiteX75" fmla="*/ 31432 w 502919"/>
                  <a:gd name="connsiteY75" fmla="*/ 80963 h 282035"/>
                  <a:gd name="connsiteX76" fmla="*/ 38100 w 502919"/>
                  <a:gd name="connsiteY76" fmla="*/ 73342 h 282035"/>
                  <a:gd name="connsiteX77" fmla="*/ 56198 w 502919"/>
                  <a:gd name="connsiteY77" fmla="*/ 62960 h 282035"/>
                  <a:gd name="connsiteX78" fmla="*/ 48577 w 502919"/>
                  <a:gd name="connsiteY78" fmla="*/ 42005 h 282035"/>
                  <a:gd name="connsiteX79" fmla="*/ 48577 w 502919"/>
                  <a:gd name="connsiteY79" fmla="*/ 27718 h 282035"/>
                  <a:gd name="connsiteX80" fmla="*/ 62865 w 502919"/>
                  <a:gd name="connsiteY80" fmla="*/ 6667 h 282035"/>
                  <a:gd name="connsiteX81" fmla="*/ 147638 w 502919"/>
                  <a:gd name="connsiteY81" fmla="*/ 24860 h 282035"/>
                  <a:gd name="connsiteX82" fmla="*/ 197168 w 502919"/>
                  <a:gd name="connsiteY82" fmla="*/ 24860 h 282035"/>
                  <a:gd name="connsiteX83" fmla="*/ 200025 w 502919"/>
                  <a:gd name="connsiteY83" fmla="*/ 35242 h 282035"/>
                  <a:gd name="connsiteX84" fmla="*/ 235268 w 502919"/>
                  <a:gd name="connsiteY84" fmla="*/ 38100 h 282035"/>
                  <a:gd name="connsiteX85" fmla="*/ 242888 w 502919"/>
                  <a:gd name="connsiteY85" fmla="*/ 6667 h 282035"/>
                  <a:gd name="connsiteX86" fmla="*/ 263843 w 502919"/>
                  <a:gd name="connsiteY86" fmla="*/ 2953 h 282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502919" h="282035">
                    <a:moveTo>
                      <a:pt x="263843" y="2953"/>
                    </a:moveTo>
                    <a:lnTo>
                      <a:pt x="278130" y="10573"/>
                    </a:lnTo>
                    <a:lnTo>
                      <a:pt x="288607" y="6667"/>
                    </a:lnTo>
                    <a:lnTo>
                      <a:pt x="295275" y="0"/>
                    </a:lnTo>
                    <a:lnTo>
                      <a:pt x="309563" y="0"/>
                    </a:lnTo>
                    <a:lnTo>
                      <a:pt x="338138" y="0"/>
                    </a:lnTo>
                    <a:lnTo>
                      <a:pt x="344805" y="17240"/>
                    </a:lnTo>
                    <a:lnTo>
                      <a:pt x="340995" y="38100"/>
                    </a:lnTo>
                    <a:lnTo>
                      <a:pt x="373380" y="45815"/>
                    </a:lnTo>
                    <a:lnTo>
                      <a:pt x="380048" y="70580"/>
                    </a:lnTo>
                    <a:lnTo>
                      <a:pt x="436245" y="73342"/>
                    </a:lnTo>
                    <a:lnTo>
                      <a:pt x="440055" y="84868"/>
                    </a:lnTo>
                    <a:lnTo>
                      <a:pt x="475298" y="84868"/>
                    </a:lnTo>
                    <a:lnTo>
                      <a:pt x="502920" y="101917"/>
                    </a:lnTo>
                    <a:lnTo>
                      <a:pt x="502920" y="137255"/>
                    </a:lnTo>
                    <a:lnTo>
                      <a:pt x="500063" y="158210"/>
                    </a:lnTo>
                    <a:lnTo>
                      <a:pt x="471488" y="165830"/>
                    </a:lnTo>
                    <a:lnTo>
                      <a:pt x="454343" y="172498"/>
                    </a:lnTo>
                    <a:lnTo>
                      <a:pt x="450532" y="186785"/>
                    </a:lnTo>
                    <a:lnTo>
                      <a:pt x="425768" y="197167"/>
                    </a:lnTo>
                    <a:lnTo>
                      <a:pt x="394335" y="203930"/>
                    </a:lnTo>
                    <a:lnTo>
                      <a:pt x="365760" y="218218"/>
                    </a:lnTo>
                    <a:lnTo>
                      <a:pt x="338138" y="225742"/>
                    </a:lnTo>
                    <a:lnTo>
                      <a:pt x="334327" y="232505"/>
                    </a:lnTo>
                    <a:lnTo>
                      <a:pt x="351473" y="236315"/>
                    </a:lnTo>
                    <a:lnTo>
                      <a:pt x="361950" y="246793"/>
                    </a:lnTo>
                    <a:lnTo>
                      <a:pt x="369570" y="250603"/>
                    </a:lnTo>
                    <a:lnTo>
                      <a:pt x="380048" y="253460"/>
                    </a:lnTo>
                    <a:lnTo>
                      <a:pt x="408623" y="250603"/>
                    </a:lnTo>
                    <a:lnTo>
                      <a:pt x="419100" y="253460"/>
                    </a:lnTo>
                    <a:lnTo>
                      <a:pt x="421957" y="263842"/>
                    </a:lnTo>
                    <a:lnTo>
                      <a:pt x="411480" y="263842"/>
                    </a:lnTo>
                    <a:lnTo>
                      <a:pt x="386715" y="263842"/>
                    </a:lnTo>
                    <a:lnTo>
                      <a:pt x="369570" y="263842"/>
                    </a:lnTo>
                    <a:lnTo>
                      <a:pt x="355282" y="271463"/>
                    </a:lnTo>
                    <a:lnTo>
                      <a:pt x="340995" y="282035"/>
                    </a:lnTo>
                    <a:lnTo>
                      <a:pt x="323850" y="282035"/>
                    </a:lnTo>
                    <a:lnTo>
                      <a:pt x="323850" y="267748"/>
                    </a:lnTo>
                    <a:lnTo>
                      <a:pt x="316230" y="257175"/>
                    </a:lnTo>
                    <a:lnTo>
                      <a:pt x="299085" y="246793"/>
                    </a:lnTo>
                    <a:lnTo>
                      <a:pt x="309563" y="239173"/>
                    </a:lnTo>
                    <a:lnTo>
                      <a:pt x="323850" y="232505"/>
                    </a:lnTo>
                    <a:lnTo>
                      <a:pt x="323850" y="225742"/>
                    </a:lnTo>
                    <a:lnTo>
                      <a:pt x="284798" y="225742"/>
                    </a:lnTo>
                    <a:lnTo>
                      <a:pt x="278130" y="203930"/>
                    </a:lnTo>
                    <a:lnTo>
                      <a:pt x="257175" y="203930"/>
                    </a:lnTo>
                    <a:lnTo>
                      <a:pt x="242888" y="207740"/>
                    </a:lnTo>
                    <a:lnTo>
                      <a:pt x="242888" y="222028"/>
                    </a:lnTo>
                    <a:lnTo>
                      <a:pt x="221932" y="236315"/>
                    </a:lnTo>
                    <a:lnTo>
                      <a:pt x="210502" y="257175"/>
                    </a:lnTo>
                    <a:lnTo>
                      <a:pt x="200025" y="246793"/>
                    </a:lnTo>
                    <a:lnTo>
                      <a:pt x="193357" y="253460"/>
                    </a:lnTo>
                    <a:lnTo>
                      <a:pt x="176213" y="250603"/>
                    </a:lnTo>
                    <a:lnTo>
                      <a:pt x="176213" y="246793"/>
                    </a:lnTo>
                    <a:lnTo>
                      <a:pt x="193357" y="225742"/>
                    </a:lnTo>
                    <a:lnTo>
                      <a:pt x="193357" y="211455"/>
                    </a:lnTo>
                    <a:lnTo>
                      <a:pt x="224790" y="215360"/>
                    </a:lnTo>
                    <a:lnTo>
                      <a:pt x="232410" y="203930"/>
                    </a:lnTo>
                    <a:lnTo>
                      <a:pt x="224790" y="190500"/>
                    </a:lnTo>
                    <a:lnTo>
                      <a:pt x="207645" y="180118"/>
                    </a:lnTo>
                    <a:lnTo>
                      <a:pt x="193357" y="151543"/>
                    </a:lnTo>
                    <a:lnTo>
                      <a:pt x="172402" y="143923"/>
                    </a:lnTo>
                    <a:lnTo>
                      <a:pt x="154305" y="141065"/>
                    </a:lnTo>
                    <a:lnTo>
                      <a:pt x="147638" y="141065"/>
                    </a:lnTo>
                    <a:lnTo>
                      <a:pt x="140970" y="147638"/>
                    </a:lnTo>
                    <a:lnTo>
                      <a:pt x="119063" y="147638"/>
                    </a:lnTo>
                    <a:lnTo>
                      <a:pt x="112395" y="161925"/>
                    </a:lnTo>
                    <a:lnTo>
                      <a:pt x="77152" y="161925"/>
                    </a:lnTo>
                    <a:lnTo>
                      <a:pt x="56198" y="151543"/>
                    </a:lnTo>
                    <a:lnTo>
                      <a:pt x="17145" y="165830"/>
                    </a:lnTo>
                    <a:lnTo>
                      <a:pt x="10477" y="151543"/>
                    </a:lnTo>
                    <a:lnTo>
                      <a:pt x="0" y="143923"/>
                    </a:lnTo>
                    <a:lnTo>
                      <a:pt x="6668" y="133350"/>
                    </a:lnTo>
                    <a:lnTo>
                      <a:pt x="13335" y="116205"/>
                    </a:lnTo>
                    <a:lnTo>
                      <a:pt x="17145" y="101917"/>
                    </a:lnTo>
                    <a:lnTo>
                      <a:pt x="31432" y="80963"/>
                    </a:lnTo>
                    <a:lnTo>
                      <a:pt x="38100" y="73342"/>
                    </a:lnTo>
                    <a:lnTo>
                      <a:pt x="56198" y="62960"/>
                    </a:lnTo>
                    <a:lnTo>
                      <a:pt x="48577" y="42005"/>
                    </a:lnTo>
                    <a:lnTo>
                      <a:pt x="48577" y="27718"/>
                    </a:lnTo>
                    <a:lnTo>
                      <a:pt x="62865" y="6667"/>
                    </a:lnTo>
                    <a:lnTo>
                      <a:pt x="147638" y="24860"/>
                    </a:lnTo>
                    <a:lnTo>
                      <a:pt x="197168" y="24860"/>
                    </a:lnTo>
                    <a:lnTo>
                      <a:pt x="200025" y="35242"/>
                    </a:lnTo>
                    <a:lnTo>
                      <a:pt x="235268" y="38100"/>
                    </a:lnTo>
                    <a:lnTo>
                      <a:pt x="242888" y="6667"/>
                    </a:lnTo>
                    <a:lnTo>
                      <a:pt x="263843" y="295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D3A94881-099E-026C-CEB9-BDD7075E60F4}"/>
                  </a:ext>
                </a:extLst>
              </p:cNvPr>
              <p:cNvSpPr/>
              <p:nvPr/>
            </p:nvSpPr>
            <p:spPr>
              <a:xfrm>
                <a:off x="6564358" y="3109432"/>
                <a:ext cx="244635" cy="155933"/>
              </a:xfrm>
              <a:custGeom>
                <a:avLst/>
                <a:gdLst>
                  <a:gd name="connsiteX0" fmla="*/ 56197 w 249554"/>
                  <a:gd name="connsiteY0" fmla="*/ 18193 h 159067"/>
                  <a:gd name="connsiteX1" fmla="*/ 80963 w 249554"/>
                  <a:gd name="connsiteY1" fmla="*/ 7715 h 159067"/>
                  <a:gd name="connsiteX2" fmla="*/ 95250 w 249554"/>
                  <a:gd name="connsiteY2" fmla="*/ 3905 h 159067"/>
                  <a:gd name="connsiteX3" fmla="*/ 116205 w 249554"/>
                  <a:gd name="connsiteY3" fmla="*/ 14288 h 159067"/>
                  <a:gd name="connsiteX4" fmla="*/ 151447 w 249554"/>
                  <a:gd name="connsiteY4" fmla="*/ 14288 h 159067"/>
                  <a:gd name="connsiteX5" fmla="*/ 158115 w 249554"/>
                  <a:gd name="connsiteY5" fmla="*/ 0 h 159067"/>
                  <a:gd name="connsiteX6" fmla="*/ 180022 w 249554"/>
                  <a:gd name="connsiteY6" fmla="*/ 0 h 159067"/>
                  <a:gd name="connsiteX7" fmla="*/ 186690 w 249554"/>
                  <a:gd name="connsiteY7" fmla="*/ 18193 h 159067"/>
                  <a:gd name="connsiteX8" fmla="*/ 190500 w 249554"/>
                  <a:gd name="connsiteY8" fmla="*/ 28575 h 159067"/>
                  <a:gd name="connsiteX9" fmla="*/ 211455 w 249554"/>
                  <a:gd name="connsiteY9" fmla="*/ 49530 h 159067"/>
                  <a:gd name="connsiteX10" fmla="*/ 215265 w 249554"/>
                  <a:gd name="connsiteY10" fmla="*/ 56293 h 159067"/>
                  <a:gd name="connsiteX11" fmla="*/ 207645 w 249554"/>
                  <a:gd name="connsiteY11" fmla="*/ 74390 h 159067"/>
                  <a:gd name="connsiteX12" fmla="*/ 211455 w 249554"/>
                  <a:gd name="connsiteY12" fmla="*/ 91535 h 159067"/>
                  <a:gd name="connsiteX13" fmla="*/ 215265 w 249554"/>
                  <a:gd name="connsiteY13" fmla="*/ 102965 h 159067"/>
                  <a:gd name="connsiteX14" fmla="*/ 232410 w 249554"/>
                  <a:gd name="connsiteY14" fmla="*/ 105823 h 159067"/>
                  <a:gd name="connsiteX15" fmla="*/ 239077 w 249554"/>
                  <a:gd name="connsiteY15" fmla="*/ 99155 h 159067"/>
                  <a:gd name="connsiteX16" fmla="*/ 249555 w 249554"/>
                  <a:gd name="connsiteY16" fmla="*/ 109538 h 159067"/>
                  <a:gd name="connsiteX17" fmla="*/ 242888 w 249554"/>
                  <a:gd name="connsiteY17" fmla="*/ 120110 h 159067"/>
                  <a:gd name="connsiteX18" fmla="*/ 228600 w 249554"/>
                  <a:gd name="connsiteY18" fmla="*/ 126778 h 159067"/>
                  <a:gd name="connsiteX19" fmla="*/ 221932 w 249554"/>
                  <a:gd name="connsiteY19" fmla="*/ 138113 h 159067"/>
                  <a:gd name="connsiteX20" fmla="*/ 218122 w 249554"/>
                  <a:gd name="connsiteY20" fmla="*/ 159067 h 159067"/>
                  <a:gd name="connsiteX21" fmla="*/ 207645 w 249554"/>
                  <a:gd name="connsiteY21" fmla="*/ 159067 h 159067"/>
                  <a:gd name="connsiteX22" fmla="*/ 186690 w 249554"/>
                  <a:gd name="connsiteY22" fmla="*/ 148685 h 159067"/>
                  <a:gd name="connsiteX23" fmla="*/ 161925 w 249554"/>
                  <a:gd name="connsiteY23" fmla="*/ 141065 h 159067"/>
                  <a:gd name="connsiteX24" fmla="*/ 147638 w 249554"/>
                  <a:gd name="connsiteY24" fmla="*/ 155353 h 159067"/>
                  <a:gd name="connsiteX25" fmla="*/ 126682 w 249554"/>
                  <a:gd name="connsiteY25" fmla="*/ 155353 h 159067"/>
                  <a:gd name="connsiteX26" fmla="*/ 77152 w 249554"/>
                  <a:gd name="connsiteY26" fmla="*/ 155353 h 159067"/>
                  <a:gd name="connsiteX27" fmla="*/ 56197 w 249554"/>
                  <a:gd name="connsiteY27" fmla="*/ 148685 h 159067"/>
                  <a:gd name="connsiteX28" fmla="*/ 56197 w 249554"/>
                  <a:gd name="connsiteY28" fmla="*/ 130492 h 159067"/>
                  <a:gd name="connsiteX29" fmla="*/ 28575 w 249554"/>
                  <a:gd name="connsiteY29" fmla="*/ 126778 h 159067"/>
                  <a:gd name="connsiteX30" fmla="*/ 14288 w 249554"/>
                  <a:gd name="connsiteY30" fmla="*/ 105823 h 159067"/>
                  <a:gd name="connsiteX31" fmla="*/ 3810 w 249554"/>
                  <a:gd name="connsiteY31" fmla="*/ 91535 h 159067"/>
                  <a:gd name="connsiteX32" fmla="*/ 0 w 249554"/>
                  <a:gd name="connsiteY32" fmla="*/ 78105 h 159067"/>
                  <a:gd name="connsiteX33" fmla="*/ 24765 w 249554"/>
                  <a:gd name="connsiteY33" fmla="*/ 53435 h 159067"/>
                  <a:gd name="connsiteX34" fmla="*/ 41910 w 249554"/>
                  <a:gd name="connsiteY34" fmla="*/ 28575 h 159067"/>
                  <a:gd name="connsiteX35" fmla="*/ 56197 w 249554"/>
                  <a:gd name="connsiteY35" fmla="*/ 18193 h 159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49554" h="159067">
                    <a:moveTo>
                      <a:pt x="56197" y="18193"/>
                    </a:moveTo>
                    <a:lnTo>
                      <a:pt x="80963" y="7715"/>
                    </a:lnTo>
                    <a:lnTo>
                      <a:pt x="95250" y="3905"/>
                    </a:lnTo>
                    <a:lnTo>
                      <a:pt x="116205" y="14288"/>
                    </a:lnTo>
                    <a:lnTo>
                      <a:pt x="151447" y="14288"/>
                    </a:lnTo>
                    <a:lnTo>
                      <a:pt x="158115" y="0"/>
                    </a:lnTo>
                    <a:lnTo>
                      <a:pt x="180022" y="0"/>
                    </a:lnTo>
                    <a:lnTo>
                      <a:pt x="186690" y="18193"/>
                    </a:lnTo>
                    <a:lnTo>
                      <a:pt x="190500" y="28575"/>
                    </a:lnTo>
                    <a:lnTo>
                      <a:pt x="211455" y="49530"/>
                    </a:lnTo>
                    <a:lnTo>
                      <a:pt x="215265" y="56293"/>
                    </a:lnTo>
                    <a:lnTo>
                      <a:pt x="207645" y="74390"/>
                    </a:lnTo>
                    <a:lnTo>
                      <a:pt x="211455" y="91535"/>
                    </a:lnTo>
                    <a:lnTo>
                      <a:pt x="215265" y="102965"/>
                    </a:lnTo>
                    <a:lnTo>
                      <a:pt x="232410" y="105823"/>
                    </a:lnTo>
                    <a:lnTo>
                      <a:pt x="239077" y="99155"/>
                    </a:lnTo>
                    <a:lnTo>
                      <a:pt x="249555" y="109538"/>
                    </a:lnTo>
                    <a:lnTo>
                      <a:pt x="242888" y="120110"/>
                    </a:lnTo>
                    <a:lnTo>
                      <a:pt x="228600" y="126778"/>
                    </a:lnTo>
                    <a:lnTo>
                      <a:pt x="221932" y="138113"/>
                    </a:lnTo>
                    <a:lnTo>
                      <a:pt x="218122" y="159067"/>
                    </a:lnTo>
                    <a:lnTo>
                      <a:pt x="207645" y="159067"/>
                    </a:lnTo>
                    <a:lnTo>
                      <a:pt x="186690" y="148685"/>
                    </a:lnTo>
                    <a:lnTo>
                      <a:pt x="161925" y="141065"/>
                    </a:lnTo>
                    <a:lnTo>
                      <a:pt x="147638" y="155353"/>
                    </a:lnTo>
                    <a:lnTo>
                      <a:pt x="126682" y="155353"/>
                    </a:lnTo>
                    <a:lnTo>
                      <a:pt x="77152" y="155353"/>
                    </a:lnTo>
                    <a:lnTo>
                      <a:pt x="56197" y="148685"/>
                    </a:lnTo>
                    <a:lnTo>
                      <a:pt x="56197" y="130492"/>
                    </a:lnTo>
                    <a:lnTo>
                      <a:pt x="28575" y="126778"/>
                    </a:lnTo>
                    <a:lnTo>
                      <a:pt x="14288" y="105823"/>
                    </a:lnTo>
                    <a:lnTo>
                      <a:pt x="3810" y="91535"/>
                    </a:lnTo>
                    <a:lnTo>
                      <a:pt x="0" y="78105"/>
                    </a:lnTo>
                    <a:lnTo>
                      <a:pt x="24765" y="53435"/>
                    </a:lnTo>
                    <a:lnTo>
                      <a:pt x="41910" y="28575"/>
                    </a:lnTo>
                    <a:lnTo>
                      <a:pt x="56197" y="1819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81293A4A-A033-79EB-2B4A-DFC2736A87C0}"/>
                  </a:ext>
                </a:extLst>
              </p:cNvPr>
              <p:cNvSpPr/>
              <p:nvPr/>
            </p:nvSpPr>
            <p:spPr>
              <a:xfrm>
                <a:off x="6609177" y="3247718"/>
                <a:ext cx="169004" cy="97014"/>
              </a:xfrm>
              <a:custGeom>
                <a:avLst/>
                <a:gdLst>
                  <a:gd name="connsiteX0" fmla="*/ 31432 w 172402"/>
                  <a:gd name="connsiteY0" fmla="*/ 14288 h 98964"/>
                  <a:gd name="connsiteX1" fmla="*/ 80963 w 172402"/>
                  <a:gd name="connsiteY1" fmla="*/ 14288 h 98964"/>
                  <a:gd name="connsiteX2" fmla="*/ 101918 w 172402"/>
                  <a:gd name="connsiteY2" fmla="*/ 14288 h 98964"/>
                  <a:gd name="connsiteX3" fmla="*/ 116205 w 172402"/>
                  <a:gd name="connsiteY3" fmla="*/ 0 h 98964"/>
                  <a:gd name="connsiteX4" fmla="*/ 140970 w 172402"/>
                  <a:gd name="connsiteY4" fmla="*/ 7620 h 98964"/>
                  <a:gd name="connsiteX5" fmla="*/ 161925 w 172402"/>
                  <a:gd name="connsiteY5" fmla="*/ 18002 h 98964"/>
                  <a:gd name="connsiteX6" fmla="*/ 172402 w 172402"/>
                  <a:gd name="connsiteY6" fmla="*/ 18002 h 98964"/>
                  <a:gd name="connsiteX7" fmla="*/ 172402 w 172402"/>
                  <a:gd name="connsiteY7" fmla="*/ 24765 h 98964"/>
                  <a:gd name="connsiteX8" fmla="*/ 158115 w 172402"/>
                  <a:gd name="connsiteY8" fmla="*/ 28575 h 98964"/>
                  <a:gd name="connsiteX9" fmla="*/ 158115 w 172402"/>
                  <a:gd name="connsiteY9" fmla="*/ 49435 h 98964"/>
                  <a:gd name="connsiteX10" fmla="*/ 144780 w 172402"/>
                  <a:gd name="connsiteY10" fmla="*/ 63722 h 98964"/>
                  <a:gd name="connsiteX11" fmla="*/ 147638 w 172402"/>
                  <a:gd name="connsiteY11" fmla="*/ 67627 h 98964"/>
                  <a:gd name="connsiteX12" fmla="*/ 161925 w 172402"/>
                  <a:gd name="connsiteY12" fmla="*/ 74295 h 98964"/>
                  <a:gd name="connsiteX13" fmla="*/ 158115 w 172402"/>
                  <a:gd name="connsiteY13" fmla="*/ 80963 h 98964"/>
                  <a:gd name="connsiteX14" fmla="*/ 140970 w 172402"/>
                  <a:gd name="connsiteY14" fmla="*/ 78010 h 98964"/>
                  <a:gd name="connsiteX15" fmla="*/ 126682 w 172402"/>
                  <a:gd name="connsiteY15" fmla="*/ 74295 h 98964"/>
                  <a:gd name="connsiteX16" fmla="*/ 112395 w 172402"/>
                  <a:gd name="connsiteY16" fmla="*/ 80963 h 98964"/>
                  <a:gd name="connsiteX17" fmla="*/ 105727 w 172402"/>
                  <a:gd name="connsiteY17" fmla="*/ 92297 h 98964"/>
                  <a:gd name="connsiteX18" fmla="*/ 105727 w 172402"/>
                  <a:gd name="connsiteY18" fmla="*/ 98965 h 98964"/>
                  <a:gd name="connsiteX19" fmla="*/ 91440 w 172402"/>
                  <a:gd name="connsiteY19" fmla="*/ 98965 h 98964"/>
                  <a:gd name="connsiteX20" fmla="*/ 70485 w 172402"/>
                  <a:gd name="connsiteY20" fmla="*/ 98965 h 98964"/>
                  <a:gd name="connsiteX21" fmla="*/ 52388 w 172402"/>
                  <a:gd name="connsiteY21" fmla="*/ 92297 h 98964"/>
                  <a:gd name="connsiteX22" fmla="*/ 41910 w 172402"/>
                  <a:gd name="connsiteY22" fmla="*/ 92297 h 98964"/>
                  <a:gd name="connsiteX23" fmla="*/ 24765 w 172402"/>
                  <a:gd name="connsiteY23" fmla="*/ 95250 h 98964"/>
                  <a:gd name="connsiteX24" fmla="*/ 20955 w 172402"/>
                  <a:gd name="connsiteY24" fmla="*/ 84677 h 98964"/>
                  <a:gd name="connsiteX25" fmla="*/ 10477 w 172402"/>
                  <a:gd name="connsiteY25" fmla="*/ 74295 h 98964"/>
                  <a:gd name="connsiteX26" fmla="*/ 6668 w 172402"/>
                  <a:gd name="connsiteY26" fmla="*/ 60008 h 98964"/>
                  <a:gd name="connsiteX27" fmla="*/ 18097 w 172402"/>
                  <a:gd name="connsiteY27" fmla="*/ 39052 h 98964"/>
                  <a:gd name="connsiteX28" fmla="*/ 6668 w 172402"/>
                  <a:gd name="connsiteY28" fmla="*/ 24765 h 98964"/>
                  <a:gd name="connsiteX29" fmla="*/ 0 w 172402"/>
                  <a:gd name="connsiteY29" fmla="*/ 14288 h 98964"/>
                  <a:gd name="connsiteX30" fmla="*/ 10477 w 172402"/>
                  <a:gd name="connsiteY30" fmla="*/ 7620 h 98964"/>
                  <a:gd name="connsiteX31" fmla="*/ 31432 w 172402"/>
                  <a:gd name="connsiteY31" fmla="*/ 14288 h 98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72402" h="98964">
                    <a:moveTo>
                      <a:pt x="31432" y="14288"/>
                    </a:moveTo>
                    <a:lnTo>
                      <a:pt x="80963" y="14288"/>
                    </a:lnTo>
                    <a:lnTo>
                      <a:pt x="101918" y="14288"/>
                    </a:lnTo>
                    <a:lnTo>
                      <a:pt x="116205" y="0"/>
                    </a:lnTo>
                    <a:lnTo>
                      <a:pt x="140970" y="7620"/>
                    </a:lnTo>
                    <a:lnTo>
                      <a:pt x="161925" y="18002"/>
                    </a:lnTo>
                    <a:lnTo>
                      <a:pt x="172402" y="18002"/>
                    </a:lnTo>
                    <a:lnTo>
                      <a:pt x="172402" y="24765"/>
                    </a:lnTo>
                    <a:lnTo>
                      <a:pt x="158115" y="28575"/>
                    </a:lnTo>
                    <a:lnTo>
                      <a:pt x="158115" y="49435"/>
                    </a:lnTo>
                    <a:lnTo>
                      <a:pt x="144780" y="63722"/>
                    </a:lnTo>
                    <a:lnTo>
                      <a:pt x="147638" y="67627"/>
                    </a:lnTo>
                    <a:lnTo>
                      <a:pt x="161925" y="74295"/>
                    </a:lnTo>
                    <a:lnTo>
                      <a:pt x="158115" y="80963"/>
                    </a:lnTo>
                    <a:lnTo>
                      <a:pt x="140970" y="78010"/>
                    </a:lnTo>
                    <a:lnTo>
                      <a:pt x="126682" y="74295"/>
                    </a:lnTo>
                    <a:lnTo>
                      <a:pt x="112395" y="80963"/>
                    </a:lnTo>
                    <a:lnTo>
                      <a:pt x="105727" y="92297"/>
                    </a:lnTo>
                    <a:lnTo>
                      <a:pt x="105727" y="98965"/>
                    </a:lnTo>
                    <a:lnTo>
                      <a:pt x="91440" y="98965"/>
                    </a:lnTo>
                    <a:lnTo>
                      <a:pt x="70485" y="98965"/>
                    </a:lnTo>
                    <a:lnTo>
                      <a:pt x="52388" y="92297"/>
                    </a:lnTo>
                    <a:lnTo>
                      <a:pt x="41910" y="92297"/>
                    </a:lnTo>
                    <a:lnTo>
                      <a:pt x="24765" y="95250"/>
                    </a:lnTo>
                    <a:lnTo>
                      <a:pt x="20955" y="84677"/>
                    </a:lnTo>
                    <a:lnTo>
                      <a:pt x="10477" y="74295"/>
                    </a:lnTo>
                    <a:lnTo>
                      <a:pt x="6668" y="60008"/>
                    </a:lnTo>
                    <a:lnTo>
                      <a:pt x="18097" y="39052"/>
                    </a:lnTo>
                    <a:lnTo>
                      <a:pt x="6668" y="24765"/>
                    </a:lnTo>
                    <a:lnTo>
                      <a:pt x="0" y="14288"/>
                    </a:lnTo>
                    <a:lnTo>
                      <a:pt x="10477" y="7620"/>
                    </a:lnTo>
                    <a:lnTo>
                      <a:pt x="31432" y="142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795B10ED-B145-39F6-9822-778AE9418823}"/>
                  </a:ext>
                </a:extLst>
              </p:cNvPr>
              <p:cNvSpPr/>
              <p:nvPr/>
            </p:nvSpPr>
            <p:spPr>
              <a:xfrm>
                <a:off x="6712820" y="3320549"/>
                <a:ext cx="72830" cy="52195"/>
              </a:xfrm>
              <a:custGeom>
                <a:avLst/>
                <a:gdLst>
                  <a:gd name="connsiteX0" fmla="*/ 0 w 74294"/>
                  <a:gd name="connsiteY0" fmla="*/ 24670 h 53244"/>
                  <a:gd name="connsiteX1" fmla="*/ 0 w 74294"/>
                  <a:gd name="connsiteY1" fmla="*/ 35242 h 53244"/>
                  <a:gd name="connsiteX2" fmla="*/ 3810 w 74294"/>
                  <a:gd name="connsiteY2" fmla="*/ 45720 h 53244"/>
                  <a:gd name="connsiteX3" fmla="*/ 17145 w 74294"/>
                  <a:gd name="connsiteY3" fmla="*/ 45720 h 53244"/>
                  <a:gd name="connsiteX4" fmla="*/ 6668 w 74294"/>
                  <a:gd name="connsiteY4" fmla="*/ 53245 h 53244"/>
                  <a:gd name="connsiteX5" fmla="*/ 24765 w 74294"/>
                  <a:gd name="connsiteY5" fmla="*/ 49530 h 53244"/>
                  <a:gd name="connsiteX6" fmla="*/ 45720 w 74294"/>
                  <a:gd name="connsiteY6" fmla="*/ 35242 h 53244"/>
                  <a:gd name="connsiteX7" fmla="*/ 60007 w 74294"/>
                  <a:gd name="connsiteY7" fmla="*/ 28575 h 53244"/>
                  <a:gd name="connsiteX8" fmla="*/ 74295 w 74294"/>
                  <a:gd name="connsiteY8" fmla="*/ 31432 h 53244"/>
                  <a:gd name="connsiteX9" fmla="*/ 66675 w 74294"/>
                  <a:gd name="connsiteY9" fmla="*/ 24670 h 53244"/>
                  <a:gd name="connsiteX10" fmla="*/ 56198 w 74294"/>
                  <a:gd name="connsiteY10" fmla="*/ 18002 h 53244"/>
                  <a:gd name="connsiteX11" fmla="*/ 52388 w 74294"/>
                  <a:gd name="connsiteY11" fmla="*/ 6667 h 53244"/>
                  <a:gd name="connsiteX12" fmla="*/ 39053 w 74294"/>
                  <a:gd name="connsiteY12" fmla="*/ 6667 h 53244"/>
                  <a:gd name="connsiteX13" fmla="*/ 20955 w 74294"/>
                  <a:gd name="connsiteY13" fmla="*/ 0 h 53244"/>
                  <a:gd name="connsiteX14" fmla="*/ 6668 w 74294"/>
                  <a:gd name="connsiteY14" fmla="*/ 6667 h 53244"/>
                  <a:gd name="connsiteX15" fmla="*/ 0 w 74294"/>
                  <a:gd name="connsiteY15" fmla="*/ 18002 h 53244"/>
                  <a:gd name="connsiteX16" fmla="*/ 0 w 74294"/>
                  <a:gd name="connsiteY16" fmla="*/ 24670 h 5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294" h="53244">
                    <a:moveTo>
                      <a:pt x="0" y="24670"/>
                    </a:moveTo>
                    <a:lnTo>
                      <a:pt x="0" y="35242"/>
                    </a:lnTo>
                    <a:lnTo>
                      <a:pt x="3810" y="45720"/>
                    </a:lnTo>
                    <a:lnTo>
                      <a:pt x="17145" y="45720"/>
                    </a:lnTo>
                    <a:lnTo>
                      <a:pt x="6668" y="53245"/>
                    </a:lnTo>
                    <a:lnTo>
                      <a:pt x="24765" y="49530"/>
                    </a:lnTo>
                    <a:lnTo>
                      <a:pt x="45720" y="35242"/>
                    </a:lnTo>
                    <a:lnTo>
                      <a:pt x="60007" y="28575"/>
                    </a:lnTo>
                    <a:lnTo>
                      <a:pt x="74295" y="31432"/>
                    </a:lnTo>
                    <a:lnTo>
                      <a:pt x="66675" y="24670"/>
                    </a:lnTo>
                    <a:lnTo>
                      <a:pt x="56198" y="18002"/>
                    </a:lnTo>
                    <a:lnTo>
                      <a:pt x="52388" y="6667"/>
                    </a:lnTo>
                    <a:lnTo>
                      <a:pt x="39053" y="6667"/>
                    </a:lnTo>
                    <a:lnTo>
                      <a:pt x="20955" y="0"/>
                    </a:lnTo>
                    <a:lnTo>
                      <a:pt x="6668" y="6667"/>
                    </a:lnTo>
                    <a:lnTo>
                      <a:pt x="0" y="18002"/>
                    </a:lnTo>
                    <a:lnTo>
                      <a:pt x="0" y="246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BE0D0799-205B-7C80-4780-BD099EF5081E}"/>
                  </a:ext>
                </a:extLst>
              </p:cNvPr>
              <p:cNvSpPr/>
              <p:nvPr/>
            </p:nvSpPr>
            <p:spPr>
              <a:xfrm>
                <a:off x="6712820" y="3320549"/>
                <a:ext cx="72830" cy="52195"/>
              </a:xfrm>
              <a:custGeom>
                <a:avLst/>
                <a:gdLst>
                  <a:gd name="connsiteX0" fmla="*/ 0 w 74294"/>
                  <a:gd name="connsiteY0" fmla="*/ 24670 h 53244"/>
                  <a:gd name="connsiteX1" fmla="*/ 0 w 74294"/>
                  <a:gd name="connsiteY1" fmla="*/ 35242 h 53244"/>
                  <a:gd name="connsiteX2" fmla="*/ 3810 w 74294"/>
                  <a:gd name="connsiteY2" fmla="*/ 45720 h 53244"/>
                  <a:gd name="connsiteX3" fmla="*/ 17145 w 74294"/>
                  <a:gd name="connsiteY3" fmla="*/ 45720 h 53244"/>
                  <a:gd name="connsiteX4" fmla="*/ 6668 w 74294"/>
                  <a:gd name="connsiteY4" fmla="*/ 53245 h 53244"/>
                  <a:gd name="connsiteX5" fmla="*/ 24765 w 74294"/>
                  <a:gd name="connsiteY5" fmla="*/ 49530 h 53244"/>
                  <a:gd name="connsiteX6" fmla="*/ 45720 w 74294"/>
                  <a:gd name="connsiteY6" fmla="*/ 35242 h 53244"/>
                  <a:gd name="connsiteX7" fmla="*/ 60007 w 74294"/>
                  <a:gd name="connsiteY7" fmla="*/ 28575 h 53244"/>
                  <a:gd name="connsiteX8" fmla="*/ 74295 w 74294"/>
                  <a:gd name="connsiteY8" fmla="*/ 31432 h 53244"/>
                  <a:gd name="connsiteX9" fmla="*/ 66675 w 74294"/>
                  <a:gd name="connsiteY9" fmla="*/ 24670 h 53244"/>
                  <a:gd name="connsiteX10" fmla="*/ 56198 w 74294"/>
                  <a:gd name="connsiteY10" fmla="*/ 18002 h 53244"/>
                  <a:gd name="connsiteX11" fmla="*/ 52388 w 74294"/>
                  <a:gd name="connsiteY11" fmla="*/ 6667 h 53244"/>
                  <a:gd name="connsiteX12" fmla="*/ 39053 w 74294"/>
                  <a:gd name="connsiteY12" fmla="*/ 6667 h 53244"/>
                  <a:gd name="connsiteX13" fmla="*/ 20955 w 74294"/>
                  <a:gd name="connsiteY13" fmla="*/ 0 h 53244"/>
                  <a:gd name="connsiteX14" fmla="*/ 6668 w 74294"/>
                  <a:gd name="connsiteY14" fmla="*/ 6667 h 53244"/>
                  <a:gd name="connsiteX15" fmla="*/ 0 w 74294"/>
                  <a:gd name="connsiteY15" fmla="*/ 18002 h 53244"/>
                  <a:gd name="connsiteX16" fmla="*/ 0 w 74294"/>
                  <a:gd name="connsiteY16" fmla="*/ 24670 h 5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294" h="53244">
                    <a:moveTo>
                      <a:pt x="0" y="24670"/>
                    </a:moveTo>
                    <a:lnTo>
                      <a:pt x="0" y="35242"/>
                    </a:lnTo>
                    <a:lnTo>
                      <a:pt x="3810" y="45720"/>
                    </a:lnTo>
                    <a:lnTo>
                      <a:pt x="17145" y="45720"/>
                    </a:lnTo>
                    <a:lnTo>
                      <a:pt x="6668" y="53245"/>
                    </a:lnTo>
                    <a:lnTo>
                      <a:pt x="24765" y="49530"/>
                    </a:lnTo>
                    <a:lnTo>
                      <a:pt x="45720" y="35242"/>
                    </a:lnTo>
                    <a:lnTo>
                      <a:pt x="60007" y="28575"/>
                    </a:lnTo>
                    <a:lnTo>
                      <a:pt x="74295" y="31432"/>
                    </a:lnTo>
                    <a:lnTo>
                      <a:pt x="66675" y="24670"/>
                    </a:lnTo>
                    <a:lnTo>
                      <a:pt x="56198" y="18002"/>
                    </a:lnTo>
                    <a:lnTo>
                      <a:pt x="52388" y="6667"/>
                    </a:lnTo>
                    <a:lnTo>
                      <a:pt x="39053" y="6667"/>
                    </a:lnTo>
                    <a:lnTo>
                      <a:pt x="20955" y="0"/>
                    </a:lnTo>
                    <a:lnTo>
                      <a:pt x="6668" y="6667"/>
                    </a:lnTo>
                    <a:lnTo>
                      <a:pt x="0" y="18002"/>
                    </a:lnTo>
                    <a:lnTo>
                      <a:pt x="0" y="246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31AE509C-67F3-5312-D18C-58497479C155}"/>
                  </a:ext>
                </a:extLst>
              </p:cNvPr>
              <p:cNvSpPr/>
              <p:nvPr/>
            </p:nvSpPr>
            <p:spPr>
              <a:xfrm>
                <a:off x="6643724" y="3531479"/>
                <a:ext cx="75631" cy="16807"/>
              </a:xfrm>
              <a:custGeom>
                <a:avLst/>
                <a:gdLst>
                  <a:gd name="connsiteX0" fmla="*/ 6667 w 77152"/>
                  <a:gd name="connsiteY0" fmla="*/ 0 h 17145"/>
                  <a:gd name="connsiteX1" fmla="*/ 17145 w 77152"/>
                  <a:gd name="connsiteY1" fmla="*/ 0 h 17145"/>
                  <a:gd name="connsiteX2" fmla="*/ 28575 w 77152"/>
                  <a:gd name="connsiteY2" fmla="*/ 3905 h 17145"/>
                  <a:gd name="connsiteX3" fmla="*/ 39052 w 77152"/>
                  <a:gd name="connsiteY3" fmla="*/ 3905 h 17145"/>
                  <a:gd name="connsiteX4" fmla="*/ 52388 w 77152"/>
                  <a:gd name="connsiteY4" fmla="*/ 3905 h 17145"/>
                  <a:gd name="connsiteX5" fmla="*/ 60007 w 77152"/>
                  <a:gd name="connsiteY5" fmla="*/ 3905 h 17145"/>
                  <a:gd name="connsiteX6" fmla="*/ 74295 w 77152"/>
                  <a:gd name="connsiteY6" fmla="*/ 6763 h 17145"/>
                  <a:gd name="connsiteX7" fmla="*/ 77152 w 77152"/>
                  <a:gd name="connsiteY7" fmla="*/ 14288 h 17145"/>
                  <a:gd name="connsiteX8" fmla="*/ 70485 w 77152"/>
                  <a:gd name="connsiteY8" fmla="*/ 17145 h 17145"/>
                  <a:gd name="connsiteX9" fmla="*/ 56197 w 77152"/>
                  <a:gd name="connsiteY9" fmla="*/ 14288 h 17145"/>
                  <a:gd name="connsiteX10" fmla="*/ 41910 w 77152"/>
                  <a:gd name="connsiteY10" fmla="*/ 14288 h 17145"/>
                  <a:gd name="connsiteX11" fmla="*/ 31432 w 77152"/>
                  <a:gd name="connsiteY11" fmla="*/ 17145 h 17145"/>
                  <a:gd name="connsiteX12" fmla="*/ 28575 w 77152"/>
                  <a:gd name="connsiteY12" fmla="*/ 10573 h 17145"/>
                  <a:gd name="connsiteX13" fmla="*/ 14288 w 77152"/>
                  <a:gd name="connsiteY13" fmla="*/ 10573 h 17145"/>
                  <a:gd name="connsiteX14" fmla="*/ 0 w 77152"/>
                  <a:gd name="connsiteY14" fmla="*/ 6763 h 17145"/>
                  <a:gd name="connsiteX15" fmla="*/ 6667 w 77152"/>
                  <a:gd name="connsiteY15" fmla="*/ 0 h 1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7152" h="17145">
                    <a:moveTo>
                      <a:pt x="6667" y="0"/>
                    </a:moveTo>
                    <a:lnTo>
                      <a:pt x="17145" y="0"/>
                    </a:lnTo>
                    <a:lnTo>
                      <a:pt x="28575" y="3905"/>
                    </a:lnTo>
                    <a:lnTo>
                      <a:pt x="39052" y="3905"/>
                    </a:lnTo>
                    <a:lnTo>
                      <a:pt x="52388" y="3905"/>
                    </a:lnTo>
                    <a:lnTo>
                      <a:pt x="60007" y="3905"/>
                    </a:lnTo>
                    <a:lnTo>
                      <a:pt x="74295" y="6763"/>
                    </a:lnTo>
                    <a:lnTo>
                      <a:pt x="77152" y="14288"/>
                    </a:lnTo>
                    <a:lnTo>
                      <a:pt x="70485" y="17145"/>
                    </a:lnTo>
                    <a:lnTo>
                      <a:pt x="56197" y="14288"/>
                    </a:lnTo>
                    <a:lnTo>
                      <a:pt x="41910" y="14288"/>
                    </a:lnTo>
                    <a:lnTo>
                      <a:pt x="31432" y="17145"/>
                    </a:lnTo>
                    <a:lnTo>
                      <a:pt x="28575" y="10573"/>
                    </a:lnTo>
                    <a:lnTo>
                      <a:pt x="14288" y="10573"/>
                    </a:lnTo>
                    <a:lnTo>
                      <a:pt x="0" y="6763"/>
                    </a:lnTo>
                    <a:lnTo>
                      <a:pt x="6667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321BF77E-7890-4A98-209A-FDE60A1338F8}"/>
                  </a:ext>
                </a:extLst>
              </p:cNvPr>
              <p:cNvSpPr/>
              <p:nvPr/>
            </p:nvSpPr>
            <p:spPr>
              <a:xfrm>
                <a:off x="6643724" y="3531479"/>
                <a:ext cx="75631" cy="16807"/>
              </a:xfrm>
              <a:custGeom>
                <a:avLst/>
                <a:gdLst>
                  <a:gd name="connsiteX0" fmla="*/ 6667 w 77152"/>
                  <a:gd name="connsiteY0" fmla="*/ 0 h 17145"/>
                  <a:gd name="connsiteX1" fmla="*/ 17145 w 77152"/>
                  <a:gd name="connsiteY1" fmla="*/ 0 h 17145"/>
                  <a:gd name="connsiteX2" fmla="*/ 28575 w 77152"/>
                  <a:gd name="connsiteY2" fmla="*/ 3905 h 17145"/>
                  <a:gd name="connsiteX3" fmla="*/ 39052 w 77152"/>
                  <a:gd name="connsiteY3" fmla="*/ 3905 h 17145"/>
                  <a:gd name="connsiteX4" fmla="*/ 52388 w 77152"/>
                  <a:gd name="connsiteY4" fmla="*/ 3905 h 17145"/>
                  <a:gd name="connsiteX5" fmla="*/ 60007 w 77152"/>
                  <a:gd name="connsiteY5" fmla="*/ 3905 h 17145"/>
                  <a:gd name="connsiteX6" fmla="*/ 74295 w 77152"/>
                  <a:gd name="connsiteY6" fmla="*/ 6763 h 17145"/>
                  <a:gd name="connsiteX7" fmla="*/ 77152 w 77152"/>
                  <a:gd name="connsiteY7" fmla="*/ 14288 h 17145"/>
                  <a:gd name="connsiteX8" fmla="*/ 70485 w 77152"/>
                  <a:gd name="connsiteY8" fmla="*/ 17145 h 17145"/>
                  <a:gd name="connsiteX9" fmla="*/ 56197 w 77152"/>
                  <a:gd name="connsiteY9" fmla="*/ 14288 h 17145"/>
                  <a:gd name="connsiteX10" fmla="*/ 41910 w 77152"/>
                  <a:gd name="connsiteY10" fmla="*/ 14288 h 17145"/>
                  <a:gd name="connsiteX11" fmla="*/ 31432 w 77152"/>
                  <a:gd name="connsiteY11" fmla="*/ 17145 h 17145"/>
                  <a:gd name="connsiteX12" fmla="*/ 28575 w 77152"/>
                  <a:gd name="connsiteY12" fmla="*/ 10573 h 17145"/>
                  <a:gd name="connsiteX13" fmla="*/ 14288 w 77152"/>
                  <a:gd name="connsiteY13" fmla="*/ 10573 h 17145"/>
                  <a:gd name="connsiteX14" fmla="*/ 0 w 77152"/>
                  <a:gd name="connsiteY14" fmla="*/ 6763 h 17145"/>
                  <a:gd name="connsiteX15" fmla="*/ 6667 w 77152"/>
                  <a:gd name="connsiteY15" fmla="*/ 0 h 1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7152" h="17145">
                    <a:moveTo>
                      <a:pt x="6667" y="0"/>
                    </a:moveTo>
                    <a:lnTo>
                      <a:pt x="17145" y="0"/>
                    </a:lnTo>
                    <a:lnTo>
                      <a:pt x="28575" y="3905"/>
                    </a:lnTo>
                    <a:lnTo>
                      <a:pt x="39052" y="3905"/>
                    </a:lnTo>
                    <a:lnTo>
                      <a:pt x="52388" y="3905"/>
                    </a:lnTo>
                    <a:lnTo>
                      <a:pt x="60007" y="3905"/>
                    </a:lnTo>
                    <a:lnTo>
                      <a:pt x="74295" y="6763"/>
                    </a:lnTo>
                    <a:lnTo>
                      <a:pt x="77152" y="14288"/>
                    </a:lnTo>
                    <a:lnTo>
                      <a:pt x="70485" y="17145"/>
                    </a:lnTo>
                    <a:lnTo>
                      <a:pt x="56197" y="14288"/>
                    </a:lnTo>
                    <a:lnTo>
                      <a:pt x="41910" y="14288"/>
                    </a:lnTo>
                    <a:lnTo>
                      <a:pt x="31432" y="17145"/>
                    </a:lnTo>
                    <a:lnTo>
                      <a:pt x="28575" y="10573"/>
                    </a:lnTo>
                    <a:lnTo>
                      <a:pt x="14288" y="10573"/>
                    </a:lnTo>
                    <a:lnTo>
                      <a:pt x="0" y="6763"/>
                    </a:lnTo>
                    <a:lnTo>
                      <a:pt x="6667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6D91A53E-444B-4810-8AD5-382528BBB10F}"/>
                  </a:ext>
                </a:extLst>
              </p:cNvPr>
              <p:cNvSpPr/>
              <p:nvPr/>
            </p:nvSpPr>
            <p:spPr>
              <a:xfrm>
                <a:off x="6550352" y="3334555"/>
                <a:ext cx="162467" cy="168912"/>
              </a:xfrm>
              <a:custGeom>
                <a:avLst/>
                <a:gdLst>
                  <a:gd name="connsiteX0" fmla="*/ 74295 w 165734"/>
                  <a:gd name="connsiteY0" fmla="*/ 109538 h 172307"/>
                  <a:gd name="connsiteX1" fmla="*/ 80963 w 165734"/>
                  <a:gd name="connsiteY1" fmla="*/ 112395 h 172307"/>
                  <a:gd name="connsiteX2" fmla="*/ 78105 w 165734"/>
                  <a:gd name="connsiteY2" fmla="*/ 119920 h 172307"/>
                  <a:gd name="connsiteX3" fmla="*/ 66675 w 165734"/>
                  <a:gd name="connsiteY3" fmla="*/ 119920 h 172307"/>
                  <a:gd name="connsiteX4" fmla="*/ 53340 w 165734"/>
                  <a:gd name="connsiteY4" fmla="*/ 116205 h 172307"/>
                  <a:gd name="connsiteX5" fmla="*/ 42863 w 165734"/>
                  <a:gd name="connsiteY5" fmla="*/ 116205 h 172307"/>
                  <a:gd name="connsiteX6" fmla="*/ 35242 w 165734"/>
                  <a:gd name="connsiteY6" fmla="*/ 122777 h 172307"/>
                  <a:gd name="connsiteX7" fmla="*/ 35242 w 165734"/>
                  <a:gd name="connsiteY7" fmla="*/ 137065 h 172307"/>
                  <a:gd name="connsiteX8" fmla="*/ 45720 w 165734"/>
                  <a:gd name="connsiteY8" fmla="*/ 144780 h 172307"/>
                  <a:gd name="connsiteX9" fmla="*/ 45720 w 165734"/>
                  <a:gd name="connsiteY9" fmla="*/ 155257 h 172307"/>
                  <a:gd name="connsiteX10" fmla="*/ 49530 w 165734"/>
                  <a:gd name="connsiteY10" fmla="*/ 161925 h 172307"/>
                  <a:gd name="connsiteX11" fmla="*/ 56197 w 165734"/>
                  <a:gd name="connsiteY11" fmla="*/ 151352 h 172307"/>
                  <a:gd name="connsiteX12" fmla="*/ 60007 w 165734"/>
                  <a:gd name="connsiteY12" fmla="*/ 158020 h 172307"/>
                  <a:gd name="connsiteX13" fmla="*/ 63817 w 165734"/>
                  <a:gd name="connsiteY13" fmla="*/ 172307 h 172307"/>
                  <a:gd name="connsiteX14" fmla="*/ 74295 w 165734"/>
                  <a:gd name="connsiteY14" fmla="*/ 169545 h 172307"/>
                  <a:gd name="connsiteX15" fmla="*/ 74295 w 165734"/>
                  <a:gd name="connsiteY15" fmla="*/ 161925 h 172307"/>
                  <a:gd name="connsiteX16" fmla="*/ 80963 w 165734"/>
                  <a:gd name="connsiteY16" fmla="*/ 172307 h 172307"/>
                  <a:gd name="connsiteX17" fmla="*/ 84772 w 165734"/>
                  <a:gd name="connsiteY17" fmla="*/ 165640 h 172307"/>
                  <a:gd name="connsiteX18" fmla="*/ 84772 w 165734"/>
                  <a:gd name="connsiteY18" fmla="*/ 158020 h 172307"/>
                  <a:gd name="connsiteX19" fmla="*/ 78105 w 165734"/>
                  <a:gd name="connsiteY19" fmla="*/ 151352 h 172307"/>
                  <a:gd name="connsiteX20" fmla="*/ 70485 w 165734"/>
                  <a:gd name="connsiteY20" fmla="*/ 140970 h 172307"/>
                  <a:gd name="connsiteX21" fmla="*/ 74295 w 165734"/>
                  <a:gd name="connsiteY21" fmla="*/ 134207 h 172307"/>
                  <a:gd name="connsiteX22" fmla="*/ 80963 w 165734"/>
                  <a:gd name="connsiteY22" fmla="*/ 134207 h 172307"/>
                  <a:gd name="connsiteX23" fmla="*/ 91440 w 165734"/>
                  <a:gd name="connsiteY23" fmla="*/ 130492 h 172307"/>
                  <a:gd name="connsiteX24" fmla="*/ 84772 w 165734"/>
                  <a:gd name="connsiteY24" fmla="*/ 122777 h 172307"/>
                  <a:gd name="connsiteX25" fmla="*/ 84772 w 165734"/>
                  <a:gd name="connsiteY25" fmla="*/ 112395 h 172307"/>
                  <a:gd name="connsiteX26" fmla="*/ 91440 w 165734"/>
                  <a:gd name="connsiteY26" fmla="*/ 119920 h 172307"/>
                  <a:gd name="connsiteX27" fmla="*/ 101917 w 165734"/>
                  <a:gd name="connsiteY27" fmla="*/ 122777 h 172307"/>
                  <a:gd name="connsiteX28" fmla="*/ 112395 w 165734"/>
                  <a:gd name="connsiteY28" fmla="*/ 116205 h 172307"/>
                  <a:gd name="connsiteX29" fmla="*/ 109538 w 165734"/>
                  <a:gd name="connsiteY29" fmla="*/ 105632 h 172307"/>
                  <a:gd name="connsiteX30" fmla="*/ 101917 w 165734"/>
                  <a:gd name="connsiteY30" fmla="*/ 98107 h 172307"/>
                  <a:gd name="connsiteX31" fmla="*/ 88582 w 165734"/>
                  <a:gd name="connsiteY31" fmla="*/ 95250 h 172307"/>
                  <a:gd name="connsiteX32" fmla="*/ 80963 w 165734"/>
                  <a:gd name="connsiteY32" fmla="*/ 87630 h 172307"/>
                  <a:gd name="connsiteX33" fmla="*/ 78105 w 165734"/>
                  <a:gd name="connsiteY33" fmla="*/ 77057 h 172307"/>
                  <a:gd name="connsiteX34" fmla="*/ 78105 w 165734"/>
                  <a:gd name="connsiteY34" fmla="*/ 70390 h 172307"/>
                  <a:gd name="connsiteX35" fmla="*/ 66675 w 165734"/>
                  <a:gd name="connsiteY35" fmla="*/ 56102 h 172307"/>
                  <a:gd name="connsiteX36" fmla="*/ 63817 w 165734"/>
                  <a:gd name="connsiteY36" fmla="*/ 49530 h 172307"/>
                  <a:gd name="connsiteX37" fmla="*/ 66675 w 165734"/>
                  <a:gd name="connsiteY37" fmla="*/ 38957 h 172307"/>
                  <a:gd name="connsiteX38" fmla="*/ 78105 w 165734"/>
                  <a:gd name="connsiteY38" fmla="*/ 35242 h 172307"/>
                  <a:gd name="connsiteX39" fmla="*/ 84772 w 165734"/>
                  <a:gd name="connsiteY39" fmla="*/ 45720 h 172307"/>
                  <a:gd name="connsiteX40" fmla="*/ 99060 w 165734"/>
                  <a:gd name="connsiteY40" fmla="*/ 49530 h 172307"/>
                  <a:gd name="connsiteX41" fmla="*/ 101917 w 165734"/>
                  <a:gd name="connsiteY41" fmla="*/ 45720 h 172307"/>
                  <a:gd name="connsiteX42" fmla="*/ 105727 w 165734"/>
                  <a:gd name="connsiteY42" fmla="*/ 38957 h 172307"/>
                  <a:gd name="connsiteX43" fmla="*/ 101917 w 165734"/>
                  <a:gd name="connsiteY43" fmla="*/ 27527 h 172307"/>
                  <a:gd name="connsiteX44" fmla="*/ 112395 w 165734"/>
                  <a:gd name="connsiteY44" fmla="*/ 27527 h 172307"/>
                  <a:gd name="connsiteX45" fmla="*/ 123825 w 165734"/>
                  <a:gd name="connsiteY45" fmla="*/ 24670 h 172307"/>
                  <a:gd name="connsiteX46" fmla="*/ 137160 w 165734"/>
                  <a:gd name="connsiteY46" fmla="*/ 24670 h 172307"/>
                  <a:gd name="connsiteX47" fmla="*/ 147638 w 165734"/>
                  <a:gd name="connsiteY47" fmla="*/ 24670 h 172307"/>
                  <a:gd name="connsiteX48" fmla="*/ 159067 w 165734"/>
                  <a:gd name="connsiteY48" fmla="*/ 24670 h 172307"/>
                  <a:gd name="connsiteX49" fmla="*/ 165735 w 165734"/>
                  <a:gd name="connsiteY49" fmla="*/ 20955 h 172307"/>
                  <a:gd name="connsiteX50" fmla="*/ 165735 w 165734"/>
                  <a:gd name="connsiteY50" fmla="*/ 10382 h 172307"/>
                  <a:gd name="connsiteX51" fmla="*/ 151447 w 165734"/>
                  <a:gd name="connsiteY51" fmla="*/ 10382 h 172307"/>
                  <a:gd name="connsiteX52" fmla="*/ 130492 w 165734"/>
                  <a:gd name="connsiteY52" fmla="*/ 10382 h 172307"/>
                  <a:gd name="connsiteX53" fmla="*/ 123825 w 165734"/>
                  <a:gd name="connsiteY53" fmla="*/ 6667 h 172307"/>
                  <a:gd name="connsiteX54" fmla="*/ 112395 w 165734"/>
                  <a:gd name="connsiteY54" fmla="*/ 3715 h 172307"/>
                  <a:gd name="connsiteX55" fmla="*/ 101917 w 165734"/>
                  <a:gd name="connsiteY55" fmla="*/ 0 h 172307"/>
                  <a:gd name="connsiteX56" fmla="*/ 84772 w 165734"/>
                  <a:gd name="connsiteY56" fmla="*/ 6667 h 172307"/>
                  <a:gd name="connsiteX57" fmla="*/ 70485 w 165734"/>
                  <a:gd name="connsiteY57" fmla="*/ 17145 h 172307"/>
                  <a:gd name="connsiteX58" fmla="*/ 60007 w 165734"/>
                  <a:gd name="connsiteY58" fmla="*/ 17145 h 172307"/>
                  <a:gd name="connsiteX59" fmla="*/ 45720 w 165734"/>
                  <a:gd name="connsiteY59" fmla="*/ 20955 h 172307"/>
                  <a:gd name="connsiteX60" fmla="*/ 31432 w 165734"/>
                  <a:gd name="connsiteY60" fmla="*/ 24670 h 172307"/>
                  <a:gd name="connsiteX61" fmla="*/ 24765 w 165734"/>
                  <a:gd name="connsiteY61" fmla="*/ 27527 h 172307"/>
                  <a:gd name="connsiteX62" fmla="*/ 24765 w 165734"/>
                  <a:gd name="connsiteY62" fmla="*/ 35242 h 172307"/>
                  <a:gd name="connsiteX63" fmla="*/ 18097 w 165734"/>
                  <a:gd name="connsiteY63" fmla="*/ 45720 h 172307"/>
                  <a:gd name="connsiteX64" fmla="*/ 3810 w 165734"/>
                  <a:gd name="connsiteY64" fmla="*/ 60007 h 172307"/>
                  <a:gd name="connsiteX65" fmla="*/ 0 w 165734"/>
                  <a:gd name="connsiteY65" fmla="*/ 66675 h 172307"/>
                  <a:gd name="connsiteX66" fmla="*/ 7620 w 165734"/>
                  <a:gd name="connsiteY66" fmla="*/ 74295 h 172307"/>
                  <a:gd name="connsiteX67" fmla="*/ 18097 w 165734"/>
                  <a:gd name="connsiteY67" fmla="*/ 80963 h 172307"/>
                  <a:gd name="connsiteX68" fmla="*/ 28575 w 165734"/>
                  <a:gd name="connsiteY68" fmla="*/ 80963 h 172307"/>
                  <a:gd name="connsiteX69" fmla="*/ 35242 w 165734"/>
                  <a:gd name="connsiteY69" fmla="*/ 84677 h 172307"/>
                  <a:gd name="connsiteX70" fmla="*/ 24765 w 165734"/>
                  <a:gd name="connsiteY70" fmla="*/ 91345 h 172307"/>
                  <a:gd name="connsiteX71" fmla="*/ 24765 w 165734"/>
                  <a:gd name="connsiteY71" fmla="*/ 101917 h 172307"/>
                  <a:gd name="connsiteX72" fmla="*/ 31432 w 165734"/>
                  <a:gd name="connsiteY72" fmla="*/ 105632 h 172307"/>
                  <a:gd name="connsiteX73" fmla="*/ 45720 w 165734"/>
                  <a:gd name="connsiteY73" fmla="*/ 101917 h 172307"/>
                  <a:gd name="connsiteX74" fmla="*/ 56197 w 165734"/>
                  <a:gd name="connsiteY74" fmla="*/ 105632 h 172307"/>
                  <a:gd name="connsiteX75" fmla="*/ 74295 w 165734"/>
                  <a:gd name="connsiteY75" fmla="*/ 109538 h 17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165734" h="172307">
                    <a:moveTo>
                      <a:pt x="74295" y="109538"/>
                    </a:moveTo>
                    <a:lnTo>
                      <a:pt x="80963" y="112395"/>
                    </a:lnTo>
                    <a:lnTo>
                      <a:pt x="78105" y="119920"/>
                    </a:lnTo>
                    <a:lnTo>
                      <a:pt x="66675" y="119920"/>
                    </a:lnTo>
                    <a:lnTo>
                      <a:pt x="53340" y="116205"/>
                    </a:lnTo>
                    <a:lnTo>
                      <a:pt x="42863" y="116205"/>
                    </a:lnTo>
                    <a:lnTo>
                      <a:pt x="35242" y="122777"/>
                    </a:lnTo>
                    <a:lnTo>
                      <a:pt x="35242" y="137065"/>
                    </a:lnTo>
                    <a:lnTo>
                      <a:pt x="45720" y="144780"/>
                    </a:lnTo>
                    <a:lnTo>
                      <a:pt x="45720" y="155257"/>
                    </a:lnTo>
                    <a:lnTo>
                      <a:pt x="49530" y="161925"/>
                    </a:lnTo>
                    <a:lnTo>
                      <a:pt x="56197" y="151352"/>
                    </a:lnTo>
                    <a:lnTo>
                      <a:pt x="60007" y="158020"/>
                    </a:lnTo>
                    <a:lnTo>
                      <a:pt x="63817" y="172307"/>
                    </a:lnTo>
                    <a:lnTo>
                      <a:pt x="74295" y="169545"/>
                    </a:lnTo>
                    <a:lnTo>
                      <a:pt x="74295" y="161925"/>
                    </a:lnTo>
                    <a:lnTo>
                      <a:pt x="80963" y="172307"/>
                    </a:lnTo>
                    <a:lnTo>
                      <a:pt x="84772" y="165640"/>
                    </a:lnTo>
                    <a:lnTo>
                      <a:pt x="84772" y="158020"/>
                    </a:lnTo>
                    <a:lnTo>
                      <a:pt x="78105" y="151352"/>
                    </a:lnTo>
                    <a:lnTo>
                      <a:pt x="70485" y="140970"/>
                    </a:lnTo>
                    <a:lnTo>
                      <a:pt x="74295" y="134207"/>
                    </a:lnTo>
                    <a:lnTo>
                      <a:pt x="80963" y="134207"/>
                    </a:lnTo>
                    <a:lnTo>
                      <a:pt x="91440" y="130492"/>
                    </a:lnTo>
                    <a:lnTo>
                      <a:pt x="84772" y="122777"/>
                    </a:lnTo>
                    <a:lnTo>
                      <a:pt x="84772" y="112395"/>
                    </a:lnTo>
                    <a:lnTo>
                      <a:pt x="91440" y="119920"/>
                    </a:lnTo>
                    <a:lnTo>
                      <a:pt x="101917" y="122777"/>
                    </a:lnTo>
                    <a:lnTo>
                      <a:pt x="112395" y="116205"/>
                    </a:lnTo>
                    <a:lnTo>
                      <a:pt x="109538" y="105632"/>
                    </a:lnTo>
                    <a:lnTo>
                      <a:pt x="101917" y="98107"/>
                    </a:lnTo>
                    <a:lnTo>
                      <a:pt x="88582" y="95250"/>
                    </a:lnTo>
                    <a:lnTo>
                      <a:pt x="80963" y="87630"/>
                    </a:lnTo>
                    <a:lnTo>
                      <a:pt x="78105" y="77057"/>
                    </a:lnTo>
                    <a:lnTo>
                      <a:pt x="78105" y="70390"/>
                    </a:lnTo>
                    <a:lnTo>
                      <a:pt x="66675" y="56102"/>
                    </a:lnTo>
                    <a:lnTo>
                      <a:pt x="63817" y="49530"/>
                    </a:lnTo>
                    <a:lnTo>
                      <a:pt x="66675" y="38957"/>
                    </a:lnTo>
                    <a:lnTo>
                      <a:pt x="78105" y="35242"/>
                    </a:lnTo>
                    <a:lnTo>
                      <a:pt x="84772" y="45720"/>
                    </a:lnTo>
                    <a:lnTo>
                      <a:pt x="99060" y="49530"/>
                    </a:lnTo>
                    <a:lnTo>
                      <a:pt x="101917" y="45720"/>
                    </a:lnTo>
                    <a:lnTo>
                      <a:pt x="105727" y="38957"/>
                    </a:lnTo>
                    <a:lnTo>
                      <a:pt x="101917" y="27527"/>
                    </a:lnTo>
                    <a:lnTo>
                      <a:pt x="112395" y="27527"/>
                    </a:lnTo>
                    <a:lnTo>
                      <a:pt x="123825" y="24670"/>
                    </a:lnTo>
                    <a:lnTo>
                      <a:pt x="137160" y="24670"/>
                    </a:lnTo>
                    <a:lnTo>
                      <a:pt x="147638" y="24670"/>
                    </a:lnTo>
                    <a:lnTo>
                      <a:pt x="159067" y="24670"/>
                    </a:lnTo>
                    <a:lnTo>
                      <a:pt x="165735" y="20955"/>
                    </a:lnTo>
                    <a:lnTo>
                      <a:pt x="165735" y="10382"/>
                    </a:lnTo>
                    <a:lnTo>
                      <a:pt x="151447" y="10382"/>
                    </a:lnTo>
                    <a:lnTo>
                      <a:pt x="130492" y="10382"/>
                    </a:lnTo>
                    <a:lnTo>
                      <a:pt x="123825" y="6667"/>
                    </a:lnTo>
                    <a:lnTo>
                      <a:pt x="112395" y="3715"/>
                    </a:lnTo>
                    <a:lnTo>
                      <a:pt x="101917" y="0"/>
                    </a:lnTo>
                    <a:lnTo>
                      <a:pt x="84772" y="6667"/>
                    </a:lnTo>
                    <a:lnTo>
                      <a:pt x="70485" y="17145"/>
                    </a:lnTo>
                    <a:lnTo>
                      <a:pt x="60007" y="17145"/>
                    </a:lnTo>
                    <a:lnTo>
                      <a:pt x="45720" y="20955"/>
                    </a:lnTo>
                    <a:lnTo>
                      <a:pt x="31432" y="24670"/>
                    </a:lnTo>
                    <a:lnTo>
                      <a:pt x="24765" y="27527"/>
                    </a:lnTo>
                    <a:lnTo>
                      <a:pt x="24765" y="35242"/>
                    </a:lnTo>
                    <a:lnTo>
                      <a:pt x="18097" y="45720"/>
                    </a:lnTo>
                    <a:lnTo>
                      <a:pt x="3810" y="60007"/>
                    </a:lnTo>
                    <a:lnTo>
                      <a:pt x="0" y="66675"/>
                    </a:lnTo>
                    <a:lnTo>
                      <a:pt x="7620" y="74295"/>
                    </a:lnTo>
                    <a:lnTo>
                      <a:pt x="18097" y="80963"/>
                    </a:lnTo>
                    <a:lnTo>
                      <a:pt x="28575" y="80963"/>
                    </a:lnTo>
                    <a:lnTo>
                      <a:pt x="35242" y="84677"/>
                    </a:lnTo>
                    <a:lnTo>
                      <a:pt x="24765" y="91345"/>
                    </a:lnTo>
                    <a:lnTo>
                      <a:pt x="24765" y="101917"/>
                    </a:lnTo>
                    <a:lnTo>
                      <a:pt x="31432" y="105632"/>
                    </a:lnTo>
                    <a:lnTo>
                      <a:pt x="45720" y="101917"/>
                    </a:lnTo>
                    <a:lnTo>
                      <a:pt x="56197" y="105632"/>
                    </a:lnTo>
                    <a:lnTo>
                      <a:pt x="74295" y="1095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D7CF396A-0FF5-EBDB-2F69-260A40E2DACA}"/>
                  </a:ext>
                </a:extLst>
              </p:cNvPr>
              <p:cNvSpPr/>
              <p:nvPr/>
            </p:nvSpPr>
            <p:spPr>
              <a:xfrm>
                <a:off x="6529810" y="3303742"/>
                <a:ext cx="44818" cy="96174"/>
              </a:xfrm>
              <a:custGeom>
                <a:avLst/>
                <a:gdLst>
                  <a:gd name="connsiteX0" fmla="*/ 0 w 45719"/>
                  <a:gd name="connsiteY0" fmla="*/ 20860 h 98107"/>
                  <a:gd name="connsiteX1" fmla="*/ 3810 w 45719"/>
                  <a:gd name="connsiteY1" fmla="*/ 6572 h 98107"/>
                  <a:gd name="connsiteX2" fmla="*/ 10477 w 45719"/>
                  <a:gd name="connsiteY2" fmla="*/ 0 h 98107"/>
                  <a:gd name="connsiteX3" fmla="*/ 24765 w 45719"/>
                  <a:gd name="connsiteY3" fmla="*/ 2858 h 98107"/>
                  <a:gd name="connsiteX4" fmla="*/ 39052 w 45719"/>
                  <a:gd name="connsiteY4" fmla="*/ 13240 h 98107"/>
                  <a:gd name="connsiteX5" fmla="*/ 35243 w 45719"/>
                  <a:gd name="connsiteY5" fmla="*/ 27527 h 98107"/>
                  <a:gd name="connsiteX6" fmla="*/ 35243 w 45719"/>
                  <a:gd name="connsiteY6" fmla="*/ 38100 h 98107"/>
                  <a:gd name="connsiteX7" fmla="*/ 41910 w 45719"/>
                  <a:gd name="connsiteY7" fmla="*/ 52388 h 98107"/>
                  <a:gd name="connsiteX8" fmla="*/ 45720 w 45719"/>
                  <a:gd name="connsiteY8" fmla="*/ 58960 h 98107"/>
                  <a:gd name="connsiteX9" fmla="*/ 45720 w 45719"/>
                  <a:gd name="connsiteY9" fmla="*/ 66675 h 98107"/>
                  <a:gd name="connsiteX10" fmla="*/ 39052 w 45719"/>
                  <a:gd name="connsiteY10" fmla="*/ 77152 h 98107"/>
                  <a:gd name="connsiteX11" fmla="*/ 20955 w 45719"/>
                  <a:gd name="connsiteY11" fmla="*/ 98108 h 98107"/>
                  <a:gd name="connsiteX12" fmla="*/ 3810 w 45719"/>
                  <a:gd name="connsiteY12" fmla="*/ 70390 h 98107"/>
                  <a:gd name="connsiteX13" fmla="*/ 6668 w 45719"/>
                  <a:gd name="connsiteY13" fmla="*/ 48577 h 98107"/>
                  <a:gd name="connsiteX14" fmla="*/ 3810 w 45719"/>
                  <a:gd name="connsiteY14" fmla="*/ 31433 h 98107"/>
                  <a:gd name="connsiteX15" fmla="*/ 0 w 45719"/>
                  <a:gd name="connsiteY15" fmla="*/ 2086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5719" h="98107">
                    <a:moveTo>
                      <a:pt x="0" y="20860"/>
                    </a:moveTo>
                    <a:lnTo>
                      <a:pt x="3810" y="6572"/>
                    </a:lnTo>
                    <a:lnTo>
                      <a:pt x="10477" y="0"/>
                    </a:lnTo>
                    <a:lnTo>
                      <a:pt x="24765" y="2858"/>
                    </a:lnTo>
                    <a:lnTo>
                      <a:pt x="39052" y="13240"/>
                    </a:lnTo>
                    <a:lnTo>
                      <a:pt x="35243" y="27527"/>
                    </a:lnTo>
                    <a:lnTo>
                      <a:pt x="35243" y="38100"/>
                    </a:lnTo>
                    <a:lnTo>
                      <a:pt x="41910" y="52388"/>
                    </a:lnTo>
                    <a:lnTo>
                      <a:pt x="45720" y="58960"/>
                    </a:lnTo>
                    <a:lnTo>
                      <a:pt x="45720" y="66675"/>
                    </a:lnTo>
                    <a:lnTo>
                      <a:pt x="39052" y="77152"/>
                    </a:lnTo>
                    <a:lnTo>
                      <a:pt x="20955" y="98108"/>
                    </a:lnTo>
                    <a:lnTo>
                      <a:pt x="3810" y="70390"/>
                    </a:lnTo>
                    <a:lnTo>
                      <a:pt x="6668" y="48577"/>
                    </a:lnTo>
                    <a:lnTo>
                      <a:pt x="3810" y="31433"/>
                    </a:lnTo>
                    <a:lnTo>
                      <a:pt x="0" y="2086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2B1D8310-C629-444E-2EA1-05A370A431D5}"/>
                  </a:ext>
                </a:extLst>
              </p:cNvPr>
              <p:cNvSpPr/>
              <p:nvPr/>
            </p:nvSpPr>
            <p:spPr>
              <a:xfrm>
                <a:off x="8805297" y="4143074"/>
                <a:ext cx="137257" cy="117743"/>
              </a:xfrm>
              <a:custGeom>
                <a:avLst/>
                <a:gdLst>
                  <a:gd name="connsiteX0" fmla="*/ 70485 w 140017"/>
                  <a:gd name="connsiteY0" fmla="*/ 116300 h 120110"/>
                  <a:gd name="connsiteX1" fmla="*/ 59055 w 140017"/>
                  <a:gd name="connsiteY1" fmla="*/ 116300 h 120110"/>
                  <a:gd name="connsiteX2" fmla="*/ 56197 w 140017"/>
                  <a:gd name="connsiteY2" fmla="*/ 120110 h 120110"/>
                  <a:gd name="connsiteX3" fmla="*/ 31432 w 140017"/>
                  <a:gd name="connsiteY3" fmla="*/ 113347 h 120110"/>
                  <a:gd name="connsiteX4" fmla="*/ 20955 w 140017"/>
                  <a:gd name="connsiteY4" fmla="*/ 95250 h 120110"/>
                  <a:gd name="connsiteX5" fmla="*/ 13335 w 140017"/>
                  <a:gd name="connsiteY5" fmla="*/ 78200 h 120110"/>
                  <a:gd name="connsiteX6" fmla="*/ 0 w 140017"/>
                  <a:gd name="connsiteY6" fmla="*/ 42863 h 120110"/>
                  <a:gd name="connsiteX7" fmla="*/ 0 w 140017"/>
                  <a:gd name="connsiteY7" fmla="*/ 31528 h 120110"/>
                  <a:gd name="connsiteX8" fmla="*/ 13335 w 140017"/>
                  <a:gd name="connsiteY8" fmla="*/ 7715 h 120110"/>
                  <a:gd name="connsiteX9" fmla="*/ 83820 w 140017"/>
                  <a:gd name="connsiteY9" fmla="*/ 3810 h 120110"/>
                  <a:gd name="connsiteX10" fmla="*/ 83820 w 140017"/>
                  <a:gd name="connsiteY10" fmla="*/ 14288 h 120110"/>
                  <a:gd name="connsiteX11" fmla="*/ 101917 w 140017"/>
                  <a:gd name="connsiteY11" fmla="*/ 14288 h 120110"/>
                  <a:gd name="connsiteX12" fmla="*/ 108585 w 140017"/>
                  <a:gd name="connsiteY12" fmla="*/ 0 h 120110"/>
                  <a:gd name="connsiteX13" fmla="*/ 116205 w 140017"/>
                  <a:gd name="connsiteY13" fmla="*/ 3810 h 120110"/>
                  <a:gd name="connsiteX14" fmla="*/ 119063 w 140017"/>
                  <a:gd name="connsiteY14" fmla="*/ 10573 h 120110"/>
                  <a:gd name="connsiteX15" fmla="*/ 140017 w 140017"/>
                  <a:gd name="connsiteY15" fmla="*/ 10573 h 120110"/>
                  <a:gd name="connsiteX16" fmla="*/ 140017 w 140017"/>
                  <a:gd name="connsiteY16" fmla="*/ 28575 h 120110"/>
                  <a:gd name="connsiteX17" fmla="*/ 133350 w 140017"/>
                  <a:gd name="connsiteY17" fmla="*/ 45815 h 120110"/>
                  <a:gd name="connsiteX18" fmla="*/ 122872 w 140017"/>
                  <a:gd name="connsiteY18" fmla="*/ 66675 h 120110"/>
                  <a:gd name="connsiteX19" fmla="*/ 112395 w 140017"/>
                  <a:gd name="connsiteY19" fmla="*/ 80963 h 120110"/>
                  <a:gd name="connsiteX20" fmla="*/ 94297 w 140017"/>
                  <a:gd name="connsiteY20" fmla="*/ 88678 h 120110"/>
                  <a:gd name="connsiteX21" fmla="*/ 94297 w 140017"/>
                  <a:gd name="connsiteY21" fmla="*/ 102013 h 120110"/>
                  <a:gd name="connsiteX22" fmla="*/ 77152 w 140017"/>
                  <a:gd name="connsiteY22" fmla="*/ 109538 h 120110"/>
                  <a:gd name="connsiteX23" fmla="*/ 70485 w 140017"/>
                  <a:gd name="connsiteY23" fmla="*/ 116300 h 120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0017" h="120110">
                    <a:moveTo>
                      <a:pt x="70485" y="116300"/>
                    </a:moveTo>
                    <a:lnTo>
                      <a:pt x="59055" y="116300"/>
                    </a:lnTo>
                    <a:lnTo>
                      <a:pt x="56197" y="120110"/>
                    </a:lnTo>
                    <a:lnTo>
                      <a:pt x="31432" y="113347"/>
                    </a:lnTo>
                    <a:lnTo>
                      <a:pt x="20955" y="95250"/>
                    </a:lnTo>
                    <a:lnTo>
                      <a:pt x="13335" y="78200"/>
                    </a:lnTo>
                    <a:lnTo>
                      <a:pt x="0" y="42863"/>
                    </a:lnTo>
                    <a:lnTo>
                      <a:pt x="0" y="31528"/>
                    </a:lnTo>
                    <a:lnTo>
                      <a:pt x="13335" y="7715"/>
                    </a:lnTo>
                    <a:lnTo>
                      <a:pt x="83820" y="3810"/>
                    </a:lnTo>
                    <a:lnTo>
                      <a:pt x="83820" y="14288"/>
                    </a:lnTo>
                    <a:lnTo>
                      <a:pt x="101917" y="14288"/>
                    </a:lnTo>
                    <a:lnTo>
                      <a:pt x="108585" y="0"/>
                    </a:lnTo>
                    <a:lnTo>
                      <a:pt x="116205" y="3810"/>
                    </a:lnTo>
                    <a:lnTo>
                      <a:pt x="119063" y="10573"/>
                    </a:lnTo>
                    <a:lnTo>
                      <a:pt x="140017" y="10573"/>
                    </a:lnTo>
                    <a:lnTo>
                      <a:pt x="140017" y="28575"/>
                    </a:lnTo>
                    <a:lnTo>
                      <a:pt x="133350" y="45815"/>
                    </a:lnTo>
                    <a:lnTo>
                      <a:pt x="122872" y="66675"/>
                    </a:lnTo>
                    <a:lnTo>
                      <a:pt x="112395" y="80963"/>
                    </a:lnTo>
                    <a:lnTo>
                      <a:pt x="94297" y="88678"/>
                    </a:lnTo>
                    <a:lnTo>
                      <a:pt x="94297" y="102013"/>
                    </a:lnTo>
                    <a:lnTo>
                      <a:pt x="77152" y="109538"/>
                    </a:lnTo>
                    <a:lnTo>
                      <a:pt x="70485" y="11630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16D00C3B-701E-1A79-D978-E249E28F3C08}"/>
                  </a:ext>
                </a:extLst>
              </p:cNvPr>
              <p:cNvSpPr/>
              <p:nvPr/>
            </p:nvSpPr>
            <p:spPr>
              <a:xfrm>
                <a:off x="8805297" y="4143074"/>
                <a:ext cx="137257" cy="117743"/>
              </a:xfrm>
              <a:custGeom>
                <a:avLst/>
                <a:gdLst>
                  <a:gd name="connsiteX0" fmla="*/ 70485 w 140017"/>
                  <a:gd name="connsiteY0" fmla="*/ 116300 h 120110"/>
                  <a:gd name="connsiteX1" fmla="*/ 59055 w 140017"/>
                  <a:gd name="connsiteY1" fmla="*/ 116300 h 120110"/>
                  <a:gd name="connsiteX2" fmla="*/ 56197 w 140017"/>
                  <a:gd name="connsiteY2" fmla="*/ 120110 h 120110"/>
                  <a:gd name="connsiteX3" fmla="*/ 31432 w 140017"/>
                  <a:gd name="connsiteY3" fmla="*/ 113347 h 120110"/>
                  <a:gd name="connsiteX4" fmla="*/ 20955 w 140017"/>
                  <a:gd name="connsiteY4" fmla="*/ 95250 h 120110"/>
                  <a:gd name="connsiteX5" fmla="*/ 13335 w 140017"/>
                  <a:gd name="connsiteY5" fmla="*/ 78200 h 120110"/>
                  <a:gd name="connsiteX6" fmla="*/ 0 w 140017"/>
                  <a:gd name="connsiteY6" fmla="*/ 42863 h 120110"/>
                  <a:gd name="connsiteX7" fmla="*/ 0 w 140017"/>
                  <a:gd name="connsiteY7" fmla="*/ 31528 h 120110"/>
                  <a:gd name="connsiteX8" fmla="*/ 13335 w 140017"/>
                  <a:gd name="connsiteY8" fmla="*/ 7715 h 120110"/>
                  <a:gd name="connsiteX9" fmla="*/ 83820 w 140017"/>
                  <a:gd name="connsiteY9" fmla="*/ 3810 h 120110"/>
                  <a:gd name="connsiteX10" fmla="*/ 83820 w 140017"/>
                  <a:gd name="connsiteY10" fmla="*/ 14288 h 120110"/>
                  <a:gd name="connsiteX11" fmla="*/ 101917 w 140017"/>
                  <a:gd name="connsiteY11" fmla="*/ 14288 h 120110"/>
                  <a:gd name="connsiteX12" fmla="*/ 108585 w 140017"/>
                  <a:gd name="connsiteY12" fmla="*/ 0 h 120110"/>
                  <a:gd name="connsiteX13" fmla="*/ 116205 w 140017"/>
                  <a:gd name="connsiteY13" fmla="*/ 3810 h 120110"/>
                  <a:gd name="connsiteX14" fmla="*/ 119063 w 140017"/>
                  <a:gd name="connsiteY14" fmla="*/ 10573 h 120110"/>
                  <a:gd name="connsiteX15" fmla="*/ 140017 w 140017"/>
                  <a:gd name="connsiteY15" fmla="*/ 10573 h 120110"/>
                  <a:gd name="connsiteX16" fmla="*/ 140017 w 140017"/>
                  <a:gd name="connsiteY16" fmla="*/ 28575 h 120110"/>
                  <a:gd name="connsiteX17" fmla="*/ 133350 w 140017"/>
                  <a:gd name="connsiteY17" fmla="*/ 45815 h 120110"/>
                  <a:gd name="connsiteX18" fmla="*/ 122872 w 140017"/>
                  <a:gd name="connsiteY18" fmla="*/ 66675 h 120110"/>
                  <a:gd name="connsiteX19" fmla="*/ 112395 w 140017"/>
                  <a:gd name="connsiteY19" fmla="*/ 80963 h 120110"/>
                  <a:gd name="connsiteX20" fmla="*/ 94297 w 140017"/>
                  <a:gd name="connsiteY20" fmla="*/ 88678 h 120110"/>
                  <a:gd name="connsiteX21" fmla="*/ 94297 w 140017"/>
                  <a:gd name="connsiteY21" fmla="*/ 102013 h 120110"/>
                  <a:gd name="connsiteX22" fmla="*/ 77152 w 140017"/>
                  <a:gd name="connsiteY22" fmla="*/ 109538 h 120110"/>
                  <a:gd name="connsiteX23" fmla="*/ 70485 w 140017"/>
                  <a:gd name="connsiteY23" fmla="*/ 116300 h 120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0017" h="120110">
                    <a:moveTo>
                      <a:pt x="70485" y="116300"/>
                    </a:moveTo>
                    <a:lnTo>
                      <a:pt x="59055" y="116300"/>
                    </a:lnTo>
                    <a:lnTo>
                      <a:pt x="56197" y="120110"/>
                    </a:lnTo>
                    <a:lnTo>
                      <a:pt x="31432" y="113347"/>
                    </a:lnTo>
                    <a:lnTo>
                      <a:pt x="20955" y="95250"/>
                    </a:lnTo>
                    <a:lnTo>
                      <a:pt x="13335" y="78200"/>
                    </a:lnTo>
                    <a:lnTo>
                      <a:pt x="0" y="42863"/>
                    </a:lnTo>
                    <a:lnTo>
                      <a:pt x="0" y="31528"/>
                    </a:lnTo>
                    <a:lnTo>
                      <a:pt x="13335" y="7715"/>
                    </a:lnTo>
                    <a:lnTo>
                      <a:pt x="83820" y="3810"/>
                    </a:lnTo>
                    <a:lnTo>
                      <a:pt x="83820" y="14288"/>
                    </a:lnTo>
                    <a:lnTo>
                      <a:pt x="101917" y="14288"/>
                    </a:lnTo>
                    <a:lnTo>
                      <a:pt x="108585" y="0"/>
                    </a:lnTo>
                    <a:lnTo>
                      <a:pt x="116205" y="3810"/>
                    </a:lnTo>
                    <a:lnTo>
                      <a:pt x="119063" y="10573"/>
                    </a:lnTo>
                    <a:lnTo>
                      <a:pt x="140017" y="10573"/>
                    </a:lnTo>
                    <a:lnTo>
                      <a:pt x="140017" y="28575"/>
                    </a:lnTo>
                    <a:lnTo>
                      <a:pt x="133350" y="45815"/>
                    </a:lnTo>
                    <a:lnTo>
                      <a:pt x="122872" y="66675"/>
                    </a:lnTo>
                    <a:lnTo>
                      <a:pt x="112395" y="80963"/>
                    </a:lnTo>
                    <a:lnTo>
                      <a:pt x="94297" y="88678"/>
                    </a:lnTo>
                    <a:lnTo>
                      <a:pt x="94297" y="102013"/>
                    </a:lnTo>
                    <a:lnTo>
                      <a:pt x="77152" y="109538"/>
                    </a:lnTo>
                    <a:lnTo>
                      <a:pt x="70485" y="11630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6AB94BE5-004B-5F6C-09E0-8A93276756FE}"/>
                  </a:ext>
                </a:extLst>
              </p:cNvPr>
              <p:cNvSpPr/>
              <p:nvPr/>
            </p:nvSpPr>
            <p:spPr>
              <a:xfrm>
                <a:off x="8801561" y="3904972"/>
                <a:ext cx="193280" cy="404399"/>
              </a:xfrm>
              <a:custGeom>
                <a:avLst/>
                <a:gdLst>
                  <a:gd name="connsiteX0" fmla="*/ 74295 w 197167"/>
                  <a:gd name="connsiteY0" fmla="*/ 359188 h 412527"/>
                  <a:gd name="connsiteX1" fmla="*/ 77152 w 197167"/>
                  <a:gd name="connsiteY1" fmla="*/ 362998 h 412527"/>
                  <a:gd name="connsiteX2" fmla="*/ 77152 w 197167"/>
                  <a:gd name="connsiteY2" fmla="*/ 366713 h 412527"/>
                  <a:gd name="connsiteX3" fmla="*/ 77152 w 197167"/>
                  <a:gd name="connsiteY3" fmla="*/ 377285 h 412527"/>
                  <a:gd name="connsiteX4" fmla="*/ 74295 w 197167"/>
                  <a:gd name="connsiteY4" fmla="*/ 377285 h 412527"/>
                  <a:gd name="connsiteX5" fmla="*/ 70485 w 197167"/>
                  <a:gd name="connsiteY5" fmla="*/ 412528 h 412527"/>
                  <a:gd name="connsiteX6" fmla="*/ 91440 w 197167"/>
                  <a:gd name="connsiteY6" fmla="*/ 398240 h 412527"/>
                  <a:gd name="connsiteX7" fmla="*/ 116205 w 197167"/>
                  <a:gd name="connsiteY7" fmla="*/ 383953 h 412527"/>
                  <a:gd name="connsiteX8" fmla="*/ 116205 w 197167"/>
                  <a:gd name="connsiteY8" fmla="*/ 369665 h 412527"/>
                  <a:gd name="connsiteX9" fmla="*/ 122873 w 197167"/>
                  <a:gd name="connsiteY9" fmla="*/ 359188 h 412527"/>
                  <a:gd name="connsiteX10" fmla="*/ 143827 w 197167"/>
                  <a:gd name="connsiteY10" fmla="*/ 362998 h 412527"/>
                  <a:gd name="connsiteX11" fmla="*/ 165735 w 197167"/>
                  <a:gd name="connsiteY11" fmla="*/ 356235 h 412527"/>
                  <a:gd name="connsiteX12" fmla="*/ 190500 w 197167"/>
                  <a:gd name="connsiteY12" fmla="*/ 334423 h 412527"/>
                  <a:gd name="connsiteX13" fmla="*/ 197168 w 197167"/>
                  <a:gd name="connsiteY13" fmla="*/ 302990 h 412527"/>
                  <a:gd name="connsiteX14" fmla="*/ 190500 w 197167"/>
                  <a:gd name="connsiteY14" fmla="*/ 267748 h 412527"/>
                  <a:gd name="connsiteX15" fmla="*/ 182880 w 197167"/>
                  <a:gd name="connsiteY15" fmla="*/ 242888 h 412527"/>
                  <a:gd name="connsiteX16" fmla="*/ 176213 w 197167"/>
                  <a:gd name="connsiteY16" fmla="*/ 215360 h 412527"/>
                  <a:gd name="connsiteX17" fmla="*/ 105727 w 197167"/>
                  <a:gd name="connsiteY17" fmla="*/ 137160 h 412527"/>
                  <a:gd name="connsiteX18" fmla="*/ 95250 w 197167"/>
                  <a:gd name="connsiteY18" fmla="*/ 122872 h 412527"/>
                  <a:gd name="connsiteX19" fmla="*/ 109538 w 197167"/>
                  <a:gd name="connsiteY19" fmla="*/ 87725 h 412527"/>
                  <a:gd name="connsiteX20" fmla="*/ 130493 w 197167"/>
                  <a:gd name="connsiteY20" fmla="*/ 60103 h 412527"/>
                  <a:gd name="connsiteX21" fmla="*/ 143827 w 197167"/>
                  <a:gd name="connsiteY21" fmla="*/ 56197 h 412527"/>
                  <a:gd name="connsiteX22" fmla="*/ 140970 w 197167"/>
                  <a:gd name="connsiteY22" fmla="*/ 41910 h 412527"/>
                  <a:gd name="connsiteX23" fmla="*/ 122873 w 197167"/>
                  <a:gd name="connsiteY23" fmla="*/ 35338 h 412527"/>
                  <a:gd name="connsiteX24" fmla="*/ 120015 w 197167"/>
                  <a:gd name="connsiteY24" fmla="*/ 10573 h 412527"/>
                  <a:gd name="connsiteX25" fmla="*/ 101918 w 197167"/>
                  <a:gd name="connsiteY25" fmla="*/ 6763 h 412527"/>
                  <a:gd name="connsiteX26" fmla="*/ 87630 w 197167"/>
                  <a:gd name="connsiteY26" fmla="*/ 0 h 412527"/>
                  <a:gd name="connsiteX27" fmla="*/ 77152 w 197167"/>
                  <a:gd name="connsiteY27" fmla="*/ 0 h 412527"/>
                  <a:gd name="connsiteX28" fmla="*/ 60007 w 197167"/>
                  <a:gd name="connsiteY28" fmla="*/ 10573 h 412527"/>
                  <a:gd name="connsiteX29" fmla="*/ 3810 w 197167"/>
                  <a:gd name="connsiteY29" fmla="*/ 13335 h 412527"/>
                  <a:gd name="connsiteX30" fmla="*/ 0 w 197167"/>
                  <a:gd name="connsiteY30" fmla="*/ 24860 h 412527"/>
                  <a:gd name="connsiteX31" fmla="*/ 17145 w 197167"/>
                  <a:gd name="connsiteY31" fmla="*/ 41910 h 412527"/>
                  <a:gd name="connsiteX32" fmla="*/ 20955 w 197167"/>
                  <a:gd name="connsiteY32" fmla="*/ 66675 h 412527"/>
                  <a:gd name="connsiteX33" fmla="*/ 60007 w 197167"/>
                  <a:gd name="connsiteY33" fmla="*/ 62960 h 412527"/>
                  <a:gd name="connsiteX34" fmla="*/ 70485 w 197167"/>
                  <a:gd name="connsiteY34" fmla="*/ 80963 h 412527"/>
                  <a:gd name="connsiteX35" fmla="*/ 74295 w 197167"/>
                  <a:gd name="connsiteY35" fmla="*/ 98203 h 412527"/>
                  <a:gd name="connsiteX36" fmla="*/ 49530 w 197167"/>
                  <a:gd name="connsiteY36" fmla="*/ 98203 h 412527"/>
                  <a:gd name="connsiteX37" fmla="*/ 45720 w 197167"/>
                  <a:gd name="connsiteY37" fmla="*/ 116300 h 412527"/>
                  <a:gd name="connsiteX38" fmla="*/ 60007 w 197167"/>
                  <a:gd name="connsiteY38" fmla="*/ 122872 h 412527"/>
                  <a:gd name="connsiteX39" fmla="*/ 109538 w 197167"/>
                  <a:gd name="connsiteY39" fmla="*/ 168688 h 412527"/>
                  <a:gd name="connsiteX40" fmla="*/ 140970 w 197167"/>
                  <a:gd name="connsiteY40" fmla="*/ 203835 h 412527"/>
                  <a:gd name="connsiteX41" fmla="*/ 147638 w 197167"/>
                  <a:gd name="connsiteY41" fmla="*/ 228600 h 412527"/>
                  <a:gd name="connsiteX42" fmla="*/ 143827 w 197167"/>
                  <a:gd name="connsiteY42" fmla="*/ 253460 h 412527"/>
                  <a:gd name="connsiteX43" fmla="*/ 143827 w 197167"/>
                  <a:gd name="connsiteY43" fmla="*/ 267748 h 412527"/>
                  <a:gd name="connsiteX44" fmla="*/ 137160 w 197167"/>
                  <a:gd name="connsiteY44" fmla="*/ 288703 h 412527"/>
                  <a:gd name="connsiteX45" fmla="*/ 126682 w 197167"/>
                  <a:gd name="connsiteY45" fmla="*/ 309563 h 412527"/>
                  <a:gd name="connsiteX46" fmla="*/ 116205 w 197167"/>
                  <a:gd name="connsiteY46" fmla="*/ 323850 h 412527"/>
                  <a:gd name="connsiteX47" fmla="*/ 98107 w 197167"/>
                  <a:gd name="connsiteY47" fmla="*/ 331565 h 412527"/>
                  <a:gd name="connsiteX48" fmla="*/ 98107 w 197167"/>
                  <a:gd name="connsiteY48" fmla="*/ 344900 h 412527"/>
                  <a:gd name="connsiteX49" fmla="*/ 80963 w 197167"/>
                  <a:gd name="connsiteY49" fmla="*/ 352425 h 412527"/>
                  <a:gd name="connsiteX50" fmla="*/ 74295 w 197167"/>
                  <a:gd name="connsiteY50" fmla="*/ 359188 h 412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97167" h="412527">
                    <a:moveTo>
                      <a:pt x="74295" y="359188"/>
                    </a:moveTo>
                    <a:lnTo>
                      <a:pt x="77152" y="362998"/>
                    </a:lnTo>
                    <a:lnTo>
                      <a:pt x="77152" y="366713"/>
                    </a:lnTo>
                    <a:lnTo>
                      <a:pt x="77152" y="377285"/>
                    </a:lnTo>
                    <a:lnTo>
                      <a:pt x="74295" y="377285"/>
                    </a:lnTo>
                    <a:lnTo>
                      <a:pt x="70485" y="412528"/>
                    </a:lnTo>
                    <a:lnTo>
                      <a:pt x="91440" y="398240"/>
                    </a:lnTo>
                    <a:lnTo>
                      <a:pt x="116205" y="383953"/>
                    </a:lnTo>
                    <a:lnTo>
                      <a:pt x="116205" y="369665"/>
                    </a:lnTo>
                    <a:lnTo>
                      <a:pt x="122873" y="359188"/>
                    </a:lnTo>
                    <a:lnTo>
                      <a:pt x="143827" y="362998"/>
                    </a:lnTo>
                    <a:lnTo>
                      <a:pt x="165735" y="356235"/>
                    </a:lnTo>
                    <a:lnTo>
                      <a:pt x="190500" y="334423"/>
                    </a:lnTo>
                    <a:lnTo>
                      <a:pt x="197168" y="302990"/>
                    </a:lnTo>
                    <a:lnTo>
                      <a:pt x="190500" y="267748"/>
                    </a:lnTo>
                    <a:lnTo>
                      <a:pt x="182880" y="242888"/>
                    </a:lnTo>
                    <a:lnTo>
                      <a:pt x="176213" y="215360"/>
                    </a:lnTo>
                    <a:lnTo>
                      <a:pt x="105727" y="137160"/>
                    </a:lnTo>
                    <a:lnTo>
                      <a:pt x="95250" y="122872"/>
                    </a:lnTo>
                    <a:lnTo>
                      <a:pt x="109538" y="87725"/>
                    </a:lnTo>
                    <a:lnTo>
                      <a:pt x="130493" y="60103"/>
                    </a:lnTo>
                    <a:lnTo>
                      <a:pt x="143827" y="56197"/>
                    </a:lnTo>
                    <a:lnTo>
                      <a:pt x="140970" y="41910"/>
                    </a:lnTo>
                    <a:lnTo>
                      <a:pt x="122873" y="35338"/>
                    </a:lnTo>
                    <a:lnTo>
                      <a:pt x="120015" y="10573"/>
                    </a:lnTo>
                    <a:lnTo>
                      <a:pt x="101918" y="6763"/>
                    </a:lnTo>
                    <a:lnTo>
                      <a:pt x="87630" y="0"/>
                    </a:lnTo>
                    <a:lnTo>
                      <a:pt x="77152" y="0"/>
                    </a:lnTo>
                    <a:lnTo>
                      <a:pt x="60007" y="10573"/>
                    </a:lnTo>
                    <a:lnTo>
                      <a:pt x="3810" y="13335"/>
                    </a:lnTo>
                    <a:lnTo>
                      <a:pt x="0" y="24860"/>
                    </a:lnTo>
                    <a:lnTo>
                      <a:pt x="17145" y="41910"/>
                    </a:lnTo>
                    <a:lnTo>
                      <a:pt x="20955" y="66675"/>
                    </a:lnTo>
                    <a:lnTo>
                      <a:pt x="60007" y="62960"/>
                    </a:lnTo>
                    <a:lnTo>
                      <a:pt x="70485" y="80963"/>
                    </a:lnTo>
                    <a:lnTo>
                      <a:pt x="74295" y="98203"/>
                    </a:lnTo>
                    <a:lnTo>
                      <a:pt x="49530" y="98203"/>
                    </a:lnTo>
                    <a:lnTo>
                      <a:pt x="45720" y="116300"/>
                    </a:lnTo>
                    <a:lnTo>
                      <a:pt x="60007" y="122872"/>
                    </a:lnTo>
                    <a:lnTo>
                      <a:pt x="109538" y="168688"/>
                    </a:lnTo>
                    <a:lnTo>
                      <a:pt x="140970" y="203835"/>
                    </a:lnTo>
                    <a:lnTo>
                      <a:pt x="147638" y="228600"/>
                    </a:lnTo>
                    <a:lnTo>
                      <a:pt x="143827" y="253460"/>
                    </a:lnTo>
                    <a:lnTo>
                      <a:pt x="143827" y="267748"/>
                    </a:lnTo>
                    <a:lnTo>
                      <a:pt x="137160" y="288703"/>
                    </a:lnTo>
                    <a:lnTo>
                      <a:pt x="126682" y="309563"/>
                    </a:lnTo>
                    <a:lnTo>
                      <a:pt x="116205" y="323850"/>
                    </a:lnTo>
                    <a:lnTo>
                      <a:pt x="98107" y="331565"/>
                    </a:lnTo>
                    <a:lnTo>
                      <a:pt x="98107" y="344900"/>
                    </a:lnTo>
                    <a:lnTo>
                      <a:pt x="80963" y="352425"/>
                    </a:lnTo>
                    <a:lnTo>
                      <a:pt x="74295" y="3591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A84D364E-3116-68AB-90F9-E9729C504753}"/>
                  </a:ext>
                </a:extLst>
              </p:cNvPr>
              <p:cNvSpPr/>
              <p:nvPr/>
            </p:nvSpPr>
            <p:spPr>
              <a:xfrm>
                <a:off x="8669906" y="3976963"/>
                <a:ext cx="225027" cy="415510"/>
              </a:xfrm>
              <a:custGeom>
                <a:avLst/>
                <a:gdLst>
                  <a:gd name="connsiteX0" fmla="*/ 60007 w 229552"/>
                  <a:gd name="connsiteY0" fmla="*/ 378047 h 423862"/>
                  <a:gd name="connsiteX1" fmla="*/ 35242 w 229552"/>
                  <a:gd name="connsiteY1" fmla="*/ 349472 h 423862"/>
                  <a:gd name="connsiteX2" fmla="*/ 21907 w 229552"/>
                  <a:gd name="connsiteY2" fmla="*/ 342900 h 423862"/>
                  <a:gd name="connsiteX3" fmla="*/ 24765 w 229552"/>
                  <a:gd name="connsiteY3" fmla="*/ 307562 h 423862"/>
                  <a:gd name="connsiteX4" fmla="*/ 28575 w 229552"/>
                  <a:gd name="connsiteY4" fmla="*/ 285750 h 423862"/>
                  <a:gd name="connsiteX5" fmla="*/ 49530 w 229552"/>
                  <a:gd name="connsiteY5" fmla="*/ 268510 h 423862"/>
                  <a:gd name="connsiteX6" fmla="*/ 57150 w 229552"/>
                  <a:gd name="connsiteY6" fmla="*/ 247650 h 423862"/>
                  <a:gd name="connsiteX7" fmla="*/ 45720 w 229552"/>
                  <a:gd name="connsiteY7" fmla="*/ 229553 h 423862"/>
                  <a:gd name="connsiteX8" fmla="*/ 45720 w 229552"/>
                  <a:gd name="connsiteY8" fmla="*/ 200978 h 423862"/>
                  <a:gd name="connsiteX9" fmla="*/ 32385 w 229552"/>
                  <a:gd name="connsiteY9" fmla="*/ 180022 h 423862"/>
                  <a:gd name="connsiteX10" fmla="*/ 21907 w 229552"/>
                  <a:gd name="connsiteY10" fmla="*/ 165735 h 423862"/>
                  <a:gd name="connsiteX11" fmla="*/ 35242 w 229552"/>
                  <a:gd name="connsiteY11" fmla="*/ 130397 h 423862"/>
                  <a:gd name="connsiteX12" fmla="*/ 24765 w 229552"/>
                  <a:gd name="connsiteY12" fmla="*/ 102775 h 423862"/>
                  <a:gd name="connsiteX13" fmla="*/ 7620 w 229552"/>
                  <a:gd name="connsiteY13" fmla="*/ 88487 h 423862"/>
                  <a:gd name="connsiteX14" fmla="*/ 0 w 229552"/>
                  <a:gd name="connsiteY14" fmla="*/ 53340 h 423862"/>
                  <a:gd name="connsiteX15" fmla="*/ 7620 w 229552"/>
                  <a:gd name="connsiteY15" fmla="*/ 42863 h 423862"/>
                  <a:gd name="connsiteX16" fmla="*/ 7620 w 229552"/>
                  <a:gd name="connsiteY16" fmla="*/ 21812 h 423862"/>
                  <a:gd name="connsiteX17" fmla="*/ 39052 w 229552"/>
                  <a:gd name="connsiteY17" fmla="*/ 18097 h 423862"/>
                  <a:gd name="connsiteX18" fmla="*/ 63817 w 229552"/>
                  <a:gd name="connsiteY18" fmla="*/ 0 h 423862"/>
                  <a:gd name="connsiteX19" fmla="*/ 84772 w 229552"/>
                  <a:gd name="connsiteY19" fmla="*/ 11335 h 423862"/>
                  <a:gd name="connsiteX20" fmla="*/ 84772 w 229552"/>
                  <a:gd name="connsiteY20" fmla="*/ 24765 h 423862"/>
                  <a:gd name="connsiteX21" fmla="*/ 99060 w 229552"/>
                  <a:gd name="connsiteY21" fmla="*/ 28575 h 423862"/>
                  <a:gd name="connsiteX22" fmla="*/ 105727 w 229552"/>
                  <a:gd name="connsiteY22" fmla="*/ 53340 h 423862"/>
                  <a:gd name="connsiteX23" fmla="*/ 99060 w 229552"/>
                  <a:gd name="connsiteY23" fmla="*/ 59912 h 423862"/>
                  <a:gd name="connsiteX24" fmla="*/ 99060 w 229552"/>
                  <a:gd name="connsiteY24" fmla="*/ 84772 h 423862"/>
                  <a:gd name="connsiteX25" fmla="*/ 120015 w 229552"/>
                  <a:gd name="connsiteY25" fmla="*/ 74200 h 423862"/>
                  <a:gd name="connsiteX26" fmla="*/ 134302 w 229552"/>
                  <a:gd name="connsiteY26" fmla="*/ 63722 h 423862"/>
                  <a:gd name="connsiteX27" fmla="*/ 155257 w 229552"/>
                  <a:gd name="connsiteY27" fmla="*/ 70485 h 423862"/>
                  <a:gd name="connsiteX28" fmla="*/ 176213 w 229552"/>
                  <a:gd name="connsiteY28" fmla="*/ 57150 h 423862"/>
                  <a:gd name="connsiteX29" fmla="*/ 204788 w 229552"/>
                  <a:gd name="connsiteY29" fmla="*/ 88487 h 423862"/>
                  <a:gd name="connsiteX30" fmla="*/ 211455 w 229552"/>
                  <a:gd name="connsiteY30" fmla="*/ 117062 h 423862"/>
                  <a:gd name="connsiteX31" fmla="*/ 229552 w 229552"/>
                  <a:gd name="connsiteY31" fmla="*/ 134303 h 423862"/>
                  <a:gd name="connsiteX32" fmla="*/ 229552 w 229552"/>
                  <a:gd name="connsiteY32" fmla="*/ 152400 h 423862"/>
                  <a:gd name="connsiteX33" fmla="*/ 221932 w 229552"/>
                  <a:gd name="connsiteY33" fmla="*/ 173260 h 423862"/>
                  <a:gd name="connsiteX34" fmla="*/ 151447 w 229552"/>
                  <a:gd name="connsiteY34" fmla="*/ 177165 h 423862"/>
                  <a:gd name="connsiteX35" fmla="*/ 138113 w 229552"/>
                  <a:gd name="connsiteY35" fmla="*/ 198025 h 423862"/>
                  <a:gd name="connsiteX36" fmla="*/ 138113 w 229552"/>
                  <a:gd name="connsiteY36" fmla="*/ 212312 h 423862"/>
                  <a:gd name="connsiteX37" fmla="*/ 144780 w 229552"/>
                  <a:gd name="connsiteY37" fmla="*/ 229553 h 423862"/>
                  <a:gd name="connsiteX38" fmla="*/ 151447 w 229552"/>
                  <a:gd name="connsiteY38" fmla="*/ 247650 h 423862"/>
                  <a:gd name="connsiteX39" fmla="*/ 148590 w 229552"/>
                  <a:gd name="connsiteY39" fmla="*/ 254222 h 423862"/>
                  <a:gd name="connsiteX40" fmla="*/ 127635 w 229552"/>
                  <a:gd name="connsiteY40" fmla="*/ 225647 h 423862"/>
                  <a:gd name="connsiteX41" fmla="*/ 99060 w 229552"/>
                  <a:gd name="connsiteY41" fmla="*/ 222885 h 423862"/>
                  <a:gd name="connsiteX42" fmla="*/ 99060 w 229552"/>
                  <a:gd name="connsiteY42" fmla="*/ 204788 h 423862"/>
                  <a:gd name="connsiteX43" fmla="*/ 78105 w 229552"/>
                  <a:gd name="connsiteY43" fmla="*/ 204788 h 423862"/>
                  <a:gd name="connsiteX44" fmla="*/ 70485 w 229552"/>
                  <a:gd name="connsiteY44" fmla="*/ 212312 h 423862"/>
                  <a:gd name="connsiteX45" fmla="*/ 70485 w 229552"/>
                  <a:gd name="connsiteY45" fmla="*/ 233363 h 423862"/>
                  <a:gd name="connsiteX46" fmla="*/ 67627 w 229552"/>
                  <a:gd name="connsiteY46" fmla="*/ 247650 h 423862"/>
                  <a:gd name="connsiteX47" fmla="*/ 57150 w 229552"/>
                  <a:gd name="connsiteY47" fmla="*/ 271463 h 423862"/>
                  <a:gd name="connsiteX48" fmla="*/ 49530 w 229552"/>
                  <a:gd name="connsiteY48" fmla="*/ 285750 h 423862"/>
                  <a:gd name="connsiteX49" fmla="*/ 42863 w 229552"/>
                  <a:gd name="connsiteY49" fmla="*/ 314325 h 423862"/>
                  <a:gd name="connsiteX50" fmla="*/ 53340 w 229552"/>
                  <a:gd name="connsiteY50" fmla="*/ 320897 h 423862"/>
                  <a:gd name="connsiteX51" fmla="*/ 70485 w 229552"/>
                  <a:gd name="connsiteY51" fmla="*/ 328613 h 423862"/>
                  <a:gd name="connsiteX52" fmla="*/ 74295 w 229552"/>
                  <a:gd name="connsiteY52" fmla="*/ 339090 h 423862"/>
                  <a:gd name="connsiteX53" fmla="*/ 80963 w 229552"/>
                  <a:gd name="connsiteY53" fmla="*/ 370522 h 423862"/>
                  <a:gd name="connsiteX54" fmla="*/ 92392 w 229552"/>
                  <a:gd name="connsiteY54" fmla="*/ 384810 h 423862"/>
                  <a:gd name="connsiteX55" fmla="*/ 113347 w 229552"/>
                  <a:gd name="connsiteY55" fmla="*/ 391478 h 423862"/>
                  <a:gd name="connsiteX56" fmla="*/ 127635 w 229552"/>
                  <a:gd name="connsiteY56" fmla="*/ 405765 h 423862"/>
                  <a:gd name="connsiteX57" fmla="*/ 120015 w 229552"/>
                  <a:gd name="connsiteY57" fmla="*/ 413385 h 423862"/>
                  <a:gd name="connsiteX58" fmla="*/ 116205 w 229552"/>
                  <a:gd name="connsiteY58" fmla="*/ 423863 h 423862"/>
                  <a:gd name="connsiteX59" fmla="*/ 99060 w 229552"/>
                  <a:gd name="connsiteY59" fmla="*/ 420053 h 423862"/>
                  <a:gd name="connsiteX60" fmla="*/ 102870 w 229552"/>
                  <a:gd name="connsiteY60" fmla="*/ 405765 h 423862"/>
                  <a:gd name="connsiteX61" fmla="*/ 92392 w 229552"/>
                  <a:gd name="connsiteY61" fmla="*/ 399097 h 423862"/>
                  <a:gd name="connsiteX62" fmla="*/ 74295 w 229552"/>
                  <a:gd name="connsiteY62" fmla="*/ 395288 h 423862"/>
                  <a:gd name="connsiteX63" fmla="*/ 60007 w 229552"/>
                  <a:gd name="connsiteY63" fmla="*/ 378047 h 42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229552" h="423862">
                    <a:moveTo>
                      <a:pt x="60007" y="378047"/>
                    </a:moveTo>
                    <a:lnTo>
                      <a:pt x="35242" y="349472"/>
                    </a:lnTo>
                    <a:lnTo>
                      <a:pt x="21907" y="342900"/>
                    </a:lnTo>
                    <a:lnTo>
                      <a:pt x="24765" y="307562"/>
                    </a:lnTo>
                    <a:lnTo>
                      <a:pt x="28575" y="285750"/>
                    </a:lnTo>
                    <a:lnTo>
                      <a:pt x="49530" y="268510"/>
                    </a:lnTo>
                    <a:lnTo>
                      <a:pt x="57150" y="247650"/>
                    </a:lnTo>
                    <a:lnTo>
                      <a:pt x="45720" y="229553"/>
                    </a:lnTo>
                    <a:lnTo>
                      <a:pt x="45720" y="200978"/>
                    </a:lnTo>
                    <a:lnTo>
                      <a:pt x="32385" y="180022"/>
                    </a:lnTo>
                    <a:lnTo>
                      <a:pt x="21907" y="165735"/>
                    </a:lnTo>
                    <a:lnTo>
                      <a:pt x="35242" y="130397"/>
                    </a:lnTo>
                    <a:lnTo>
                      <a:pt x="24765" y="102775"/>
                    </a:lnTo>
                    <a:lnTo>
                      <a:pt x="7620" y="88487"/>
                    </a:lnTo>
                    <a:lnTo>
                      <a:pt x="0" y="53340"/>
                    </a:lnTo>
                    <a:lnTo>
                      <a:pt x="7620" y="42863"/>
                    </a:lnTo>
                    <a:lnTo>
                      <a:pt x="7620" y="21812"/>
                    </a:lnTo>
                    <a:lnTo>
                      <a:pt x="39052" y="18097"/>
                    </a:lnTo>
                    <a:lnTo>
                      <a:pt x="63817" y="0"/>
                    </a:lnTo>
                    <a:lnTo>
                      <a:pt x="84772" y="11335"/>
                    </a:lnTo>
                    <a:lnTo>
                      <a:pt x="84772" y="24765"/>
                    </a:lnTo>
                    <a:lnTo>
                      <a:pt x="99060" y="28575"/>
                    </a:lnTo>
                    <a:lnTo>
                      <a:pt x="105727" y="53340"/>
                    </a:lnTo>
                    <a:lnTo>
                      <a:pt x="99060" y="59912"/>
                    </a:lnTo>
                    <a:lnTo>
                      <a:pt x="99060" y="84772"/>
                    </a:lnTo>
                    <a:lnTo>
                      <a:pt x="120015" y="74200"/>
                    </a:lnTo>
                    <a:lnTo>
                      <a:pt x="134302" y="63722"/>
                    </a:lnTo>
                    <a:lnTo>
                      <a:pt x="155257" y="70485"/>
                    </a:lnTo>
                    <a:lnTo>
                      <a:pt x="176213" y="57150"/>
                    </a:lnTo>
                    <a:lnTo>
                      <a:pt x="204788" y="88487"/>
                    </a:lnTo>
                    <a:lnTo>
                      <a:pt x="211455" y="117062"/>
                    </a:lnTo>
                    <a:lnTo>
                      <a:pt x="229552" y="134303"/>
                    </a:lnTo>
                    <a:lnTo>
                      <a:pt x="229552" y="152400"/>
                    </a:lnTo>
                    <a:lnTo>
                      <a:pt x="221932" y="173260"/>
                    </a:lnTo>
                    <a:lnTo>
                      <a:pt x="151447" y="177165"/>
                    </a:lnTo>
                    <a:lnTo>
                      <a:pt x="138113" y="198025"/>
                    </a:lnTo>
                    <a:lnTo>
                      <a:pt x="138113" y="212312"/>
                    </a:lnTo>
                    <a:lnTo>
                      <a:pt x="144780" y="229553"/>
                    </a:lnTo>
                    <a:lnTo>
                      <a:pt x="151447" y="247650"/>
                    </a:lnTo>
                    <a:lnTo>
                      <a:pt x="148590" y="254222"/>
                    </a:lnTo>
                    <a:lnTo>
                      <a:pt x="127635" y="225647"/>
                    </a:lnTo>
                    <a:lnTo>
                      <a:pt x="99060" y="222885"/>
                    </a:lnTo>
                    <a:lnTo>
                      <a:pt x="99060" y="204788"/>
                    </a:lnTo>
                    <a:lnTo>
                      <a:pt x="78105" y="204788"/>
                    </a:lnTo>
                    <a:lnTo>
                      <a:pt x="70485" y="212312"/>
                    </a:lnTo>
                    <a:lnTo>
                      <a:pt x="70485" y="233363"/>
                    </a:lnTo>
                    <a:lnTo>
                      <a:pt x="67627" y="247650"/>
                    </a:lnTo>
                    <a:lnTo>
                      <a:pt x="57150" y="271463"/>
                    </a:lnTo>
                    <a:lnTo>
                      <a:pt x="49530" y="285750"/>
                    </a:lnTo>
                    <a:lnTo>
                      <a:pt x="42863" y="314325"/>
                    </a:lnTo>
                    <a:lnTo>
                      <a:pt x="53340" y="320897"/>
                    </a:lnTo>
                    <a:lnTo>
                      <a:pt x="70485" y="328613"/>
                    </a:lnTo>
                    <a:lnTo>
                      <a:pt x="74295" y="339090"/>
                    </a:lnTo>
                    <a:lnTo>
                      <a:pt x="80963" y="370522"/>
                    </a:lnTo>
                    <a:lnTo>
                      <a:pt x="92392" y="384810"/>
                    </a:lnTo>
                    <a:lnTo>
                      <a:pt x="113347" y="391478"/>
                    </a:lnTo>
                    <a:lnTo>
                      <a:pt x="127635" y="405765"/>
                    </a:lnTo>
                    <a:lnTo>
                      <a:pt x="120015" y="413385"/>
                    </a:lnTo>
                    <a:lnTo>
                      <a:pt x="116205" y="423863"/>
                    </a:lnTo>
                    <a:lnTo>
                      <a:pt x="99060" y="420053"/>
                    </a:lnTo>
                    <a:lnTo>
                      <a:pt x="102870" y="405765"/>
                    </a:lnTo>
                    <a:lnTo>
                      <a:pt x="92392" y="399097"/>
                    </a:lnTo>
                    <a:lnTo>
                      <a:pt x="74295" y="395288"/>
                    </a:lnTo>
                    <a:lnTo>
                      <a:pt x="60007" y="37804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309A3447-36A3-EF9A-5E11-009783D4F9B7}"/>
                  </a:ext>
                </a:extLst>
              </p:cNvPr>
              <p:cNvSpPr/>
              <p:nvPr/>
            </p:nvSpPr>
            <p:spPr>
              <a:xfrm>
                <a:off x="8980837" y="4423194"/>
                <a:ext cx="276381" cy="231659"/>
              </a:xfrm>
              <a:custGeom>
                <a:avLst/>
                <a:gdLst>
                  <a:gd name="connsiteX0" fmla="*/ 24765 w 281939"/>
                  <a:gd name="connsiteY0" fmla="*/ 80963 h 236315"/>
                  <a:gd name="connsiteX1" fmla="*/ 42863 w 281939"/>
                  <a:gd name="connsiteY1" fmla="*/ 99060 h 236315"/>
                  <a:gd name="connsiteX2" fmla="*/ 63818 w 281939"/>
                  <a:gd name="connsiteY2" fmla="*/ 99060 h 236315"/>
                  <a:gd name="connsiteX3" fmla="*/ 78105 w 281939"/>
                  <a:gd name="connsiteY3" fmla="*/ 95250 h 236315"/>
                  <a:gd name="connsiteX4" fmla="*/ 116205 w 281939"/>
                  <a:gd name="connsiteY4" fmla="*/ 80963 h 236315"/>
                  <a:gd name="connsiteX5" fmla="*/ 130493 w 281939"/>
                  <a:gd name="connsiteY5" fmla="*/ 95250 h 236315"/>
                  <a:gd name="connsiteX6" fmla="*/ 151447 w 281939"/>
                  <a:gd name="connsiteY6" fmla="*/ 84772 h 236315"/>
                  <a:gd name="connsiteX7" fmla="*/ 172402 w 281939"/>
                  <a:gd name="connsiteY7" fmla="*/ 63913 h 236315"/>
                  <a:gd name="connsiteX8" fmla="*/ 203835 w 281939"/>
                  <a:gd name="connsiteY8" fmla="*/ 21050 h 236315"/>
                  <a:gd name="connsiteX9" fmla="*/ 204788 w 281939"/>
                  <a:gd name="connsiteY9" fmla="*/ 3810 h 236315"/>
                  <a:gd name="connsiteX10" fmla="*/ 232410 w 281939"/>
                  <a:gd name="connsiteY10" fmla="*/ 0 h 236315"/>
                  <a:gd name="connsiteX11" fmla="*/ 246697 w 281939"/>
                  <a:gd name="connsiteY11" fmla="*/ 10573 h 236315"/>
                  <a:gd name="connsiteX12" fmla="*/ 242888 w 281939"/>
                  <a:gd name="connsiteY12" fmla="*/ 24860 h 236315"/>
                  <a:gd name="connsiteX13" fmla="*/ 232410 w 281939"/>
                  <a:gd name="connsiteY13" fmla="*/ 28575 h 236315"/>
                  <a:gd name="connsiteX14" fmla="*/ 246697 w 281939"/>
                  <a:gd name="connsiteY14" fmla="*/ 45815 h 236315"/>
                  <a:gd name="connsiteX15" fmla="*/ 257175 w 281939"/>
                  <a:gd name="connsiteY15" fmla="*/ 74390 h 236315"/>
                  <a:gd name="connsiteX16" fmla="*/ 263843 w 281939"/>
                  <a:gd name="connsiteY16" fmla="*/ 84772 h 236315"/>
                  <a:gd name="connsiteX17" fmla="*/ 281940 w 281939"/>
                  <a:gd name="connsiteY17" fmla="*/ 99060 h 236315"/>
                  <a:gd name="connsiteX18" fmla="*/ 275272 w 281939"/>
                  <a:gd name="connsiteY18" fmla="*/ 105823 h 236315"/>
                  <a:gd name="connsiteX19" fmla="*/ 253365 w 281939"/>
                  <a:gd name="connsiteY19" fmla="*/ 102013 h 236315"/>
                  <a:gd name="connsiteX20" fmla="*/ 242888 w 281939"/>
                  <a:gd name="connsiteY20" fmla="*/ 112490 h 236315"/>
                  <a:gd name="connsiteX21" fmla="*/ 240030 w 281939"/>
                  <a:gd name="connsiteY21" fmla="*/ 148685 h 236315"/>
                  <a:gd name="connsiteX22" fmla="*/ 211455 w 281939"/>
                  <a:gd name="connsiteY22" fmla="*/ 169640 h 236315"/>
                  <a:gd name="connsiteX23" fmla="*/ 215265 w 281939"/>
                  <a:gd name="connsiteY23" fmla="*/ 197263 h 236315"/>
                  <a:gd name="connsiteX24" fmla="*/ 211455 w 281939"/>
                  <a:gd name="connsiteY24" fmla="*/ 207740 h 236315"/>
                  <a:gd name="connsiteX25" fmla="*/ 207645 w 281939"/>
                  <a:gd name="connsiteY25" fmla="*/ 236315 h 236315"/>
                  <a:gd name="connsiteX26" fmla="*/ 165735 w 281939"/>
                  <a:gd name="connsiteY26" fmla="*/ 232410 h 236315"/>
                  <a:gd name="connsiteX27" fmla="*/ 161925 w 281939"/>
                  <a:gd name="connsiteY27" fmla="*/ 219075 h 236315"/>
                  <a:gd name="connsiteX28" fmla="*/ 112395 w 281939"/>
                  <a:gd name="connsiteY28" fmla="*/ 211550 h 236315"/>
                  <a:gd name="connsiteX29" fmla="*/ 105727 w 281939"/>
                  <a:gd name="connsiteY29" fmla="*/ 222028 h 236315"/>
                  <a:gd name="connsiteX30" fmla="*/ 80963 w 281939"/>
                  <a:gd name="connsiteY30" fmla="*/ 219075 h 236315"/>
                  <a:gd name="connsiteX31" fmla="*/ 78105 w 281939"/>
                  <a:gd name="connsiteY31" fmla="*/ 204788 h 236315"/>
                  <a:gd name="connsiteX32" fmla="*/ 42863 w 281939"/>
                  <a:gd name="connsiteY32" fmla="*/ 204788 h 236315"/>
                  <a:gd name="connsiteX33" fmla="*/ 35243 w 281939"/>
                  <a:gd name="connsiteY33" fmla="*/ 169640 h 236315"/>
                  <a:gd name="connsiteX34" fmla="*/ 20955 w 281939"/>
                  <a:gd name="connsiteY34" fmla="*/ 151447 h 236315"/>
                  <a:gd name="connsiteX35" fmla="*/ 3810 w 281939"/>
                  <a:gd name="connsiteY35" fmla="*/ 116300 h 236315"/>
                  <a:gd name="connsiteX36" fmla="*/ 0 w 281939"/>
                  <a:gd name="connsiteY36" fmla="*/ 95250 h 236315"/>
                  <a:gd name="connsiteX37" fmla="*/ 10477 w 281939"/>
                  <a:gd name="connsiteY37" fmla="*/ 80963 h 236315"/>
                  <a:gd name="connsiteX38" fmla="*/ 24765 w 281939"/>
                  <a:gd name="connsiteY38" fmla="*/ 80963 h 236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81939" h="236315">
                    <a:moveTo>
                      <a:pt x="24765" y="80963"/>
                    </a:moveTo>
                    <a:lnTo>
                      <a:pt x="42863" y="99060"/>
                    </a:lnTo>
                    <a:lnTo>
                      <a:pt x="63818" y="99060"/>
                    </a:lnTo>
                    <a:lnTo>
                      <a:pt x="78105" y="95250"/>
                    </a:lnTo>
                    <a:lnTo>
                      <a:pt x="116205" y="80963"/>
                    </a:lnTo>
                    <a:lnTo>
                      <a:pt x="130493" y="95250"/>
                    </a:lnTo>
                    <a:lnTo>
                      <a:pt x="151447" y="84772"/>
                    </a:lnTo>
                    <a:lnTo>
                      <a:pt x="172402" y="63913"/>
                    </a:lnTo>
                    <a:lnTo>
                      <a:pt x="203835" y="21050"/>
                    </a:lnTo>
                    <a:lnTo>
                      <a:pt x="204788" y="3810"/>
                    </a:lnTo>
                    <a:lnTo>
                      <a:pt x="232410" y="0"/>
                    </a:lnTo>
                    <a:lnTo>
                      <a:pt x="246697" y="10573"/>
                    </a:lnTo>
                    <a:lnTo>
                      <a:pt x="242888" y="24860"/>
                    </a:lnTo>
                    <a:lnTo>
                      <a:pt x="232410" y="28575"/>
                    </a:lnTo>
                    <a:lnTo>
                      <a:pt x="246697" y="45815"/>
                    </a:lnTo>
                    <a:lnTo>
                      <a:pt x="257175" y="74390"/>
                    </a:lnTo>
                    <a:lnTo>
                      <a:pt x="263843" y="84772"/>
                    </a:lnTo>
                    <a:lnTo>
                      <a:pt x="281940" y="99060"/>
                    </a:lnTo>
                    <a:lnTo>
                      <a:pt x="275272" y="105823"/>
                    </a:lnTo>
                    <a:lnTo>
                      <a:pt x="253365" y="102013"/>
                    </a:lnTo>
                    <a:lnTo>
                      <a:pt x="242888" y="112490"/>
                    </a:lnTo>
                    <a:lnTo>
                      <a:pt x="240030" y="148685"/>
                    </a:lnTo>
                    <a:lnTo>
                      <a:pt x="211455" y="169640"/>
                    </a:lnTo>
                    <a:lnTo>
                      <a:pt x="215265" y="197263"/>
                    </a:lnTo>
                    <a:lnTo>
                      <a:pt x="211455" y="207740"/>
                    </a:lnTo>
                    <a:lnTo>
                      <a:pt x="207645" y="236315"/>
                    </a:lnTo>
                    <a:lnTo>
                      <a:pt x="165735" y="232410"/>
                    </a:lnTo>
                    <a:lnTo>
                      <a:pt x="161925" y="219075"/>
                    </a:lnTo>
                    <a:lnTo>
                      <a:pt x="112395" y="211550"/>
                    </a:lnTo>
                    <a:lnTo>
                      <a:pt x="105727" y="222028"/>
                    </a:lnTo>
                    <a:lnTo>
                      <a:pt x="80963" y="219075"/>
                    </a:lnTo>
                    <a:lnTo>
                      <a:pt x="78105" y="204788"/>
                    </a:lnTo>
                    <a:lnTo>
                      <a:pt x="42863" y="204788"/>
                    </a:lnTo>
                    <a:lnTo>
                      <a:pt x="35243" y="169640"/>
                    </a:lnTo>
                    <a:lnTo>
                      <a:pt x="20955" y="151447"/>
                    </a:lnTo>
                    <a:lnTo>
                      <a:pt x="3810" y="116300"/>
                    </a:lnTo>
                    <a:lnTo>
                      <a:pt x="0" y="95250"/>
                    </a:lnTo>
                    <a:lnTo>
                      <a:pt x="10477" y="80963"/>
                    </a:lnTo>
                    <a:lnTo>
                      <a:pt x="24765" y="8096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9" name="Freeform: Shape 278">
                <a:extLst>
                  <a:ext uri="{FF2B5EF4-FFF2-40B4-BE49-F238E27FC236}">
                    <a16:creationId xmlns:a16="http://schemas.microsoft.com/office/drawing/2014/main" id="{6B761871-349C-E209-627B-C3890FBDB6EC}"/>
                  </a:ext>
                </a:extLst>
              </p:cNvPr>
              <p:cNvSpPr/>
              <p:nvPr/>
            </p:nvSpPr>
            <p:spPr>
              <a:xfrm>
                <a:off x="9303904" y="4498919"/>
                <a:ext cx="169004" cy="204394"/>
              </a:xfrm>
              <a:custGeom>
                <a:avLst/>
                <a:gdLst>
                  <a:gd name="connsiteX0" fmla="*/ 20955 w 172402"/>
                  <a:gd name="connsiteY0" fmla="*/ 63818 h 208502"/>
                  <a:gd name="connsiteX1" fmla="*/ 20955 w 172402"/>
                  <a:gd name="connsiteY1" fmla="*/ 46577 h 208502"/>
                  <a:gd name="connsiteX2" fmla="*/ 35243 w 172402"/>
                  <a:gd name="connsiteY2" fmla="*/ 24765 h 208502"/>
                  <a:gd name="connsiteX3" fmla="*/ 56198 w 172402"/>
                  <a:gd name="connsiteY3" fmla="*/ 14288 h 208502"/>
                  <a:gd name="connsiteX4" fmla="*/ 84773 w 172402"/>
                  <a:gd name="connsiteY4" fmla="*/ 18002 h 208502"/>
                  <a:gd name="connsiteX5" fmla="*/ 102870 w 172402"/>
                  <a:gd name="connsiteY5" fmla="*/ 24765 h 208502"/>
                  <a:gd name="connsiteX6" fmla="*/ 130493 w 172402"/>
                  <a:gd name="connsiteY6" fmla="*/ 24765 h 208502"/>
                  <a:gd name="connsiteX7" fmla="*/ 148590 w 172402"/>
                  <a:gd name="connsiteY7" fmla="*/ 21812 h 208502"/>
                  <a:gd name="connsiteX8" fmla="*/ 159068 w 172402"/>
                  <a:gd name="connsiteY8" fmla="*/ 14288 h 208502"/>
                  <a:gd name="connsiteX9" fmla="*/ 172403 w 172402"/>
                  <a:gd name="connsiteY9" fmla="*/ 0 h 208502"/>
                  <a:gd name="connsiteX10" fmla="*/ 172403 w 172402"/>
                  <a:gd name="connsiteY10" fmla="*/ 14288 h 208502"/>
                  <a:gd name="connsiteX11" fmla="*/ 155257 w 172402"/>
                  <a:gd name="connsiteY11" fmla="*/ 35243 h 208502"/>
                  <a:gd name="connsiteX12" fmla="*/ 140970 w 172402"/>
                  <a:gd name="connsiteY12" fmla="*/ 46577 h 208502"/>
                  <a:gd name="connsiteX13" fmla="*/ 99060 w 172402"/>
                  <a:gd name="connsiteY13" fmla="*/ 39053 h 208502"/>
                  <a:gd name="connsiteX14" fmla="*/ 74295 w 172402"/>
                  <a:gd name="connsiteY14" fmla="*/ 35243 h 208502"/>
                  <a:gd name="connsiteX15" fmla="*/ 53340 w 172402"/>
                  <a:gd name="connsiteY15" fmla="*/ 35243 h 208502"/>
                  <a:gd name="connsiteX16" fmla="*/ 42863 w 172402"/>
                  <a:gd name="connsiteY16" fmla="*/ 35243 h 208502"/>
                  <a:gd name="connsiteX17" fmla="*/ 32385 w 172402"/>
                  <a:gd name="connsiteY17" fmla="*/ 46577 h 208502"/>
                  <a:gd name="connsiteX18" fmla="*/ 32385 w 172402"/>
                  <a:gd name="connsiteY18" fmla="*/ 63818 h 208502"/>
                  <a:gd name="connsiteX19" fmla="*/ 39053 w 172402"/>
                  <a:gd name="connsiteY19" fmla="*/ 74200 h 208502"/>
                  <a:gd name="connsiteX20" fmla="*/ 45720 w 172402"/>
                  <a:gd name="connsiteY20" fmla="*/ 81915 h 208502"/>
                  <a:gd name="connsiteX21" fmla="*/ 49530 w 172402"/>
                  <a:gd name="connsiteY21" fmla="*/ 88487 h 208502"/>
                  <a:gd name="connsiteX22" fmla="*/ 56198 w 172402"/>
                  <a:gd name="connsiteY22" fmla="*/ 92393 h 208502"/>
                  <a:gd name="connsiteX23" fmla="*/ 67628 w 172402"/>
                  <a:gd name="connsiteY23" fmla="*/ 78105 h 208502"/>
                  <a:gd name="connsiteX24" fmla="*/ 74295 w 172402"/>
                  <a:gd name="connsiteY24" fmla="*/ 74200 h 208502"/>
                  <a:gd name="connsiteX25" fmla="*/ 91440 w 172402"/>
                  <a:gd name="connsiteY25" fmla="*/ 78105 h 208502"/>
                  <a:gd name="connsiteX26" fmla="*/ 105728 w 172402"/>
                  <a:gd name="connsiteY26" fmla="*/ 71438 h 208502"/>
                  <a:gd name="connsiteX27" fmla="*/ 123825 w 172402"/>
                  <a:gd name="connsiteY27" fmla="*/ 71438 h 208502"/>
                  <a:gd name="connsiteX28" fmla="*/ 120015 w 172402"/>
                  <a:gd name="connsiteY28" fmla="*/ 81915 h 208502"/>
                  <a:gd name="connsiteX29" fmla="*/ 99060 w 172402"/>
                  <a:gd name="connsiteY29" fmla="*/ 84677 h 208502"/>
                  <a:gd name="connsiteX30" fmla="*/ 88582 w 172402"/>
                  <a:gd name="connsiteY30" fmla="*/ 95250 h 208502"/>
                  <a:gd name="connsiteX31" fmla="*/ 78105 w 172402"/>
                  <a:gd name="connsiteY31" fmla="*/ 106680 h 208502"/>
                  <a:gd name="connsiteX32" fmla="*/ 78105 w 172402"/>
                  <a:gd name="connsiteY32" fmla="*/ 109538 h 208502"/>
                  <a:gd name="connsiteX33" fmla="*/ 84773 w 172402"/>
                  <a:gd name="connsiteY33" fmla="*/ 120015 h 208502"/>
                  <a:gd name="connsiteX34" fmla="*/ 95250 w 172402"/>
                  <a:gd name="connsiteY34" fmla="*/ 141827 h 208502"/>
                  <a:gd name="connsiteX35" fmla="*/ 95250 w 172402"/>
                  <a:gd name="connsiteY35" fmla="*/ 148590 h 208502"/>
                  <a:gd name="connsiteX36" fmla="*/ 99060 w 172402"/>
                  <a:gd name="connsiteY36" fmla="*/ 162878 h 208502"/>
                  <a:gd name="connsiteX37" fmla="*/ 109538 w 172402"/>
                  <a:gd name="connsiteY37" fmla="*/ 169450 h 208502"/>
                  <a:gd name="connsiteX38" fmla="*/ 95250 w 172402"/>
                  <a:gd name="connsiteY38" fmla="*/ 177165 h 208502"/>
                  <a:gd name="connsiteX39" fmla="*/ 80963 w 172402"/>
                  <a:gd name="connsiteY39" fmla="*/ 173355 h 208502"/>
                  <a:gd name="connsiteX40" fmla="*/ 78105 w 172402"/>
                  <a:gd name="connsiteY40" fmla="*/ 183737 h 208502"/>
                  <a:gd name="connsiteX41" fmla="*/ 67628 w 172402"/>
                  <a:gd name="connsiteY41" fmla="*/ 165640 h 208502"/>
                  <a:gd name="connsiteX42" fmla="*/ 60007 w 172402"/>
                  <a:gd name="connsiteY42" fmla="*/ 148590 h 208502"/>
                  <a:gd name="connsiteX43" fmla="*/ 56198 w 172402"/>
                  <a:gd name="connsiteY43" fmla="*/ 123825 h 208502"/>
                  <a:gd name="connsiteX44" fmla="*/ 42863 w 172402"/>
                  <a:gd name="connsiteY44" fmla="*/ 123825 h 208502"/>
                  <a:gd name="connsiteX45" fmla="*/ 39053 w 172402"/>
                  <a:gd name="connsiteY45" fmla="*/ 134303 h 208502"/>
                  <a:gd name="connsiteX46" fmla="*/ 42863 w 172402"/>
                  <a:gd name="connsiteY46" fmla="*/ 162878 h 208502"/>
                  <a:gd name="connsiteX47" fmla="*/ 42863 w 172402"/>
                  <a:gd name="connsiteY47" fmla="*/ 173355 h 208502"/>
                  <a:gd name="connsiteX48" fmla="*/ 42863 w 172402"/>
                  <a:gd name="connsiteY48" fmla="*/ 198025 h 208502"/>
                  <a:gd name="connsiteX49" fmla="*/ 39053 w 172402"/>
                  <a:gd name="connsiteY49" fmla="*/ 208502 h 208502"/>
                  <a:gd name="connsiteX50" fmla="*/ 18098 w 172402"/>
                  <a:gd name="connsiteY50" fmla="*/ 204788 h 208502"/>
                  <a:gd name="connsiteX51" fmla="*/ 18098 w 172402"/>
                  <a:gd name="connsiteY51" fmla="*/ 179927 h 208502"/>
                  <a:gd name="connsiteX52" fmla="*/ 20955 w 172402"/>
                  <a:gd name="connsiteY52" fmla="*/ 159068 h 208502"/>
                  <a:gd name="connsiteX53" fmla="*/ 18098 w 172402"/>
                  <a:gd name="connsiteY53" fmla="*/ 148590 h 208502"/>
                  <a:gd name="connsiteX54" fmla="*/ 0 w 172402"/>
                  <a:gd name="connsiteY54" fmla="*/ 141827 h 208502"/>
                  <a:gd name="connsiteX55" fmla="*/ 0 w 172402"/>
                  <a:gd name="connsiteY55" fmla="*/ 120015 h 208502"/>
                  <a:gd name="connsiteX56" fmla="*/ 7620 w 172402"/>
                  <a:gd name="connsiteY56" fmla="*/ 102775 h 208502"/>
                  <a:gd name="connsiteX57" fmla="*/ 14288 w 172402"/>
                  <a:gd name="connsiteY57" fmla="*/ 74200 h 208502"/>
                  <a:gd name="connsiteX58" fmla="*/ 20955 w 172402"/>
                  <a:gd name="connsiteY58" fmla="*/ 63818 h 208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72402" h="208502">
                    <a:moveTo>
                      <a:pt x="20955" y="63818"/>
                    </a:moveTo>
                    <a:lnTo>
                      <a:pt x="20955" y="46577"/>
                    </a:lnTo>
                    <a:lnTo>
                      <a:pt x="35243" y="24765"/>
                    </a:lnTo>
                    <a:lnTo>
                      <a:pt x="56198" y="14288"/>
                    </a:lnTo>
                    <a:lnTo>
                      <a:pt x="84773" y="18002"/>
                    </a:lnTo>
                    <a:lnTo>
                      <a:pt x="102870" y="24765"/>
                    </a:lnTo>
                    <a:lnTo>
                      <a:pt x="130493" y="24765"/>
                    </a:lnTo>
                    <a:lnTo>
                      <a:pt x="148590" y="21812"/>
                    </a:lnTo>
                    <a:lnTo>
                      <a:pt x="159068" y="14288"/>
                    </a:lnTo>
                    <a:lnTo>
                      <a:pt x="172403" y="0"/>
                    </a:lnTo>
                    <a:lnTo>
                      <a:pt x="172403" y="14288"/>
                    </a:lnTo>
                    <a:lnTo>
                      <a:pt x="155257" y="35243"/>
                    </a:lnTo>
                    <a:lnTo>
                      <a:pt x="140970" y="46577"/>
                    </a:lnTo>
                    <a:lnTo>
                      <a:pt x="99060" y="39053"/>
                    </a:lnTo>
                    <a:lnTo>
                      <a:pt x="74295" y="35243"/>
                    </a:lnTo>
                    <a:lnTo>
                      <a:pt x="53340" y="35243"/>
                    </a:lnTo>
                    <a:lnTo>
                      <a:pt x="42863" y="35243"/>
                    </a:lnTo>
                    <a:lnTo>
                      <a:pt x="32385" y="46577"/>
                    </a:lnTo>
                    <a:lnTo>
                      <a:pt x="32385" y="63818"/>
                    </a:lnTo>
                    <a:lnTo>
                      <a:pt x="39053" y="74200"/>
                    </a:lnTo>
                    <a:lnTo>
                      <a:pt x="45720" y="81915"/>
                    </a:lnTo>
                    <a:lnTo>
                      <a:pt x="49530" y="88487"/>
                    </a:lnTo>
                    <a:lnTo>
                      <a:pt x="56198" y="92393"/>
                    </a:lnTo>
                    <a:lnTo>
                      <a:pt x="67628" y="78105"/>
                    </a:lnTo>
                    <a:lnTo>
                      <a:pt x="74295" y="74200"/>
                    </a:lnTo>
                    <a:lnTo>
                      <a:pt x="91440" y="78105"/>
                    </a:lnTo>
                    <a:lnTo>
                      <a:pt x="105728" y="71438"/>
                    </a:lnTo>
                    <a:lnTo>
                      <a:pt x="123825" y="71438"/>
                    </a:lnTo>
                    <a:lnTo>
                      <a:pt x="120015" y="81915"/>
                    </a:lnTo>
                    <a:lnTo>
                      <a:pt x="99060" y="84677"/>
                    </a:lnTo>
                    <a:lnTo>
                      <a:pt x="88582" y="95250"/>
                    </a:lnTo>
                    <a:lnTo>
                      <a:pt x="78105" y="106680"/>
                    </a:lnTo>
                    <a:lnTo>
                      <a:pt x="78105" y="109538"/>
                    </a:lnTo>
                    <a:lnTo>
                      <a:pt x="84773" y="120015"/>
                    </a:lnTo>
                    <a:lnTo>
                      <a:pt x="95250" y="141827"/>
                    </a:lnTo>
                    <a:lnTo>
                      <a:pt x="95250" y="148590"/>
                    </a:lnTo>
                    <a:lnTo>
                      <a:pt x="99060" y="162878"/>
                    </a:lnTo>
                    <a:lnTo>
                      <a:pt x="109538" y="169450"/>
                    </a:lnTo>
                    <a:lnTo>
                      <a:pt x="95250" y="177165"/>
                    </a:lnTo>
                    <a:lnTo>
                      <a:pt x="80963" y="173355"/>
                    </a:lnTo>
                    <a:lnTo>
                      <a:pt x="78105" y="183737"/>
                    </a:lnTo>
                    <a:lnTo>
                      <a:pt x="67628" y="165640"/>
                    </a:lnTo>
                    <a:lnTo>
                      <a:pt x="60007" y="148590"/>
                    </a:lnTo>
                    <a:lnTo>
                      <a:pt x="56198" y="123825"/>
                    </a:lnTo>
                    <a:lnTo>
                      <a:pt x="42863" y="123825"/>
                    </a:lnTo>
                    <a:lnTo>
                      <a:pt x="39053" y="134303"/>
                    </a:lnTo>
                    <a:lnTo>
                      <a:pt x="42863" y="162878"/>
                    </a:lnTo>
                    <a:lnTo>
                      <a:pt x="42863" y="173355"/>
                    </a:lnTo>
                    <a:lnTo>
                      <a:pt x="42863" y="198025"/>
                    </a:lnTo>
                    <a:lnTo>
                      <a:pt x="39053" y="208502"/>
                    </a:lnTo>
                    <a:lnTo>
                      <a:pt x="18098" y="204788"/>
                    </a:lnTo>
                    <a:lnTo>
                      <a:pt x="18098" y="179927"/>
                    </a:lnTo>
                    <a:lnTo>
                      <a:pt x="20955" y="159068"/>
                    </a:lnTo>
                    <a:lnTo>
                      <a:pt x="18098" y="148590"/>
                    </a:lnTo>
                    <a:lnTo>
                      <a:pt x="0" y="141827"/>
                    </a:lnTo>
                    <a:lnTo>
                      <a:pt x="0" y="120015"/>
                    </a:lnTo>
                    <a:lnTo>
                      <a:pt x="7620" y="102775"/>
                    </a:lnTo>
                    <a:lnTo>
                      <a:pt x="14288" y="74200"/>
                    </a:lnTo>
                    <a:lnTo>
                      <a:pt x="20955" y="6381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id="{434E8174-CC3D-A9BF-02A8-9A711EBFCA6C}"/>
                  </a:ext>
                </a:extLst>
              </p:cNvPr>
              <p:cNvSpPr/>
              <p:nvPr/>
            </p:nvSpPr>
            <p:spPr>
              <a:xfrm>
                <a:off x="9582154" y="4561479"/>
                <a:ext cx="279183" cy="235206"/>
              </a:xfrm>
              <a:custGeom>
                <a:avLst/>
                <a:gdLst>
                  <a:gd name="connsiteX0" fmla="*/ 2858 w 284797"/>
                  <a:gd name="connsiteY0" fmla="*/ 14288 h 239934"/>
                  <a:gd name="connsiteX1" fmla="*/ 34290 w 284797"/>
                  <a:gd name="connsiteY1" fmla="*/ 3810 h 239934"/>
                  <a:gd name="connsiteX2" fmla="*/ 52388 w 284797"/>
                  <a:gd name="connsiteY2" fmla="*/ 0 h 239934"/>
                  <a:gd name="connsiteX3" fmla="*/ 83820 w 284797"/>
                  <a:gd name="connsiteY3" fmla="*/ 3810 h 239934"/>
                  <a:gd name="connsiteX4" fmla="*/ 98108 w 284797"/>
                  <a:gd name="connsiteY4" fmla="*/ 18097 h 239934"/>
                  <a:gd name="connsiteX5" fmla="*/ 94298 w 284797"/>
                  <a:gd name="connsiteY5" fmla="*/ 38957 h 239934"/>
                  <a:gd name="connsiteX6" fmla="*/ 94298 w 284797"/>
                  <a:gd name="connsiteY6" fmla="*/ 53245 h 239934"/>
                  <a:gd name="connsiteX7" fmla="*/ 104775 w 284797"/>
                  <a:gd name="connsiteY7" fmla="*/ 60007 h 239934"/>
                  <a:gd name="connsiteX8" fmla="*/ 108585 w 284797"/>
                  <a:gd name="connsiteY8" fmla="*/ 74295 h 239934"/>
                  <a:gd name="connsiteX9" fmla="*/ 122873 w 284797"/>
                  <a:gd name="connsiteY9" fmla="*/ 78010 h 239934"/>
                  <a:gd name="connsiteX10" fmla="*/ 140018 w 284797"/>
                  <a:gd name="connsiteY10" fmla="*/ 74295 h 239934"/>
                  <a:gd name="connsiteX11" fmla="*/ 150495 w 284797"/>
                  <a:gd name="connsiteY11" fmla="*/ 56197 h 239934"/>
                  <a:gd name="connsiteX12" fmla="*/ 164783 w 284797"/>
                  <a:gd name="connsiteY12" fmla="*/ 45720 h 239934"/>
                  <a:gd name="connsiteX13" fmla="*/ 182880 w 284797"/>
                  <a:gd name="connsiteY13" fmla="*/ 38957 h 239934"/>
                  <a:gd name="connsiteX14" fmla="*/ 193358 w 284797"/>
                  <a:gd name="connsiteY14" fmla="*/ 28575 h 239934"/>
                  <a:gd name="connsiteX15" fmla="*/ 224790 w 284797"/>
                  <a:gd name="connsiteY15" fmla="*/ 38957 h 239934"/>
                  <a:gd name="connsiteX16" fmla="*/ 249555 w 284797"/>
                  <a:gd name="connsiteY16" fmla="*/ 45720 h 239934"/>
                  <a:gd name="connsiteX17" fmla="*/ 278130 w 284797"/>
                  <a:gd name="connsiteY17" fmla="*/ 56197 h 239934"/>
                  <a:gd name="connsiteX18" fmla="*/ 284798 w 284797"/>
                  <a:gd name="connsiteY18" fmla="*/ 60007 h 239934"/>
                  <a:gd name="connsiteX19" fmla="*/ 284798 w 284797"/>
                  <a:gd name="connsiteY19" fmla="*/ 239935 h 239934"/>
                  <a:gd name="connsiteX20" fmla="*/ 260033 w 284797"/>
                  <a:gd name="connsiteY20" fmla="*/ 219075 h 239934"/>
                  <a:gd name="connsiteX21" fmla="*/ 242888 w 284797"/>
                  <a:gd name="connsiteY21" fmla="*/ 211360 h 239934"/>
                  <a:gd name="connsiteX22" fmla="*/ 228600 w 284797"/>
                  <a:gd name="connsiteY22" fmla="*/ 211360 h 239934"/>
                  <a:gd name="connsiteX23" fmla="*/ 218123 w 284797"/>
                  <a:gd name="connsiteY23" fmla="*/ 219075 h 239934"/>
                  <a:gd name="connsiteX24" fmla="*/ 193358 w 284797"/>
                  <a:gd name="connsiteY24" fmla="*/ 221932 h 239934"/>
                  <a:gd name="connsiteX25" fmla="*/ 189548 w 284797"/>
                  <a:gd name="connsiteY25" fmla="*/ 208597 h 239934"/>
                  <a:gd name="connsiteX26" fmla="*/ 193358 w 284797"/>
                  <a:gd name="connsiteY26" fmla="*/ 200882 h 239934"/>
                  <a:gd name="connsiteX27" fmla="*/ 203835 w 284797"/>
                  <a:gd name="connsiteY27" fmla="*/ 197072 h 239934"/>
                  <a:gd name="connsiteX28" fmla="*/ 218123 w 284797"/>
                  <a:gd name="connsiteY28" fmla="*/ 194310 h 239934"/>
                  <a:gd name="connsiteX29" fmla="*/ 220980 w 284797"/>
                  <a:gd name="connsiteY29" fmla="*/ 172307 h 239934"/>
                  <a:gd name="connsiteX30" fmla="*/ 214313 w 284797"/>
                  <a:gd name="connsiteY30" fmla="*/ 158972 h 239934"/>
                  <a:gd name="connsiteX31" fmla="*/ 197168 w 284797"/>
                  <a:gd name="connsiteY31" fmla="*/ 140970 h 239934"/>
                  <a:gd name="connsiteX32" fmla="*/ 158115 w 284797"/>
                  <a:gd name="connsiteY32" fmla="*/ 119920 h 239934"/>
                  <a:gd name="connsiteX33" fmla="*/ 116205 w 284797"/>
                  <a:gd name="connsiteY33" fmla="*/ 109538 h 239934"/>
                  <a:gd name="connsiteX34" fmla="*/ 104775 w 284797"/>
                  <a:gd name="connsiteY34" fmla="*/ 99060 h 239934"/>
                  <a:gd name="connsiteX35" fmla="*/ 94298 w 284797"/>
                  <a:gd name="connsiteY35" fmla="*/ 95250 h 239934"/>
                  <a:gd name="connsiteX36" fmla="*/ 83820 w 284797"/>
                  <a:gd name="connsiteY36" fmla="*/ 70485 h 239934"/>
                  <a:gd name="connsiteX37" fmla="*/ 73343 w 284797"/>
                  <a:gd name="connsiteY37" fmla="*/ 74295 h 239934"/>
                  <a:gd name="connsiteX38" fmla="*/ 73343 w 284797"/>
                  <a:gd name="connsiteY38" fmla="*/ 84772 h 239934"/>
                  <a:gd name="connsiteX39" fmla="*/ 73343 w 284797"/>
                  <a:gd name="connsiteY39" fmla="*/ 101822 h 239934"/>
                  <a:gd name="connsiteX40" fmla="*/ 56198 w 284797"/>
                  <a:gd name="connsiteY40" fmla="*/ 99060 h 239934"/>
                  <a:gd name="connsiteX41" fmla="*/ 56198 w 284797"/>
                  <a:gd name="connsiteY41" fmla="*/ 80963 h 239934"/>
                  <a:gd name="connsiteX42" fmla="*/ 52388 w 284797"/>
                  <a:gd name="connsiteY42" fmla="*/ 70485 h 239934"/>
                  <a:gd name="connsiteX43" fmla="*/ 34290 w 284797"/>
                  <a:gd name="connsiteY43" fmla="*/ 66675 h 239934"/>
                  <a:gd name="connsiteX44" fmla="*/ 52388 w 284797"/>
                  <a:gd name="connsiteY44" fmla="*/ 56197 h 239934"/>
                  <a:gd name="connsiteX45" fmla="*/ 73343 w 284797"/>
                  <a:gd name="connsiteY45" fmla="*/ 60007 h 239934"/>
                  <a:gd name="connsiteX46" fmla="*/ 87630 w 284797"/>
                  <a:gd name="connsiteY46" fmla="*/ 56197 h 239934"/>
                  <a:gd name="connsiteX47" fmla="*/ 80963 w 284797"/>
                  <a:gd name="connsiteY47" fmla="*/ 42863 h 239934"/>
                  <a:gd name="connsiteX48" fmla="*/ 52388 w 284797"/>
                  <a:gd name="connsiteY48" fmla="*/ 42863 h 239934"/>
                  <a:gd name="connsiteX49" fmla="*/ 34290 w 284797"/>
                  <a:gd name="connsiteY49" fmla="*/ 45720 h 239934"/>
                  <a:gd name="connsiteX50" fmla="*/ 27623 w 284797"/>
                  <a:gd name="connsiteY50" fmla="*/ 28575 h 239934"/>
                  <a:gd name="connsiteX51" fmla="*/ 10478 w 284797"/>
                  <a:gd name="connsiteY51" fmla="*/ 28575 h 239934"/>
                  <a:gd name="connsiteX52" fmla="*/ 0 w 284797"/>
                  <a:gd name="connsiteY52" fmla="*/ 24670 h 239934"/>
                  <a:gd name="connsiteX53" fmla="*/ 2858 w 284797"/>
                  <a:gd name="connsiteY53" fmla="*/ 14288 h 239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284797" h="239934">
                    <a:moveTo>
                      <a:pt x="2858" y="14288"/>
                    </a:moveTo>
                    <a:lnTo>
                      <a:pt x="34290" y="3810"/>
                    </a:lnTo>
                    <a:lnTo>
                      <a:pt x="52388" y="0"/>
                    </a:lnTo>
                    <a:lnTo>
                      <a:pt x="83820" y="3810"/>
                    </a:lnTo>
                    <a:lnTo>
                      <a:pt x="98108" y="18097"/>
                    </a:lnTo>
                    <a:lnTo>
                      <a:pt x="94298" y="38957"/>
                    </a:lnTo>
                    <a:lnTo>
                      <a:pt x="94298" y="53245"/>
                    </a:lnTo>
                    <a:lnTo>
                      <a:pt x="104775" y="60007"/>
                    </a:lnTo>
                    <a:lnTo>
                      <a:pt x="108585" y="74295"/>
                    </a:lnTo>
                    <a:lnTo>
                      <a:pt x="122873" y="78010"/>
                    </a:lnTo>
                    <a:lnTo>
                      <a:pt x="140018" y="74295"/>
                    </a:lnTo>
                    <a:lnTo>
                      <a:pt x="150495" y="56197"/>
                    </a:lnTo>
                    <a:lnTo>
                      <a:pt x="164783" y="45720"/>
                    </a:lnTo>
                    <a:lnTo>
                      <a:pt x="182880" y="38957"/>
                    </a:lnTo>
                    <a:lnTo>
                      <a:pt x="193358" y="28575"/>
                    </a:lnTo>
                    <a:lnTo>
                      <a:pt x="224790" y="38957"/>
                    </a:lnTo>
                    <a:lnTo>
                      <a:pt x="249555" y="45720"/>
                    </a:lnTo>
                    <a:lnTo>
                      <a:pt x="278130" y="56197"/>
                    </a:lnTo>
                    <a:lnTo>
                      <a:pt x="284798" y="60007"/>
                    </a:lnTo>
                    <a:lnTo>
                      <a:pt x="284798" y="239935"/>
                    </a:lnTo>
                    <a:lnTo>
                      <a:pt x="260033" y="219075"/>
                    </a:lnTo>
                    <a:lnTo>
                      <a:pt x="242888" y="211360"/>
                    </a:lnTo>
                    <a:lnTo>
                      <a:pt x="228600" y="211360"/>
                    </a:lnTo>
                    <a:lnTo>
                      <a:pt x="218123" y="219075"/>
                    </a:lnTo>
                    <a:lnTo>
                      <a:pt x="193358" y="221932"/>
                    </a:lnTo>
                    <a:lnTo>
                      <a:pt x="189548" y="208597"/>
                    </a:lnTo>
                    <a:lnTo>
                      <a:pt x="193358" y="200882"/>
                    </a:lnTo>
                    <a:lnTo>
                      <a:pt x="203835" y="197072"/>
                    </a:lnTo>
                    <a:lnTo>
                      <a:pt x="218123" y="194310"/>
                    </a:lnTo>
                    <a:lnTo>
                      <a:pt x="220980" y="172307"/>
                    </a:lnTo>
                    <a:lnTo>
                      <a:pt x="214313" y="158972"/>
                    </a:lnTo>
                    <a:lnTo>
                      <a:pt x="197168" y="140970"/>
                    </a:lnTo>
                    <a:lnTo>
                      <a:pt x="158115" y="119920"/>
                    </a:lnTo>
                    <a:lnTo>
                      <a:pt x="116205" y="109538"/>
                    </a:lnTo>
                    <a:lnTo>
                      <a:pt x="104775" y="99060"/>
                    </a:lnTo>
                    <a:lnTo>
                      <a:pt x="94298" y="95250"/>
                    </a:lnTo>
                    <a:lnTo>
                      <a:pt x="83820" y="70485"/>
                    </a:lnTo>
                    <a:lnTo>
                      <a:pt x="73343" y="74295"/>
                    </a:lnTo>
                    <a:lnTo>
                      <a:pt x="73343" y="84772"/>
                    </a:lnTo>
                    <a:lnTo>
                      <a:pt x="73343" y="101822"/>
                    </a:lnTo>
                    <a:lnTo>
                      <a:pt x="56198" y="99060"/>
                    </a:lnTo>
                    <a:lnTo>
                      <a:pt x="56198" y="80963"/>
                    </a:lnTo>
                    <a:lnTo>
                      <a:pt x="52388" y="70485"/>
                    </a:lnTo>
                    <a:lnTo>
                      <a:pt x="34290" y="66675"/>
                    </a:lnTo>
                    <a:lnTo>
                      <a:pt x="52388" y="56197"/>
                    </a:lnTo>
                    <a:lnTo>
                      <a:pt x="73343" y="60007"/>
                    </a:lnTo>
                    <a:lnTo>
                      <a:pt x="87630" y="56197"/>
                    </a:lnTo>
                    <a:lnTo>
                      <a:pt x="80963" y="42863"/>
                    </a:lnTo>
                    <a:lnTo>
                      <a:pt x="52388" y="42863"/>
                    </a:lnTo>
                    <a:lnTo>
                      <a:pt x="34290" y="45720"/>
                    </a:lnTo>
                    <a:lnTo>
                      <a:pt x="27623" y="28575"/>
                    </a:lnTo>
                    <a:lnTo>
                      <a:pt x="10478" y="28575"/>
                    </a:lnTo>
                    <a:lnTo>
                      <a:pt x="0" y="24670"/>
                    </a:lnTo>
                    <a:lnTo>
                      <a:pt x="2858" y="142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id="{9AE7EA20-4F8B-71FC-5CA2-857F7D97DED1}"/>
                  </a:ext>
                </a:extLst>
              </p:cNvPr>
              <p:cNvSpPr/>
              <p:nvPr/>
            </p:nvSpPr>
            <p:spPr>
              <a:xfrm>
                <a:off x="9501854" y="4623946"/>
                <a:ext cx="83101" cy="27078"/>
              </a:xfrm>
              <a:custGeom>
                <a:avLst/>
                <a:gdLst>
                  <a:gd name="connsiteX0" fmla="*/ 7620 w 84772"/>
                  <a:gd name="connsiteY0" fmla="*/ 2953 h 27622"/>
                  <a:gd name="connsiteX1" fmla="*/ 35243 w 84772"/>
                  <a:gd name="connsiteY1" fmla="*/ 0 h 27622"/>
                  <a:gd name="connsiteX2" fmla="*/ 67627 w 84772"/>
                  <a:gd name="connsiteY2" fmla="*/ 2953 h 27622"/>
                  <a:gd name="connsiteX3" fmla="*/ 84773 w 84772"/>
                  <a:gd name="connsiteY3" fmla="*/ 17240 h 27622"/>
                  <a:gd name="connsiteX4" fmla="*/ 81915 w 84772"/>
                  <a:gd name="connsiteY4" fmla="*/ 27622 h 27622"/>
                  <a:gd name="connsiteX5" fmla="*/ 60007 w 84772"/>
                  <a:gd name="connsiteY5" fmla="*/ 21050 h 27622"/>
                  <a:gd name="connsiteX6" fmla="*/ 42863 w 84772"/>
                  <a:gd name="connsiteY6" fmla="*/ 17240 h 27622"/>
                  <a:gd name="connsiteX7" fmla="*/ 21907 w 84772"/>
                  <a:gd name="connsiteY7" fmla="*/ 17240 h 27622"/>
                  <a:gd name="connsiteX8" fmla="*/ 14288 w 84772"/>
                  <a:gd name="connsiteY8" fmla="*/ 24860 h 27622"/>
                  <a:gd name="connsiteX9" fmla="*/ 3810 w 84772"/>
                  <a:gd name="connsiteY9" fmla="*/ 24860 h 27622"/>
                  <a:gd name="connsiteX10" fmla="*/ 0 w 84772"/>
                  <a:gd name="connsiteY10" fmla="*/ 10573 h 27622"/>
                  <a:gd name="connsiteX11" fmla="*/ 7620 w 84772"/>
                  <a:gd name="connsiteY11" fmla="*/ 2953 h 2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4772" h="27622">
                    <a:moveTo>
                      <a:pt x="7620" y="2953"/>
                    </a:moveTo>
                    <a:lnTo>
                      <a:pt x="35243" y="0"/>
                    </a:lnTo>
                    <a:lnTo>
                      <a:pt x="67627" y="2953"/>
                    </a:lnTo>
                    <a:lnTo>
                      <a:pt x="84773" y="17240"/>
                    </a:lnTo>
                    <a:lnTo>
                      <a:pt x="81915" y="27622"/>
                    </a:lnTo>
                    <a:lnTo>
                      <a:pt x="60007" y="21050"/>
                    </a:lnTo>
                    <a:lnTo>
                      <a:pt x="42863" y="17240"/>
                    </a:lnTo>
                    <a:lnTo>
                      <a:pt x="21907" y="17240"/>
                    </a:lnTo>
                    <a:lnTo>
                      <a:pt x="14288" y="24860"/>
                    </a:lnTo>
                    <a:lnTo>
                      <a:pt x="3810" y="24860"/>
                    </a:lnTo>
                    <a:lnTo>
                      <a:pt x="0" y="10573"/>
                    </a:lnTo>
                    <a:lnTo>
                      <a:pt x="7620" y="295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2" name="Freeform: Shape 281">
                <a:extLst>
                  <a:ext uri="{FF2B5EF4-FFF2-40B4-BE49-F238E27FC236}">
                    <a16:creationId xmlns:a16="http://schemas.microsoft.com/office/drawing/2014/main" id="{BEE659AD-F671-CF02-EF7C-83617C6AB529}"/>
                  </a:ext>
                </a:extLst>
              </p:cNvPr>
              <p:cNvSpPr/>
              <p:nvPr/>
            </p:nvSpPr>
            <p:spPr>
              <a:xfrm>
                <a:off x="9457036" y="4634310"/>
                <a:ext cx="31746" cy="16713"/>
              </a:xfrm>
              <a:custGeom>
                <a:avLst/>
                <a:gdLst>
                  <a:gd name="connsiteX0" fmla="*/ 3810 w 32384"/>
                  <a:gd name="connsiteY0" fmla="*/ 0 h 17049"/>
                  <a:gd name="connsiteX1" fmla="*/ 21907 w 32384"/>
                  <a:gd name="connsiteY1" fmla="*/ 0 h 17049"/>
                  <a:gd name="connsiteX2" fmla="*/ 32385 w 32384"/>
                  <a:gd name="connsiteY2" fmla="*/ 6668 h 17049"/>
                  <a:gd name="connsiteX3" fmla="*/ 24765 w 32384"/>
                  <a:gd name="connsiteY3" fmla="*/ 17050 h 17049"/>
                  <a:gd name="connsiteX4" fmla="*/ 7620 w 32384"/>
                  <a:gd name="connsiteY4" fmla="*/ 17050 h 17049"/>
                  <a:gd name="connsiteX5" fmla="*/ 0 w 32384"/>
                  <a:gd name="connsiteY5" fmla="*/ 10478 h 17049"/>
                  <a:gd name="connsiteX6" fmla="*/ 3810 w 32384"/>
                  <a:gd name="connsiteY6" fmla="*/ 0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384" h="17049">
                    <a:moveTo>
                      <a:pt x="3810" y="0"/>
                    </a:moveTo>
                    <a:lnTo>
                      <a:pt x="21907" y="0"/>
                    </a:lnTo>
                    <a:lnTo>
                      <a:pt x="32385" y="6668"/>
                    </a:lnTo>
                    <a:lnTo>
                      <a:pt x="24765" y="17050"/>
                    </a:lnTo>
                    <a:lnTo>
                      <a:pt x="7620" y="17050"/>
                    </a:lnTo>
                    <a:lnTo>
                      <a:pt x="0" y="10478"/>
                    </a:lnTo>
                    <a:lnTo>
                      <a:pt x="381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9AEE62E9-8113-2DE2-1B93-B3754D71716F}"/>
                  </a:ext>
                </a:extLst>
              </p:cNvPr>
              <p:cNvSpPr/>
              <p:nvPr/>
            </p:nvSpPr>
            <p:spPr>
              <a:xfrm>
                <a:off x="9491583" y="4492289"/>
                <a:ext cx="38282" cy="86930"/>
              </a:xfrm>
              <a:custGeom>
                <a:avLst/>
                <a:gdLst>
                  <a:gd name="connsiteX0" fmla="*/ 0 w 39052"/>
                  <a:gd name="connsiteY0" fmla="*/ 0 h 88677"/>
                  <a:gd name="connsiteX1" fmla="*/ 10477 w 39052"/>
                  <a:gd name="connsiteY1" fmla="*/ 3905 h 88677"/>
                  <a:gd name="connsiteX2" fmla="*/ 14288 w 39052"/>
                  <a:gd name="connsiteY2" fmla="*/ 18193 h 88677"/>
                  <a:gd name="connsiteX3" fmla="*/ 14288 w 39052"/>
                  <a:gd name="connsiteY3" fmla="*/ 24765 h 88677"/>
                  <a:gd name="connsiteX4" fmla="*/ 24765 w 39052"/>
                  <a:gd name="connsiteY4" fmla="*/ 10478 h 88677"/>
                  <a:gd name="connsiteX5" fmla="*/ 35242 w 39052"/>
                  <a:gd name="connsiteY5" fmla="*/ 6763 h 88677"/>
                  <a:gd name="connsiteX6" fmla="*/ 39052 w 39052"/>
                  <a:gd name="connsiteY6" fmla="*/ 24765 h 88677"/>
                  <a:gd name="connsiteX7" fmla="*/ 28575 w 39052"/>
                  <a:gd name="connsiteY7" fmla="*/ 28575 h 88677"/>
                  <a:gd name="connsiteX8" fmla="*/ 24765 w 39052"/>
                  <a:gd name="connsiteY8" fmla="*/ 35338 h 88677"/>
                  <a:gd name="connsiteX9" fmla="*/ 32385 w 39052"/>
                  <a:gd name="connsiteY9" fmla="*/ 39053 h 88677"/>
                  <a:gd name="connsiteX10" fmla="*/ 35242 w 39052"/>
                  <a:gd name="connsiteY10" fmla="*/ 45815 h 88677"/>
                  <a:gd name="connsiteX11" fmla="*/ 14288 w 39052"/>
                  <a:gd name="connsiteY11" fmla="*/ 45815 h 88677"/>
                  <a:gd name="connsiteX12" fmla="*/ 14288 w 39052"/>
                  <a:gd name="connsiteY12" fmla="*/ 53340 h 88677"/>
                  <a:gd name="connsiteX13" fmla="*/ 18097 w 39052"/>
                  <a:gd name="connsiteY13" fmla="*/ 66675 h 88677"/>
                  <a:gd name="connsiteX14" fmla="*/ 28575 w 39052"/>
                  <a:gd name="connsiteY14" fmla="*/ 78200 h 88677"/>
                  <a:gd name="connsiteX15" fmla="*/ 32385 w 39052"/>
                  <a:gd name="connsiteY15" fmla="*/ 80963 h 88677"/>
                  <a:gd name="connsiteX16" fmla="*/ 32385 w 39052"/>
                  <a:gd name="connsiteY16" fmla="*/ 84868 h 88677"/>
                  <a:gd name="connsiteX17" fmla="*/ 28575 w 39052"/>
                  <a:gd name="connsiteY17" fmla="*/ 88678 h 88677"/>
                  <a:gd name="connsiteX18" fmla="*/ 21907 w 39052"/>
                  <a:gd name="connsiteY18" fmla="*/ 88678 h 88677"/>
                  <a:gd name="connsiteX19" fmla="*/ 14288 w 39052"/>
                  <a:gd name="connsiteY19" fmla="*/ 84868 h 88677"/>
                  <a:gd name="connsiteX20" fmla="*/ 10477 w 39052"/>
                  <a:gd name="connsiteY20" fmla="*/ 80963 h 88677"/>
                  <a:gd name="connsiteX21" fmla="*/ 3810 w 39052"/>
                  <a:gd name="connsiteY21" fmla="*/ 56293 h 88677"/>
                  <a:gd name="connsiteX22" fmla="*/ 0 w 39052"/>
                  <a:gd name="connsiteY22" fmla="*/ 39053 h 88677"/>
                  <a:gd name="connsiteX23" fmla="*/ 3810 w 39052"/>
                  <a:gd name="connsiteY23" fmla="*/ 21050 h 88677"/>
                  <a:gd name="connsiteX24" fmla="*/ 0 w 39052"/>
                  <a:gd name="connsiteY24" fmla="*/ 0 h 88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9052" h="88677">
                    <a:moveTo>
                      <a:pt x="0" y="0"/>
                    </a:moveTo>
                    <a:lnTo>
                      <a:pt x="10477" y="3905"/>
                    </a:lnTo>
                    <a:lnTo>
                      <a:pt x="14288" y="18193"/>
                    </a:lnTo>
                    <a:lnTo>
                      <a:pt x="14288" y="24765"/>
                    </a:lnTo>
                    <a:lnTo>
                      <a:pt x="24765" y="10478"/>
                    </a:lnTo>
                    <a:lnTo>
                      <a:pt x="35242" y="6763"/>
                    </a:lnTo>
                    <a:lnTo>
                      <a:pt x="39052" y="24765"/>
                    </a:lnTo>
                    <a:lnTo>
                      <a:pt x="28575" y="28575"/>
                    </a:lnTo>
                    <a:lnTo>
                      <a:pt x="24765" y="35338"/>
                    </a:lnTo>
                    <a:lnTo>
                      <a:pt x="32385" y="39053"/>
                    </a:lnTo>
                    <a:lnTo>
                      <a:pt x="35242" y="45815"/>
                    </a:lnTo>
                    <a:lnTo>
                      <a:pt x="14288" y="45815"/>
                    </a:lnTo>
                    <a:lnTo>
                      <a:pt x="14288" y="53340"/>
                    </a:lnTo>
                    <a:lnTo>
                      <a:pt x="18097" y="66675"/>
                    </a:lnTo>
                    <a:lnTo>
                      <a:pt x="28575" y="78200"/>
                    </a:lnTo>
                    <a:lnTo>
                      <a:pt x="32385" y="80963"/>
                    </a:lnTo>
                    <a:lnTo>
                      <a:pt x="32385" y="84868"/>
                    </a:lnTo>
                    <a:lnTo>
                      <a:pt x="28575" y="88678"/>
                    </a:lnTo>
                    <a:lnTo>
                      <a:pt x="21907" y="88678"/>
                    </a:lnTo>
                    <a:lnTo>
                      <a:pt x="14288" y="84868"/>
                    </a:lnTo>
                    <a:lnTo>
                      <a:pt x="10477" y="80963"/>
                    </a:lnTo>
                    <a:lnTo>
                      <a:pt x="3810" y="56293"/>
                    </a:lnTo>
                    <a:lnTo>
                      <a:pt x="0" y="39053"/>
                    </a:lnTo>
                    <a:lnTo>
                      <a:pt x="3810" y="210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4" name="Freeform: Shape 283">
                <a:extLst>
                  <a:ext uri="{FF2B5EF4-FFF2-40B4-BE49-F238E27FC236}">
                    <a16:creationId xmlns:a16="http://schemas.microsoft.com/office/drawing/2014/main" id="{3081F434-44BC-5DC8-7D7C-D172CAB717AD}"/>
                  </a:ext>
                </a:extLst>
              </p:cNvPr>
              <p:cNvSpPr/>
              <p:nvPr/>
            </p:nvSpPr>
            <p:spPr>
              <a:xfrm>
                <a:off x="9861338" y="4620304"/>
                <a:ext cx="266111" cy="225029"/>
              </a:xfrm>
              <a:custGeom>
                <a:avLst/>
                <a:gdLst>
                  <a:gd name="connsiteX0" fmla="*/ 0 w 271462"/>
                  <a:gd name="connsiteY0" fmla="*/ 0 h 229552"/>
                  <a:gd name="connsiteX1" fmla="*/ 24765 w 271462"/>
                  <a:gd name="connsiteY1" fmla="*/ 6668 h 229552"/>
                  <a:gd name="connsiteX2" fmla="*/ 56198 w 271462"/>
                  <a:gd name="connsiteY2" fmla="*/ 18002 h 229552"/>
                  <a:gd name="connsiteX3" fmla="*/ 87630 w 271462"/>
                  <a:gd name="connsiteY3" fmla="*/ 31337 h 229552"/>
                  <a:gd name="connsiteX4" fmla="*/ 116205 w 271462"/>
                  <a:gd name="connsiteY4" fmla="*/ 49530 h 229552"/>
                  <a:gd name="connsiteX5" fmla="*/ 130493 w 271462"/>
                  <a:gd name="connsiteY5" fmla="*/ 66675 h 229552"/>
                  <a:gd name="connsiteX6" fmla="*/ 147638 w 271462"/>
                  <a:gd name="connsiteY6" fmla="*/ 77153 h 229552"/>
                  <a:gd name="connsiteX7" fmla="*/ 176213 w 271462"/>
                  <a:gd name="connsiteY7" fmla="*/ 91440 h 229552"/>
                  <a:gd name="connsiteX8" fmla="*/ 190500 w 271462"/>
                  <a:gd name="connsiteY8" fmla="*/ 101918 h 229552"/>
                  <a:gd name="connsiteX9" fmla="*/ 190500 w 271462"/>
                  <a:gd name="connsiteY9" fmla="*/ 109538 h 229552"/>
                  <a:gd name="connsiteX10" fmla="*/ 193357 w 271462"/>
                  <a:gd name="connsiteY10" fmla="*/ 112300 h 229552"/>
                  <a:gd name="connsiteX11" fmla="*/ 190500 w 271462"/>
                  <a:gd name="connsiteY11" fmla="*/ 116205 h 229552"/>
                  <a:gd name="connsiteX12" fmla="*/ 165735 w 271462"/>
                  <a:gd name="connsiteY12" fmla="*/ 116205 h 229552"/>
                  <a:gd name="connsiteX13" fmla="*/ 176213 w 271462"/>
                  <a:gd name="connsiteY13" fmla="*/ 126587 h 229552"/>
                  <a:gd name="connsiteX14" fmla="*/ 193357 w 271462"/>
                  <a:gd name="connsiteY14" fmla="*/ 151352 h 229552"/>
                  <a:gd name="connsiteX15" fmla="*/ 218123 w 271462"/>
                  <a:gd name="connsiteY15" fmla="*/ 179927 h 229552"/>
                  <a:gd name="connsiteX16" fmla="*/ 228600 w 271462"/>
                  <a:gd name="connsiteY16" fmla="*/ 186690 h 229552"/>
                  <a:gd name="connsiteX17" fmla="*/ 242888 w 271462"/>
                  <a:gd name="connsiteY17" fmla="*/ 200978 h 229552"/>
                  <a:gd name="connsiteX18" fmla="*/ 271463 w 271462"/>
                  <a:gd name="connsiteY18" fmla="*/ 219075 h 229552"/>
                  <a:gd name="connsiteX19" fmla="*/ 267652 w 271462"/>
                  <a:gd name="connsiteY19" fmla="*/ 229553 h 229552"/>
                  <a:gd name="connsiteX20" fmla="*/ 239077 w 271462"/>
                  <a:gd name="connsiteY20" fmla="*/ 215265 h 229552"/>
                  <a:gd name="connsiteX21" fmla="*/ 218123 w 271462"/>
                  <a:gd name="connsiteY21" fmla="*/ 211455 h 229552"/>
                  <a:gd name="connsiteX22" fmla="*/ 182880 w 271462"/>
                  <a:gd name="connsiteY22" fmla="*/ 207550 h 229552"/>
                  <a:gd name="connsiteX23" fmla="*/ 165735 w 271462"/>
                  <a:gd name="connsiteY23" fmla="*/ 186690 h 229552"/>
                  <a:gd name="connsiteX24" fmla="*/ 147638 w 271462"/>
                  <a:gd name="connsiteY24" fmla="*/ 161925 h 229552"/>
                  <a:gd name="connsiteX25" fmla="*/ 126682 w 271462"/>
                  <a:gd name="connsiteY25" fmla="*/ 148590 h 229552"/>
                  <a:gd name="connsiteX26" fmla="*/ 105727 w 271462"/>
                  <a:gd name="connsiteY26" fmla="*/ 134303 h 229552"/>
                  <a:gd name="connsiteX27" fmla="*/ 80963 w 271462"/>
                  <a:gd name="connsiteY27" fmla="*/ 123825 h 229552"/>
                  <a:gd name="connsiteX28" fmla="*/ 80963 w 271462"/>
                  <a:gd name="connsiteY28" fmla="*/ 140875 h 229552"/>
                  <a:gd name="connsiteX29" fmla="*/ 74295 w 271462"/>
                  <a:gd name="connsiteY29" fmla="*/ 151352 h 229552"/>
                  <a:gd name="connsiteX30" fmla="*/ 49530 w 271462"/>
                  <a:gd name="connsiteY30" fmla="*/ 155162 h 229552"/>
                  <a:gd name="connsiteX31" fmla="*/ 52388 w 271462"/>
                  <a:gd name="connsiteY31" fmla="*/ 169450 h 229552"/>
                  <a:gd name="connsiteX32" fmla="*/ 66675 w 271462"/>
                  <a:gd name="connsiteY32" fmla="*/ 176213 h 229552"/>
                  <a:gd name="connsiteX33" fmla="*/ 56198 w 271462"/>
                  <a:gd name="connsiteY33" fmla="*/ 186690 h 229552"/>
                  <a:gd name="connsiteX34" fmla="*/ 31432 w 271462"/>
                  <a:gd name="connsiteY34" fmla="*/ 179927 h 229552"/>
                  <a:gd name="connsiteX35" fmla="*/ 14288 w 271462"/>
                  <a:gd name="connsiteY35" fmla="*/ 179927 h 229552"/>
                  <a:gd name="connsiteX36" fmla="*/ 0 w 271462"/>
                  <a:gd name="connsiteY36" fmla="*/ 179927 h 229552"/>
                  <a:gd name="connsiteX37" fmla="*/ 0 w 271462"/>
                  <a:gd name="connsiteY37" fmla="*/ 0 h 229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71462" h="229552">
                    <a:moveTo>
                      <a:pt x="0" y="0"/>
                    </a:moveTo>
                    <a:lnTo>
                      <a:pt x="24765" y="6668"/>
                    </a:lnTo>
                    <a:lnTo>
                      <a:pt x="56198" y="18002"/>
                    </a:lnTo>
                    <a:lnTo>
                      <a:pt x="87630" y="31337"/>
                    </a:lnTo>
                    <a:lnTo>
                      <a:pt x="116205" y="49530"/>
                    </a:lnTo>
                    <a:lnTo>
                      <a:pt x="130493" y="66675"/>
                    </a:lnTo>
                    <a:lnTo>
                      <a:pt x="147638" y="77153"/>
                    </a:lnTo>
                    <a:lnTo>
                      <a:pt x="176213" y="91440"/>
                    </a:lnTo>
                    <a:lnTo>
                      <a:pt x="190500" y="101918"/>
                    </a:lnTo>
                    <a:lnTo>
                      <a:pt x="190500" y="109538"/>
                    </a:lnTo>
                    <a:lnTo>
                      <a:pt x="193357" y="112300"/>
                    </a:lnTo>
                    <a:lnTo>
                      <a:pt x="190500" y="116205"/>
                    </a:lnTo>
                    <a:lnTo>
                      <a:pt x="165735" y="116205"/>
                    </a:lnTo>
                    <a:lnTo>
                      <a:pt x="176213" y="126587"/>
                    </a:lnTo>
                    <a:lnTo>
                      <a:pt x="193357" y="151352"/>
                    </a:lnTo>
                    <a:lnTo>
                      <a:pt x="218123" y="179927"/>
                    </a:lnTo>
                    <a:lnTo>
                      <a:pt x="228600" y="186690"/>
                    </a:lnTo>
                    <a:lnTo>
                      <a:pt x="242888" y="200978"/>
                    </a:lnTo>
                    <a:lnTo>
                      <a:pt x="271463" y="219075"/>
                    </a:lnTo>
                    <a:lnTo>
                      <a:pt x="267652" y="229553"/>
                    </a:lnTo>
                    <a:lnTo>
                      <a:pt x="239077" y="215265"/>
                    </a:lnTo>
                    <a:lnTo>
                      <a:pt x="218123" y="211455"/>
                    </a:lnTo>
                    <a:lnTo>
                      <a:pt x="182880" y="207550"/>
                    </a:lnTo>
                    <a:lnTo>
                      <a:pt x="165735" y="186690"/>
                    </a:lnTo>
                    <a:lnTo>
                      <a:pt x="147638" y="161925"/>
                    </a:lnTo>
                    <a:lnTo>
                      <a:pt x="126682" y="148590"/>
                    </a:lnTo>
                    <a:lnTo>
                      <a:pt x="105727" y="134303"/>
                    </a:lnTo>
                    <a:lnTo>
                      <a:pt x="80963" y="123825"/>
                    </a:lnTo>
                    <a:lnTo>
                      <a:pt x="80963" y="140875"/>
                    </a:lnTo>
                    <a:lnTo>
                      <a:pt x="74295" y="151352"/>
                    </a:lnTo>
                    <a:lnTo>
                      <a:pt x="49530" y="155162"/>
                    </a:lnTo>
                    <a:lnTo>
                      <a:pt x="52388" y="169450"/>
                    </a:lnTo>
                    <a:lnTo>
                      <a:pt x="66675" y="176213"/>
                    </a:lnTo>
                    <a:lnTo>
                      <a:pt x="56198" y="186690"/>
                    </a:lnTo>
                    <a:lnTo>
                      <a:pt x="31432" y="179927"/>
                    </a:lnTo>
                    <a:lnTo>
                      <a:pt x="14288" y="179927"/>
                    </a:lnTo>
                    <a:lnTo>
                      <a:pt x="0" y="1799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5" name="Freeform: Shape 284">
                <a:extLst>
                  <a:ext uri="{FF2B5EF4-FFF2-40B4-BE49-F238E27FC236}">
                    <a16:creationId xmlns:a16="http://schemas.microsoft.com/office/drawing/2014/main" id="{C0BA8F1E-0BCF-3476-6F72-A90AC8E703DF}"/>
                  </a:ext>
                </a:extLst>
              </p:cNvPr>
              <p:cNvSpPr/>
              <p:nvPr/>
            </p:nvSpPr>
            <p:spPr>
              <a:xfrm>
                <a:off x="10075162" y="4661295"/>
                <a:ext cx="99908" cy="62653"/>
              </a:xfrm>
              <a:custGeom>
                <a:avLst/>
                <a:gdLst>
                  <a:gd name="connsiteX0" fmla="*/ 0 w 101917"/>
                  <a:gd name="connsiteY0" fmla="*/ 39148 h 63912"/>
                  <a:gd name="connsiteX1" fmla="*/ 24765 w 101917"/>
                  <a:gd name="connsiteY1" fmla="*/ 39148 h 63912"/>
                  <a:gd name="connsiteX2" fmla="*/ 60007 w 101917"/>
                  <a:gd name="connsiteY2" fmla="*/ 39148 h 63912"/>
                  <a:gd name="connsiteX3" fmla="*/ 70485 w 101917"/>
                  <a:gd name="connsiteY3" fmla="*/ 28575 h 63912"/>
                  <a:gd name="connsiteX4" fmla="*/ 88582 w 101917"/>
                  <a:gd name="connsiteY4" fmla="*/ 11525 h 63912"/>
                  <a:gd name="connsiteX5" fmla="*/ 99060 w 101917"/>
                  <a:gd name="connsiteY5" fmla="*/ 0 h 63912"/>
                  <a:gd name="connsiteX6" fmla="*/ 101917 w 101917"/>
                  <a:gd name="connsiteY6" fmla="*/ 18097 h 63912"/>
                  <a:gd name="connsiteX7" fmla="*/ 95250 w 101917"/>
                  <a:gd name="connsiteY7" fmla="*/ 32385 h 63912"/>
                  <a:gd name="connsiteX8" fmla="*/ 80963 w 101917"/>
                  <a:gd name="connsiteY8" fmla="*/ 39148 h 63912"/>
                  <a:gd name="connsiteX9" fmla="*/ 66675 w 101917"/>
                  <a:gd name="connsiteY9" fmla="*/ 49625 h 63912"/>
                  <a:gd name="connsiteX10" fmla="*/ 56197 w 101917"/>
                  <a:gd name="connsiteY10" fmla="*/ 60103 h 63912"/>
                  <a:gd name="connsiteX11" fmla="*/ 35242 w 101917"/>
                  <a:gd name="connsiteY11" fmla="*/ 63913 h 63912"/>
                  <a:gd name="connsiteX12" fmla="*/ 10477 w 101917"/>
                  <a:gd name="connsiteY12" fmla="*/ 57150 h 63912"/>
                  <a:gd name="connsiteX13" fmla="*/ 0 w 101917"/>
                  <a:gd name="connsiteY13" fmla="*/ 49625 h 63912"/>
                  <a:gd name="connsiteX14" fmla="*/ 0 w 101917"/>
                  <a:gd name="connsiteY14" fmla="*/ 39148 h 6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1917" h="63912">
                    <a:moveTo>
                      <a:pt x="0" y="39148"/>
                    </a:moveTo>
                    <a:lnTo>
                      <a:pt x="24765" y="39148"/>
                    </a:lnTo>
                    <a:lnTo>
                      <a:pt x="60007" y="39148"/>
                    </a:lnTo>
                    <a:lnTo>
                      <a:pt x="70485" y="28575"/>
                    </a:lnTo>
                    <a:lnTo>
                      <a:pt x="88582" y="11525"/>
                    </a:lnTo>
                    <a:lnTo>
                      <a:pt x="99060" y="0"/>
                    </a:lnTo>
                    <a:lnTo>
                      <a:pt x="101917" y="18097"/>
                    </a:lnTo>
                    <a:lnTo>
                      <a:pt x="95250" y="32385"/>
                    </a:lnTo>
                    <a:lnTo>
                      <a:pt x="80963" y="39148"/>
                    </a:lnTo>
                    <a:lnTo>
                      <a:pt x="66675" y="49625"/>
                    </a:lnTo>
                    <a:lnTo>
                      <a:pt x="56197" y="60103"/>
                    </a:lnTo>
                    <a:lnTo>
                      <a:pt x="35242" y="63913"/>
                    </a:lnTo>
                    <a:lnTo>
                      <a:pt x="10477" y="57150"/>
                    </a:lnTo>
                    <a:lnTo>
                      <a:pt x="0" y="49625"/>
                    </a:lnTo>
                    <a:lnTo>
                      <a:pt x="0" y="3914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E0950ABE-7B79-4001-F747-2DEC68B6956F}"/>
                  </a:ext>
                </a:extLst>
              </p:cNvPr>
              <p:cNvSpPr/>
              <p:nvPr/>
            </p:nvSpPr>
            <p:spPr>
              <a:xfrm>
                <a:off x="10233895" y="4693042"/>
                <a:ext cx="38282" cy="48647"/>
              </a:xfrm>
              <a:custGeom>
                <a:avLst/>
                <a:gdLst>
                  <a:gd name="connsiteX0" fmla="*/ 0 w 39052"/>
                  <a:gd name="connsiteY0" fmla="*/ 0 h 49625"/>
                  <a:gd name="connsiteX1" fmla="*/ 18097 w 39052"/>
                  <a:gd name="connsiteY1" fmla="*/ 10478 h 49625"/>
                  <a:gd name="connsiteX2" fmla="*/ 35242 w 39052"/>
                  <a:gd name="connsiteY2" fmla="*/ 27718 h 49625"/>
                  <a:gd name="connsiteX3" fmla="*/ 39052 w 39052"/>
                  <a:gd name="connsiteY3" fmla="*/ 49625 h 49625"/>
                  <a:gd name="connsiteX4" fmla="*/ 21907 w 39052"/>
                  <a:gd name="connsiteY4" fmla="*/ 38100 h 49625"/>
                  <a:gd name="connsiteX5" fmla="*/ 14288 w 39052"/>
                  <a:gd name="connsiteY5" fmla="*/ 24765 h 49625"/>
                  <a:gd name="connsiteX6" fmla="*/ 3810 w 39052"/>
                  <a:gd name="connsiteY6" fmla="*/ 14288 h 49625"/>
                  <a:gd name="connsiteX7" fmla="*/ 0 w 39052"/>
                  <a:gd name="connsiteY7" fmla="*/ 0 h 4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052" h="49625">
                    <a:moveTo>
                      <a:pt x="0" y="0"/>
                    </a:moveTo>
                    <a:lnTo>
                      <a:pt x="18097" y="10478"/>
                    </a:lnTo>
                    <a:lnTo>
                      <a:pt x="35242" y="27718"/>
                    </a:lnTo>
                    <a:lnTo>
                      <a:pt x="39052" y="49625"/>
                    </a:lnTo>
                    <a:lnTo>
                      <a:pt x="21907" y="38100"/>
                    </a:lnTo>
                    <a:lnTo>
                      <a:pt x="14288" y="24765"/>
                    </a:lnTo>
                    <a:lnTo>
                      <a:pt x="3810" y="1428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31F42BEA-A3E0-A406-5D2D-AFF657DB50A1}"/>
                  </a:ext>
                </a:extLst>
              </p:cNvPr>
              <p:cNvSpPr/>
              <p:nvPr/>
            </p:nvSpPr>
            <p:spPr>
              <a:xfrm>
                <a:off x="10369284" y="4803315"/>
                <a:ext cx="33613" cy="20448"/>
              </a:xfrm>
              <a:custGeom>
                <a:avLst/>
                <a:gdLst>
                  <a:gd name="connsiteX0" fmla="*/ 6667 w 34289"/>
                  <a:gd name="connsiteY0" fmla="*/ 0 h 20859"/>
                  <a:gd name="connsiteX1" fmla="*/ 17145 w 34289"/>
                  <a:gd name="connsiteY1" fmla="*/ 0 h 20859"/>
                  <a:gd name="connsiteX2" fmla="*/ 34290 w 34289"/>
                  <a:gd name="connsiteY2" fmla="*/ 14288 h 20859"/>
                  <a:gd name="connsiteX3" fmla="*/ 34290 w 34289"/>
                  <a:gd name="connsiteY3" fmla="*/ 18097 h 20859"/>
                  <a:gd name="connsiteX4" fmla="*/ 34290 w 34289"/>
                  <a:gd name="connsiteY4" fmla="*/ 20860 h 20859"/>
                  <a:gd name="connsiteX5" fmla="*/ 31432 w 34289"/>
                  <a:gd name="connsiteY5" fmla="*/ 20860 h 20859"/>
                  <a:gd name="connsiteX6" fmla="*/ 6667 w 34289"/>
                  <a:gd name="connsiteY6" fmla="*/ 18097 h 20859"/>
                  <a:gd name="connsiteX7" fmla="*/ 0 w 34289"/>
                  <a:gd name="connsiteY7" fmla="*/ 7525 h 20859"/>
                  <a:gd name="connsiteX8" fmla="*/ 6667 w 34289"/>
                  <a:gd name="connsiteY8" fmla="*/ 0 h 2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89" h="20859">
                    <a:moveTo>
                      <a:pt x="6667" y="0"/>
                    </a:moveTo>
                    <a:lnTo>
                      <a:pt x="17145" y="0"/>
                    </a:lnTo>
                    <a:lnTo>
                      <a:pt x="34290" y="14288"/>
                    </a:lnTo>
                    <a:lnTo>
                      <a:pt x="34290" y="18097"/>
                    </a:lnTo>
                    <a:lnTo>
                      <a:pt x="34290" y="20860"/>
                    </a:lnTo>
                    <a:lnTo>
                      <a:pt x="31432" y="20860"/>
                    </a:lnTo>
                    <a:lnTo>
                      <a:pt x="6667" y="18097"/>
                    </a:lnTo>
                    <a:lnTo>
                      <a:pt x="0" y="7525"/>
                    </a:lnTo>
                    <a:lnTo>
                      <a:pt x="6667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6358DFD3-B263-09BF-5FFD-89E4D9F4B5C5}"/>
                  </a:ext>
                </a:extLst>
              </p:cNvPr>
              <p:cNvSpPr/>
              <p:nvPr/>
            </p:nvSpPr>
            <p:spPr>
              <a:xfrm>
                <a:off x="10396362" y="4776237"/>
                <a:ext cx="28012" cy="34454"/>
              </a:xfrm>
              <a:custGeom>
                <a:avLst/>
                <a:gdLst>
                  <a:gd name="connsiteX0" fmla="*/ 0 w 28575"/>
                  <a:gd name="connsiteY0" fmla="*/ 0 h 35147"/>
                  <a:gd name="connsiteX1" fmla="*/ 3810 w 28575"/>
                  <a:gd name="connsiteY1" fmla="*/ 13335 h 35147"/>
                  <a:gd name="connsiteX2" fmla="*/ 10478 w 28575"/>
                  <a:gd name="connsiteY2" fmla="*/ 31432 h 35147"/>
                  <a:gd name="connsiteX3" fmla="*/ 28575 w 28575"/>
                  <a:gd name="connsiteY3" fmla="*/ 35147 h 35147"/>
                  <a:gd name="connsiteX4" fmla="*/ 24765 w 28575"/>
                  <a:gd name="connsiteY4" fmla="*/ 13335 h 35147"/>
                  <a:gd name="connsiteX5" fmla="*/ 14288 w 28575"/>
                  <a:gd name="connsiteY5" fmla="*/ 6572 h 35147"/>
                  <a:gd name="connsiteX6" fmla="*/ 0 w 28575"/>
                  <a:gd name="connsiteY6" fmla="*/ 0 h 35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35147">
                    <a:moveTo>
                      <a:pt x="0" y="0"/>
                    </a:moveTo>
                    <a:lnTo>
                      <a:pt x="3810" y="13335"/>
                    </a:lnTo>
                    <a:lnTo>
                      <a:pt x="10478" y="31432"/>
                    </a:lnTo>
                    <a:lnTo>
                      <a:pt x="28575" y="35147"/>
                    </a:lnTo>
                    <a:lnTo>
                      <a:pt x="24765" y="13335"/>
                    </a:lnTo>
                    <a:lnTo>
                      <a:pt x="14288" y="65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120AA5A6-B51D-E3C4-74EA-4ECC28EDD096}"/>
                  </a:ext>
                </a:extLst>
              </p:cNvPr>
              <p:cNvSpPr/>
              <p:nvPr/>
            </p:nvSpPr>
            <p:spPr>
              <a:xfrm>
                <a:off x="10420640" y="4831327"/>
                <a:ext cx="24276" cy="16713"/>
              </a:xfrm>
              <a:custGeom>
                <a:avLst/>
                <a:gdLst>
                  <a:gd name="connsiteX0" fmla="*/ 0 w 24764"/>
                  <a:gd name="connsiteY0" fmla="*/ 3810 h 17049"/>
                  <a:gd name="connsiteX1" fmla="*/ 10477 w 24764"/>
                  <a:gd name="connsiteY1" fmla="*/ 0 h 17049"/>
                  <a:gd name="connsiteX2" fmla="*/ 24765 w 24764"/>
                  <a:gd name="connsiteY2" fmla="*/ 6572 h 17049"/>
                  <a:gd name="connsiteX3" fmla="*/ 24765 w 24764"/>
                  <a:gd name="connsiteY3" fmla="*/ 17050 h 17049"/>
                  <a:gd name="connsiteX4" fmla="*/ 10477 w 24764"/>
                  <a:gd name="connsiteY4" fmla="*/ 14288 h 17049"/>
                  <a:gd name="connsiteX5" fmla="*/ 0 w 24764"/>
                  <a:gd name="connsiteY5" fmla="*/ 3810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764" h="17049">
                    <a:moveTo>
                      <a:pt x="0" y="3810"/>
                    </a:moveTo>
                    <a:lnTo>
                      <a:pt x="10477" y="0"/>
                    </a:lnTo>
                    <a:lnTo>
                      <a:pt x="24765" y="6572"/>
                    </a:lnTo>
                    <a:lnTo>
                      <a:pt x="24765" y="17050"/>
                    </a:lnTo>
                    <a:lnTo>
                      <a:pt x="10477" y="14288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0" name="Freeform: Shape 289">
                <a:extLst>
                  <a:ext uri="{FF2B5EF4-FFF2-40B4-BE49-F238E27FC236}">
                    <a16:creationId xmlns:a16="http://schemas.microsoft.com/office/drawing/2014/main" id="{7DE8DE57-951B-B192-437A-E4B2D8D64D0C}"/>
                  </a:ext>
                </a:extLst>
              </p:cNvPr>
              <p:cNvSpPr/>
              <p:nvPr/>
            </p:nvSpPr>
            <p:spPr>
              <a:xfrm>
                <a:off x="10420640" y="4831327"/>
                <a:ext cx="24276" cy="16713"/>
              </a:xfrm>
              <a:custGeom>
                <a:avLst/>
                <a:gdLst>
                  <a:gd name="connsiteX0" fmla="*/ 0 w 24764"/>
                  <a:gd name="connsiteY0" fmla="*/ 3810 h 17049"/>
                  <a:gd name="connsiteX1" fmla="*/ 10477 w 24764"/>
                  <a:gd name="connsiteY1" fmla="*/ 0 h 17049"/>
                  <a:gd name="connsiteX2" fmla="*/ 24765 w 24764"/>
                  <a:gd name="connsiteY2" fmla="*/ 6572 h 17049"/>
                  <a:gd name="connsiteX3" fmla="*/ 24765 w 24764"/>
                  <a:gd name="connsiteY3" fmla="*/ 17050 h 17049"/>
                  <a:gd name="connsiteX4" fmla="*/ 10477 w 24764"/>
                  <a:gd name="connsiteY4" fmla="*/ 14288 h 17049"/>
                  <a:gd name="connsiteX5" fmla="*/ 0 w 24764"/>
                  <a:gd name="connsiteY5" fmla="*/ 3810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764" h="17049">
                    <a:moveTo>
                      <a:pt x="0" y="3810"/>
                    </a:moveTo>
                    <a:lnTo>
                      <a:pt x="10477" y="0"/>
                    </a:lnTo>
                    <a:lnTo>
                      <a:pt x="24765" y="6572"/>
                    </a:lnTo>
                    <a:lnTo>
                      <a:pt x="24765" y="17050"/>
                    </a:lnTo>
                    <a:lnTo>
                      <a:pt x="10477" y="14288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1" name="Freeform: Shape 290">
                <a:extLst>
                  <a:ext uri="{FF2B5EF4-FFF2-40B4-BE49-F238E27FC236}">
                    <a16:creationId xmlns:a16="http://schemas.microsoft.com/office/drawing/2014/main" id="{3EA72C14-7A90-9DC4-42D8-5D8A3FD39D63}"/>
                  </a:ext>
                </a:extLst>
              </p:cNvPr>
              <p:cNvSpPr/>
              <p:nvPr/>
            </p:nvSpPr>
            <p:spPr>
              <a:xfrm>
                <a:off x="10496271" y="5111447"/>
                <a:ext cx="76565" cy="61626"/>
              </a:xfrm>
              <a:custGeom>
                <a:avLst/>
                <a:gdLst>
                  <a:gd name="connsiteX0" fmla="*/ 0 w 78105"/>
                  <a:gd name="connsiteY0" fmla="*/ 0 h 62865"/>
                  <a:gd name="connsiteX1" fmla="*/ 24765 w 78105"/>
                  <a:gd name="connsiteY1" fmla="*/ 10478 h 62865"/>
                  <a:gd name="connsiteX2" fmla="*/ 42863 w 78105"/>
                  <a:gd name="connsiteY2" fmla="*/ 31337 h 62865"/>
                  <a:gd name="connsiteX3" fmla="*/ 60007 w 78105"/>
                  <a:gd name="connsiteY3" fmla="*/ 41910 h 62865"/>
                  <a:gd name="connsiteX4" fmla="*/ 78105 w 78105"/>
                  <a:gd name="connsiteY4" fmla="*/ 56197 h 62865"/>
                  <a:gd name="connsiteX5" fmla="*/ 74295 w 78105"/>
                  <a:gd name="connsiteY5" fmla="*/ 62865 h 62865"/>
                  <a:gd name="connsiteX6" fmla="*/ 53340 w 78105"/>
                  <a:gd name="connsiteY6" fmla="*/ 49435 h 62865"/>
                  <a:gd name="connsiteX7" fmla="*/ 35243 w 78105"/>
                  <a:gd name="connsiteY7" fmla="*/ 35147 h 62865"/>
                  <a:gd name="connsiteX8" fmla="*/ 18098 w 78105"/>
                  <a:gd name="connsiteY8" fmla="*/ 20860 h 62865"/>
                  <a:gd name="connsiteX9" fmla="*/ 3810 w 78105"/>
                  <a:gd name="connsiteY9" fmla="*/ 14288 h 62865"/>
                  <a:gd name="connsiteX10" fmla="*/ 0 w 78105"/>
                  <a:gd name="connsiteY10" fmla="*/ 0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105" h="62865">
                    <a:moveTo>
                      <a:pt x="0" y="0"/>
                    </a:moveTo>
                    <a:lnTo>
                      <a:pt x="24765" y="10478"/>
                    </a:lnTo>
                    <a:lnTo>
                      <a:pt x="42863" y="31337"/>
                    </a:lnTo>
                    <a:lnTo>
                      <a:pt x="60007" y="41910"/>
                    </a:lnTo>
                    <a:lnTo>
                      <a:pt x="78105" y="56197"/>
                    </a:lnTo>
                    <a:lnTo>
                      <a:pt x="74295" y="62865"/>
                    </a:lnTo>
                    <a:lnTo>
                      <a:pt x="53340" y="49435"/>
                    </a:lnTo>
                    <a:lnTo>
                      <a:pt x="35243" y="35147"/>
                    </a:lnTo>
                    <a:lnTo>
                      <a:pt x="18098" y="20860"/>
                    </a:lnTo>
                    <a:lnTo>
                      <a:pt x="3810" y="1428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2" name="Freeform: Shape 291">
                <a:extLst>
                  <a:ext uri="{FF2B5EF4-FFF2-40B4-BE49-F238E27FC236}">
                    <a16:creationId xmlns:a16="http://schemas.microsoft.com/office/drawing/2014/main" id="{69F9E3CE-1A37-F614-2689-E7B79E79F563}"/>
                  </a:ext>
                </a:extLst>
              </p:cNvPr>
              <p:cNvSpPr/>
              <p:nvPr/>
            </p:nvSpPr>
            <p:spPr>
              <a:xfrm>
                <a:off x="9281496" y="4035694"/>
                <a:ext cx="120450" cy="166297"/>
              </a:xfrm>
              <a:custGeom>
                <a:avLst/>
                <a:gdLst>
                  <a:gd name="connsiteX0" fmla="*/ 6667 w 122872"/>
                  <a:gd name="connsiteY0" fmla="*/ 102965 h 169640"/>
                  <a:gd name="connsiteX1" fmla="*/ 24765 w 122872"/>
                  <a:gd name="connsiteY1" fmla="*/ 113347 h 169640"/>
                  <a:gd name="connsiteX2" fmla="*/ 27622 w 122872"/>
                  <a:gd name="connsiteY2" fmla="*/ 134398 h 169640"/>
                  <a:gd name="connsiteX3" fmla="*/ 41910 w 122872"/>
                  <a:gd name="connsiteY3" fmla="*/ 138113 h 169640"/>
                  <a:gd name="connsiteX4" fmla="*/ 52388 w 122872"/>
                  <a:gd name="connsiteY4" fmla="*/ 127635 h 169640"/>
                  <a:gd name="connsiteX5" fmla="*/ 66675 w 122872"/>
                  <a:gd name="connsiteY5" fmla="*/ 130588 h 169640"/>
                  <a:gd name="connsiteX6" fmla="*/ 70485 w 122872"/>
                  <a:gd name="connsiteY6" fmla="*/ 144875 h 169640"/>
                  <a:gd name="connsiteX7" fmla="*/ 84772 w 122872"/>
                  <a:gd name="connsiteY7" fmla="*/ 141065 h 169640"/>
                  <a:gd name="connsiteX8" fmla="*/ 91440 w 122872"/>
                  <a:gd name="connsiteY8" fmla="*/ 148685 h 169640"/>
                  <a:gd name="connsiteX9" fmla="*/ 108585 w 122872"/>
                  <a:gd name="connsiteY9" fmla="*/ 159163 h 169640"/>
                  <a:gd name="connsiteX10" fmla="*/ 116205 w 122872"/>
                  <a:gd name="connsiteY10" fmla="*/ 169640 h 169640"/>
                  <a:gd name="connsiteX11" fmla="*/ 122872 w 122872"/>
                  <a:gd name="connsiteY11" fmla="*/ 159163 h 169640"/>
                  <a:gd name="connsiteX12" fmla="*/ 108585 w 122872"/>
                  <a:gd name="connsiteY12" fmla="*/ 148685 h 169640"/>
                  <a:gd name="connsiteX13" fmla="*/ 108585 w 122872"/>
                  <a:gd name="connsiteY13" fmla="*/ 138113 h 169640"/>
                  <a:gd name="connsiteX14" fmla="*/ 101917 w 122872"/>
                  <a:gd name="connsiteY14" fmla="*/ 127635 h 169640"/>
                  <a:gd name="connsiteX15" fmla="*/ 87630 w 122872"/>
                  <a:gd name="connsiteY15" fmla="*/ 127635 h 169640"/>
                  <a:gd name="connsiteX16" fmla="*/ 80963 w 122872"/>
                  <a:gd name="connsiteY16" fmla="*/ 120110 h 169640"/>
                  <a:gd name="connsiteX17" fmla="*/ 70485 w 122872"/>
                  <a:gd name="connsiteY17" fmla="*/ 123825 h 169640"/>
                  <a:gd name="connsiteX18" fmla="*/ 56197 w 122872"/>
                  <a:gd name="connsiteY18" fmla="*/ 117253 h 169640"/>
                  <a:gd name="connsiteX19" fmla="*/ 49530 w 122872"/>
                  <a:gd name="connsiteY19" fmla="*/ 109538 h 169640"/>
                  <a:gd name="connsiteX20" fmla="*/ 45720 w 122872"/>
                  <a:gd name="connsiteY20" fmla="*/ 95250 h 169640"/>
                  <a:gd name="connsiteX21" fmla="*/ 49530 w 122872"/>
                  <a:gd name="connsiteY21" fmla="*/ 74390 h 169640"/>
                  <a:gd name="connsiteX22" fmla="*/ 60007 w 122872"/>
                  <a:gd name="connsiteY22" fmla="*/ 70485 h 169640"/>
                  <a:gd name="connsiteX23" fmla="*/ 70485 w 122872"/>
                  <a:gd name="connsiteY23" fmla="*/ 46672 h 169640"/>
                  <a:gd name="connsiteX24" fmla="*/ 66675 w 122872"/>
                  <a:gd name="connsiteY24" fmla="*/ 24860 h 169640"/>
                  <a:gd name="connsiteX25" fmla="*/ 66675 w 122872"/>
                  <a:gd name="connsiteY25" fmla="*/ 7715 h 169640"/>
                  <a:gd name="connsiteX26" fmla="*/ 49530 w 122872"/>
                  <a:gd name="connsiteY26" fmla="*/ 3810 h 169640"/>
                  <a:gd name="connsiteX27" fmla="*/ 20955 w 122872"/>
                  <a:gd name="connsiteY27" fmla="*/ 0 h 169640"/>
                  <a:gd name="connsiteX28" fmla="*/ 17145 w 122872"/>
                  <a:gd name="connsiteY28" fmla="*/ 28575 h 169640"/>
                  <a:gd name="connsiteX29" fmla="*/ 17145 w 122872"/>
                  <a:gd name="connsiteY29" fmla="*/ 49625 h 169640"/>
                  <a:gd name="connsiteX30" fmla="*/ 20955 w 122872"/>
                  <a:gd name="connsiteY30" fmla="*/ 63913 h 169640"/>
                  <a:gd name="connsiteX31" fmla="*/ 0 w 122872"/>
                  <a:gd name="connsiteY31" fmla="*/ 67723 h 169640"/>
                  <a:gd name="connsiteX32" fmla="*/ 3810 w 122872"/>
                  <a:gd name="connsiteY32" fmla="*/ 78200 h 169640"/>
                  <a:gd name="connsiteX33" fmla="*/ 6667 w 122872"/>
                  <a:gd name="connsiteY33" fmla="*/ 84772 h 169640"/>
                  <a:gd name="connsiteX34" fmla="*/ 6667 w 122872"/>
                  <a:gd name="connsiteY34" fmla="*/ 102965 h 169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22872" h="169640">
                    <a:moveTo>
                      <a:pt x="6667" y="102965"/>
                    </a:moveTo>
                    <a:lnTo>
                      <a:pt x="24765" y="113347"/>
                    </a:lnTo>
                    <a:lnTo>
                      <a:pt x="27622" y="134398"/>
                    </a:lnTo>
                    <a:lnTo>
                      <a:pt x="41910" y="138113"/>
                    </a:lnTo>
                    <a:lnTo>
                      <a:pt x="52388" y="127635"/>
                    </a:lnTo>
                    <a:lnTo>
                      <a:pt x="66675" y="130588"/>
                    </a:lnTo>
                    <a:lnTo>
                      <a:pt x="70485" y="144875"/>
                    </a:lnTo>
                    <a:lnTo>
                      <a:pt x="84772" y="141065"/>
                    </a:lnTo>
                    <a:lnTo>
                      <a:pt x="91440" y="148685"/>
                    </a:lnTo>
                    <a:lnTo>
                      <a:pt x="108585" y="159163"/>
                    </a:lnTo>
                    <a:lnTo>
                      <a:pt x="116205" y="169640"/>
                    </a:lnTo>
                    <a:lnTo>
                      <a:pt x="122872" y="159163"/>
                    </a:lnTo>
                    <a:lnTo>
                      <a:pt x="108585" y="148685"/>
                    </a:lnTo>
                    <a:lnTo>
                      <a:pt x="108585" y="138113"/>
                    </a:lnTo>
                    <a:lnTo>
                      <a:pt x="101917" y="127635"/>
                    </a:lnTo>
                    <a:lnTo>
                      <a:pt x="87630" y="127635"/>
                    </a:lnTo>
                    <a:lnTo>
                      <a:pt x="80963" y="120110"/>
                    </a:lnTo>
                    <a:lnTo>
                      <a:pt x="70485" y="123825"/>
                    </a:lnTo>
                    <a:lnTo>
                      <a:pt x="56197" y="117253"/>
                    </a:lnTo>
                    <a:lnTo>
                      <a:pt x="49530" y="109538"/>
                    </a:lnTo>
                    <a:lnTo>
                      <a:pt x="45720" y="95250"/>
                    </a:lnTo>
                    <a:lnTo>
                      <a:pt x="49530" y="74390"/>
                    </a:lnTo>
                    <a:lnTo>
                      <a:pt x="60007" y="70485"/>
                    </a:lnTo>
                    <a:lnTo>
                      <a:pt x="70485" y="46672"/>
                    </a:lnTo>
                    <a:lnTo>
                      <a:pt x="66675" y="24860"/>
                    </a:lnTo>
                    <a:lnTo>
                      <a:pt x="66675" y="7715"/>
                    </a:lnTo>
                    <a:lnTo>
                      <a:pt x="49530" y="3810"/>
                    </a:lnTo>
                    <a:lnTo>
                      <a:pt x="20955" y="0"/>
                    </a:lnTo>
                    <a:lnTo>
                      <a:pt x="17145" y="28575"/>
                    </a:lnTo>
                    <a:lnTo>
                      <a:pt x="17145" y="49625"/>
                    </a:lnTo>
                    <a:lnTo>
                      <a:pt x="20955" y="63913"/>
                    </a:lnTo>
                    <a:lnTo>
                      <a:pt x="0" y="67723"/>
                    </a:lnTo>
                    <a:lnTo>
                      <a:pt x="3810" y="78200"/>
                    </a:lnTo>
                    <a:lnTo>
                      <a:pt x="6667" y="84772"/>
                    </a:lnTo>
                    <a:lnTo>
                      <a:pt x="6667" y="10296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3" name="Freeform: Shape 292">
                <a:extLst>
                  <a:ext uri="{FF2B5EF4-FFF2-40B4-BE49-F238E27FC236}">
                    <a16:creationId xmlns:a16="http://schemas.microsoft.com/office/drawing/2014/main" id="{11C2AC71-FE93-F895-6EF0-EC416B9795A9}"/>
                  </a:ext>
                </a:extLst>
              </p:cNvPr>
              <p:cNvSpPr/>
              <p:nvPr/>
            </p:nvSpPr>
            <p:spPr>
              <a:xfrm>
                <a:off x="9208665" y="4240181"/>
                <a:ext cx="72831" cy="79367"/>
              </a:xfrm>
              <a:custGeom>
                <a:avLst/>
                <a:gdLst>
                  <a:gd name="connsiteX0" fmla="*/ 0 w 74295"/>
                  <a:gd name="connsiteY0" fmla="*/ 80963 h 80962"/>
                  <a:gd name="connsiteX1" fmla="*/ 14288 w 74295"/>
                  <a:gd name="connsiteY1" fmla="*/ 60103 h 80962"/>
                  <a:gd name="connsiteX2" fmla="*/ 35243 w 74295"/>
                  <a:gd name="connsiteY2" fmla="*/ 35338 h 80962"/>
                  <a:gd name="connsiteX3" fmla="*/ 56198 w 74295"/>
                  <a:gd name="connsiteY3" fmla="*/ 17240 h 80962"/>
                  <a:gd name="connsiteX4" fmla="*/ 63818 w 74295"/>
                  <a:gd name="connsiteY4" fmla="*/ 0 h 80962"/>
                  <a:gd name="connsiteX5" fmla="*/ 66675 w 74295"/>
                  <a:gd name="connsiteY5" fmla="*/ 10478 h 80962"/>
                  <a:gd name="connsiteX6" fmla="*/ 74295 w 74295"/>
                  <a:gd name="connsiteY6" fmla="*/ 21050 h 80962"/>
                  <a:gd name="connsiteX7" fmla="*/ 56198 w 74295"/>
                  <a:gd name="connsiteY7" fmla="*/ 27718 h 80962"/>
                  <a:gd name="connsiteX8" fmla="*/ 35243 w 74295"/>
                  <a:gd name="connsiteY8" fmla="*/ 52388 h 80962"/>
                  <a:gd name="connsiteX9" fmla="*/ 24765 w 74295"/>
                  <a:gd name="connsiteY9" fmla="*/ 66675 h 80962"/>
                  <a:gd name="connsiteX10" fmla="*/ 0 w 74295"/>
                  <a:gd name="connsiteY10" fmla="*/ 80963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295" h="80962">
                    <a:moveTo>
                      <a:pt x="0" y="80963"/>
                    </a:moveTo>
                    <a:lnTo>
                      <a:pt x="14288" y="60103"/>
                    </a:lnTo>
                    <a:lnTo>
                      <a:pt x="35243" y="35338"/>
                    </a:lnTo>
                    <a:lnTo>
                      <a:pt x="56198" y="17240"/>
                    </a:lnTo>
                    <a:lnTo>
                      <a:pt x="63818" y="0"/>
                    </a:lnTo>
                    <a:lnTo>
                      <a:pt x="66675" y="10478"/>
                    </a:lnTo>
                    <a:lnTo>
                      <a:pt x="74295" y="21050"/>
                    </a:lnTo>
                    <a:lnTo>
                      <a:pt x="56198" y="27718"/>
                    </a:lnTo>
                    <a:lnTo>
                      <a:pt x="35243" y="52388"/>
                    </a:lnTo>
                    <a:lnTo>
                      <a:pt x="24765" y="66675"/>
                    </a:lnTo>
                    <a:lnTo>
                      <a:pt x="0" y="8096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4" name="Freeform: Shape 293">
                <a:extLst>
                  <a:ext uri="{FF2B5EF4-FFF2-40B4-BE49-F238E27FC236}">
                    <a16:creationId xmlns:a16="http://schemas.microsoft.com/office/drawing/2014/main" id="{0868BEE8-C8CB-B3BC-686C-5435AA2DEEF3}"/>
                  </a:ext>
                </a:extLst>
              </p:cNvPr>
              <p:cNvSpPr/>
              <p:nvPr/>
            </p:nvSpPr>
            <p:spPr>
              <a:xfrm>
                <a:off x="9208665" y="4240181"/>
                <a:ext cx="72831" cy="79367"/>
              </a:xfrm>
              <a:custGeom>
                <a:avLst/>
                <a:gdLst>
                  <a:gd name="connsiteX0" fmla="*/ 0 w 74295"/>
                  <a:gd name="connsiteY0" fmla="*/ 80963 h 80962"/>
                  <a:gd name="connsiteX1" fmla="*/ 14288 w 74295"/>
                  <a:gd name="connsiteY1" fmla="*/ 60103 h 80962"/>
                  <a:gd name="connsiteX2" fmla="*/ 35243 w 74295"/>
                  <a:gd name="connsiteY2" fmla="*/ 35338 h 80962"/>
                  <a:gd name="connsiteX3" fmla="*/ 56198 w 74295"/>
                  <a:gd name="connsiteY3" fmla="*/ 17240 h 80962"/>
                  <a:gd name="connsiteX4" fmla="*/ 63818 w 74295"/>
                  <a:gd name="connsiteY4" fmla="*/ 0 h 80962"/>
                  <a:gd name="connsiteX5" fmla="*/ 66675 w 74295"/>
                  <a:gd name="connsiteY5" fmla="*/ 10478 h 80962"/>
                  <a:gd name="connsiteX6" fmla="*/ 74295 w 74295"/>
                  <a:gd name="connsiteY6" fmla="*/ 21050 h 80962"/>
                  <a:gd name="connsiteX7" fmla="*/ 56198 w 74295"/>
                  <a:gd name="connsiteY7" fmla="*/ 27718 h 80962"/>
                  <a:gd name="connsiteX8" fmla="*/ 35243 w 74295"/>
                  <a:gd name="connsiteY8" fmla="*/ 52388 h 80962"/>
                  <a:gd name="connsiteX9" fmla="*/ 24765 w 74295"/>
                  <a:gd name="connsiteY9" fmla="*/ 66675 h 80962"/>
                  <a:gd name="connsiteX10" fmla="*/ 0 w 74295"/>
                  <a:gd name="connsiteY10" fmla="*/ 80963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295" h="80962">
                    <a:moveTo>
                      <a:pt x="0" y="80963"/>
                    </a:moveTo>
                    <a:lnTo>
                      <a:pt x="14288" y="60103"/>
                    </a:lnTo>
                    <a:lnTo>
                      <a:pt x="35243" y="35338"/>
                    </a:lnTo>
                    <a:lnTo>
                      <a:pt x="56198" y="17240"/>
                    </a:lnTo>
                    <a:lnTo>
                      <a:pt x="63818" y="0"/>
                    </a:lnTo>
                    <a:lnTo>
                      <a:pt x="66675" y="10478"/>
                    </a:lnTo>
                    <a:lnTo>
                      <a:pt x="74295" y="21050"/>
                    </a:lnTo>
                    <a:lnTo>
                      <a:pt x="56198" y="27718"/>
                    </a:lnTo>
                    <a:lnTo>
                      <a:pt x="35243" y="52388"/>
                    </a:lnTo>
                    <a:lnTo>
                      <a:pt x="24765" y="66675"/>
                    </a:lnTo>
                    <a:lnTo>
                      <a:pt x="0" y="8096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5" name="Freeform: Shape 294">
                <a:extLst>
                  <a:ext uri="{FF2B5EF4-FFF2-40B4-BE49-F238E27FC236}">
                    <a16:creationId xmlns:a16="http://schemas.microsoft.com/office/drawing/2014/main" id="{8C0821B3-99CB-8FE6-BC45-4654EEAAE20C}"/>
                  </a:ext>
                </a:extLst>
              </p:cNvPr>
              <p:cNvSpPr/>
              <p:nvPr/>
            </p:nvSpPr>
            <p:spPr>
              <a:xfrm>
                <a:off x="9336585" y="4281360"/>
                <a:ext cx="127920" cy="103551"/>
              </a:xfrm>
              <a:custGeom>
                <a:avLst/>
                <a:gdLst>
                  <a:gd name="connsiteX0" fmla="*/ 101918 w 130492"/>
                  <a:gd name="connsiteY0" fmla="*/ 102870 h 105632"/>
                  <a:gd name="connsiteX1" fmla="*/ 70485 w 130492"/>
                  <a:gd name="connsiteY1" fmla="*/ 105632 h 105632"/>
                  <a:gd name="connsiteX2" fmla="*/ 60007 w 130492"/>
                  <a:gd name="connsiteY2" fmla="*/ 84772 h 105632"/>
                  <a:gd name="connsiteX3" fmla="*/ 60007 w 130492"/>
                  <a:gd name="connsiteY3" fmla="*/ 67532 h 105632"/>
                  <a:gd name="connsiteX4" fmla="*/ 70485 w 130492"/>
                  <a:gd name="connsiteY4" fmla="*/ 63722 h 105632"/>
                  <a:gd name="connsiteX5" fmla="*/ 56198 w 130492"/>
                  <a:gd name="connsiteY5" fmla="*/ 53245 h 105632"/>
                  <a:gd name="connsiteX6" fmla="*/ 41910 w 130492"/>
                  <a:gd name="connsiteY6" fmla="*/ 56197 h 105632"/>
                  <a:gd name="connsiteX7" fmla="*/ 31432 w 130492"/>
                  <a:gd name="connsiteY7" fmla="*/ 60007 h 105632"/>
                  <a:gd name="connsiteX8" fmla="*/ 20955 w 130492"/>
                  <a:gd name="connsiteY8" fmla="*/ 63722 h 105632"/>
                  <a:gd name="connsiteX9" fmla="*/ 14288 w 130492"/>
                  <a:gd name="connsiteY9" fmla="*/ 78010 h 105632"/>
                  <a:gd name="connsiteX10" fmla="*/ 6668 w 130492"/>
                  <a:gd name="connsiteY10" fmla="*/ 88582 h 105632"/>
                  <a:gd name="connsiteX11" fmla="*/ 0 w 130492"/>
                  <a:gd name="connsiteY11" fmla="*/ 67532 h 105632"/>
                  <a:gd name="connsiteX12" fmla="*/ 6668 w 130492"/>
                  <a:gd name="connsiteY12" fmla="*/ 49435 h 105632"/>
                  <a:gd name="connsiteX13" fmla="*/ 24765 w 130492"/>
                  <a:gd name="connsiteY13" fmla="*/ 42863 h 105632"/>
                  <a:gd name="connsiteX14" fmla="*/ 39053 w 130492"/>
                  <a:gd name="connsiteY14" fmla="*/ 35147 h 105632"/>
                  <a:gd name="connsiteX15" fmla="*/ 45720 w 130492"/>
                  <a:gd name="connsiteY15" fmla="*/ 24670 h 105632"/>
                  <a:gd name="connsiteX16" fmla="*/ 56198 w 130492"/>
                  <a:gd name="connsiteY16" fmla="*/ 38957 h 105632"/>
                  <a:gd name="connsiteX17" fmla="*/ 63818 w 130492"/>
                  <a:gd name="connsiteY17" fmla="*/ 42863 h 105632"/>
                  <a:gd name="connsiteX18" fmla="*/ 74295 w 130492"/>
                  <a:gd name="connsiteY18" fmla="*/ 32385 h 105632"/>
                  <a:gd name="connsiteX19" fmla="*/ 87630 w 130492"/>
                  <a:gd name="connsiteY19" fmla="*/ 14288 h 105632"/>
                  <a:gd name="connsiteX20" fmla="*/ 95250 w 130492"/>
                  <a:gd name="connsiteY20" fmla="*/ 18097 h 105632"/>
                  <a:gd name="connsiteX21" fmla="*/ 101918 w 130492"/>
                  <a:gd name="connsiteY21" fmla="*/ 18097 h 105632"/>
                  <a:gd name="connsiteX22" fmla="*/ 101918 w 130492"/>
                  <a:gd name="connsiteY22" fmla="*/ 7620 h 105632"/>
                  <a:gd name="connsiteX23" fmla="*/ 109538 w 130492"/>
                  <a:gd name="connsiteY23" fmla="*/ 0 h 105632"/>
                  <a:gd name="connsiteX24" fmla="*/ 120015 w 130492"/>
                  <a:gd name="connsiteY24" fmla="*/ 10382 h 105632"/>
                  <a:gd name="connsiteX25" fmla="*/ 126682 w 130492"/>
                  <a:gd name="connsiteY25" fmla="*/ 24670 h 105632"/>
                  <a:gd name="connsiteX26" fmla="*/ 130493 w 130492"/>
                  <a:gd name="connsiteY26" fmla="*/ 49435 h 105632"/>
                  <a:gd name="connsiteX27" fmla="*/ 130493 w 130492"/>
                  <a:gd name="connsiteY27" fmla="*/ 74295 h 105632"/>
                  <a:gd name="connsiteX28" fmla="*/ 116205 w 130492"/>
                  <a:gd name="connsiteY28" fmla="*/ 78010 h 105632"/>
                  <a:gd name="connsiteX29" fmla="*/ 112395 w 130492"/>
                  <a:gd name="connsiteY29" fmla="*/ 63722 h 105632"/>
                  <a:gd name="connsiteX30" fmla="*/ 101918 w 130492"/>
                  <a:gd name="connsiteY30" fmla="*/ 74295 h 105632"/>
                  <a:gd name="connsiteX31" fmla="*/ 95250 w 130492"/>
                  <a:gd name="connsiteY31" fmla="*/ 80963 h 105632"/>
                  <a:gd name="connsiteX32" fmla="*/ 101918 w 130492"/>
                  <a:gd name="connsiteY32" fmla="*/ 102870 h 105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30492" h="105632">
                    <a:moveTo>
                      <a:pt x="101918" y="102870"/>
                    </a:moveTo>
                    <a:lnTo>
                      <a:pt x="70485" y="105632"/>
                    </a:lnTo>
                    <a:lnTo>
                      <a:pt x="60007" y="84772"/>
                    </a:lnTo>
                    <a:lnTo>
                      <a:pt x="60007" y="67532"/>
                    </a:lnTo>
                    <a:lnTo>
                      <a:pt x="70485" y="63722"/>
                    </a:lnTo>
                    <a:lnTo>
                      <a:pt x="56198" y="53245"/>
                    </a:lnTo>
                    <a:lnTo>
                      <a:pt x="41910" y="56197"/>
                    </a:lnTo>
                    <a:lnTo>
                      <a:pt x="31432" y="60007"/>
                    </a:lnTo>
                    <a:lnTo>
                      <a:pt x="20955" y="63722"/>
                    </a:lnTo>
                    <a:lnTo>
                      <a:pt x="14288" y="78010"/>
                    </a:lnTo>
                    <a:lnTo>
                      <a:pt x="6668" y="88582"/>
                    </a:lnTo>
                    <a:lnTo>
                      <a:pt x="0" y="67532"/>
                    </a:lnTo>
                    <a:lnTo>
                      <a:pt x="6668" y="49435"/>
                    </a:lnTo>
                    <a:lnTo>
                      <a:pt x="24765" y="42863"/>
                    </a:lnTo>
                    <a:lnTo>
                      <a:pt x="39053" y="35147"/>
                    </a:lnTo>
                    <a:lnTo>
                      <a:pt x="45720" y="24670"/>
                    </a:lnTo>
                    <a:lnTo>
                      <a:pt x="56198" y="38957"/>
                    </a:lnTo>
                    <a:lnTo>
                      <a:pt x="63818" y="42863"/>
                    </a:lnTo>
                    <a:lnTo>
                      <a:pt x="74295" y="32385"/>
                    </a:lnTo>
                    <a:lnTo>
                      <a:pt x="87630" y="14288"/>
                    </a:lnTo>
                    <a:lnTo>
                      <a:pt x="95250" y="18097"/>
                    </a:lnTo>
                    <a:lnTo>
                      <a:pt x="101918" y="18097"/>
                    </a:lnTo>
                    <a:lnTo>
                      <a:pt x="101918" y="7620"/>
                    </a:lnTo>
                    <a:lnTo>
                      <a:pt x="109538" y="0"/>
                    </a:lnTo>
                    <a:lnTo>
                      <a:pt x="120015" y="10382"/>
                    </a:lnTo>
                    <a:lnTo>
                      <a:pt x="126682" y="24670"/>
                    </a:lnTo>
                    <a:lnTo>
                      <a:pt x="130493" y="49435"/>
                    </a:lnTo>
                    <a:lnTo>
                      <a:pt x="130493" y="74295"/>
                    </a:lnTo>
                    <a:lnTo>
                      <a:pt x="116205" y="78010"/>
                    </a:lnTo>
                    <a:lnTo>
                      <a:pt x="112395" y="63722"/>
                    </a:lnTo>
                    <a:lnTo>
                      <a:pt x="101918" y="74295"/>
                    </a:lnTo>
                    <a:lnTo>
                      <a:pt x="95250" y="80963"/>
                    </a:lnTo>
                    <a:lnTo>
                      <a:pt x="101918" y="1028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6" name="Freeform: Shape 295">
                <a:extLst>
                  <a:ext uri="{FF2B5EF4-FFF2-40B4-BE49-F238E27FC236}">
                    <a16:creationId xmlns:a16="http://schemas.microsoft.com/office/drawing/2014/main" id="{1090AE24-2D85-B2B7-F6CD-7F5264DB7D6C}"/>
                  </a:ext>
                </a:extLst>
              </p:cNvPr>
              <p:cNvSpPr/>
              <p:nvPr/>
            </p:nvSpPr>
            <p:spPr>
              <a:xfrm>
                <a:off x="9405681" y="4201992"/>
                <a:ext cx="30812" cy="38189"/>
              </a:xfrm>
              <a:custGeom>
                <a:avLst/>
                <a:gdLst>
                  <a:gd name="connsiteX0" fmla="*/ 0 w 31432"/>
                  <a:gd name="connsiteY0" fmla="*/ 6572 h 38957"/>
                  <a:gd name="connsiteX1" fmla="*/ 20955 w 31432"/>
                  <a:gd name="connsiteY1" fmla="*/ 0 h 38957"/>
                  <a:gd name="connsiteX2" fmla="*/ 31432 w 31432"/>
                  <a:gd name="connsiteY2" fmla="*/ 3810 h 38957"/>
                  <a:gd name="connsiteX3" fmla="*/ 31432 w 31432"/>
                  <a:gd name="connsiteY3" fmla="*/ 28575 h 38957"/>
                  <a:gd name="connsiteX4" fmla="*/ 31432 w 31432"/>
                  <a:gd name="connsiteY4" fmla="*/ 38957 h 38957"/>
                  <a:gd name="connsiteX5" fmla="*/ 17145 w 31432"/>
                  <a:gd name="connsiteY5" fmla="*/ 31432 h 38957"/>
                  <a:gd name="connsiteX6" fmla="*/ 6668 w 31432"/>
                  <a:gd name="connsiteY6" fmla="*/ 20860 h 38957"/>
                  <a:gd name="connsiteX7" fmla="*/ 0 w 31432"/>
                  <a:gd name="connsiteY7" fmla="*/ 6572 h 3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432" h="38957">
                    <a:moveTo>
                      <a:pt x="0" y="6572"/>
                    </a:moveTo>
                    <a:lnTo>
                      <a:pt x="20955" y="0"/>
                    </a:lnTo>
                    <a:lnTo>
                      <a:pt x="31432" y="3810"/>
                    </a:lnTo>
                    <a:lnTo>
                      <a:pt x="31432" y="28575"/>
                    </a:lnTo>
                    <a:lnTo>
                      <a:pt x="31432" y="38957"/>
                    </a:lnTo>
                    <a:lnTo>
                      <a:pt x="17145" y="31432"/>
                    </a:lnTo>
                    <a:lnTo>
                      <a:pt x="6668" y="20860"/>
                    </a:lnTo>
                    <a:lnTo>
                      <a:pt x="0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7" name="Freeform: Shape 296">
                <a:extLst>
                  <a:ext uri="{FF2B5EF4-FFF2-40B4-BE49-F238E27FC236}">
                    <a16:creationId xmlns:a16="http://schemas.microsoft.com/office/drawing/2014/main" id="{091CE0BB-0AE2-38B0-9963-2D632190CB3E}"/>
                  </a:ext>
                </a:extLst>
              </p:cNvPr>
              <p:cNvSpPr/>
              <p:nvPr/>
            </p:nvSpPr>
            <p:spPr>
              <a:xfrm>
                <a:off x="9405681" y="4201992"/>
                <a:ext cx="30812" cy="38189"/>
              </a:xfrm>
              <a:custGeom>
                <a:avLst/>
                <a:gdLst>
                  <a:gd name="connsiteX0" fmla="*/ 0 w 31432"/>
                  <a:gd name="connsiteY0" fmla="*/ 6572 h 38957"/>
                  <a:gd name="connsiteX1" fmla="*/ 20955 w 31432"/>
                  <a:gd name="connsiteY1" fmla="*/ 0 h 38957"/>
                  <a:gd name="connsiteX2" fmla="*/ 31432 w 31432"/>
                  <a:gd name="connsiteY2" fmla="*/ 3810 h 38957"/>
                  <a:gd name="connsiteX3" fmla="*/ 31432 w 31432"/>
                  <a:gd name="connsiteY3" fmla="*/ 28575 h 38957"/>
                  <a:gd name="connsiteX4" fmla="*/ 31432 w 31432"/>
                  <a:gd name="connsiteY4" fmla="*/ 38957 h 38957"/>
                  <a:gd name="connsiteX5" fmla="*/ 17145 w 31432"/>
                  <a:gd name="connsiteY5" fmla="*/ 31432 h 38957"/>
                  <a:gd name="connsiteX6" fmla="*/ 6668 w 31432"/>
                  <a:gd name="connsiteY6" fmla="*/ 20860 h 38957"/>
                  <a:gd name="connsiteX7" fmla="*/ 0 w 31432"/>
                  <a:gd name="connsiteY7" fmla="*/ 6572 h 3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432" h="38957">
                    <a:moveTo>
                      <a:pt x="0" y="6572"/>
                    </a:moveTo>
                    <a:lnTo>
                      <a:pt x="20955" y="0"/>
                    </a:lnTo>
                    <a:lnTo>
                      <a:pt x="31432" y="3810"/>
                    </a:lnTo>
                    <a:lnTo>
                      <a:pt x="31432" y="28575"/>
                    </a:lnTo>
                    <a:lnTo>
                      <a:pt x="31432" y="38957"/>
                    </a:lnTo>
                    <a:lnTo>
                      <a:pt x="17145" y="31432"/>
                    </a:lnTo>
                    <a:lnTo>
                      <a:pt x="6668" y="20860"/>
                    </a:lnTo>
                    <a:lnTo>
                      <a:pt x="0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8" name="Freeform: Shape 297">
                <a:extLst>
                  <a:ext uri="{FF2B5EF4-FFF2-40B4-BE49-F238E27FC236}">
                    <a16:creationId xmlns:a16="http://schemas.microsoft.com/office/drawing/2014/main" id="{01E4CB48-F8EB-FFFE-92C2-435AD16A043E}"/>
                  </a:ext>
                </a:extLst>
              </p:cNvPr>
              <p:cNvSpPr/>
              <p:nvPr/>
            </p:nvSpPr>
            <p:spPr>
              <a:xfrm>
                <a:off x="9295501" y="4173980"/>
                <a:ext cx="34547" cy="42017"/>
              </a:xfrm>
              <a:custGeom>
                <a:avLst/>
                <a:gdLst>
                  <a:gd name="connsiteX0" fmla="*/ 0 w 35242"/>
                  <a:gd name="connsiteY0" fmla="*/ 0 h 42862"/>
                  <a:gd name="connsiteX1" fmla="*/ 17145 w 35242"/>
                  <a:gd name="connsiteY1" fmla="*/ 3810 h 42862"/>
                  <a:gd name="connsiteX2" fmla="*/ 35242 w 35242"/>
                  <a:gd name="connsiteY2" fmla="*/ 18097 h 42862"/>
                  <a:gd name="connsiteX3" fmla="*/ 31432 w 35242"/>
                  <a:gd name="connsiteY3" fmla="*/ 38957 h 42862"/>
                  <a:gd name="connsiteX4" fmla="*/ 20955 w 35242"/>
                  <a:gd name="connsiteY4" fmla="*/ 42863 h 42862"/>
                  <a:gd name="connsiteX5" fmla="*/ 10477 w 35242"/>
                  <a:gd name="connsiteY5" fmla="*/ 18097 h 42862"/>
                  <a:gd name="connsiteX6" fmla="*/ 2857 w 35242"/>
                  <a:gd name="connsiteY6" fmla="*/ 11335 h 42862"/>
                  <a:gd name="connsiteX7" fmla="*/ 0 w 35242"/>
                  <a:gd name="connsiteY7" fmla="*/ 0 h 4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42" h="42862">
                    <a:moveTo>
                      <a:pt x="0" y="0"/>
                    </a:moveTo>
                    <a:lnTo>
                      <a:pt x="17145" y="3810"/>
                    </a:lnTo>
                    <a:lnTo>
                      <a:pt x="35242" y="18097"/>
                    </a:lnTo>
                    <a:lnTo>
                      <a:pt x="31432" y="38957"/>
                    </a:lnTo>
                    <a:lnTo>
                      <a:pt x="20955" y="42863"/>
                    </a:lnTo>
                    <a:lnTo>
                      <a:pt x="10477" y="18097"/>
                    </a:lnTo>
                    <a:lnTo>
                      <a:pt x="2857" y="1133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9" name="Freeform: Shape 298">
                <a:extLst>
                  <a:ext uri="{FF2B5EF4-FFF2-40B4-BE49-F238E27FC236}">
                    <a16:creationId xmlns:a16="http://schemas.microsoft.com/office/drawing/2014/main" id="{8B821863-EA17-E875-8D95-C3FB44C87B57}"/>
                  </a:ext>
                </a:extLst>
              </p:cNvPr>
              <p:cNvSpPr/>
              <p:nvPr/>
            </p:nvSpPr>
            <p:spPr>
              <a:xfrm>
                <a:off x="9295501" y="4173980"/>
                <a:ext cx="34547" cy="42017"/>
              </a:xfrm>
              <a:custGeom>
                <a:avLst/>
                <a:gdLst>
                  <a:gd name="connsiteX0" fmla="*/ 0 w 35242"/>
                  <a:gd name="connsiteY0" fmla="*/ 0 h 42862"/>
                  <a:gd name="connsiteX1" fmla="*/ 17145 w 35242"/>
                  <a:gd name="connsiteY1" fmla="*/ 3810 h 42862"/>
                  <a:gd name="connsiteX2" fmla="*/ 35242 w 35242"/>
                  <a:gd name="connsiteY2" fmla="*/ 18097 h 42862"/>
                  <a:gd name="connsiteX3" fmla="*/ 31432 w 35242"/>
                  <a:gd name="connsiteY3" fmla="*/ 38957 h 42862"/>
                  <a:gd name="connsiteX4" fmla="*/ 20955 w 35242"/>
                  <a:gd name="connsiteY4" fmla="*/ 42863 h 42862"/>
                  <a:gd name="connsiteX5" fmla="*/ 10477 w 35242"/>
                  <a:gd name="connsiteY5" fmla="*/ 18097 h 42862"/>
                  <a:gd name="connsiteX6" fmla="*/ 2857 w 35242"/>
                  <a:gd name="connsiteY6" fmla="*/ 11335 h 42862"/>
                  <a:gd name="connsiteX7" fmla="*/ 0 w 35242"/>
                  <a:gd name="connsiteY7" fmla="*/ 0 h 4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42" h="42862">
                    <a:moveTo>
                      <a:pt x="0" y="0"/>
                    </a:moveTo>
                    <a:lnTo>
                      <a:pt x="17145" y="3810"/>
                    </a:lnTo>
                    <a:lnTo>
                      <a:pt x="35242" y="18097"/>
                    </a:lnTo>
                    <a:lnTo>
                      <a:pt x="31432" y="38957"/>
                    </a:lnTo>
                    <a:lnTo>
                      <a:pt x="20955" y="42863"/>
                    </a:lnTo>
                    <a:lnTo>
                      <a:pt x="10477" y="18097"/>
                    </a:lnTo>
                    <a:lnTo>
                      <a:pt x="2857" y="1133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0" name="Freeform: Shape 299">
                <a:extLst>
                  <a:ext uri="{FF2B5EF4-FFF2-40B4-BE49-F238E27FC236}">
                    <a16:creationId xmlns:a16="http://schemas.microsoft.com/office/drawing/2014/main" id="{6BE58004-5BCC-E870-0708-13859C12108B}"/>
                  </a:ext>
                </a:extLst>
              </p:cNvPr>
              <p:cNvSpPr/>
              <p:nvPr/>
            </p:nvSpPr>
            <p:spPr>
              <a:xfrm>
                <a:off x="9340320" y="4226176"/>
                <a:ext cx="37349" cy="34641"/>
              </a:xfrm>
              <a:custGeom>
                <a:avLst/>
                <a:gdLst>
                  <a:gd name="connsiteX0" fmla="*/ 0 w 38100"/>
                  <a:gd name="connsiteY0" fmla="*/ 0 h 35337"/>
                  <a:gd name="connsiteX1" fmla="*/ 0 w 38100"/>
                  <a:gd name="connsiteY1" fmla="*/ 17240 h 35337"/>
                  <a:gd name="connsiteX2" fmla="*/ 0 w 38100"/>
                  <a:gd name="connsiteY2" fmla="*/ 35338 h 35337"/>
                  <a:gd name="connsiteX3" fmla="*/ 10477 w 38100"/>
                  <a:gd name="connsiteY3" fmla="*/ 28575 h 35337"/>
                  <a:gd name="connsiteX4" fmla="*/ 31432 w 38100"/>
                  <a:gd name="connsiteY4" fmla="*/ 14288 h 35337"/>
                  <a:gd name="connsiteX5" fmla="*/ 38100 w 38100"/>
                  <a:gd name="connsiteY5" fmla="*/ 3905 h 35337"/>
                  <a:gd name="connsiteX6" fmla="*/ 24765 w 38100"/>
                  <a:gd name="connsiteY6" fmla="*/ 0 h 35337"/>
                  <a:gd name="connsiteX7" fmla="*/ 13335 w 38100"/>
                  <a:gd name="connsiteY7" fmla="*/ 3905 h 35337"/>
                  <a:gd name="connsiteX8" fmla="*/ 0 w 38100"/>
                  <a:gd name="connsiteY8" fmla="*/ 0 h 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100" h="35337">
                    <a:moveTo>
                      <a:pt x="0" y="0"/>
                    </a:moveTo>
                    <a:lnTo>
                      <a:pt x="0" y="17240"/>
                    </a:lnTo>
                    <a:lnTo>
                      <a:pt x="0" y="35338"/>
                    </a:lnTo>
                    <a:lnTo>
                      <a:pt x="10477" y="28575"/>
                    </a:lnTo>
                    <a:lnTo>
                      <a:pt x="31432" y="14288"/>
                    </a:lnTo>
                    <a:lnTo>
                      <a:pt x="38100" y="3905"/>
                    </a:lnTo>
                    <a:lnTo>
                      <a:pt x="24765" y="0"/>
                    </a:lnTo>
                    <a:lnTo>
                      <a:pt x="13335" y="39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1" name="Freeform: Shape 300">
                <a:extLst>
                  <a:ext uri="{FF2B5EF4-FFF2-40B4-BE49-F238E27FC236}">
                    <a16:creationId xmlns:a16="http://schemas.microsoft.com/office/drawing/2014/main" id="{E832AC8F-FA53-036A-89B3-B0E63B5DFF73}"/>
                  </a:ext>
                </a:extLst>
              </p:cNvPr>
              <p:cNvSpPr/>
              <p:nvPr/>
            </p:nvSpPr>
            <p:spPr>
              <a:xfrm>
                <a:off x="9340320" y="4226176"/>
                <a:ext cx="37349" cy="34641"/>
              </a:xfrm>
              <a:custGeom>
                <a:avLst/>
                <a:gdLst>
                  <a:gd name="connsiteX0" fmla="*/ 0 w 38100"/>
                  <a:gd name="connsiteY0" fmla="*/ 0 h 35337"/>
                  <a:gd name="connsiteX1" fmla="*/ 0 w 38100"/>
                  <a:gd name="connsiteY1" fmla="*/ 17240 h 35337"/>
                  <a:gd name="connsiteX2" fmla="*/ 0 w 38100"/>
                  <a:gd name="connsiteY2" fmla="*/ 35338 h 35337"/>
                  <a:gd name="connsiteX3" fmla="*/ 10477 w 38100"/>
                  <a:gd name="connsiteY3" fmla="*/ 28575 h 35337"/>
                  <a:gd name="connsiteX4" fmla="*/ 31432 w 38100"/>
                  <a:gd name="connsiteY4" fmla="*/ 14288 h 35337"/>
                  <a:gd name="connsiteX5" fmla="*/ 38100 w 38100"/>
                  <a:gd name="connsiteY5" fmla="*/ 3905 h 35337"/>
                  <a:gd name="connsiteX6" fmla="*/ 24765 w 38100"/>
                  <a:gd name="connsiteY6" fmla="*/ 0 h 35337"/>
                  <a:gd name="connsiteX7" fmla="*/ 13335 w 38100"/>
                  <a:gd name="connsiteY7" fmla="*/ 3905 h 35337"/>
                  <a:gd name="connsiteX8" fmla="*/ 0 w 38100"/>
                  <a:gd name="connsiteY8" fmla="*/ 0 h 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100" h="35337">
                    <a:moveTo>
                      <a:pt x="0" y="0"/>
                    </a:moveTo>
                    <a:lnTo>
                      <a:pt x="0" y="17240"/>
                    </a:lnTo>
                    <a:lnTo>
                      <a:pt x="0" y="35338"/>
                    </a:lnTo>
                    <a:lnTo>
                      <a:pt x="10477" y="28575"/>
                    </a:lnTo>
                    <a:lnTo>
                      <a:pt x="31432" y="14288"/>
                    </a:lnTo>
                    <a:lnTo>
                      <a:pt x="38100" y="3905"/>
                    </a:lnTo>
                    <a:lnTo>
                      <a:pt x="24765" y="0"/>
                    </a:lnTo>
                    <a:lnTo>
                      <a:pt x="13335" y="39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2" name="Freeform: Shape 301">
                <a:extLst>
                  <a:ext uri="{FF2B5EF4-FFF2-40B4-BE49-F238E27FC236}">
                    <a16:creationId xmlns:a16="http://schemas.microsoft.com/office/drawing/2014/main" id="{E4721A73-E67D-E68D-AE47-0824B57F957F}"/>
                  </a:ext>
                </a:extLst>
              </p:cNvPr>
              <p:cNvSpPr/>
              <p:nvPr/>
            </p:nvSpPr>
            <p:spPr>
              <a:xfrm>
                <a:off x="9350591" y="4246811"/>
                <a:ext cx="41084" cy="48554"/>
              </a:xfrm>
              <a:custGeom>
                <a:avLst/>
                <a:gdLst>
                  <a:gd name="connsiteX0" fmla="*/ 0 w 41910"/>
                  <a:gd name="connsiteY0" fmla="*/ 32290 h 49530"/>
                  <a:gd name="connsiteX1" fmla="*/ 10478 w 41910"/>
                  <a:gd name="connsiteY1" fmla="*/ 45625 h 49530"/>
                  <a:gd name="connsiteX2" fmla="*/ 24765 w 41910"/>
                  <a:gd name="connsiteY2" fmla="*/ 49530 h 49530"/>
                  <a:gd name="connsiteX3" fmla="*/ 24765 w 41910"/>
                  <a:gd name="connsiteY3" fmla="*/ 28575 h 49530"/>
                  <a:gd name="connsiteX4" fmla="*/ 31432 w 41910"/>
                  <a:gd name="connsiteY4" fmla="*/ 20955 h 49530"/>
                  <a:gd name="connsiteX5" fmla="*/ 41910 w 41910"/>
                  <a:gd name="connsiteY5" fmla="*/ 14288 h 49530"/>
                  <a:gd name="connsiteX6" fmla="*/ 38100 w 41910"/>
                  <a:gd name="connsiteY6" fmla="*/ 7525 h 49530"/>
                  <a:gd name="connsiteX7" fmla="*/ 27623 w 41910"/>
                  <a:gd name="connsiteY7" fmla="*/ 0 h 49530"/>
                  <a:gd name="connsiteX8" fmla="*/ 17145 w 41910"/>
                  <a:gd name="connsiteY8" fmla="*/ 3715 h 49530"/>
                  <a:gd name="connsiteX9" fmla="*/ 14288 w 41910"/>
                  <a:gd name="connsiteY9" fmla="*/ 18002 h 49530"/>
                  <a:gd name="connsiteX10" fmla="*/ 6668 w 41910"/>
                  <a:gd name="connsiteY10" fmla="*/ 28575 h 49530"/>
                  <a:gd name="connsiteX11" fmla="*/ 0 w 41910"/>
                  <a:gd name="connsiteY11" fmla="*/ 32290 h 4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910" h="49530">
                    <a:moveTo>
                      <a:pt x="0" y="32290"/>
                    </a:moveTo>
                    <a:lnTo>
                      <a:pt x="10478" y="45625"/>
                    </a:lnTo>
                    <a:lnTo>
                      <a:pt x="24765" y="49530"/>
                    </a:lnTo>
                    <a:lnTo>
                      <a:pt x="24765" y="28575"/>
                    </a:lnTo>
                    <a:lnTo>
                      <a:pt x="31432" y="20955"/>
                    </a:lnTo>
                    <a:lnTo>
                      <a:pt x="41910" y="14288"/>
                    </a:lnTo>
                    <a:lnTo>
                      <a:pt x="38100" y="7525"/>
                    </a:lnTo>
                    <a:lnTo>
                      <a:pt x="27623" y="0"/>
                    </a:lnTo>
                    <a:lnTo>
                      <a:pt x="17145" y="3715"/>
                    </a:lnTo>
                    <a:lnTo>
                      <a:pt x="14288" y="18002"/>
                    </a:lnTo>
                    <a:lnTo>
                      <a:pt x="6668" y="28575"/>
                    </a:lnTo>
                    <a:lnTo>
                      <a:pt x="0" y="322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3" name="Freeform: Shape 302">
                <a:extLst>
                  <a:ext uri="{FF2B5EF4-FFF2-40B4-BE49-F238E27FC236}">
                    <a16:creationId xmlns:a16="http://schemas.microsoft.com/office/drawing/2014/main" id="{B4AD4966-362D-4D2A-CDE6-65537327D3C2}"/>
                  </a:ext>
                </a:extLst>
              </p:cNvPr>
              <p:cNvSpPr/>
              <p:nvPr/>
            </p:nvSpPr>
            <p:spPr>
              <a:xfrm>
                <a:off x="9350591" y="4246811"/>
                <a:ext cx="41084" cy="48554"/>
              </a:xfrm>
              <a:custGeom>
                <a:avLst/>
                <a:gdLst>
                  <a:gd name="connsiteX0" fmla="*/ 0 w 41910"/>
                  <a:gd name="connsiteY0" fmla="*/ 32290 h 49530"/>
                  <a:gd name="connsiteX1" fmla="*/ 10478 w 41910"/>
                  <a:gd name="connsiteY1" fmla="*/ 45625 h 49530"/>
                  <a:gd name="connsiteX2" fmla="*/ 24765 w 41910"/>
                  <a:gd name="connsiteY2" fmla="*/ 49530 h 49530"/>
                  <a:gd name="connsiteX3" fmla="*/ 24765 w 41910"/>
                  <a:gd name="connsiteY3" fmla="*/ 28575 h 49530"/>
                  <a:gd name="connsiteX4" fmla="*/ 31432 w 41910"/>
                  <a:gd name="connsiteY4" fmla="*/ 20955 h 49530"/>
                  <a:gd name="connsiteX5" fmla="*/ 41910 w 41910"/>
                  <a:gd name="connsiteY5" fmla="*/ 14288 h 49530"/>
                  <a:gd name="connsiteX6" fmla="*/ 38100 w 41910"/>
                  <a:gd name="connsiteY6" fmla="*/ 7525 h 49530"/>
                  <a:gd name="connsiteX7" fmla="*/ 27623 w 41910"/>
                  <a:gd name="connsiteY7" fmla="*/ 0 h 49530"/>
                  <a:gd name="connsiteX8" fmla="*/ 17145 w 41910"/>
                  <a:gd name="connsiteY8" fmla="*/ 3715 h 49530"/>
                  <a:gd name="connsiteX9" fmla="*/ 14288 w 41910"/>
                  <a:gd name="connsiteY9" fmla="*/ 18002 h 49530"/>
                  <a:gd name="connsiteX10" fmla="*/ 6668 w 41910"/>
                  <a:gd name="connsiteY10" fmla="*/ 28575 h 49530"/>
                  <a:gd name="connsiteX11" fmla="*/ 0 w 41910"/>
                  <a:gd name="connsiteY11" fmla="*/ 32290 h 4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910" h="49530">
                    <a:moveTo>
                      <a:pt x="0" y="32290"/>
                    </a:moveTo>
                    <a:lnTo>
                      <a:pt x="10478" y="45625"/>
                    </a:lnTo>
                    <a:lnTo>
                      <a:pt x="24765" y="49530"/>
                    </a:lnTo>
                    <a:lnTo>
                      <a:pt x="24765" y="28575"/>
                    </a:lnTo>
                    <a:lnTo>
                      <a:pt x="31432" y="20955"/>
                    </a:lnTo>
                    <a:lnTo>
                      <a:pt x="41910" y="14288"/>
                    </a:lnTo>
                    <a:lnTo>
                      <a:pt x="38100" y="7525"/>
                    </a:lnTo>
                    <a:lnTo>
                      <a:pt x="27623" y="0"/>
                    </a:lnTo>
                    <a:lnTo>
                      <a:pt x="17145" y="3715"/>
                    </a:lnTo>
                    <a:lnTo>
                      <a:pt x="14288" y="18002"/>
                    </a:lnTo>
                    <a:lnTo>
                      <a:pt x="6668" y="28575"/>
                    </a:lnTo>
                    <a:lnTo>
                      <a:pt x="0" y="322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4" name="Freeform: Shape 303">
                <a:extLst>
                  <a:ext uri="{FF2B5EF4-FFF2-40B4-BE49-F238E27FC236}">
                    <a16:creationId xmlns:a16="http://schemas.microsoft.com/office/drawing/2014/main" id="{F3D3CAC9-DB7E-E1EA-D63E-93684BCCBDB6}"/>
                  </a:ext>
                </a:extLst>
              </p:cNvPr>
              <p:cNvSpPr/>
              <p:nvPr/>
            </p:nvSpPr>
            <p:spPr>
              <a:xfrm>
                <a:off x="9288032" y="3842506"/>
                <a:ext cx="52289" cy="93373"/>
              </a:xfrm>
              <a:custGeom>
                <a:avLst/>
                <a:gdLst>
                  <a:gd name="connsiteX0" fmla="*/ 53340 w 53340"/>
                  <a:gd name="connsiteY0" fmla="*/ 6572 h 95250"/>
                  <a:gd name="connsiteX1" fmla="*/ 45720 w 53340"/>
                  <a:gd name="connsiteY1" fmla="*/ 31432 h 95250"/>
                  <a:gd name="connsiteX2" fmla="*/ 39053 w 53340"/>
                  <a:gd name="connsiteY2" fmla="*/ 49435 h 95250"/>
                  <a:gd name="connsiteX3" fmla="*/ 35243 w 53340"/>
                  <a:gd name="connsiteY3" fmla="*/ 63722 h 95250"/>
                  <a:gd name="connsiteX4" fmla="*/ 28575 w 53340"/>
                  <a:gd name="connsiteY4" fmla="*/ 84772 h 95250"/>
                  <a:gd name="connsiteX5" fmla="*/ 18098 w 53340"/>
                  <a:gd name="connsiteY5" fmla="*/ 95250 h 95250"/>
                  <a:gd name="connsiteX6" fmla="*/ 7620 w 53340"/>
                  <a:gd name="connsiteY6" fmla="*/ 74295 h 95250"/>
                  <a:gd name="connsiteX7" fmla="*/ 0 w 53340"/>
                  <a:gd name="connsiteY7" fmla="*/ 45720 h 95250"/>
                  <a:gd name="connsiteX8" fmla="*/ 14288 w 53340"/>
                  <a:gd name="connsiteY8" fmla="*/ 20860 h 95250"/>
                  <a:gd name="connsiteX9" fmla="*/ 32385 w 53340"/>
                  <a:gd name="connsiteY9" fmla="*/ 6572 h 95250"/>
                  <a:gd name="connsiteX10" fmla="*/ 39053 w 53340"/>
                  <a:gd name="connsiteY10" fmla="*/ 0 h 95250"/>
                  <a:gd name="connsiteX11" fmla="*/ 53340 w 53340"/>
                  <a:gd name="connsiteY11" fmla="*/ 6572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" h="95250">
                    <a:moveTo>
                      <a:pt x="53340" y="6572"/>
                    </a:moveTo>
                    <a:lnTo>
                      <a:pt x="45720" y="31432"/>
                    </a:lnTo>
                    <a:lnTo>
                      <a:pt x="39053" y="49435"/>
                    </a:lnTo>
                    <a:lnTo>
                      <a:pt x="35243" y="63722"/>
                    </a:lnTo>
                    <a:lnTo>
                      <a:pt x="28575" y="84772"/>
                    </a:lnTo>
                    <a:lnTo>
                      <a:pt x="18098" y="95250"/>
                    </a:lnTo>
                    <a:lnTo>
                      <a:pt x="7620" y="74295"/>
                    </a:lnTo>
                    <a:lnTo>
                      <a:pt x="0" y="45720"/>
                    </a:lnTo>
                    <a:lnTo>
                      <a:pt x="14288" y="20860"/>
                    </a:lnTo>
                    <a:lnTo>
                      <a:pt x="32385" y="6572"/>
                    </a:lnTo>
                    <a:lnTo>
                      <a:pt x="39053" y="0"/>
                    </a:lnTo>
                    <a:lnTo>
                      <a:pt x="53340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5" name="Freeform: Shape 304">
                <a:extLst>
                  <a:ext uri="{FF2B5EF4-FFF2-40B4-BE49-F238E27FC236}">
                    <a16:creationId xmlns:a16="http://schemas.microsoft.com/office/drawing/2014/main" id="{C33E87CA-2974-2C1E-93DE-8D6BB145145A}"/>
                  </a:ext>
                </a:extLst>
              </p:cNvPr>
              <p:cNvSpPr/>
              <p:nvPr/>
            </p:nvSpPr>
            <p:spPr>
              <a:xfrm>
                <a:off x="9830526" y="3210368"/>
                <a:ext cx="158733" cy="134363"/>
              </a:xfrm>
              <a:custGeom>
                <a:avLst/>
                <a:gdLst>
                  <a:gd name="connsiteX0" fmla="*/ 52388 w 161925"/>
                  <a:gd name="connsiteY0" fmla="*/ 0 h 137064"/>
                  <a:gd name="connsiteX1" fmla="*/ 66675 w 161925"/>
                  <a:gd name="connsiteY1" fmla="*/ 10477 h 137064"/>
                  <a:gd name="connsiteX2" fmla="*/ 83820 w 161925"/>
                  <a:gd name="connsiteY2" fmla="*/ 27527 h 137064"/>
                  <a:gd name="connsiteX3" fmla="*/ 116205 w 161925"/>
                  <a:gd name="connsiteY3" fmla="*/ 45720 h 137064"/>
                  <a:gd name="connsiteX4" fmla="*/ 133350 w 161925"/>
                  <a:gd name="connsiteY4" fmla="*/ 52388 h 137064"/>
                  <a:gd name="connsiteX5" fmla="*/ 147638 w 161925"/>
                  <a:gd name="connsiteY5" fmla="*/ 41815 h 137064"/>
                  <a:gd name="connsiteX6" fmla="*/ 158115 w 161925"/>
                  <a:gd name="connsiteY6" fmla="*/ 41815 h 137064"/>
                  <a:gd name="connsiteX7" fmla="*/ 147638 w 161925"/>
                  <a:gd name="connsiteY7" fmla="*/ 52388 h 137064"/>
                  <a:gd name="connsiteX8" fmla="*/ 154305 w 161925"/>
                  <a:gd name="connsiteY8" fmla="*/ 62865 h 137064"/>
                  <a:gd name="connsiteX9" fmla="*/ 161925 w 161925"/>
                  <a:gd name="connsiteY9" fmla="*/ 70390 h 137064"/>
                  <a:gd name="connsiteX10" fmla="*/ 147638 w 161925"/>
                  <a:gd name="connsiteY10" fmla="*/ 80963 h 137064"/>
                  <a:gd name="connsiteX11" fmla="*/ 140970 w 161925"/>
                  <a:gd name="connsiteY11" fmla="*/ 83820 h 137064"/>
                  <a:gd name="connsiteX12" fmla="*/ 130493 w 161925"/>
                  <a:gd name="connsiteY12" fmla="*/ 80963 h 137064"/>
                  <a:gd name="connsiteX13" fmla="*/ 119063 w 161925"/>
                  <a:gd name="connsiteY13" fmla="*/ 83820 h 137064"/>
                  <a:gd name="connsiteX14" fmla="*/ 101918 w 161925"/>
                  <a:gd name="connsiteY14" fmla="*/ 91440 h 137064"/>
                  <a:gd name="connsiteX15" fmla="*/ 91440 w 161925"/>
                  <a:gd name="connsiteY15" fmla="*/ 105727 h 137064"/>
                  <a:gd name="connsiteX16" fmla="*/ 91440 w 161925"/>
                  <a:gd name="connsiteY16" fmla="*/ 116110 h 137064"/>
                  <a:gd name="connsiteX17" fmla="*/ 77152 w 161925"/>
                  <a:gd name="connsiteY17" fmla="*/ 108490 h 137064"/>
                  <a:gd name="connsiteX18" fmla="*/ 62865 w 161925"/>
                  <a:gd name="connsiteY18" fmla="*/ 98108 h 137064"/>
                  <a:gd name="connsiteX19" fmla="*/ 48577 w 161925"/>
                  <a:gd name="connsiteY19" fmla="*/ 95250 h 137064"/>
                  <a:gd name="connsiteX20" fmla="*/ 41910 w 161925"/>
                  <a:gd name="connsiteY20" fmla="*/ 98108 h 137064"/>
                  <a:gd name="connsiteX21" fmla="*/ 38100 w 161925"/>
                  <a:gd name="connsiteY21" fmla="*/ 105727 h 137064"/>
                  <a:gd name="connsiteX22" fmla="*/ 27622 w 161925"/>
                  <a:gd name="connsiteY22" fmla="*/ 98108 h 137064"/>
                  <a:gd name="connsiteX23" fmla="*/ 17145 w 161925"/>
                  <a:gd name="connsiteY23" fmla="*/ 95250 h 137064"/>
                  <a:gd name="connsiteX24" fmla="*/ 14288 w 161925"/>
                  <a:gd name="connsiteY24" fmla="*/ 101822 h 137064"/>
                  <a:gd name="connsiteX25" fmla="*/ 17145 w 161925"/>
                  <a:gd name="connsiteY25" fmla="*/ 112395 h 137064"/>
                  <a:gd name="connsiteX26" fmla="*/ 27622 w 161925"/>
                  <a:gd name="connsiteY26" fmla="*/ 116110 h 137064"/>
                  <a:gd name="connsiteX27" fmla="*/ 24765 w 161925"/>
                  <a:gd name="connsiteY27" fmla="*/ 126683 h 137064"/>
                  <a:gd name="connsiteX28" fmla="*/ 14288 w 161925"/>
                  <a:gd name="connsiteY28" fmla="*/ 130397 h 137064"/>
                  <a:gd name="connsiteX29" fmla="*/ 2857 w 161925"/>
                  <a:gd name="connsiteY29" fmla="*/ 137065 h 137064"/>
                  <a:gd name="connsiteX30" fmla="*/ 2857 w 161925"/>
                  <a:gd name="connsiteY30" fmla="*/ 119063 h 137064"/>
                  <a:gd name="connsiteX31" fmla="*/ 0 w 161925"/>
                  <a:gd name="connsiteY31" fmla="*/ 105727 h 137064"/>
                  <a:gd name="connsiteX32" fmla="*/ 0 w 161925"/>
                  <a:gd name="connsiteY32" fmla="*/ 91440 h 137064"/>
                  <a:gd name="connsiteX33" fmla="*/ 10477 w 161925"/>
                  <a:gd name="connsiteY33" fmla="*/ 87535 h 137064"/>
                  <a:gd name="connsiteX34" fmla="*/ 17145 w 161925"/>
                  <a:gd name="connsiteY34" fmla="*/ 77152 h 137064"/>
                  <a:gd name="connsiteX35" fmla="*/ 17145 w 161925"/>
                  <a:gd name="connsiteY35" fmla="*/ 66675 h 137064"/>
                  <a:gd name="connsiteX36" fmla="*/ 27622 w 161925"/>
                  <a:gd name="connsiteY36" fmla="*/ 66675 h 137064"/>
                  <a:gd name="connsiteX37" fmla="*/ 38100 w 161925"/>
                  <a:gd name="connsiteY37" fmla="*/ 73247 h 137064"/>
                  <a:gd name="connsiteX38" fmla="*/ 48577 w 161925"/>
                  <a:gd name="connsiteY38" fmla="*/ 70390 h 137064"/>
                  <a:gd name="connsiteX39" fmla="*/ 52388 w 161925"/>
                  <a:gd name="connsiteY39" fmla="*/ 27527 h 137064"/>
                  <a:gd name="connsiteX40" fmla="*/ 52388 w 161925"/>
                  <a:gd name="connsiteY40" fmla="*/ 0 h 13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61925" h="137064">
                    <a:moveTo>
                      <a:pt x="52388" y="0"/>
                    </a:moveTo>
                    <a:lnTo>
                      <a:pt x="66675" y="10477"/>
                    </a:lnTo>
                    <a:lnTo>
                      <a:pt x="83820" y="27527"/>
                    </a:lnTo>
                    <a:lnTo>
                      <a:pt x="116205" y="45720"/>
                    </a:lnTo>
                    <a:lnTo>
                      <a:pt x="133350" y="52388"/>
                    </a:lnTo>
                    <a:lnTo>
                      <a:pt x="147638" y="41815"/>
                    </a:lnTo>
                    <a:lnTo>
                      <a:pt x="158115" y="41815"/>
                    </a:lnTo>
                    <a:lnTo>
                      <a:pt x="147638" y="52388"/>
                    </a:lnTo>
                    <a:lnTo>
                      <a:pt x="154305" y="62865"/>
                    </a:lnTo>
                    <a:lnTo>
                      <a:pt x="161925" y="70390"/>
                    </a:lnTo>
                    <a:lnTo>
                      <a:pt x="147638" y="80963"/>
                    </a:lnTo>
                    <a:lnTo>
                      <a:pt x="140970" y="83820"/>
                    </a:lnTo>
                    <a:lnTo>
                      <a:pt x="130493" y="80963"/>
                    </a:lnTo>
                    <a:lnTo>
                      <a:pt x="119063" y="83820"/>
                    </a:lnTo>
                    <a:lnTo>
                      <a:pt x="101918" y="91440"/>
                    </a:lnTo>
                    <a:lnTo>
                      <a:pt x="91440" y="105727"/>
                    </a:lnTo>
                    <a:lnTo>
                      <a:pt x="91440" y="116110"/>
                    </a:lnTo>
                    <a:lnTo>
                      <a:pt x="77152" y="108490"/>
                    </a:lnTo>
                    <a:lnTo>
                      <a:pt x="62865" y="98108"/>
                    </a:lnTo>
                    <a:lnTo>
                      <a:pt x="48577" y="95250"/>
                    </a:lnTo>
                    <a:lnTo>
                      <a:pt x="41910" y="98108"/>
                    </a:lnTo>
                    <a:lnTo>
                      <a:pt x="38100" y="105727"/>
                    </a:lnTo>
                    <a:lnTo>
                      <a:pt x="27622" y="98108"/>
                    </a:lnTo>
                    <a:lnTo>
                      <a:pt x="17145" y="95250"/>
                    </a:lnTo>
                    <a:lnTo>
                      <a:pt x="14288" y="101822"/>
                    </a:lnTo>
                    <a:lnTo>
                      <a:pt x="17145" y="112395"/>
                    </a:lnTo>
                    <a:lnTo>
                      <a:pt x="27622" y="116110"/>
                    </a:lnTo>
                    <a:lnTo>
                      <a:pt x="24765" y="126683"/>
                    </a:lnTo>
                    <a:lnTo>
                      <a:pt x="14288" y="130397"/>
                    </a:lnTo>
                    <a:lnTo>
                      <a:pt x="2857" y="137065"/>
                    </a:lnTo>
                    <a:lnTo>
                      <a:pt x="2857" y="119063"/>
                    </a:lnTo>
                    <a:lnTo>
                      <a:pt x="0" y="105727"/>
                    </a:lnTo>
                    <a:lnTo>
                      <a:pt x="0" y="91440"/>
                    </a:lnTo>
                    <a:lnTo>
                      <a:pt x="10477" y="87535"/>
                    </a:lnTo>
                    <a:lnTo>
                      <a:pt x="17145" y="77152"/>
                    </a:lnTo>
                    <a:lnTo>
                      <a:pt x="17145" y="66675"/>
                    </a:lnTo>
                    <a:lnTo>
                      <a:pt x="27622" y="66675"/>
                    </a:lnTo>
                    <a:lnTo>
                      <a:pt x="38100" y="73247"/>
                    </a:lnTo>
                    <a:lnTo>
                      <a:pt x="48577" y="70390"/>
                    </a:lnTo>
                    <a:lnTo>
                      <a:pt x="52388" y="27527"/>
                    </a:lnTo>
                    <a:lnTo>
                      <a:pt x="5238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6" name="Freeform: Shape 305">
                <a:extLst>
                  <a:ext uri="{FF2B5EF4-FFF2-40B4-BE49-F238E27FC236}">
                    <a16:creationId xmlns:a16="http://schemas.microsoft.com/office/drawing/2014/main" id="{3748EA36-0B17-84BB-710C-ED39191BFA31}"/>
                  </a:ext>
                </a:extLst>
              </p:cNvPr>
              <p:cNvSpPr/>
              <p:nvPr/>
            </p:nvSpPr>
            <p:spPr>
              <a:xfrm>
                <a:off x="9619503" y="3569856"/>
                <a:ext cx="69096" cy="44725"/>
              </a:xfrm>
              <a:custGeom>
                <a:avLst/>
                <a:gdLst>
                  <a:gd name="connsiteX0" fmla="*/ 53340 w 70485"/>
                  <a:gd name="connsiteY0" fmla="*/ 27527 h 45624"/>
                  <a:gd name="connsiteX1" fmla="*/ 42863 w 70485"/>
                  <a:gd name="connsiteY1" fmla="*/ 24765 h 45624"/>
                  <a:gd name="connsiteX2" fmla="*/ 31433 w 70485"/>
                  <a:gd name="connsiteY2" fmla="*/ 31337 h 45624"/>
                  <a:gd name="connsiteX3" fmla="*/ 24765 w 70485"/>
                  <a:gd name="connsiteY3" fmla="*/ 45625 h 45624"/>
                  <a:gd name="connsiteX4" fmla="*/ 10478 w 70485"/>
                  <a:gd name="connsiteY4" fmla="*/ 41815 h 45624"/>
                  <a:gd name="connsiteX5" fmla="*/ 10478 w 70485"/>
                  <a:gd name="connsiteY5" fmla="*/ 31337 h 45624"/>
                  <a:gd name="connsiteX6" fmla="*/ 0 w 70485"/>
                  <a:gd name="connsiteY6" fmla="*/ 24765 h 45624"/>
                  <a:gd name="connsiteX7" fmla="*/ 14288 w 70485"/>
                  <a:gd name="connsiteY7" fmla="*/ 13240 h 45624"/>
                  <a:gd name="connsiteX8" fmla="*/ 28575 w 70485"/>
                  <a:gd name="connsiteY8" fmla="*/ 13240 h 45624"/>
                  <a:gd name="connsiteX9" fmla="*/ 42863 w 70485"/>
                  <a:gd name="connsiteY9" fmla="*/ 10477 h 45624"/>
                  <a:gd name="connsiteX10" fmla="*/ 49530 w 70485"/>
                  <a:gd name="connsiteY10" fmla="*/ 0 h 45624"/>
                  <a:gd name="connsiteX11" fmla="*/ 63818 w 70485"/>
                  <a:gd name="connsiteY11" fmla="*/ 0 h 45624"/>
                  <a:gd name="connsiteX12" fmla="*/ 70485 w 70485"/>
                  <a:gd name="connsiteY12" fmla="*/ 10477 h 45624"/>
                  <a:gd name="connsiteX13" fmla="*/ 66675 w 70485"/>
                  <a:gd name="connsiteY13" fmla="*/ 13240 h 45624"/>
                  <a:gd name="connsiteX14" fmla="*/ 60008 w 70485"/>
                  <a:gd name="connsiteY14" fmla="*/ 24765 h 45624"/>
                  <a:gd name="connsiteX15" fmla="*/ 53340 w 70485"/>
                  <a:gd name="connsiteY15" fmla="*/ 27527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0485" h="45624">
                    <a:moveTo>
                      <a:pt x="53340" y="27527"/>
                    </a:moveTo>
                    <a:lnTo>
                      <a:pt x="42863" y="24765"/>
                    </a:lnTo>
                    <a:lnTo>
                      <a:pt x="31433" y="31337"/>
                    </a:lnTo>
                    <a:lnTo>
                      <a:pt x="24765" y="45625"/>
                    </a:lnTo>
                    <a:lnTo>
                      <a:pt x="10478" y="41815"/>
                    </a:lnTo>
                    <a:lnTo>
                      <a:pt x="10478" y="31337"/>
                    </a:lnTo>
                    <a:lnTo>
                      <a:pt x="0" y="24765"/>
                    </a:lnTo>
                    <a:lnTo>
                      <a:pt x="14288" y="13240"/>
                    </a:lnTo>
                    <a:lnTo>
                      <a:pt x="28575" y="13240"/>
                    </a:lnTo>
                    <a:lnTo>
                      <a:pt x="42863" y="10477"/>
                    </a:lnTo>
                    <a:lnTo>
                      <a:pt x="49530" y="0"/>
                    </a:lnTo>
                    <a:lnTo>
                      <a:pt x="63818" y="0"/>
                    </a:lnTo>
                    <a:lnTo>
                      <a:pt x="70485" y="10477"/>
                    </a:lnTo>
                    <a:lnTo>
                      <a:pt x="66675" y="13240"/>
                    </a:lnTo>
                    <a:lnTo>
                      <a:pt x="60008" y="24765"/>
                    </a:lnTo>
                    <a:lnTo>
                      <a:pt x="53340" y="2752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7" name="Freeform: Shape 306">
                <a:extLst>
                  <a:ext uri="{FF2B5EF4-FFF2-40B4-BE49-F238E27FC236}">
                    <a16:creationId xmlns:a16="http://schemas.microsoft.com/office/drawing/2014/main" id="{122A7AC4-9C4D-7A0D-78B4-DDD86F09D0E6}"/>
                  </a:ext>
                </a:extLst>
              </p:cNvPr>
              <p:cNvSpPr/>
              <p:nvPr/>
            </p:nvSpPr>
            <p:spPr>
              <a:xfrm>
                <a:off x="9547607" y="3580126"/>
                <a:ext cx="65361" cy="85809"/>
              </a:xfrm>
              <a:custGeom>
                <a:avLst/>
                <a:gdLst>
                  <a:gd name="connsiteX0" fmla="*/ 6667 w 66675"/>
                  <a:gd name="connsiteY0" fmla="*/ 20860 h 87534"/>
                  <a:gd name="connsiteX1" fmla="*/ 17145 w 66675"/>
                  <a:gd name="connsiteY1" fmla="*/ 14288 h 87534"/>
                  <a:gd name="connsiteX2" fmla="*/ 27622 w 66675"/>
                  <a:gd name="connsiteY2" fmla="*/ 0 h 87534"/>
                  <a:gd name="connsiteX3" fmla="*/ 41910 w 66675"/>
                  <a:gd name="connsiteY3" fmla="*/ 0 h 87534"/>
                  <a:gd name="connsiteX4" fmla="*/ 48577 w 66675"/>
                  <a:gd name="connsiteY4" fmla="*/ 10478 h 87534"/>
                  <a:gd name="connsiteX5" fmla="*/ 59055 w 66675"/>
                  <a:gd name="connsiteY5" fmla="*/ 17050 h 87534"/>
                  <a:gd name="connsiteX6" fmla="*/ 66675 w 66675"/>
                  <a:gd name="connsiteY6" fmla="*/ 27623 h 87534"/>
                  <a:gd name="connsiteX7" fmla="*/ 62865 w 66675"/>
                  <a:gd name="connsiteY7" fmla="*/ 41910 h 87534"/>
                  <a:gd name="connsiteX8" fmla="*/ 56197 w 66675"/>
                  <a:gd name="connsiteY8" fmla="*/ 45625 h 87534"/>
                  <a:gd name="connsiteX9" fmla="*/ 52388 w 66675"/>
                  <a:gd name="connsiteY9" fmla="*/ 56198 h 87534"/>
                  <a:gd name="connsiteX10" fmla="*/ 52388 w 66675"/>
                  <a:gd name="connsiteY10" fmla="*/ 70485 h 87534"/>
                  <a:gd name="connsiteX11" fmla="*/ 45720 w 66675"/>
                  <a:gd name="connsiteY11" fmla="*/ 87535 h 87534"/>
                  <a:gd name="connsiteX12" fmla="*/ 31432 w 66675"/>
                  <a:gd name="connsiteY12" fmla="*/ 84773 h 87534"/>
                  <a:gd name="connsiteX13" fmla="*/ 31432 w 66675"/>
                  <a:gd name="connsiteY13" fmla="*/ 77153 h 87534"/>
                  <a:gd name="connsiteX14" fmla="*/ 35242 w 66675"/>
                  <a:gd name="connsiteY14" fmla="*/ 62865 h 87534"/>
                  <a:gd name="connsiteX15" fmla="*/ 20955 w 66675"/>
                  <a:gd name="connsiteY15" fmla="*/ 62865 h 87534"/>
                  <a:gd name="connsiteX16" fmla="*/ 23813 w 66675"/>
                  <a:gd name="connsiteY16" fmla="*/ 52388 h 87534"/>
                  <a:gd name="connsiteX17" fmla="*/ 31432 w 66675"/>
                  <a:gd name="connsiteY17" fmla="*/ 41910 h 87534"/>
                  <a:gd name="connsiteX18" fmla="*/ 31432 w 66675"/>
                  <a:gd name="connsiteY18" fmla="*/ 35147 h 87534"/>
                  <a:gd name="connsiteX19" fmla="*/ 27622 w 66675"/>
                  <a:gd name="connsiteY19" fmla="*/ 24765 h 87534"/>
                  <a:gd name="connsiteX20" fmla="*/ 13335 w 66675"/>
                  <a:gd name="connsiteY20" fmla="*/ 27623 h 87534"/>
                  <a:gd name="connsiteX21" fmla="*/ 0 w 66675"/>
                  <a:gd name="connsiteY21" fmla="*/ 31337 h 87534"/>
                  <a:gd name="connsiteX22" fmla="*/ 6667 w 66675"/>
                  <a:gd name="connsiteY22" fmla="*/ 20860 h 87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6675" h="87534">
                    <a:moveTo>
                      <a:pt x="6667" y="20860"/>
                    </a:moveTo>
                    <a:lnTo>
                      <a:pt x="17145" y="14288"/>
                    </a:lnTo>
                    <a:lnTo>
                      <a:pt x="27622" y="0"/>
                    </a:lnTo>
                    <a:lnTo>
                      <a:pt x="41910" y="0"/>
                    </a:lnTo>
                    <a:lnTo>
                      <a:pt x="48577" y="10478"/>
                    </a:lnTo>
                    <a:lnTo>
                      <a:pt x="59055" y="17050"/>
                    </a:lnTo>
                    <a:lnTo>
                      <a:pt x="66675" y="27623"/>
                    </a:lnTo>
                    <a:lnTo>
                      <a:pt x="62865" y="41910"/>
                    </a:lnTo>
                    <a:lnTo>
                      <a:pt x="56197" y="45625"/>
                    </a:lnTo>
                    <a:lnTo>
                      <a:pt x="52388" y="56198"/>
                    </a:lnTo>
                    <a:lnTo>
                      <a:pt x="52388" y="70485"/>
                    </a:lnTo>
                    <a:lnTo>
                      <a:pt x="45720" y="87535"/>
                    </a:lnTo>
                    <a:lnTo>
                      <a:pt x="31432" y="84773"/>
                    </a:lnTo>
                    <a:lnTo>
                      <a:pt x="31432" y="77153"/>
                    </a:lnTo>
                    <a:lnTo>
                      <a:pt x="35242" y="62865"/>
                    </a:lnTo>
                    <a:lnTo>
                      <a:pt x="20955" y="62865"/>
                    </a:lnTo>
                    <a:lnTo>
                      <a:pt x="23813" y="52388"/>
                    </a:lnTo>
                    <a:lnTo>
                      <a:pt x="31432" y="41910"/>
                    </a:lnTo>
                    <a:lnTo>
                      <a:pt x="31432" y="35147"/>
                    </a:lnTo>
                    <a:lnTo>
                      <a:pt x="27622" y="24765"/>
                    </a:lnTo>
                    <a:lnTo>
                      <a:pt x="13335" y="27623"/>
                    </a:lnTo>
                    <a:lnTo>
                      <a:pt x="0" y="31337"/>
                    </a:lnTo>
                    <a:lnTo>
                      <a:pt x="6667" y="2086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8" name="Freeform: Shape 307">
                <a:extLst>
                  <a:ext uri="{FF2B5EF4-FFF2-40B4-BE49-F238E27FC236}">
                    <a16:creationId xmlns:a16="http://schemas.microsoft.com/office/drawing/2014/main" id="{0D2AA3F8-B2BC-25E8-216A-BC92C4962FCC}"/>
                  </a:ext>
                </a:extLst>
              </p:cNvPr>
              <p:cNvSpPr/>
              <p:nvPr/>
            </p:nvSpPr>
            <p:spPr>
              <a:xfrm>
                <a:off x="9588691" y="3338197"/>
                <a:ext cx="300659" cy="255936"/>
              </a:xfrm>
              <a:custGeom>
                <a:avLst/>
                <a:gdLst>
                  <a:gd name="connsiteX0" fmla="*/ 0 w 306705"/>
                  <a:gd name="connsiteY0" fmla="*/ 236315 h 261080"/>
                  <a:gd name="connsiteX1" fmla="*/ 20955 w 306705"/>
                  <a:gd name="connsiteY1" fmla="*/ 224790 h 261080"/>
                  <a:gd name="connsiteX2" fmla="*/ 45720 w 306705"/>
                  <a:gd name="connsiteY2" fmla="*/ 207740 h 261080"/>
                  <a:gd name="connsiteX3" fmla="*/ 56198 w 306705"/>
                  <a:gd name="connsiteY3" fmla="*/ 197167 h 261080"/>
                  <a:gd name="connsiteX4" fmla="*/ 77153 w 306705"/>
                  <a:gd name="connsiteY4" fmla="*/ 193453 h 261080"/>
                  <a:gd name="connsiteX5" fmla="*/ 105728 w 306705"/>
                  <a:gd name="connsiteY5" fmla="*/ 193453 h 261080"/>
                  <a:gd name="connsiteX6" fmla="*/ 133350 w 306705"/>
                  <a:gd name="connsiteY6" fmla="*/ 193453 h 261080"/>
                  <a:gd name="connsiteX7" fmla="*/ 140970 w 306705"/>
                  <a:gd name="connsiteY7" fmla="*/ 176213 h 261080"/>
                  <a:gd name="connsiteX8" fmla="*/ 155257 w 306705"/>
                  <a:gd name="connsiteY8" fmla="*/ 158210 h 261080"/>
                  <a:gd name="connsiteX9" fmla="*/ 161925 w 306705"/>
                  <a:gd name="connsiteY9" fmla="*/ 143923 h 261080"/>
                  <a:gd name="connsiteX10" fmla="*/ 172403 w 306705"/>
                  <a:gd name="connsiteY10" fmla="*/ 130492 h 261080"/>
                  <a:gd name="connsiteX11" fmla="*/ 176213 w 306705"/>
                  <a:gd name="connsiteY11" fmla="*/ 141065 h 261080"/>
                  <a:gd name="connsiteX12" fmla="*/ 176213 w 306705"/>
                  <a:gd name="connsiteY12" fmla="*/ 151543 h 261080"/>
                  <a:gd name="connsiteX13" fmla="*/ 193357 w 306705"/>
                  <a:gd name="connsiteY13" fmla="*/ 143923 h 261080"/>
                  <a:gd name="connsiteX14" fmla="*/ 221932 w 306705"/>
                  <a:gd name="connsiteY14" fmla="*/ 126778 h 261080"/>
                  <a:gd name="connsiteX15" fmla="*/ 246698 w 306705"/>
                  <a:gd name="connsiteY15" fmla="*/ 91535 h 261080"/>
                  <a:gd name="connsiteX16" fmla="*/ 257175 w 306705"/>
                  <a:gd name="connsiteY16" fmla="*/ 62960 h 261080"/>
                  <a:gd name="connsiteX17" fmla="*/ 253365 w 306705"/>
                  <a:gd name="connsiteY17" fmla="*/ 52388 h 261080"/>
                  <a:gd name="connsiteX18" fmla="*/ 249555 w 306705"/>
                  <a:gd name="connsiteY18" fmla="*/ 31528 h 261080"/>
                  <a:gd name="connsiteX19" fmla="*/ 257175 w 306705"/>
                  <a:gd name="connsiteY19" fmla="*/ 17240 h 261080"/>
                  <a:gd name="connsiteX20" fmla="*/ 263843 w 306705"/>
                  <a:gd name="connsiteY20" fmla="*/ 13430 h 261080"/>
                  <a:gd name="connsiteX21" fmla="*/ 281940 w 306705"/>
                  <a:gd name="connsiteY21" fmla="*/ 20955 h 261080"/>
                  <a:gd name="connsiteX22" fmla="*/ 284798 w 306705"/>
                  <a:gd name="connsiteY22" fmla="*/ 10573 h 261080"/>
                  <a:gd name="connsiteX23" fmla="*/ 278130 w 306705"/>
                  <a:gd name="connsiteY23" fmla="*/ 2953 h 261080"/>
                  <a:gd name="connsiteX24" fmla="*/ 288607 w 306705"/>
                  <a:gd name="connsiteY24" fmla="*/ 0 h 261080"/>
                  <a:gd name="connsiteX25" fmla="*/ 292418 w 306705"/>
                  <a:gd name="connsiteY25" fmla="*/ 17240 h 261080"/>
                  <a:gd name="connsiteX26" fmla="*/ 292418 w 306705"/>
                  <a:gd name="connsiteY26" fmla="*/ 31528 h 261080"/>
                  <a:gd name="connsiteX27" fmla="*/ 302895 w 306705"/>
                  <a:gd name="connsiteY27" fmla="*/ 48673 h 261080"/>
                  <a:gd name="connsiteX28" fmla="*/ 306705 w 306705"/>
                  <a:gd name="connsiteY28" fmla="*/ 62960 h 261080"/>
                  <a:gd name="connsiteX29" fmla="*/ 295275 w 306705"/>
                  <a:gd name="connsiteY29" fmla="*/ 83915 h 261080"/>
                  <a:gd name="connsiteX30" fmla="*/ 281940 w 306705"/>
                  <a:gd name="connsiteY30" fmla="*/ 101917 h 261080"/>
                  <a:gd name="connsiteX31" fmla="*/ 278130 w 306705"/>
                  <a:gd name="connsiteY31" fmla="*/ 116205 h 261080"/>
                  <a:gd name="connsiteX32" fmla="*/ 278130 w 306705"/>
                  <a:gd name="connsiteY32" fmla="*/ 141065 h 261080"/>
                  <a:gd name="connsiteX33" fmla="*/ 271463 w 306705"/>
                  <a:gd name="connsiteY33" fmla="*/ 151543 h 261080"/>
                  <a:gd name="connsiteX34" fmla="*/ 267653 w 306705"/>
                  <a:gd name="connsiteY34" fmla="*/ 168592 h 261080"/>
                  <a:gd name="connsiteX35" fmla="*/ 267653 w 306705"/>
                  <a:gd name="connsiteY35" fmla="*/ 172498 h 261080"/>
                  <a:gd name="connsiteX36" fmla="*/ 267653 w 306705"/>
                  <a:gd name="connsiteY36" fmla="*/ 179165 h 261080"/>
                  <a:gd name="connsiteX37" fmla="*/ 267653 w 306705"/>
                  <a:gd name="connsiteY37" fmla="*/ 189643 h 261080"/>
                  <a:gd name="connsiteX38" fmla="*/ 267653 w 306705"/>
                  <a:gd name="connsiteY38" fmla="*/ 193453 h 261080"/>
                  <a:gd name="connsiteX39" fmla="*/ 260985 w 306705"/>
                  <a:gd name="connsiteY39" fmla="*/ 207740 h 261080"/>
                  <a:gd name="connsiteX40" fmla="*/ 249555 w 306705"/>
                  <a:gd name="connsiteY40" fmla="*/ 214313 h 261080"/>
                  <a:gd name="connsiteX41" fmla="*/ 242888 w 306705"/>
                  <a:gd name="connsiteY41" fmla="*/ 203930 h 261080"/>
                  <a:gd name="connsiteX42" fmla="*/ 232410 w 306705"/>
                  <a:gd name="connsiteY42" fmla="*/ 201073 h 261080"/>
                  <a:gd name="connsiteX43" fmla="*/ 221932 w 306705"/>
                  <a:gd name="connsiteY43" fmla="*/ 203930 h 261080"/>
                  <a:gd name="connsiteX44" fmla="*/ 225743 w 306705"/>
                  <a:gd name="connsiteY44" fmla="*/ 218218 h 261080"/>
                  <a:gd name="connsiteX45" fmla="*/ 221932 w 306705"/>
                  <a:gd name="connsiteY45" fmla="*/ 224790 h 261080"/>
                  <a:gd name="connsiteX46" fmla="*/ 207645 w 306705"/>
                  <a:gd name="connsiteY46" fmla="*/ 214313 h 261080"/>
                  <a:gd name="connsiteX47" fmla="*/ 203835 w 306705"/>
                  <a:gd name="connsiteY47" fmla="*/ 222028 h 261080"/>
                  <a:gd name="connsiteX48" fmla="*/ 193357 w 306705"/>
                  <a:gd name="connsiteY48" fmla="*/ 222028 h 261080"/>
                  <a:gd name="connsiteX49" fmla="*/ 179070 w 306705"/>
                  <a:gd name="connsiteY49" fmla="*/ 222028 h 261080"/>
                  <a:gd name="connsiteX50" fmla="*/ 161925 w 306705"/>
                  <a:gd name="connsiteY50" fmla="*/ 222028 h 261080"/>
                  <a:gd name="connsiteX51" fmla="*/ 158115 w 306705"/>
                  <a:gd name="connsiteY51" fmla="*/ 214313 h 261080"/>
                  <a:gd name="connsiteX52" fmla="*/ 155257 w 306705"/>
                  <a:gd name="connsiteY52" fmla="*/ 222028 h 261080"/>
                  <a:gd name="connsiteX53" fmla="*/ 161925 w 306705"/>
                  <a:gd name="connsiteY53" fmla="*/ 232505 h 261080"/>
                  <a:gd name="connsiteX54" fmla="*/ 147638 w 306705"/>
                  <a:gd name="connsiteY54" fmla="*/ 239077 h 261080"/>
                  <a:gd name="connsiteX55" fmla="*/ 140970 w 306705"/>
                  <a:gd name="connsiteY55" fmla="*/ 253365 h 261080"/>
                  <a:gd name="connsiteX56" fmla="*/ 130493 w 306705"/>
                  <a:gd name="connsiteY56" fmla="*/ 261080 h 261080"/>
                  <a:gd name="connsiteX57" fmla="*/ 120015 w 306705"/>
                  <a:gd name="connsiteY57" fmla="*/ 246793 h 261080"/>
                  <a:gd name="connsiteX58" fmla="*/ 109538 w 306705"/>
                  <a:gd name="connsiteY58" fmla="*/ 239077 h 261080"/>
                  <a:gd name="connsiteX59" fmla="*/ 122873 w 306705"/>
                  <a:gd name="connsiteY59" fmla="*/ 228695 h 261080"/>
                  <a:gd name="connsiteX60" fmla="*/ 126682 w 306705"/>
                  <a:gd name="connsiteY60" fmla="*/ 218218 h 261080"/>
                  <a:gd name="connsiteX61" fmla="*/ 98107 w 306705"/>
                  <a:gd name="connsiteY61" fmla="*/ 218218 h 261080"/>
                  <a:gd name="connsiteX62" fmla="*/ 87630 w 306705"/>
                  <a:gd name="connsiteY62" fmla="*/ 224790 h 261080"/>
                  <a:gd name="connsiteX63" fmla="*/ 66675 w 306705"/>
                  <a:gd name="connsiteY63" fmla="*/ 228695 h 261080"/>
                  <a:gd name="connsiteX64" fmla="*/ 49530 w 306705"/>
                  <a:gd name="connsiteY64" fmla="*/ 236315 h 261080"/>
                  <a:gd name="connsiteX65" fmla="*/ 31432 w 306705"/>
                  <a:gd name="connsiteY65" fmla="*/ 236315 h 261080"/>
                  <a:gd name="connsiteX66" fmla="*/ 17145 w 306705"/>
                  <a:gd name="connsiteY66" fmla="*/ 246793 h 261080"/>
                  <a:gd name="connsiteX67" fmla="*/ 3810 w 306705"/>
                  <a:gd name="connsiteY67" fmla="*/ 242983 h 261080"/>
                  <a:gd name="connsiteX68" fmla="*/ 0 w 306705"/>
                  <a:gd name="connsiteY68" fmla="*/ 236315 h 261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306705" h="261080">
                    <a:moveTo>
                      <a:pt x="0" y="236315"/>
                    </a:moveTo>
                    <a:lnTo>
                      <a:pt x="20955" y="224790"/>
                    </a:lnTo>
                    <a:lnTo>
                      <a:pt x="45720" y="207740"/>
                    </a:lnTo>
                    <a:lnTo>
                      <a:pt x="56198" y="197167"/>
                    </a:lnTo>
                    <a:lnTo>
                      <a:pt x="77153" y="193453"/>
                    </a:lnTo>
                    <a:lnTo>
                      <a:pt x="105728" y="193453"/>
                    </a:lnTo>
                    <a:lnTo>
                      <a:pt x="133350" y="193453"/>
                    </a:lnTo>
                    <a:lnTo>
                      <a:pt x="140970" y="176213"/>
                    </a:lnTo>
                    <a:lnTo>
                      <a:pt x="155257" y="158210"/>
                    </a:lnTo>
                    <a:lnTo>
                      <a:pt x="161925" y="143923"/>
                    </a:lnTo>
                    <a:lnTo>
                      <a:pt x="172403" y="130492"/>
                    </a:lnTo>
                    <a:lnTo>
                      <a:pt x="176213" y="141065"/>
                    </a:lnTo>
                    <a:lnTo>
                      <a:pt x="176213" y="151543"/>
                    </a:lnTo>
                    <a:lnTo>
                      <a:pt x="193357" y="143923"/>
                    </a:lnTo>
                    <a:lnTo>
                      <a:pt x="221932" y="126778"/>
                    </a:lnTo>
                    <a:lnTo>
                      <a:pt x="246698" y="91535"/>
                    </a:lnTo>
                    <a:lnTo>
                      <a:pt x="257175" y="62960"/>
                    </a:lnTo>
                    <a:lnTo>
                      <a:pt x="253365" y="52388"/>
                    </a:lnTo>
                    <a:lnTo>
                      <a:pt x="249555" y="31528"/>
                    </a:lnTo>
                    <a:lnTo>
                      <a:pt x="257175" y="17240"/>
                    </a:lnTo>
                    <a:lnTo>
                      <a:pt x="263843" y="13430"/>
                    </a:lnTo>
                    <a:lnTo>
                      <a:pt x="281940" y="20955"/>
                    </a:lnTo>
                    <a:lnTo>
                      <a:pt x="284798" y="10573"/>
                    </a:lnTo>
                    <a:lnTo>
                      <a:pt x="278130" y="2953"/>
                    </a:lnTo>
                    <a:lnTo>
                      <a:pt x="288607" y="0"/>
                    </a:lnTo>
                    <a:lnTo>
                      <a:pt x="292418" y="17240"/>
                    </a:lnTo>
                    <a:lnTo>
                      <a:pt x="292418" y="31528"/>
                    </a:lnTo>
                    <a:lnTo>
                      <a:pt x="302895" y="48673"/>
                    </a:lnTo>
                    <a:lnTo>
                      <a:pt x="306705" y="62960"/>
                    </a:lnTo>
                    <a:lnTo>
                      <a:pt x="295275" y="83915"/>
                    </a:lnTo>
                    <a:lnTo>
                      <a:pt x="281940" y="101917"/>
                    </a:lnTo>
                    <a:lnTo>
                      <a:pt x="278130" y="116205"/>
                    </a:lnTo>
                    <a:lnTo>
                      <a:pt x="278130" y="141065"/>
                    </a:lnTo>
                    <a:lnTo>
                      <a:pt x="271463" y="151543"/>
                    </a:lnTo>
                    <a:lnTo>
                      <a:pt x="267653" y="168592"/>
                    </a:lnTo>
                    <a:lnTo>
                      <a:pt x="267653" y="172498"/>
                    </a:lnTo>
                    <a:lnTo>
                      <a:pt x="267653" y="179165"/>
                    </a:lnTo>
                    <a:lnTo>
                      <a:pt x="267653" y="189643"/>
                    </a:lnTo>
                    <a:lnTo>
                      <a:pt x="267653" y="193453"/>
                    </a:lnTo>
                    <a:lnTo>
                      <a:pt x="260985" y="207740"/>
                    </a:lnTo>
                    <a:lnTo>
                      <a:pt x="249555" y="214313"/>
                    </a:lnTo>
                    <a:lnTo>
                      <a:pt x="242888" y="203930"/>
                    </a:lnTo>
                    <a:lnTo>
                      <a:pt x="232410" y="201073"/>
                    </a:lnTo>
                    <a:lnTo>
                      <a:pt x="221932" y="203930"/>
                    </a:lnTo>
                    <a:lnTo>
                      <a:pt x="225743" y="218218"/>
                    </a:lnTo>
                    <a:lnTo>
                      <a:pt x="221932" y="224790"/>
                    </a:lnTo>
                    <a:lnTo>
                      <a:pt x="207645" y="214313"/>
                    </a:lnTo>
                    <a:lnTo>
                      <a:pt x="203835" y="222028"/>
                    </a:lnTo>
                    <a:lnTo>
                      <a:pt x="193357" y="222028"/>
                    </a:lnTo>
                    <a:lnTo>
                      <a:pt x="179070" y="222028"/>
                    </a:lnTo>
                    <a:lnTo>
                      <a:pt x="161925" y="222028"/>
                    </a:lnTo>
                    <a:lnTo>
                      <a:pt x="158115" y="214313"/>
                    </a:lnTo>
                    <a:lnTo>
                      <a:pt x="155257" y="222028"/>
                    </a:lnTo>
                    <a:lnTo>
                      <a:pt x="161925" y="232505"/>
                    </a:lnTo>
                    <a:lnTo>
                      <a:pt x="147638" y="239077"/>
                    </a:lnTo>
                    <a:lnTo>
                      <a:pt x="140970" y="253365"/>
                    </a:lnTo>
                    <a:lnTo>
                      <a:pt x="130493" y="261080"/>
                    </a:lnTo>
                    <a:lnTo>
                      <a:pt x="120015" y="246793"/>
                    </a:lnTo>
                    <a:lnTo>
                      <a:pt x="109538" y="239077"/>
                    </a:lnTo>
                    <a:lnTo>
                      <a:pt x="122873" y="228695"/>
                    </a:lnTo>
                    <a:lnTo>
                      <a:pt x="126682" y="218218"/>
                    </a:lnTo>
                    <a:lnTo>
                      <a:pt x="98107" y="218218"/>
                    </a:lnTo>
                    <a:lnTo>
                      <a:pt x="87630" y="224790"/>
                    </a:lnTo>
                    <a:lnTo>
                      <a:pt x="66675" y="228695"/>
                    </a:lnTo>
                    <a:lnTo>
                      <a:pt x="49530" y="236315"/>
                    </a:lnTo>
                    <a:lnTo>
                      <a:pt x="31432" y="236315"/>
                    </a:lnTo>
                    <a:lnTo>
                      <a:pt x="17145" y="246793"/>
                    </a:lnTo>
                    <a:lnTo>
                      <a:pt x="3810" y="242983"/>
                    </a:lnTo>
                    <a:lnTo>
                      <a:pt x="0" y="236315"/>
                    </a:lnTo>
                    <a:close/>
                  </a:path>
                </a:pathLst>
              </a:custGeom>
              <a:solidFill>
                <a:srgbClr val="CEE4BF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9" name="Freeform: Shape 308">
                <a:extLst>
                  <a:ext uri="{FF2B5EF4-FFF2-40B4-BE49-F238E27FC236}">
                    <a16:creationId xmlns:a16="http://schemas.microsoft.com/office/drawing/2014/main" id="{04FEA735-0233-DA4A-E062-2CFA83379472}"/>
                  </a:ext>
                </a:extLst>
              </p:cNvPr>
              <p:cNvSpPr/>
              <p:nvPr/>
            </p:nvSpPr>
            <p:spPr>
              <a:xfrm>
                <a:off x="9460770" y="3438106"/>
                <a:ext cx="86836" cy="124279"/>
              </a:xfrm>
              <a:custGeom>
                <a:avLst/>
                <a:gdLst>
                  <a:gd name="connsiteX0" fmla="*/ 3810 w 88582"/>
                  <a:gd name="connsiteY0" fmla="*/ 56293 h 126777"/>
                  <a:gd name="connsiteX1" fmla="*/ 3810 w 88582"/>
                  <a:gd name="connsiteY1" fmla="*/ 49625 h 126777"/>
                  <a:gd name="connsiteX2" fmla="*/ 14288 w 88582"/>
                  <a:gd name="connsiteY2" fmla="*/ 52388 h 126777"/>
                  <a:gd name="connsiteX3" fmla="*/ 20955 w 88582"/>
                  <a:gd name="connsiteY3" fmla="*/ 49625 h 126777"/>
                  <a:gd name="connsiteX4" fmla="*/ 18098 w 88582"/>
                  <a:gd name="connsiteY4" fmla="*/ 39148 h 126777"/>
                  <a:gd name="connsiteX5" fmla="*/ 10478 w 88582"/>
                  <a:gd name="connsiteY5" fmla="*/ 35338 h 126777"/>
                  <a:gd name="connsiteX6" fmla="*/ 18098 w 88582"/>
                  <a:gd name="connsiteY6" fmla="*/ 10573 h 126777"/>
                  <a:gd name="connsiteX7" fmla="*/ 35243 w 88582"/>
                  <a:gd name="connsiteY7" fmla="*/ 3905 h 126777"/>
                  <a:gd name="connsiteX8" fmla="*/ 53340 w 88582"/>
                  <a:gd name="connsiteY8" fmla="*/ 0 h 126777"/>
                  <a:gd name="connsiteX9" fmla="*/ 66675 w 88582"/>
                  <a:gd name="connsiteY9" fmla="*/ 14288 h 126777"/>
                  <a:gd name="connsiteX10" fmla="*/ 77153 w 88582"/>
                  <a:gd name="connsiteY10" fmla="*/ 31433 h 126777"/>
                  <a:gd name="connsiteX11" fmla="*/ 84773 w 88582"/>
                  <a:gd name="connsiteY11" fmla="*/ 52388 h 126777"/>
                  <a:gd name="connsiteX12" fmla="*/ 88583 w 88582"/>
                  <a:gd name="connsiteY12" fmla="*/ 70580 h 126777"/>
                  <a:gd name="connsiteX13" fmla="*/ 84773 w 88582"/>
                  <a:gd name="connsiteY13" fmla="*/ 95250 h 126777"/>
                  <a:gd name="connsiteX14" fmla="*/ 88583 w 88582"/>
                  <a:gd name="connsiteY14" fmla="*/ 95250 h 126777"/>
                  <a:gd name="connsiteX15" fmla="*/ 88583 w 88582"/>
                  <a:gd name="connsiteY15" fmla="*/ 99155 h 126777"/>
                  <a:gd name="connsiteX16" fmla="*/ 80963 w 88582"/>
                  <a:gd name="connsiteY16" fmla="*/ 102013 h 126777"/>
                  <a:gd name="connsiteX17" fmla="*/ 66675 w 88582"/>
                  <a:gd name="connsiteY17" fmla="*/ 109538 h 126777"/>
                  <a:gd name="connsiteX18" fmla="*/ 60008 w 88582"/>
                  <a:gd name="connsiteY18" fmla="*/ 112395 h 126777"/>
                  <a:gd name="connsiteX19" fmla="*/ 49530 w 88582"/>
                  <a:gd name="connsiteY19" fmla="*/ 105823 h 126777"/>
                  <a:gd name="connsiteX20" fmla="*/ 41910 w 88582"/>
                  <a:gd name="connsiteY20" fmla="*/ 112395 h 126777"/>
                  <a:gd name="connsiteX21" fmla="*/ 28575 w 88582"/>
                  <a:gd name="connsiteY21" fmla="*/ 122872 h 126777"/>
                  <a:gd name="connsiteX22" fmla="*/ 20955 w 88582"/>
                  <a:gd name="connsiteY22" fmla="*/ 120110 h 126777"/>
                  <a:gd name="connsiteX23" fmla="*/ 3810 w 88582"/>
                  <a:gd name="connsiteY23" fmla="*/ 126778 h 126777"/>
                  <a:gd name="connsiteX24" fmla="*/ 0 w 88582"/>
                  <a:gd name="connsiteY24" fmla="*/ 116300 h 126777"/>
                  <a:gd name="connsiteX25" fmla="*/ 3810 w 88582"/>
                  <a:gd name="connsiteY25" fmla="*/ 102013 h 126777"/>
                  <a:gd name="connsiteX26" fmla="*/ 3810 w 88582"/>
                  <a:gd name="connsiteY26" fmla="*/ 84868 h 126777"/>
                  <a:gd name="connsiteX27" fmla="*/ 10478 w 88582"/>
                  <a:gd name="connsiteY27" fmla="*/ 80963 h 126777"/>
                  <a:gd name="connsiteX28" fmla="*/ 10478 w 88582"/>
                  <a:gd name="connsiteY28" fmla="*/ 66675 h 126777"/>
                  <a:gd name="connsiteX29" fmla="*/ 3810 w 88582"/>
                  <a:gd name="connsiteY29" fmla="*/ 56293 h 126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88582" h="126777">
                    <a:moveTo>
                      <a:pt x="3810" y="56293"/>
                    </a:moveTo>
                    <a:lnTo>
                      <a:pt x="3810" y="49625"/>
                    </a:lnTo>
                    <a:lnTo>
                      <a:pt x="14288" y="52388"/>
                    </a:lnTo>
                    <a:lnTo>
                      <a:pt x="20955" y="49625"/>
                    </a:lnTo>
                    <a:lnTo>
                      <a:pt x="18098" y="39148"/>
                    </a:lnTo>
                    <a:lnTo>
                      <a:pt x="10478" y="35338"/>
                    </a:lnTo>
                    <a:lnTo>
                      <a:pt x="18098" y="10573"/>
                    </a:lnTo>
                    <a:lnTo>
                      <a:pt x="35243" y="3905"/>
                    </a:lnTo>
                    <a:lnTo>
                      <a:pt x="53340" y="0"/>
                    </a:lnTo>
                    <a:lnTo>
                      <a:pt x="66675" y="14288"/>
                    </a:lnTo>
                    <a:lnTo>
                      <a:pt x="77153" y="31433"/>
                    </a:lnTo>
                    <a:lnTo>
                      <a:pt x="84773" y="52388"/>
                    </a:lnTo>
                    <a:lnTo>
                      <a:pt x="88583" y="70580"/>
                    </a:lnTo>
                    <a:lnTo>
                      <a:pt x="84773" y="95250"/>
                    </a:lnTo>
                    <a:lnTo>
                      <a:pt x="88583" y="95250"/>
                    </a:lnTo>
                    <a:lnTo>
                      <a:pt x="88583" y="99155"/>
                    </a:lnTo>
                    <a:lnTo>
                      <a:pt x="80963" y="102013"/>
                    </a:lnTo>
                    <a:lnTo>
                      <a:pt x="66675" y="109538"/>
                    </a:lnTo>
                    <a:lnTo>
                      <a:pt x="60008" y="112395"/>
                    </a:lnTo>
                    <a:lnTo>
                      <a:pt x="49530" y="105823"/>
                    </a:lnTo>
                    <a:lnTo>
                      <a:pt x="41910" y="112395"/>
                    </a:lnTo>
                    <a:lnTo>
                      <a:pt x="28575" y="122872"/>
                    </a:lnTo>
                    <a:lnTo>
                      <a:pt x="20955" y="120110"/>
                    </a:lnTo>
                    <a:lnTo>
                      <a:pt x="3810" y="126778"/>
                    </a:lnTo>
                    <a:lnTo>
                      <a:pt x="0" y="116300"/>
                    </a:lnTo>
                    <a:lnTo>
                      <a:pt x="3810" y="102013"/>
                    </a:lnTo>
                    <a:lnTo>
                      <a:pt x="3810" y="84868"/>
                    </a:lnTo>
                    <a:lnTo>
                      <a:pt x="10478" y="80963"/>
                    </a:lnTo>
                    <a:lnTo>
                      <a:pt x="10478" y="66675"/>
                    </a:lnTo>
                    <a:lnTo>
                      <a:pt x="3810" y="56293"/>
                    </a:lnTo>
                    <a:close/>
                  </a:path>
                </a:pathLst>
              </a:custGeom>
              <a:solidFill>
                <a:srgbClr val="CEE4BF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6082FC83-3973-3DCD-1AE0-4D2C3BC1EB61}"/>
                  </a:ext>
                </a:extLst>
              </p:cNvPr>
              <p:cNvSpPr/>
              <p:nvPr/>
            </p:nvSpPr>
            <p:spPr>
              <a:xfrm>
                <a:off x="9409416" y="3292537"/>
                <a:ext cx="169004" cy="166203"/>
              </a:xfrm>
              <a:custGeom>
                <a:avLst/>
                <a:gdLst>
                  <a:gd name="connsiteX0" fmla="*/ 41910 w 172402"/>
                  <a:gd name="connsiteY0" fmla="*/ 162782 h 169544"/>
                  <a:gd name="connsiteX1" fmla="*/ 20955 w 172402"/>
                  <a:gd name="connsiteY1" fmla="*/ 165640 h 169544"/>
                  <a:gd name="connsiteX2" fmla="*/ 13335 w 172402"/>
                  <a:gd name="connsiteY2" fmla="*/ 155257 h 169544"/>
                  <a:gd name="connsiteX3" fmla="*/ 20955 w 172402"/>
                  <a:gd name="connsiteY3" fmla="*/ 140970 h 169544"/>
                  <a:gd name="connsiteX4" fmla="*/ 20955 w 172402"/>
                  <a:gd name="connsiteY4" fmla="*/ 123825 h 169544"/>
                  <a:gd name="connsiteX5" fmla="*/ 27623 w 172402"/>
                  <a:gd name="connsiteY5" fmla="*/ 105632 h 169544"/>
                  <a:gd name="connsiteX6" fmla="*/ 10478 w 172402"/>
                  <a:gd name="connsiteY6" fmla="*/ 105632 h 169544"/>
                  <a:gd name="connsiteX7" fmla="*/ 0 w 172402"/>
                  <a:gd name="connsiteY7" fmla="*/ 98965 h 169544"/>
                  <a:gd name="connsiteX8" fmla="*/ 10478 w 172402"/>
                  <a:gd name="connsiteY8" fmla="*/ 84677 h 169544"/>
                  <a:gd name="connsiteX9" fmla="*/ 38100 w 172402"/>
                  <a:gd name="connsiteY9" fmla="*/ 67532 h 169544"/>
                  <a:gd name="connsiteX10" fmla="*/ 48578 w 172402"/>
                  <a:gd name="connsiteY10" fmla="*/ 57150 h 169544"/>
                  <a:gd name="connsiteX11" fmla="*/ 62865 w 172402"/>
                  <a:gd name="connsiteY11" fmla="*/ 42863 h 169544"/>
                  <a:gd name="connsiteX12" fmla="*/ 70485 w 172402"/>
                  <a:gd name="connsiteY12" fmla="*/ 38957 h 169544"/>
                  <a:gd name="connsiteX13" fmla="*/ 87630 w 172402"/>
                  <a:gd name="connsiteY13" fmla="*/ 46577 h 169544"/>
                  <a:gd name="connsiteX14" fmla="*/ 105728 w 172402"/>
                  <a:gd name="connsiteY14" fmla="*/ 42863 h 169544"/>
                  <a:gd name="connsiteX15" fmla="*/ 108585 w 172402"/>
                  <a:gd name="connsiteY15" fmla="*/ 28575 h 169544"/>
                  <a:gd name="connsiteX16" fmla="*/ 126683 w 172402"/>
                  <a:gd name="connsiteY16" fmla="*/ 28575 h 169544"/>
                  <a:gd name="connsiteX17" fmla="*/ 140970 w 172402"/>
                  <a:gd name="connsiteY17" fmla="*/ 18002 h 169544"/>
                  <a:gd name="connsiteX18" fmla="*/ 143828 w 172402"/>
                  <a:gd name="connsiteY18" fmla="*/ 7620 h 169544"/>
                  <a:gd name="connsiteX19" fmla="*/ 154305 w 172402"/>
                  <a:gd name="connsiteY19" fmla="*/ 0 h 169544"/>
                  <a:gd name="connsiteX20" fmla="*/ 172403 w 172402"/>
                  <a:gd name="connsiteY20" fmla="*/ 14288 h 169544"/>
                  <a:gd name="connsiteX21" fmla="*/ 161925 w 172402"/>
                  <a:gd name="connsiteY21" fmla="*/ 21907 h 169544"/>
                  <a:gd name="connsiteX22" fmla="*/ 147638 w 172402"/>
                  <a:gd name="connsiteY22" fmla="*/ 32290 h 169544"/>
                  <a:gd name="connsiteX23" fmla="*/ 140970 w 172402"/>
                  <a:gd name="connsiteY23" fmla="*/ 49530 h 169544"/>
                  <a:gd name="connsiteX24" fmla="*/ 137160 w 172402"/>
                  <a:gd name="connsiteY24" fmla="*/ 67532 h 169544"/>
                  <a:gd name="connsiteX25" fmla="*/ 133350 w 172402"/>
                  <a:gd name="connsiteY25" fmla="*/ 74295 h 169544"/>
                  <a:gd name="connsiteX26" fmla="*/ 119063 w 172402"/>
                  <a:gd name="connsiteY26" fmla="*/ 81820 h 169544"/>
                  <a:gd name="connsiteX27" fmla="*/ 91440 w 172402"/>
                  <a:gd name="connsiteY27" fmla="*/ 92392 h 169544"/>
                  <a:gd name="connsiteX28" fmla="*/ 83820 w 172402"/>
                  <a:gd name="connsiteY28" fmla="*/ 102870 h 169544"/>
                  <a:gd name="connsiteX29" fmla="*/ 83820 w 172402"/>
                  <a:gd name="connsiteY29" fmla="*/ 117157 h 169544"/>
                  <a:gd name="connsiteX30" fmla="*/ 91440 w 172402"/>
                  <a:gd name="connsiteY30" fmla="*/ 134207 h 169544"/>
                  <a:gd name="connsiteX31" fmla="*/ 98108 w 172402"/>
                  <a:gd name="connsiteY31" fmla="*/ 140970 h 169544"/>
                  <a:gd name="connsiteX32" fmla="*/ 105728 w 172402"/>
                  <a:gd name="connsiteY32" fmla="*/ 148495 h 169544"/>
                  <a:gd name="connsiteX33" fmla="*/ 87630 w 172402"/>
                  <a:gd name="connsiteY33" fmla="*/ 152400 h 169544"/>
                  <a:gd name="connsiteX34" fmla="*/ 70485 w 172402"/>
                  <a:gd name="connsiteY34" fmla="*/ 159067 h 169544"/>
                  <a:gd name="connsiteX35" fmla="*/ 62865 w 172402"/>
                  <a:gd name="connsiteY35" fmla="*/ 169545 h 169544"/>
                  <a:gd name="connsiteX36" fmla="*/ 41910 w 172402"/>
                  <a:gd name="connsiteY36" fmla="*/ 162782 h 16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72402" h="169544">
                    <a:moveTo>
                      <a:pt x="41910" y="162782"/>
                    </a:moveTo>
                    <a:lnTo>
                      <a:pt x="20955" y="165640"/>
                    </a:lnTo>
                    <a:lnTo>
                      <a:pt x="13335" y="155257"/>
                    </a:lnTo>
                    <a:lnTo>
                      <a:pt x="20955" y="140970"/>
                    </a:lnTo>
                    <a:lnTo>
                      <a:pt x="20955" y="123825"/>
                    </a:lnTo>
                    <a:lnTo>
                      <a:pt x="27623" y="105632"/>
                    </a:lnTo>
                    <a:lnTo>
                      <a:pt x="10478" y="105632"/>
                    </a:lnTo>
                    <a:lnTo>
                      <a:pt x="0" y="98965"/>
                    </a:lnTo>
                    <a:lnTo>
                      <a:pt x="10478" y="84677"/>
                    </a:lnTo>
                    <a:lnTo>
                      <a:pt x="38100" y="67532"/>
                    </a:lnTo>
                    <a:lnTo>
                      <a:pt x="48578" y="57150"/>
                    </a:lnTo>
                    <a:lnTo>
                      <a:pt x="62865" y="42863"/>
                    </a:lnTo>
                    <a:lnTo>
                      <a:pt x="70485" y="38957"/>
                    </a:lnTo>
                    <a:lnTo>
                      <a:pt x="87630" y="46577"/>
                    </a:lnTo>
                    <a:lnTo>
                      <a:pt x="105728" y="42863"/>
                    </a:lnTo>
                    <a:lnTo>
                      <a:pt x="108585" y="28575"/>
                    </a:lnTo>
                    <a:lnTo>
                      <a:pt x="126683" y="28575"/>
                    </a:lnTo>
                    <a:lnTo>
                      <a:pt x="140970" y="18002"/>
                    </a:lnTo>
                    <a:lnTo>
                      <a:pt x="143828" y="7620"/>
                    </a:lnTo>
                    <a:lnTo>
                      <a:pt x="154305" y="0"/>
                    </a:lnTo>
                    <a:lnTo>
                      <a:pt x="172403" y="14288"/>
                    </a:lnTo>
                    <a:lnTo>
                      <a:pt x="161925" y="21907"/>
                    </a:lnTo>
                    <a:lnTo>
                      <a:pt x="147638" y="32290"/>
                    </a:lnTo>
                    <a:lnTo>
                      <a:pt x="140970" y="49530"/>
                    </a:lnTo>
                    <a:lnTo>
                      <a:pt x="137160" y="67532"/>
                    </a:lnTo>
                    <a:lnTo>
                      <a:pt x="133350" y="74295"/>
                    </a:lnTo>
                    <a:lnTo>
                      <a:pt x="119063" y="81820"/>
                    </a:lnTo>
                    <a:lnTo>
                      <a:pt x="91440" y="92392"/>
                    </a:lnTo>
                    <a:lnTo>
                      <a:pt x="83820" y="102870"/>
                    </a:lnTo>
                    <a:lnTo>
                      <a:pt x="83820" y="117157"/>
                    </a:lnTo>
                    <a:lnTo>
                      <a:pt x="91440" y="134207"/>
                    </a:lnTo>
                    <a:lnTo>
                      <a:pt x="98108" y="140970"/>
                    </a:lnTo>
                    <a:lnTo>
                      <a:pt x="105728" y="148495"/>
                    </a:lnTo>
                    <a:lnTo>
                      <a:pt x="87630" y="152400"/>
                    </a:lnTo>
                    <a:lnTo>
                      <a:pt x="70485" y="159067"/>
                    </a:lnTo>
                    <a:lnTo>
                      <a:pt x="62865" y="169545"/>
                    </a:lnTo>
                    <a:lnTo>
                      <a:pt x="41910" y="1627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1" name="Freeform: Shape 310">
                <a:extLst>
                  <a:ext uri="{FF2B5EF4-FFF2-40B4-BE49-F238E27FC236}">
                    <a16:creationId xmlns:a16="http://schemas.microsoft.com/office/drawing/2014/main" id="{1346658C-A420-878B-98EA-74D5B032F03F}"/>
                  </a:ext>
                </a:extLst>
              </p:cNvPr>
              <p:cNvSpPr/>
              <p:nvPr/>
            </p:nvSpPr>
            <p:spPr>
              <a:xfrm>
                <a:off x="8732465" y="3921872"/>
                <a:ext cx="213822" cy="235206"/>
              </a:xfrm>
              <a:custGeom>
                <a:avLst/>
                <a:gdLst>
                  <a:gd name="connsiteX0" fmla="*/ 20955 w 218122"/>
                  <a:gd name="connsiteY0" fmla="*/ 24670 h 239934"/>
                  <a:gd name="connsiteX1" fmla="*/ 35243 w 218122"/>
                  <a:gd name="connsiteY1" fmla="*/ 24670 h 239934"/>
                  <a:gd name="connsiteX2" fmla="*/ 41910 w 218122"/>
                  <a:gd name="connsiteY2" fmla="*/ 32385 h 239934"/>
                  <a:gd name="connsiteX3" fmla="*/ 56198 w 218122"/>
                  <a:gd name="connsiteY3" fmla="*/ 32385 h 239934"/>
                  <a:gd name="connsiteX4" fmla="*/ 60008 w 218122"/>
                  <a:gd name="connsiteY4" fmla="*/ 18097 h 239934"/>
                  <a:gd name="connsiteX5" fmla="*/ 49530 w 218122"/>
                  <a:gd name="connsiteY5" fmla="*/ 14288 h 239934"/>
                  <a:gd name="connsiteX6" fmla="*/ 49530 w 218122"/>
                  <a:gd name="connsiteY6" fmla="*/ 0 h 239934"/>
                  <a:gd name="connsiteX7" fmla="*/ 70485 w 218122"/>
                  <a:gd name="connsiteY7" fmla="*/ 0 h 239934"/>
                  <a:gd name="connsiteX8" fmla="*/ 70485 w 218122"/>
                  <a:gd name="connsiteY8" fmla="*/ 7620 h 239934"/>
                  <a:gd name="connsiteX9" fmla="*/ 87630 w 218122"/>
                  <a:gd name="connsiteY9" fmla="*/ 24670 h 239934"/>
                  <a:gd name="connsiteX10" fmla="*/ 91440 w 218122"/>
                  <a:gd name="connsiteY10" fmla="*/ 42863 h 239934"/>
                  <a:gd name="connsiteX11" fmla="*/ 91440 w 218122"/>
                  <a:gd name="connsiteY11" fmla="*/ 49435 h 239934"/>
                  <a:gd name="connsiteX12" fmla="*/ 130493 w 218122"/>
                  <a:gd name="connsiteY12" fmla="*/ 45720 h 239934"/>
                  <a:gd name="connsiteX13" fmla="*/ 140970 w 218122"/>
                  <a:gd name="connsiteY13" fmla="*/ 63722 h 239934"/>
                  <a:gd name="connsiteX14" fmla="*/ 144780 w 218122"/>
                  <a:gd name="connsiteY14" fmla="*/ 80963 h 239934"/>
                  <a:gd name="connsiteX15" fmla="*/ 120015 w 218122"/>
                  <a:gd name="connsiteY15" fmla="*/ 80963 h 239934"/>
                  <a:gd name="connsiteX16" fmla="*/ 120015 w 218122"/>
                  <a:gd name="connsiteY16" fmla="*/ 99060 h 239934"/>
                  <a:gd name="connsiteX17" fmla="*/ 133350 w 218122"/>
                  <a:gd name="connsiteY17" fmla="*/ 105632 h 239934"/>
                  <a:gd name="connsiteX18" fmla="*/ 176213 w 218122"/>
                  <a:gd name="connsiteY18" fmla="*/ 148495 h 239934"/>
                  <a:gd name="connsiteX19" fmla="*/ 211455 w 218122"/>
                  <a:gd name="connsiteY19" fmla="*/ 186595 h 239934"/>
                  <a:gd name="connsiteX20" fmla="*/ 218123 w 218122"/>
                  <a:gd name="connsiteY20" fmla="*/ 211360 h 239934"/>
                  <a:gd name="connsiteX21" fmla="*/ 214313 w 218122"/>
                  <a:gd name="connsiteY21" fmla="*/ 236220 h 239934"/>
                  <a:gd name="connsiteX22" fmla="*/ 197168 w 218122"/>
                  <a:gd name="connsiteY22" fmla="*/ 236220 h 239934"/>
                  <a:gd name="connsiteX23" fmla="*/ 193358 w 218122"/>
                  <a:gd name="connsiteY23" fmla="*/ 225647 h 239934"/>
                  <a:gd name="connsiteX24" fmla="*/ 182880 w 218122"/>
                  <a:gd name="connsiteY24" fmla="*/ 225647 h 239934"/>
                  <a:gd name="connsiteX25" fmla="*/ 180023 w 218122"/>
                  <a:gd name="connsiteY25" fmla="*/ 239935 h 239934"/>
                  <a:gd name="connsiteX26" fmla="*/ 158115 w 218122"/>
                  <a:gd name="connsiteY26" fmla="*/ 239935 h 239934"/>
                  <a:gd name="connsiteX27" fmla="*/ 158115 w 218122"/>
                  <a:gd name="connsiteY27" fmla="*/ 229457 h 239934"/>
                  <a:gd name="connsiteX28" fmla="*/ 165735 w 218122"/>
                  <a:gd name="connsiteY28" fmla="*/ 208597 h 239934"/>
                  <a:gd name="connsiteX29" fmla="*/ 165735 w 218122"/>
                  <a:gd name="connsiteY29" fmla="*/ 190500 h 239934"/>
                  <a:gd name="connsiteX30" fmla="*/ 147638 w 218122"/>
                  <a:gd name="connsiteY30" fmla="*/ 173260 h 239934"/>
                  <a:gd name="connsiteX31" fmla="*/ 140970 w 218122"/>
                  <a:gd name="connsiteY31" fmla="*/ 144685 h 239934"/>
                  <a:gd name="connsiteX32" fmla="*/ 112395 w 218122"/>
                  <a:gd name="connsiteY32" fmla="*/ 113347 h 239934"/>
                  <a:gd name="connsiteX33" fmla="*/ 91440 w 218122"/>
                  <a:gd name="connsiteY33" fmla="*/ 126682 h 239934"/>
                  <a:gd name="connsiteX34" fmla="*/ 70485 w 218122"/>
                  <a:gd name="connsiteY34" fmla="*/ 119920 h 239934"/>
                  <a:gd name="connsiteX35" fmla="*/ 35243 w 218122"/>
                  <a:gd name="connsiteY35" fmla="*/ 140970 h 239934"/>
                  <a:gd name="connsiteX36" fmla="*/ 35243 w 218122"/>
                  <a:gd name="connsiteY36" fmla="*/ 116110 h 239934"/>
                  <a:gd name="connsiteX37" fmla="*/ 41910 w 218122"/>
                  <a:gd name="connsiteY37" fmla="*/ 109538 h 239934"/>
                  <a:gd name="connsiteX38" fmla="*/ 35243 w 218122"/>
                  <a:gd name="connsiteY38" fmla="*/ 84772 h 239934"/>
                  <a:gd name="connsiteX39" fmla="*/ 20955 w 218122"/>
                  <a:gd name="connsiteY39" fmla="*/ 80963 h 239934"/>
                  <a:gd name="connsiteX40" fmla="*/ 20955 w 218122"/>
                  <a:gd name="connsiteY40" fmla="*/ 67532 h 239934"/>
                  <a:gd name="connsiteX41" fmla="*/ 0 w 218122"/>
                  <a:gd name="connsiteY41" fmla="*/ 56197 h 239934"/>
                  <a:gd name="connsiteX42" fmla="*/ 24765 w 218122"/>
                  <a:gd name="connsiteY42" fmla="*/ 42863 h 239934"/>
                  <a:gd name="connsiteX43" fmla="*/ 20955 w 218122"/>
                  <a:gd name="connsiteY43" fmla="*/ 24670 h 239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218122" h="239934">
                    <a:moveTo>
                      <a:pt x="20955" y="24670"/>
                    </a:moveTo>
                    <a:lnTo>
                      <a:pt x="35243" y="24670"/>
                    </a:lnTo>
                    <a:lnTo>
                      <a:pt x="41910" y="32385"/>
                    </a:lnTo>
                    <a:lnTo>
                      <a:pt x="56198" y="32385"/>
                    </a:lnTo>
                    <a:lnTo>
                      <a:pt x="60008" y="18097"/>
                    </a:lnTo>
                    <a:lnTo>
                      <a:pt x="49530" y="14288"/>
                    </a:lnTo>
                    <a:lnTo>
                      <a:pt x="49530" y="0"/>
                    </a:lnTo>
                    <a:lnTo>
                      <a:pt x="70485" y="0"/>
                    </a:lnTo>
                    <a:lnTo>
                      <a:pt x="70485" y="7620"/>
                    </a:lnTo>
                    <a:lnTo>
                      <a:pt x="87630" y="24670"/>
                    </a:lnTo>
                    <a:lnTo>
                      <a:pt x="91440" y="42863"/>
                    </a:lnTo>
                    <a:lnTo>
                      <a:pt x="91440" y="49435"/>
                    </a:lnTo>
                    <a:lnTo>
                      <a:pt x="130493" y="45720"/>
                    </a:lnTo>
                    <a:lnTo>
                      <a:pt x="140970" y="63722"/>
                    </a:lnTo>
                    <a:lnTo>
                      <a:pt x="144780" y="80963"/>
                    </a:lnTo>
                    <a:lnTo>
                      <a:pt x="120015" y="80963"/>
                    </a:lnTo>
                    <a:lnTo>
                      <a:pt x="120015" y="99060"/>
                    </a:lnTo>
                    <a:lnTo>
                      <a:pt x="133350" y="105632"/>
                    </a:lnTo>
                    <a:lnTo>
                      <a:pt x="176213" y="148495"/>
                    </a:lnTo>
                    <a:lnTo>
                      <a:pt x="211455" y="186595"/>
                    </a:lnTo>
                    <a:lnTo>
                      <a:pt x="218123" y="211360"/>
                    </a:lnTo>
                    <a:lnTo>
                      <a:pt x="214313" y="236220"/>
                    </a:lnTo>
                    <a:lnTo>
                      <a:pt x="197168" y="236220"/>
                    </a:lnTo>
                    <a:lnTo>
                      <a:pt x="193358" y="225647"/>
                    </a:lnTo>
                    <a:lnTo>
                      <a:pt x="182880" y="225647"/>
                    </a:lnTo>
                    <a:lnTo>
                      <a:pt x="180023" y="239935"/>
                    </a:lnTo>
                    <a:lnTo>
                      <a:pt x="158115" y="239935"/>
                    </a:lnTo>
                    <a:lnTo>
                      <a:pt x="158115" y="229457"/>
                    </a:lnTo>
                    <a:lnTo>
                      <a:pt x="165735" y="208597"/>
                    </a:lnTo>
                    <a:lnTo>
                      <a:pt x="165735" y="190500"/>
                    </a:lnTo>
                    <a:lnTo>
                      <a:pt x="147638" y="173260"/>
                    </a:lnTo>
                    <a:lnTo>
                      <a:pt x="140970" y="144685"/>
                    </a:lnTo>
                    <a:lnTo>
                      <a:pt x="112395" y="113347"/>
                    </a:lnTo>
                    <a:lnTo>
                      <a:pt x="91440" y="126682"/>
                    </a:lnTo>
                    <a:lnTo>
                      <a:pt x="70485" y="119920"/>
                    </a:lnTo>
                    <a:lnTo>
                      <a:pt x="35243" y="140970"/>
                    </a:lnTo>
                    <a:lnTo>
                      <a:pt x="35243" y="116110"/>
                    </a:lnTo>
                    <a:lnTo>
                      <a:pt x="41910" y="109538"/>
                    </a:lnTo>
                    <a:lnTo>
                      <a:pt x="35243" y="84772"/>
                    </a:lnTo>
                    <a:lnTo>
                      <a:pt x="20955" y="80963"/>
                    </a:lnTo>
                    <a:lnTo>
                      <a:pt x="20955" y="67532"/>
                    </a:lnTo>
                    <a:lnTo>
                      <a:pt x="0" y="56197"/>
                    </a:lnTo>
                    <a:lnTo>
                      <a:pt x="24765" y="42863"/>
                    </a:lnTo>
                    <a:lnTo>
                      <a:pt x="20955" y="246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2" name="Freeform: Shape 311">
                <a:extLst>
                  <a:ext uri="{FF2B5EF4-FFF2-40B4-BE49-F238E27FC236}">
                    <a16:creationId xmlns:a16="http://schemas.microsoft.com/office/drawing/2014/main" id="{80B4FC43-9263-CDEC-A964-618C3F61BD5B}"/>
                  </a:ext>
                </a:extLst>
              </p:cNvPr>
              <p:cNvSpPr/>
              <p:nvPr/>
            </p:nvSpPr>
            <p:spPr>
              <a:xfrm>
                <a:off x="8407529" y="2975068"/>
                <a:ext cx="877701" cy="359486"/>
              </a:xfrm>
              <a:custGeom>
                <a:avLst/>
                <a:gdLst>
                  <a:gd name="connsiteX0" fmla="*/ 0 w 895350"/>
                  <a:gd name="connsiteY0" fmla="*/ 109538 h 366712"/>
                  <a:gd name="connsiteX1" fmla="*/ 14288 w 895350"/>
                  <a:gd name="connsiteY1" fmla="*/ 95250 h 366712"/>
                  <a:gd name="connsiteX2" fmla="*/ 39053 w 895350"/>
                  <a:gd name="connsiteY2" fmla="*/ 91345 h 366712"/>
                  <a:gd name="connsiteX3" fmla="*/ 53340 w 895350"/>
                  <a:gd name="connsiteY3" fmla="*/ 77057 h 366712"/>
                  <a:gd name="connsiteX4" fmla="*/ 113348 w 895350"/>
                  <a:gd name="connsiteY4" fmla="*/ 45720 h 366712"/>
                  <a:gd name="connsiteX5" fmla="*/ 140970 w 895350"/>
                  <a:gd name="connsiteY5" fmla="*/ 49530 h 366712"/>
                  <a:gd name="connsiteX6" fmla="*/ 180023 w 895350"/>
                  <a:gd name="connsiteY6" fmla="*/ 56102 h 366712"/>
                  <a:gd name="connsiteX7" fmla="*/ 197168 w 895350"/>
                  <a:gd name="connsiteY7" fmla="*/ 77057 h 366712"/>
                  <a:gd name="connsiteX8" fmla="*/ 254318 w 895350"/>
                  <a:gd name="connsiteY8" fmla="*/ 77057 h 366712"/>
                  <a:gd name="connsiteX9" fmla="*/ 267653 w 895350"/>
                  <a:gd name="connsiteY9" fmla="*/ 87630 h 366712"/>
                  <a:gd name="connsiteX10" fmla="*/ 289560 w 895350"/>
                  <a:gd name="connsiteY10" fmla="*/ 70390 h 366712"/>
                  <a:gd name="connsiteX11" fmla="*/ 292418 w 895350"/>
                  <a:gd name="connsiteY11" fmla="*/ 56102 h 366712"/>
                  <a:gd name="connsiteX12" fmla="*/ 271463 w 895350"/>
                  <a:gd name="connsiteY12" fmla="*/ 31432 h 366712"/>
                  <a:gd name="connsiteX13" fmla="*/ 296228 w 895350"/>
                  <a:gd name="connsiteY13" fmla="*/ 6667 h 366712"/>
                  <a:gd name="connsiteX14" fmla="*/ 302895 w 895350"/>
                  <a:gd name="connsiteY14" fmla="*/ 0 h 366712"/>
                  <a:gd name="connsiteX15" fmla="*/ 327660 w 895350"/>
                  <a:gd name="connsiteY15" fmla="*/ 3715 h 366712"/>
                  <a:gd name="connsiteX16" fmla="*/ 352425 w 895350"/>
                  <a:gd name="connsiteY16" fmla="*/ 10382 h 366712"/>
                  <a:gd name="connsiteX17" fmla="*/ 395288 w 895350"/>
                  <a:gd name="connsiteY17" fmla="*/ 24670 h 366712"/>
                  <a:gd name="connsiteX18" fmla="*/ 398145 w 895350"/>
                  <a:gd name="connsiteY18" fmla="*/ 41815 h 366712"/>
                  <a:gd name="connsiteX19" fmla="*/ 416243 w 895350"/>
                  <a:gd name="connsiteY19" fmla="*/ 62770 h 366712"/>
                  <a:gd name="connsiteX20" fmla="*/ 461963 w 895350"/>
                  <a:gd name="connsiteY20" fmla="*/ 70390 h 366712"/>
                  <a:gd name="connsiteX21" fmla="*/ 486728 w 895350"/>
                  <a:gd name="connsiteY21" fmla="*/ 56102 h 366712"/>
                  <a:gd name="connsiteX22" fmla="*/ 528638 w 895350"/>
                  <a:gd name="connsiteY22" fmla="*/ 62770 h 366712"/>
                  <a:gd name="connsiteX23" fmla="*/ 539115 w 895350"/>
                  <a:gd name="connsiteY23" fmla="*/ 74295 h 366712"/>
                  <a:gd name="connsiteX24" fmla="*/ 557213 w 895350"/>
                  <a:gd name="connsiteY24" fmla="*/ 77057 h 366712"/>
                  <a:gd name="connsiteX25" fmla="*/ 567690 w 895350"/>
                  <a:gd name="connsiteY25" fmla="*/ 91345 h 366712"/>
                  <a:gd name="connsiteX26" fmla="*/ 578168 w 895350"/>
                  <a:gd name="connsiteY26" fmla="*/ 101917 h 366712"/>
                  <a:gd name="connsiteX27" fmla="*/ 616268 w 895350"/>
                  <a:gd name="connsiteY27" fmla="*/ 105632 h 366712"/>
                  <a:gd name="connsiteX28" fmla="*/ 648653 w 895350"/>
                  <a:gd name="connsiteY28" fmla="*/ 101917 h 366712"/>
                  <a:gd name="connsiteX29" fmla="*/ 701040 w 895350"/>
                  <a:gd name="connsiteY29" fmla="*/ 91345 h 366712"/>
                  <a:gd name="connsiteX30" fmla="*/ 719138 w 895350"/>
                  <a:gd name="connsiteY30" fmla="*/ 77057 h 366712"/>
                  <a:gd name="connsiteX31" fmla="*/ 732473 w 895350"/>
                  <a:gd name="connsiteY31" fmla="*/ 66675 h 366712"/>
                  <a:gd name="connsiteX32" fmla="*/ 750570 w 895350"/>
                  <a:gd name="connsiteY32" fmla="*/ 62770 h 366712"/>
                  <a:gd name="connsiteX33" fmla="*/ 764857 w 895350"/>
                  <a:gd name="connsiteY33" fmla="*/ 74295 h 366712"/>
                  <a:gd name="connsiteX34" fmla="*/ 779145 w 895350"/>
                  <a:gd name="connsiteY34" fmla="*/ 74295 h 366712"/>
                  <a:gd name="connsiteX35" fmla="*/ 806768 w 895350"/>
                  <a:gd name="connsiteY35" fmla="*/ 77057 h 366712"/>
                  <a:gd name="connsiteX36" fmla="*/ 796290 w 895350"/>
                  <a:gd name="connsiteY36" fmla="*/ 91345 h 366712"/>
                  <a:gd name="connsiteX37" fmla="*/ 789623 w 895350"/>
                  <a:gd name="connsiteY37" fmla="*/ 105632 h 366712"/>
                  <a:gd name="connsiteX38" fmla="*/ 775335 w 895350"/>
                  <a:gd name="connsiteY38" fmla="*/ 147638 h 366712"/>
                  <a:gd name="connsiteX39" fmla="*/ 824865 w 895350"/>
                  <a:gd name="connsiteY39" fmla="*/ 151352 h 366712"/>
                  <a:gd name="connsiteX40" fmla="*/ 838200 w 895350"/>
                  <a:gd name="connsiteY40" fmla="*/ 140970 h 366712"/>
                  <a:gd name="connsiteX41" fmla="*/ 856298 w 895350"/>
                  <a:gd name="connsiteY41" fmla="*/ 144780 h 366712"/>
                  <a:gd name="connsiteX42" fmla="*/ 891540 w 895350"/>
                  <a:gd name="connsiteY42" fmla="*/ 179927 h 366712"/>
                  <a:gd name="connsiteX43" fmla="*/ 895350 w 895350"/>
                  <a:gd name="connsiteY43" fmla="*/ 197167 h 366712"/>
                  <a:gd name="connsiteX44" fmla="*/ 870585 w 895350"/>
                  <a:gd name="connsiteY44" fmla="*/ 193357 h 366712"/>
                  <a:gd name="connsiteX45" fmla="*/ 845820 w 895350"/>
                  <a:gd name="connsiteY45" fmla="*/ 193357 h 366712"/>
                  <a:gd name="connsiteX46" fmla="*/ 810578 w 895350"/>
                  <a:gd name="connsiteY46" fmla="*/ 207645 h 366712"/>
                  <a:gd name="connsiteX47" fmla="*/ 779145 w 895350"/>
                  <a:gd name="connsiteY47" fmla="*/ 232315 h 366712"/>
                  <a:gd name="connsiteX48" fmla="*/ 750570 w 895350"/>
                  <a:gd name="connsiteY48" fmla="*/ 232315 h 366712"/>
                  <a:gd name="connsiteX49" fmla="*/ 725805 w 895350"/>
                  <a:gd name="connsiteY49" fmla="*/ 257175 h 366712"/>
                  <a:gd name="connsiteX50" fmla="*/ 694373 w 895350"/>
                  <a:gd name="connsiteY50" fmla="*/ 253270 h 366712"/>
                  <a:gd name="connsiteX51" fmla="*/ 669607 w 895350"/>
                  <a:gd name="connsiteY51" fmla="*/ 253270 h 366712"/>
                  <a:gd name="connsiteX52" fmla="*/ 659130 w 895350"/>
                  <a:gd name="connsiteY52" fmla="*/ 275177 h 366712"/>
                  <a:gd name="connsiteX53" fmla="*/ 669607 w 895350"/>
                  <a:gd name="connsiteY53" fmla="*/ 296132 h 366712"/>
                  <a:gd name="connsiteX54" fmla="*/ 638175 w 895350"/>
                  <a:gd name="connsiteY54" fmla="*/ 313277 h 366712"/>
                  <a:gd name="connsiteX55" fmla="*/ 638175 w 895350"/>
                  <a:gd name="connsiteY55" fmla="*/ 323850 h 366712"/>
                  <a:gd name="connsiteX56" fmla="*/ 605790 w 895350"/>
                  <a:gd name="connsiteY56" fmla="*/ 341852 h 366712"/>
                  <a:gd name="connsiteX57" fmla="*/ 528638 w 895350"/>
                  <a:gd name="connsiteY57" fmla="*/ 341852 h 366712"/>
                  <a:gd name="connsiteX58" fmla="*/ 489585 w 895350"/>
                  <a:gd name="connsiteY58" fmla="*/ 366713 h 366712"/>
                  <a:gd name="connsiteX59" fmla="*/ 426720 w 895350"/>
                  <a:gd name="connsiteY59" fmla="*/ 359092 h 366712"/>
                  <a:gd name="connsiteX60" fmla="*/ 383857 w 895350"/>
                  <a:gd name="connsiteY60" fmla="*/ 338138 h 366712"/>
                  <a:gd name="connsiteX61" fmla="*/ 335280 w 895350"/>
                  <a:gd name="connsiteY61" fmla="*/ 335280 h 366712"/>
                  <a:gd name="connsiteX62" fmla="*/ 240030 w 895350"/>
                  <a:gd name="connsiteY62" fmla="*/ 331470 h 366712"/>
                  <a:gd name="connsiteX63" fmla="*/ 229553 w 895350"/>
                  <a:gd name="connsiteY63" fmla="*/ 313277 h 366712"/>
                  <a:gd name="connsiteX64" fmla="*/ 219075 w 895350"/>
                  <a:gd name="connsiteY64" fmla="*/ 292417 h 366712"/>
                  <a:gd name="connsiteX65" fmla="*/ 180023 w 895350"/>
                  <a:gd name="connsiteY65" fmla="*/ 271463 h 366712"/>
                  <a:gd name="connsiteX66" fmla="*/ 161925 w 895350"/>
                  <a:gd name="connsiteY66" fmla="*/ 253270 h 366712"/>
                  <a:gd name="connsiteX67" fmla="*/ 102870 w 895350"/>
                  <a:gd name="connsiteY67" fmla="*/ 250507 h 366712"/>
                  <a:gd name="connsiteX68" fmla="*/ 88582 w 895350"/>
                  <a:gd name="connsiteY68" fmla="*/ 242888 h 366712"/>
                  <a:gd name="connsiteX69" fmla="*/ 80963 w 895350"/>
                  <a:gd name="connsiteY69" fmla="*/ 221932 h 366712"/>
                  <a:gd name="connsiteX70" fmla="*/ 92393 w 895350"/>
                  <a:gd name="connsiteY70" fmla="*/ 207645 h 366712"/>
                  <a:gd name="connsiteX71" fmla="*/ 92393 w 895350"/>
                  <a:gd name="connsiteY71" fmla="*/ 193357 h 366712"/>
                  <a:gd name="connsiteX72" fmla="*/ 78105 w 895350"/>
                  <a:gd name="connsiteY72" fmla="*/ 172307 h 366712"/>
                  <a:gd name="connsiteX73" fmla="*/ 53340 w 895350"/>
                  <a:gd name="connsiteY73" fmla="*/ 147638 h 366712"/>
                  <a:gd name="connsiteX74" fmla="*/ 24765 w 895350"/>
                  <a:gd name="connsiteY74" fmla="*/ 144780 h 366712"/>
                  <a:gd name="connsiteX75" fmla="*/ 7620 w 895350"/>
                  <a:gd name="connsiteY75" fmla="*/ 126682 h 366712"/>
                  <a:gd name="connsiteX76" fmla="*/ 0 w 895350"/>
                  <a:gd name="connsiteY76" fmla="*/ 109538 h 36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895350" h="366712">
                    <a:moveTo>
                      <a:pt x="0" y="109538"/>
                    </a:moveTo>
                    <a:lnTo>
                      <a:pt x="14288" y="95250"/>
                    </a:lnTo>
                    <a:lnTo>
                      <a:pt x="39053" y="91345"/>
                    </a:lnTo>
                    <a:lnTo>
                      <a:pt x="53340" y="77057"/>
                    </a:lnTo>
                    <a:lnTo>
                      <a:pt x="113348" y="45720"/>
                    </a:lnTo>
                    <a:lnTo>
                      <a:pt x="140970" y="49530"/>
                    </a:lnTo>
                    <a:lnTo>
                      <a:pt x="180023" y="56102"/>
                    </a:lnTo>
                    <a:lnTo>
                      <a:pt x="197168" y="77057"/>
                    </a:lnTo>
                    <a:lnTo>
                      <a:pt x="254318" y="77057"/>
                    </a:lnTo>
                    <a:lnTo>
                      <a:pt x="267653" y="87630"/>
                    </a:lnTo>
                    <a:lnTo>
                      <a:pt x="289560" y="70390"/>
                    </a:lnTo>
                    <a:lnTo>
                      <a:pt x="292418" y="56102"/>
                    </a:lnTo>
                    <a:lnTo>
                      <a:pt x="271463" y="31432"/>
                    </a:lnTo>
                    <a:lnTo>
                      <a:pt x="296228" y="6667"/>
                    </a:lnTo>
                    <a:lnTo>
                      <a:pt x="302895" y="0"/>
                    </a:lnTo>
                    <a:lnTo>
                      <a:pt x="327660" y="3715"/>
                    </a:lnTo>
                    <a:lnTo>
                      <a:pt x="352425" y="10382"/>
                    </a:lnTo>
                    <a:lnTo>
                      <a:pt x="395288" y="24670"/>
                    </a:lnTo>
                    <a:lnTo>
                      <a:pt x="398145" y="41815"/>
                    </a:lnTo>
                    <a:lnTo>
                      <a:pt x="416243" y="62770"/>
                    </a:lnTo>
                    <a:lnTo>
                      <a:pt x="461963" y="70390"/>
                    </a:lnTo>
                    <a:lnTo>
                      <a:pt x="486728" y="56102"/>
                    </a:lnTo>
                    <a:lnTo>
                      <a:pt x="528638" y="62770"/>
                    </a:lnTo>
                    <a:lnTo>
                      <a:pt x="539115" y="74295"/>
                    </a:lnTo>
                    <a:lnTo>
                      <a:pt x="557213" y="77057"/>
                    </a:lnTo>
                    <a:lnTo>
                      <a:pt x="567690" y="91345"/>
                    </a:lnTo>
                    <a:lnTo>
                      <a:pt x="578168" y="101917"/>
                    </a:lnTo>
                    <a:lnTo>
                      <a:pt x="616268" y="105632"/>
                    </a:lnTo>
                    <a:lnTo>
                      <a:pt x="648653" y="101917"/>
                    </a:lnTo>
                    <a:lnTo>
                      <a:pt x="701040" y="91345"/>
                    </a:lnTo>
                    <a:lnTo>
                      <a:pt x="719138" y="77057"/>
                    </a:lnTo>
                    <a:lnTo>
                      <a:pt x="732473" y="66675"/>
                    </a:lnTo>
                    <a:lnTo>
                      <a:pt x="750570" y="62770"/>
                    </a:lnTo>
                    <a:lnTo>
                      <a:pt x="764857" y="74295"/>
                    </a:lnTo>
                    <a:lnTo>
                      <a:pt x="779145" y="74295"/>
                    </a:lnTo>
                    <a:lnTo>
                      <a:pt x="806768" y="77057"/>
                    </a:lnTo>
                    <a:lnTo>
                      <a:pt x="796290" y="91345"/>
                    </a:lnTo>
                    <a:lnTo>
                      <a:pt x="789623" y="105632"/>
                    </a:lnTo>
                    <a:lnTo>
                      <a:pt x="775335" y="147638"/>
                    </a:lnTo>
                    <a:lnTo>
                      <a:pt x="824865" y="151352"/>
                    </a:lnTo>
                    <a:lnTo>
                      <a:pt x="838200" y="140970"/>
                    </a:lnTo>
                    <a:lnTo>
                      <a:pt x="856298" y="144780"/>
                    </a:lnTo>
                    <a:lnTo>
                      <a:pt x="891540" y="179927"/>
                    </a:lnTo>
                    <a:lnTo>
                      <a:pt x="895350" y="197167"/>
                    </a:lnTo>
                    <a:lnTo>
                      <a:pt x="870585" y="193357"/>
                    </a:lnTo>
                    <a:lnTo>
                      <a:pt x="845820" y="193357"/>
                    </a:lnTo>
                    <a:lnTo>
                      <a:pt x="810578" y="207645"/>
                    </a:lnTo>
                    <a:lnTo>
                      <a:pt x="779145" y="232315"/>
                    </a:lnTo>
                    <a:lnTo>
                      <a:pt x="750570" y="232315"/>
                    </a:lnTo>
                    <a:lnTo>
                      <a:pt x="725805" y="257175"/>
                    </a:lnTo>
                    <a:lnTo>
                      <a:pt x="694373" y="253270"/>
                    </a:lnTo>
                    <a:lnTo>
                      <a:pt x="669607" y="253270"/>
                    </a:lnTo>
                    <a:lnTo>
                      <a:pt x="659130" y="275177"/>
                    </a:lnTo>
                    <a:lnTo>
                      <a:pt x="669607" y="296132"/>
                    </a:lnTo>
                    <a:lnTo>
                      <a:pt x="638175" y="313277"/>
                    </a:lnTo>
                    <a:lnTo>
                      <a:pt x="638175" y="323850"/>
                    </a:lnTo>
                    <a:lnTo>
                      <a:pt x="605790" y="341852"/>
                    </a:lnTo>
                    <a:lnTo>
                      <a:pt x="528638" y="341852"/>
                    </a:lnTo>
                    <a:lnTo>
                      <a:pt x="489585" y="366713"/>
                    </a:lnTo>
                    <a:lnTo>
                      <a:pt x="426720" y="359092"/>
                    </a:lnTo>
                    <a:lnTo>
                      <a:pt x="383857" y="338138"/>
                    </a:lnTo>
                    <a:lnTo>
                      <a:pt x="335280" y="335280"/>
                    </a:lnTo>
                    <a:lnTo>
                      <a:pt x="240030" y="331470"/>
                    </a:lnTo>
                    <a:lnTo>
                      <a:pt x="229553" y="313277"/>
                    </a:lnTo>
                    <a:lnTo>
                      <a:pt x="219075" y="292417"/>
                    </a:lnTo>
                    <a:lnTo>
                      <a:pt x="180023" y="271463"/>
                    </a:lnTo>
                    <a:lnTo>
                      <a:pt x="161925" y="253270"/>
                    </a:lnTo>
                    <a:lnTo>
                      <a:pt x="102870" y="250507"/>
                    </a:lnTo>
                    <a:lnTo>
                      <a:pt x="88582" y="242888"/>
                    </a:lnTo>
                    <a:lnTo>
                      <a:pt x="80963" y="221932"/>
                    </a:lnTo>
                    <a:lnTo>
                      <a:pt x="92393" y="207645"/>
                    </a:lnTo>
                    <a:lnTo>
                      <a:pt x="92393" y="193357"/>
                    </a:lnTo>
                    <a:lnTo>
                      <a:pt x="78105" y="172307"/>
                    </a:lnTo>
                    <a:lnTo>
                      <a:pt x="53340" y="147638"/>
                    </a:lnTo>
                    <a:lnTo>
                      <a:pt x="24765" y="144780"/>
                    </a:lnTo>
                    <a:lnTo>
                      <a:pt x="7620" y="126682"/>
                    </a:lnTo>
                    <a:lnTo>
                      <a:pt x="0" y="10953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3" name="Freeform: Shape 312">
                <a:extLst>
                  <a:ext uri="{FF2B5EF4-FFF2-40B4-BE49-F238E27FC236}">
                    <a16:creationId xmlns:a16="http://schemas.microsoft.com/office/drawing/2014/main" id="{0F325E80-36A4-8AFB-CACB-6DADCE15F67E}"/>
                  </a:ext>
                </a:extLst>
              </p:cNvPr>
              <p:cNvSpPr/>
              <p:nvPr/>
            </p:nvSpPr>
            <p:spPr>
              <a:xfrm>
                <a:off x="7392571" y="3818228"/>
                <a:ext cx="17740" cy="44725"/>
              </a:xfrm>
              <a:custGeom>
                <a:avLst/>
                <a:gdLst>
                  <a:gd name="connsiteX0" fmla="*/ 0 w 18097"/>
                  <a:gd name="connsiteY0" fmla="*/ 39053 h 45624"/>
                  <a:gd name="connsiteX1" fmla="*/ 0 w 18097"/>
                  <a:gd name="connsiteY1" fmla="*/ 18097 h 45624"/>
                  <a:gd name="connsiteX2" fmla="*/ 7620 w 18097"/>
                  <a:gd name="connsiteY2" fmla="*/ 0 h 45624"/>
                  <a:gd name="connsiteX3" fmla="*/ 14288 w 18097"/>
                  <a:gd name="connsiteY3" fmla="*/ 0 h 45624"/>
                  <a:gd name="connsiteX4" fmla="*/ 18098 w 18097"/>
                  <a:gd name="connsiteY4" fmla="*/ 14288 h 45624"/>
                  <a:gd name="connsiteX5" fmla="*/ 18098 w 18097"/>
                  <a:gd name="connsiteY5" fmla="*/ 24765 h 45624"/>
                  <a:gd name="connsiteX6" fmla="*/ 14288 w 18097"/>
                  <a:gd name="connsiteY6" fmla="*/ 39053 h 45624"/>
                  <a:gd name="connsiteX7" fmla="*/ 7620 w 18097"/>
                  <a:gd name="connsiteY7" fmla="*/ 45625 h 45624"/>
                  <a:gd name="connsiteX8" fmla="*/ 0 w 18097"/>
                  <a:gd name="connsiteY8" fmla="*/ 39053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097" h="45624">
                    <a:moveTo>
                      <a:pt x="0" y="39053"/>
                    </a:moveTo>
                    <a:lnTo>
                      <a:pt x="0" y="18097"/>
                    </a:lnTo>
                    <a:lnTo>
                      <a:pt x="7620" y="0"/>
                    </a:lnTo>
                    <a:lnTo>
                      <a:pt x="14288" y="0"/>
                    </a:lnTo>
                    <a:lnTo>
                      <a:pt x="18098" y="14288"/>
                    </a:lnTo>
                    <a:lnTo>
                      <a:pt x="18098" y="24765"/>
                    </a:lnTo>
                    <a:lnTo>
                      <a:pt x="14288" y="39053"/>
                    </a:lnTo>
                    <a:lnTo>
                      <a:pt x="7620" y="45625"/>
                    </a:lnTo>
                    <a:lnTo>
                      <a:pt x="0" y="3905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4" name="Freeform: Shape 313">
                <a:extLst>
                  <a:ext uri="{FF2B5EF4-FFF2-40B4-BE49-F238E27FC236}">
                    <a16:creationId xmlns:a16="http://schemas.microsoft.com/office/drawing/2014/main" id="{AF81AB5C-9E45-95C0-BB22-B10198C9EC00}"/>
                  </a:ext>
                </a:extLst>
              </p:cNvPr>
              <p:cNvSpPr/>
              <p:nvPr/>
            </p:nvSpPr>
            <p:spPr>
              <a:xfrm>
                <a:off x="6564358" y="3109432"/>
                <a:ext cx="244635" cy="155933"/>
              </a:xfrm>
              <a:custGeom>
                <a:avLst/>
                <a:gdLst>
                  <a:gd name="connsiteX0" fmla="*/ 56197 w 249554"/>
                  <a:gd name="connsiteY0" fmla="*/ 18193 h 159067"/>
                  <a:gd name="connsiteX1" fmla="*/ 80963 w 249554"/>
                  <a:gd name="connsiteY1" fmla="*/ 7715 h 159067"/>
                  <a:gd name="connsiteX2" fmla="*/ 95250 w 249554"/>
                  <a:gd name="connsiteY2" fmla="*/ 3905 h 159067"/>
                  <a:gd name="connsiteX3" fmla="*/ 116205 w 249554"/>
                  <a:gd name="connsiteY3" fmla="*/ 14288 h 159067"/>
                  <a:gd name="connsiteX4" fmla="*/ 151447 w 249554"/>
                  <a:gd name="connsiteY4" fmla="*/ 14288 h 159067"/>
                  <a:gd name="connsiteX5" fmla="*/ 158115 w 249554"/>
                  <a:gd name="connsiteY5" fmla="*/ 0 h 159067"/>
                  <a:gd name="connsiteX6" fmla="*/ 180022 w 249554"/>
                  <a:gd name="connsiteY6" fmla="*/ 0 h 159067"/>
                  <a:gd name="connsiteX7" fmla="*/ 186690 w 249554"/>
                  <a:gd name="connsiteY7" fmla="*/ 18193 h 159067"/>
                  <a:gd name="connsiteX8" fmla="*/ 190500 w 249554"/>
                  <a:gd name="connsiteY8" fmla="*/ 28575 h 159067"/>
                  <a:gd name="connsiteX9" fmla="*/ 211455 w 249554"/>
                  <a:gd name="connsiteY9" fmla="*/ 49530 h 159067"/>
                  <a:gd name="connsiteX10" fmla="*/ 215265 w 249554"/>
                  <a:gd name="connsiteY10" fmla="*/ 56293 h 159067"/>
                  <a:gd name="connsiteX11" fmla="*/ 207645 w 249554"/>
                  <a:gd name="connsiteY11" fmla="*/ 74390 h 159067"/>
                  <a:gd name="connsiteX12" fmla="*/ 211455 w 249554"/>
                  <a:gd name="connsiteY12" fmla="*/ 91535 h 159067"/>
                  <a:gd name="connsiteX13" fmla="*/ 215265 w 249554"/>
                  <a:gd name="connsiteY13" fmla="*/ 102965 h 159067"/>
                  <a:gd name="connsiteX14" fmla="*/ 232410 w 249554"/>
                  <a:gd name="connsiteY14" fmla="*/ 105823 h 159067"/>
                  <a:gd name="connsiteX15" fmla="*/ 239077 w 249554"/>
                  <a:gd name="connsiteY15" fmla="*/ 99155 h 159067"/>
                  <a:gd name="connsiteX16" fmla="*/ 249555 w 249554"/>
                  <a:gd name="connsiteY16" fmla="*/ 109538 h 159067"/>
                  <a:gd name="connsiteX17" fmla="*/ 242888 w 249554"/>
                  <a:gd name="connsiteY17" fmla="*/ 120110 h 159067"/>
                  <a:gd name="connsiteX18" fmla="*/ 228600 w 249554"/>
                  <a:gd name="connsiteY18" fmla="*/ 126778 h 159067"/>
                  <a:gd name="connsiteX19" fmla="*/ 221932 w 249554"/>
                  <a:gd name="connsiteY19" fmla="*/ 138113 h 159067"/>
                  <a:gd name="connsiteX20" fmla="*/ 218122 w 249554"/>
                  <a:gd name="connsiteY20" fmla="*/ 159067 h 159067"/>
                  <a:gd name="connsiteX21" fmla="*/ 207645 w 249554"/>
                  <a:gd name="connsiteY21" fmla="*/ 159067 h 159067"/>
                  <a:gd name="connsiteX22" fmla="*/ 186690 w 249554"/>
                  <a:gd name="connsiteY22" fmla="*/ 148685 h 159067"/>
                  <a:gd name="connsiteX23" fmla="*/ 161925 w 249554"/>
                  <a:gd name="connsiteY23" fmla="*/ 141065 h 159067"/>
                  <a:gd name="connsiteX24" fmla="*/ 147638 w 249554"/>
                  <a:gd name="connsiteY24" fmla="*/ 155353 h 159067"/>
                  <a:gd name="connsiteX25" fmla="*/ 126682 w 249554"/>
                  <a:gd name="connsiteY25" fmla="*/ 155353 h 159067"/>
                  <a:gd name="connsiteX26" fmla="*/ 77152 w 249554"/>
                  <a:gd name="connsiteY26" fmla="*/ 155353 h 159067"/>
                  <a:gd name="connsiteX27" fmla="*/ 56197 w 249554"/>
                  <a:gd name="connsiteY27" fmla="*/ 148685 h 159067"/>
                  <a:gd name="connsiteX28" fmla="*/ 56197 w 249554"/>
                  <a:gd name="connsiteY28" fmla="*/ 130492 h 159067"/>
                  <a:gd name="connsiteX29" fmla="*/ 28575 w 249554"/>
                  <a:gd name="connsiteY29" fmla="*/ 126778 h 159067"/>
                  <a:gd name="connsiteX30" fmla="*/ 14288 w 249554"/>
                  <a:gd name="connsiteY30" fmla="*/ 105823 h 159067"/>
                  <a:gd name="connsiteX31" fmla="*/ 3810 w 249554"/>
                  <a:gd name="connsiteY31" fmla="*/ 91535 h 159067"/>
                  <a:gd name="connsiteX32" fmla="*/ 0 w 249554"/>
                  <a:gd name="connsiteY32" fmla="*/ 78105 h 159067"/>
                  <a:gd name="connsiteX33" fmla="*/ 24765 w 249554"/>
                  <a:gd name="connsiteY33" fmla="*/ 53435 h 159067"/>
                  <a:gd name="connsiteX34" fmla="*/ 41910 w 249554"/>
                  <a:gd name="connsiteY34" fmla="*/ 28575 h 159067"/>
                  <a:gd name="connsiteX35" fmla="*/ 56197 w 249554"/>
                  <a:gd name="connsiteY35" fmla="*/ 18193 h 159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49554" h="159067">
                    <a:moveTo>
                      <a:pt x="56197" y="18193"/>
                    </a:moveTo>
                    <a:lnTo>
                      <a:pt x="80963" y="7715"/>
                    </a:lnTo>
                    <a:lnTo>
                      <a:pt x="95250" y="3905"/>
                    </a:lnTo>
                    <a:lnTo>
                      <a:pt x="116205" y="14288"/>
                    </a:lnTo>
                    <a:lnTo>
                      <a:pt x="151447" y="14288"/>
                    </a:lnTo>
                    <a:lnTo>
                      <a:pt x="158115" y="0"/>
                    </a:lnTo>
                    <a:lnTo>
                      <a:pt x="180022" y="0"/>
                    </a:lnTo>
                    <a:lnTo>
                      <a:pt x="186690" y="18193"/>
                    </a:lnTo>
                    <a:lnTo>
                      <a:pt x="190500" y="28575"/>
                    </a:lnTo>
                    <a:lnTo>
                      <a:pt x="211455" y="49530"/>
                    </a:lnTo>
                    <a:lnTo>
                      <a:pt x="215265" y="56293"/>
                    </a:lnTo>
                    <a:lnTo>
                      <a:pt x="207645" y="74390"/>
                    </a:lnTo>
                    <a:lnTo>
                      <a:pt x="211455" y="91535"/>
                    </a:lnTo>
                    <a:lnTo>
                      <a:pt x="215265" y="102965"/>
                    </a:lnTo>
                    <a:lnTo>
                      <a:pt x="232410" y="105823"/>
                    </a:lnTo>
                    <a:lnTo>
                      <a:pt x="239077" y="99155"/>
                    </a:lnTo>
                    <a:lnTo>
                      <a:pt x="249555" y="109538"/>
                    </a:lnTo>
                    <a:lnTo>
                      <a:pt x="242888" y="120110"/>
                    </a:lnTo>
                    <a:lnTo>
                      <a:pt x="228600" y="126778"/>
                    </a:lnTo>
                    <a:lnTo>
                      <a:pt x="221932" y="138113"/>
                    </a:lnTo>
                    <a:lnTo>
                      <a:pt x="218122" y="159067"/>
                    </a:lnTo>
                    <a:lnTo>
                      <a:pt x="207645" y="159067"/>
                    </a:lnTo>
                    <a:lnTo>
                      <a:pt x="186690" y="148685"/>
                    </a:lnTo>
                    <a:lnTo>
                      <a:pt x="161925" y="141065"/>
                    </a:lnTo>
                    <a:lnTo>
                      <a:pt x="147638" y="155353"/>
                    </a:lnTo>
                    <a:lnTo>
                      <a:pt x="126682" y="155353"/>
                    </a:lnTo>
                    <a:lnTo>
                      <a:pt x="77152" y="155353"/>
                    </a:lnTo>
                    <a:lnTo>
                      <a:pt x="56197" y="148685"/>
                    </a:lnTo>
                    <a:lnTo>
                      <a:pt x="56197" y="130492"/>
                    </a:lnTo>
                    <a:lnTo>
                      <a:pt x="28575" y="126778"/>
                    </a:lnTo>
                    <a:lnTo>
                      <a:pt x="14288" y="105823"/>
                    </a:lnTo>
                    <a:lnTo>
                      <a:pt x="3810" y="91535"/>
                    </a:lnTo>
                    <a:lnTo>
                      <a:pt x="0" y="78105"/>
                    </a:lnTo>
                    <a:lnTo>
                      <a:pt x="24765" y="53435"/>
                    </a:lnTo>
                    <a:lnTo>
                      <a:pt x="41910" y="28575"/>
                    </a:lnTo>
                    <a:lnTo>
                      <a:pt x="56197" y="1819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5" name="Freeform: Shape 314">
                <a:extLst>
                  <a:ext uri="{FF2B5EF4-FFF2-40B4-BE49-F238E27FC236}">
                    <a16:creationId xmlns:a16="http://schemas.microsoft.com/office/drawing/2014/main" id="{DDCD79FE-1761-4076-516D-EF0CC8DADB35}"/>
                  </a:ext>
                </a:extLst>
              </p:cNvPr>
              <p:cNvSpPr/>
              <p:nvPr/>
            </p:nvSpPr>
            <p:spPr>
              <a:xfrm>
                <a:off x="2840665" y="3617476"/>
                <a:ext cx="76564" cy="31747"/>
              </a:xfrm>
              <a:custGeom>
                <a:avLst/>
                <a:gdLst>
                  <a:gd name="connsiteX0" fmla="*/ 32385 w 78104"/>
                  <a:gd name="connsiteY0" fmla="*/ 11335 h 32385"/>
                  <a:gd name="connsiteX1" fmla="*/ 0 w 78104"/>
                  <a:gd name="connsiteY1" fmla="*/ 0 h 32385"/>
                  <a:gd name="connsiteX2" fmla="*/ 78105 w 78104"/>
                  <a:gd name="connsiteY2" fmla="*/ 32385 h 32385"/>
                  <a:gd name="connsiteX3" fmla="*/ 32385 w 78104"/>
                  <a:gd name="connsiteY3" fmla="*/ 11335 h 32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104" h="32385">
                    <a:moveTo>
                      <a:pt x="32385" y="11335"/>
                    </a:moveTo>
                    <a:lnTo>
                      <a:pt x="0" y="0"/>
                    </a:lnTo>
                    <a:lnTo>
                      <a:pt x="78105" y="32385"/>
                    </a:lnTo>
                    <a:lnTo>
                      <a:pt x="32385" y="1133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A0C2BECA-F2F3-8DD2-9D48-124D6C1999D8}"/>
                  </a:ext>
                </a:extLst>
              </p:cNvPr>
              <p:cNvSpPr/>
              <p:nvPr/>
            </p:nvSpPr>
            <p:spPr>
              <a:xfrm>
                <a:off x="2917231" y="3649223"/>
                <a:ext cx="120450" cy="10271"/>
              </a:xfrm>
              <a:custGeom>
                <a:avLst/>
                <a:gdLst>
                  <a:gd name="connsiteX0" fmla="*/ 108585 w 122872"/>
                  <a:gd name="connsiteY0" fmla="*/ 10477 h 10477"/>
                  <a:gd name="connsiteX1" fmla="*/ 122872 w 122872"/>
                  <a:gd name="connsiteY1" fmla="*/ 0 h 10477"/>
                  <a:gd name="connsiteX2" fmla="*/ 108585 w 122872"/>
                  <a:gd name="connsiteY2" fmla="*/ 10477 h 10477"/>
                  <a:gd name="connsiteX3" fmla="*/ 27622 w 122872"/>
                  <a:gd name="connsiteY3" fmla="*/ 10477 h 10477"/>
                  <a:gd name="connsiteX4" fmla="*/ 0 w 122872"/>
                  <a:gd name="connsiteY4" fmla="*/ 0 h 10477"/>
                  <a:gd name="connsiteX5" fmla="*/ 27622 w 122872"/>
                  <a:gd name="connsiteY5" fmla="*/ 10477 h 10477"/>
                  <a:gd name="connsiteX6" fmla="*/ 108585 w 122872"/>
                  <a:gd name="connsiteY6" fmla="*/ 10477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872" h="10477">
                    <a:moveTo>
                      <a:pt x="108585" y="10477"/>
                    </a:moveTo>
                    <a:lnTo>
                      <a:pt x="122872" y="0"/>
                    </a:lnTo>
                    <a:lnTo>
                      <a:pt x="108585" y="10477"/>
                    </a:lnTo>
                    <a:lnTo>
                      <a:pt x="27622" y="10477"/>
                    </a:lnTo>
                    <a:lnTo>
                      <a:pt x="0" y="0"/>
                    </a:lnTo>
                    <a:lnTo>
                      <a:pt x="27622" y="10477"/>
                    </a:lnTo>
                    <a:lnTo>
                      <a:pt x="108585" y="1047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8179B745-C5D0-0F75-8158-D1E0261598D7}"/>
                  </a:ext>
                </a:extLst>
              </p:cNvPr>
              <p:cNvSpPr/>
              <p:nvPr/>
            </p:nvSpPr>
            <p:spPr>
              <a:xfrm>
                <a:off x="3179607" y="3700578"/>
                <a:ext cx="13071" cy="7470"/>
              </a:xfrm>
              <a:custGeom>
                <a:avLst/>
                <a:gdLst>
                  <a:gd name="connsiteX0" fmla="*/ 13335 w 13334"/>
                  <a:gd name="connsiteY0" fmla="*/ 0 h 7620"/>
                  <a:gd name="connsiteX1" fmla="*/ 0 w 13334"/>
                  <a:gd name="connsiteY1" fmla="*/ 7620 h 7620"/>
                  <a:gd name="connsiteX2" fmla="*/ 13335 w 13334"/>
                  <a:gd name="connsiteY2" fmla="*/ 0 h 7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34" h="7620">
                    <a:moveTo>
                      <a:pt x="13335" y="0"/>
                    </a:moveTo>
                    <a:lnTo>
                      <a:pt x="0" y="7620"/>
                    </a:lnTo>
                    <a:lnTo>
                      <a:pt x="1333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C062BC88-CB25-867A-C98A-BEC78F11B976}"/>
                  </a:ext>
                </a:extLst>
              </p:cNvPr>
              <p:cNvSpPr/>
              <p:nvPr/>
            </p:nvSpPr>
            <p:spPr>
              <a:xfrm>
                <a:off x="6609177" y="2280371"/>
                <a:ext cx="72830" cy="6443"/>
              </a:xfrm>
              <a:custGeom>
                <a:avLst/>
                <a:gdLst>
                  <a:gd name="connsiteX0" fmla="*/ 0 w 74294"/>
                  <a:gd name="connsiteY0" fmla="*/ 0 h 6572"/>
                  <a:gd name="connsiteX1" fmla="*/ 74295 w 74294"/>
                  <a:gd name="connsiteY1" fmla="*/ 6572 h 6572"/>
                  <a:gd name="connsiteX2" fmla="*/ 49530 w 74294"/>
                  <a:gd name="connsiteY2" fmla="*/ 2762 h 6572"/>
                  <a:gd name="connsiteX3" fmla="*/ 0 w 74294"/>
                  <a:gd name="connsiteY3" fmla="*/ 0 h 6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294" h="6572">
                    <a:moveTo>
                      <a:pt x="0" y="0"/>
                    </a:moveTo>
                    <a:lnTo>
                      <a:pt x="74295" y="6572"/>
                    </a:lnTo>
                    <a:lnTo>
                      <a:pt x="49530" y="276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9" name="Freeform: Shape 318">
                <a:extLst>
                  <a:ext uri="{FF2B5EF4-FFF2-40B4-BE49-F238E27FC236}">
                    <a16:creationId xmlns:a16="http://schemas.microsoft.com/office/drawing/2014/main" id="{77E65E6D-965F-A868-16D5-80D9A444F26C}"/>
                  </a:ext>
                </a:extLst>
              </p:cNvPr>
              <p:cNvSpPr/>
              <p:nvPr/>
            </p:nvSpPr>
            <p:spPr>
              <a:xfrm>
                <a:off x="6639989" y="2356004"/>
                <a:ext cx="20542" cy="58825"/>
              </a:xfrm>
              <a:custGeom>
                <a:avLst/>
                <a:gdLst>
                  <a:gd name="connsiteX0" fmla="*/ 14288 w 20955"/>
                  <a:gd name="connsiteY0" fmla="*/ 7620 h 60007"/>
                  <a:gd name="connsiteX1" fmla="*/ 0 w 20955"/>
                  <a:gd name="connsiteY1" fmla="*/ 0 h 60007"/>
                  <a:gd name="connsiteX2" fmla="*/ 14288 w 20955"/>
                  <a:gd name="connsiteY2" fmla="*/ 7620 h 60007"/>
                  <a:gd name="connsiteX3" fmla="*/ 3810 w 20955"/>
                  <a:gd name="connsiteY3" fmla="*/ 35147 h 60007"/>
                  <a:gd name="connsiteX4" fmla="*/ 20955 w 20955"/>
                  <a:gd name="connsiteY4" fmla="*/ 60007 h 60007"/>
                  <a:gd name="connsiteX5" fmla="*/ 3810 w 20955"/>
                  <a:gd name="connsiteY5" fmla="*/ 35147 h 60007"/>
                  <a:gd name="connsiteX6" fmla="*/ 14288 w 20955"/>
                  <a:gd name="connsiteY6" fmla="*/ 7620 h 60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55" h="60007">
                    <a:moveTo>
                      <a:pt x="14288" y="7620"/>
                    </a:moveTo>
                    <a:lnTo>
                      <a:pt x="0" y="0"/>
                    </a:lnTo>
                    <a:lnTo>
                      <a:pt x="14288" y="7620"/>
                    </a:lnTo>
                    <a:lnTo>
                      <a:pt x="3810" y="35147"/>
                    </a:lnTo>
                    <a:lnTo>
                      <a:pt x="20955" y="60007"/>
                    </a:lnTo>
                    <a:lnTo>
                      <a:pt x="3810" y="35147"/>
                    </a:lnTo>
                    <a:lnTo>
                      <a:pt x="14288" y="762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0" name="Freeform: Shape 319">
                <a:extLst>
                  <a:ext uri="{FF2B5EF4-FFF2-40B4-BE49-F238E27FC236}">
                    <a16:creationId xmlns:a16="http://schemas.microsoft.com/office/drawing/2014/main" id="{9DB459D7-3A83-71F4-4CB6-E8174D9C0397}"/>
                  </a:ext>
                </a:extLst>
              </p:cNvPr>
              <p:cNvSpPr/>
              <p:nvPr/>
            </p:nvSpPr>
            <p:spPr>
              <a:xfrm>
                <a:off x="6584899" y="2252359"/>
                <a:ext cx="24277" cy="28012"/>
              </a:xfrm>
              <a:custGeom>
                <a:avLst/>
                <a:gdLst>
                  <a:gd name="connsiteX0" fmla="*/ 0 w 24765"/>
                  <a:gd name="connsiteY0" fmla="*/ 0 h 28575"/>
                  <a:gd name="connsiteX1" fmla="*/ 24765 w 24765"/>
                  <a:gd name="connsiteY1" fmla="*/ 28575 h 28575"/>
                  <a:gd name="connsiteX2" fmla="*/ 10478 w 24765"/>
                  <a:gd name="connsiteY2" fmla="*/ 10477 h 28575"/>
                  <a:gd name="connsiteX3" fmla="*/ 0 w 24765"/>
                  <a:gd name="connsiteY3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5" h="28575">
                    <a:moveTo>
                      <a:pt x="0" y="0"/>
                    </a:moveTo>
                    <a:lnTo>
                      <a:pt x="24765" y="28575"/>
                    </a:lnTo>
                    <a:lnTo>
                      <a:pt x="10478" y="104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1" name="Freeform: Shape 320">
                <a:extLst>
                  <a:ext uri="{FF2B5EF4-FFF2-40B4-BE49-F238E27FC236}">
                    <a16:creationId xmlns:a16="http://schemas.microsoft.com/office/drawing/2014/main" id="{3E3DE00B-D606-6981-6BCE-0A6094493993}"/>
                  </a:ext>
                </a:extLst>
              </p:cNvPr>
              <p:cNvSpPr/>
              <p:nvPr/>
            </p:nvSpPr>
            <p:spPr>
              <a:xfrm>
                <a:off x="4066645" y="3171993"/>
                <a:ext cx="6536" cy="27171"/>
              </a:xfrm>
              <a:custGeom>
                <a:avLst/>
                <a:gdLst>
                  <a:gd name="connsiteX0" fmla="*/ 0 w 6667"/>
                  <a:gd name="connsiteY0" fmla="*/ 27718 h 27717"/>
                  <a:gd name="connsiteX1" fmla="*/ 6668 w 6667"/>
                  <a:gd name="connsiteY1" fmla="*/ 0 h 27717"/>
                  <a:gd name="connsiteX2" fmla="*/ 0 w 6667"/>
                  <a:gd name="connsiteY2" fmla="*/ 17145 h 27717"/>
                  <a:gd name="connsiteX3" fmla="*/ 0 w 6667"/>
                  <a:gd name="connsiteY3" fmla="*/ 27718 h 2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7" h="27717">
                    <a:moveTo>
                      <a:pt x="0" y="27718"/>
                    </a:moveTo>
                    <a:lnTo>
                      <a:pt x="6668" y="0"/>
                    </a:lnTo>
                    <a:lnTo>
                      <a:pt x="0" y="17145"/>
                    </a:lnTo>
                    <a:lnTo>
                      <a:pt x="0" y="2771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51844549-1EFC-DB0B-29FD-EBE2AEDBF094}"/>
                  </a:ext>
                </a:extLst>
              </p:cNvPr>
              <p:cNvSpPr/>
              <p:nvPr/>
            </p:nvSpPr>
            <p:spPr>
              <a:xfrm>
                <a:off x="2388743" y="2794858"/>
                <a:ext cx="20541" cy="14005"/>
              </a:xfrm>
              <a:custGeom>
                <a:avLst/>
                <a:gdLst>
                  <a:gd name="connsiteX0" fmla="*/ 6667 w 20954"/>
                  <a:gd name="connsiteY0" fmla="*/ 3715 h 14287"/>
                  <a:gd name="connsiteX1" fmla="*/ 0 w 20954"/>
                  <a:gd name="connsiteY1" fmla="*/ 0 h 14287"/>
                  <a:gd name="connsiteX2" fmla="*/ 20955 w 20954"/>
                  <a:gd name="connsiteY2" fmla="*/ 14288 h 14287"/>
                  <a:gd name="connsiteX3" fmla="*/ 6667 w 20954"/>
                  <a:gd name="connsiteY3" fmla="*/ 3715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4" h="14287">
                    <a:moveTo>
                      <a:pt x="6667" y="3715"/>
                    </a:moveTo>
                    <a:lnTo>
                      <a:pt x="0" y="0"/>
                    </a:lnTo>
                    <a:lnTo>
                      <a:pt x="20955" y="14288"/>
                    </a:lnTo>
                    <a:lnTo>
                      <a:pt x="6667" y="3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8C879D75-48F0-AEF2-948F-910BD00A13ED}"/>
                  </a:ext>
                </a:extLst>
              </p:cNvPr>
              <p:cNvSpPr/>
              <p:nvPr/>
            </p:nvSpPr>
            <p:spPr>
              <a:xfrm>
                <a:off x="6706283" y="2235459"/>
                <a:ext cx="6536" cy="16900"/>
              </a:xfrm>
              <a:custGeom>
                <a:avLst/>
                <a:gdLst>
                  <a:gd name="connsiteX0" fmla="*/ 0 w 6667"/>
                  <a:gd name="connsiteY0" fmla="*/ 17240 h 17240"/>
                  <a:gd name="connsiteX1" fmla="*/ 6668 w 6667"/>
                  <a:gd name="connsiteY1" fmla="*/ 0 h 17240"/>
                  <a:gd name="connsiteX2" fmla="*/ 2858 w 6667"/>
                  <a:gd name="connsiteY2" fmla="*/ 2953 h 17240"/>
                  <a:gd name="connsiteX3" fmla="*/ 0 w 6667"/>
                  <a:gd name="connsiteY3" fmla="*/ 17240 h 1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7" h="17240">
                    <a:moveTo>
                      <a:pt x="0" y="17240"/>
                    </a:moveTo>
                    <a:lnTo>
                      <a:pt x="6668" y="0"/>
                    </a:lnTo>
                    <a:lnTo>
                      <a:pt x="2858" y="2953"/>
                    </a:lnTo>
                    <a:lnTo>
                      <a:pt x="0" y="1724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0DE7C1CD-D74F-9EE6-65D2-DC3BFFFEB875}"/>
                  </a:ext>
                </a:extLst>
              </p:cNvPr>
              <p:cNvSpPr/>
              <p:nvPr/>
            </p:nvSpPr>
            <p:spPr>
              <a:xfrm>
                <a:off x="6574629" y="2252359"/>
                <a:ext cx="10270" cy="8403"/>
              </a:xfrm>
              <a:custGeom>
                <a:avLst/>
                <a:gdLst>
                  <a:gd name="connsiteX0" fmla="*/ 0 w 10477"/>
                  <a:gd name="connsiteY0" fmla="*/ 8572 h 8572"/>
                  <a:gd name="connsiteX1" fmla="*/ 10477 w 10477"/>
                  <a:gd name="connsiteY1" fmla="*/ 0 h 8572"/>
                  <a:gd name="connsiteX2" fmla="*/ 10477 w 10477"/>
                  <a:gd name="connsiteY2" fmla="*/ 0 h 8572"/>
                  <a:gd name="connsiteX3" fmla="*/ 0 w 10477"/>
                  <a:gd name="connsiteY3" fmla="*/ 8572 h 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" h="8572">
                    <a:moveTo>
                      <a:pt x="0" y="8572"/>
                    </a:moveTo>
                    <a:lnTo>
                      <a:pt x="10477" y="0"/>
                    </a:lnTo>
                    <a:lnTo>
                      <a:pt x="10477" y="0"/>
                    </a:lnTo>
                    <a:lnTo>
                      <a:pt x="0" y="857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5" name="Freeform: Shape 324">
                <a:extLst>
                  <a:ext uri="{FF2B5EF4-FFF2-40B4-BE49-F238E27FC236}">
                    <a16:creationId xmlns:a16="http://schemas.microsoft.com/office/drawing/2014/main" id="{03807D6C-22C7-89B0-9D81-5B2EC82E8053}"/>
                  </a:ext>
                </a:extLst>
              </p:cNvPr>
              <p:cNvSpPr/>
              <p:nvPr/>
            </p:nvSpPr>
            <p:spPr>
              <a:xfrm>
                <a:off x="6159121" y="3044071"/>
                <a:ext cx="20542" cy="27171"/>
              </a:xfrm>
              <a:custGeom>
                <a:avLst/>
                <a:gdLst>
                  <a:gd name="connsiteX0" fmla="*/ 13335 w 20955"/>
                  <a:gd name="connsiteY0" fmla="*/ 6667 h 27717"/>
                  <a:gd name="connsiteX1" fmla="*/ 10478 w 20955"/>
                  <a:gd name="connsiteY1" fmla="*/ 0 h 27717"/>
                  <a:gd name="connsiteX2" fmla="*/ 0 w 20955"/>
                  <a:gd name="connsiteY2" fmla="*/ 0 h 27717"/>
                  <a:gd name="connsiteX3" fmla="*/ 0 w 20955"/>
                  <a:gd name="connsiteY3" fmla="*/ 20955 h 27717"/>
                  <a:gd name="connsiteX4" fmla="*/ 10478 w 20955"/>
                  <a:gd name="connsiteY4" fmla="*/ 20955 h 27717"/>
                  <a:gd name="connsiteX5" fmla="*/ 20955 w 20955"/>
                  <a:gd name="connsiteY5" fmla="*/ 27718 h 27717"/>
                  <a:gd name="connsiteX6" fmla="*/ 10478 w 20955"/>
                  <a:gd name="connsiteY6" fmla="*/ 20955 h 27717"/>
                  <a:gd name="connsiteX7" fmla="*/ 13335 w 20955"/>
                  <a:gd name="connsiteY7" fmla="*/ 6667 h 2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955" h="27717">
                    <a:moveTo>
                      <a:pt x="13335" y="6667"/>
                    </a:moveTo>
                    <a:lnTo>
                      <a:pt x="10478" y="0"/>
                    </a:lnTo>
                    <a:lnTo>
                      <a:pt x="0" y="0"/>
                    </a:lnTo>
                    <a:lnTo>
                      <a:pt x="0" y="20955"/>
                    </a:lnTo>
                    <a:lnTo>
                      <a:pt x="10478" y="20955"/>
                    </a:lnTo>
                    <a:lnTo>
                      <a:pt x="20955" y="27718"/>
                    </a:lnTo>
                    <a:lnTo>
                      <a:pt x="10478" y="20955"/>
                    </a:lnTo>
                    <a:lnTo>
                      <a:pt x="13335" y="666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6" name="Freeform: Shape 325">
                <a:extLst>
                  <a:ext uri="{FF2B5EF4-FFF2-40B4-BE49-F238E27FC236}">
                    <a16:creationId xmlns:a16="http://schemas.microsoft.com/office/drawing/2014/main" id="{311FA25C-64CB-3373-FD03-2268CE953606}"/>
                  </a:ext>
                </a:extLst>
              </p:cNvPr>
              <p:cNvSpPr/>
              <p:nvPr/>
            </p:nvSpPr>
            <p:spPr>
              <a:xfrm>
                <a:off x="6806192" y="2453019"/>
                <a:ext cx="30812" cy="41177"/>
              </a:xfrm>
              <a:custGeom>
                <a:avLst/>
                <a:gdLst>
                  <a:gd name="connsiteX0" fmla="*/ 31432 w 31432"/>
                  <a:gd name="connsiteY0" fmla="*/ 42005 h 42005"/>
                  <a:gd name="connsiteX1" fmla="*/ 17145 w 31432"/>
                  <a:gd name="connsiteY1" fmla="*/ 17145 h 42005"/>
                  <a:gd name="connsiteX2" fmla="*/ 0 w 31432"/>
                  <a:gd name="connsiteY2" fmla="*/ 0 h 42005"/>
                  <a:gd name="connsiteX3" fmla="*/ 17145 w 31432"/>
                  <a:gd name="connsiteY3" fmla="*/ 17145 h 42005"/>
                  <a:gd name="connsiteX4" fmla="*/ 31432 w 31432"/>
                  <a:gd name="connsiteY4" fmla="*/ 42005 h 42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432" h="42005">
                    <a:moveTo>
                      <a:pt x="31432" y="42005"/>
                    </a:moveTo>
                    <a:lnTo>
                      <a:pt x="17145" y="17145"/>
                    </a:lnTo>
                    <a:lnTo>
                      <a:pt x="0" y="0"/>
                    </a:lnTo>
                    <a:lnTo>
                      <a:pt x="17145" y="17145"/>
                    </a:lnTo>
                    <a:lnTo>
                      <a:pt x="31432" y="4200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7" name="Freeform: Shape 326">
                <a:extLst>
                  <a:ext uri="{FF2B5EF4-FFF2-40B4-BE49-F238E27FC236}">
                    <a16:creationId xmlns:a16="http://schemas.microsoft.com/office/drawing/2014/main" id="{EECADA45-75CD-5A4E-27EA-66D25CDBB8E2}"/>
                  </a:ext>
                </a:extLst>
              </p:cNvPr>
              <p:cNvSpPr/>
              <p:nvPr/>
            </p:nvSpPr>
            <p:spPr>
              <a:xfrm>
                <a:off x="6626917" y="2297085"/>
                <a:ext cx="16807" cy="24370"/>
              </a:xfrm>
              <a:custGeom>
                <a:avLst/>
                <a:gdLst>
                  <a:gd name="connsiteX0" fmla="*/ 17145 w 17145"/>
                  <a:gd name="connsiteY0" fmla="*/ 24860 h 24860"/>
                  <a:gd name="connsiteX1" fmla="*/ 17145 w 17145"/>
                  <a:gd name="connsiteY1" fmla="*/ 24860 h 24860"/>
                  <a:gd name="connsiteX2" fmla="*/ 0 w 17145"/>
                  <a:gd name="connsiteY2" fmla="*/ 0 h 24860"/>
                  <a:gd name="connsiteX3" fmla="*/ 17145 w 17145"/>
                  <a:gd name="connsiteY3" fmla="*/ 24860 h 2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5" h="24860">
                    <a:moveTo>
                      <a:pt x="17145" y="24860"/>
                    </a:moveTo>
                    <a:lnTo>
                      <a:pt x="17145" y="24860"/>
                    </a:lnTo>
                    <a:lnTo>
                      <a:pt x="0" y="0"/>
                    </a:lnTo>
                    <a:lnTo>
                      <a:pt x="17145" y="2486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8" name="Freeform: Shape 327">
                <a:extLst>
                  <a:ext uri="{FF2B5EF4-FFF2-40B4-BE49-F238E27FC236}">
                    <a16:creationId xmlns:a16="http://schemas.microsoft.com/office/drawing/2014/main" id="{A34C9B0D-8580-11FA-23D8-013C5758B01F}"/>
                  </a:ext>
                </a:extLst>
              </p:cNvPr>
              <p:cNvSpPr/>
              <p:nvPr/>
            </p:nvSpPr>
            <p:spPr>
              <a:xfrm>
                <a:off x="6401889" y="2954526"/>
                <a:ext cx="3735" cy="41084"/>
              </a:xfrm>
              <a:custGeom>
                <a:avLst/>
                <a:gdLst>
                  <a:gd name="connsiteX0" fmla="*/ 0 w 3810"/>
                  <a:gd name="connsiteY0" fmla="*/ 17050 h 41910"/>
                  <a:gd name="connsiteX1" fmla="*/ 3810 w 3810"/>
                  <a:gd name="connsiteY1" fmla="*/ 41910 h 41910"/>
                  <a:gd name="connsiteX2" fmla="*/ 3810 w 3810"/>
                  <a:gd name="connsiteY2" fmla="*/ 0 h 41910"/>
                  <a:gd name="connsiteX3" fmla="*/ 0 w 3810"/>
                  <a:gd name="connsiteY3" fmla="*/ 17050 h 41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" h="41910">
                    <a:moveTo>
                      <a:pt x="0" y="17050"/>
                    </a:moveTo>
                    <a:lnTo>
                      <a:pt x="3810" y="41910"/>
                    </a:lnTo>
                    <a:lnTo>
                      <a:pt x="3810" y="0"/>
                    </a:lnTo>
                    <a:lnTo>
                      <a:pt x="0" y="170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9" name="Freeform: Shape 328">
                <a:extLst>
                  <a:ext uri="{FF2B5EF4-FFF2-40B4-BE49-F238E27FC236}">
                    <a16:creationId xmlns:a16="http://schemas.microsoft.com/office/drawing/2014/main" id="{C4EEF634-00AC-333D-F4D6-959FB1A53D45}"/>
                  </a:ext>
                </a:extLst>
              </p:cNvPr>
              <p:cNvSpPr/>
              <p:nvPr/>
            </p:nvSpPr>
            <p:spPr>
              <a:xfrm>
                <a:off x="6806192" y="2418471"/>
                <a:ext cx="14005" cy="34548"/>
              </a:xfrm>
              <a:custGeom>
                <a:avLst/>
                <a:gdLst>
                  <a:gd name="connsiteX0" fmla="*/ 14288 w 14287"/>
                  <a:gd name="connsiteY0" fmla="*/ 0 h 35242"/>
                  <a:gd name="connsiteX1" fmla="*/ 14288 w 14287"/>
                  <a:gd name="connsiteY1" fmla="*/ 0 h 35242"/>
                  <a:gd name="connsiteX2" fmla="*/ 0 w 14287"/>
                  <a:gd name="connsiteY2" fmla="*/ 35243 h 35242"/>
                  <a:gd name="connsiteX3" fmla="*/ 14288 w 14287"/>
                  <a:gd name="connsiteY3" fmla="*/ 0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" h="35242">
                    <a:moveTo>
                      <a:pt x="14288" y="0"/>
                    </a:moveTo>
                    <a:lnTo>
                      <a:pt x="14288" y="0"/>
                    </a:lnTo>
                    <a:lnTo>
                      <a:pt x="0" y="35243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:a16="http://schemas.microsoft.com/office/drawing/2014/main" id="{2FCA4FED-1B69-23D3-C50A-6F97CF3D9280}"/>
                  </a:ext>
                </a:extLst>
              </p:cNvPr>
              <p:cNvSpPr/>
              <p:nvPr/>
            </p:nvSpPr>
            <p:spPr>
              <a:xfrm>
                <a:off x="6175928" y="2971240"/>
                <a:ext cx="10270" cy="7470"/>
              </a:xfrm>
              <a:custGeom>
                <a:avLst/>
                <a:gdLst>
                  <a:gd name="connsiteX0" fmla="*/ 10478 w 10477"/>
                  <a:gd name="connsiteY0" fmla="*/ 0 h 7620"/>
                  <a:gd name="connsiteX1" fmla="*/ 0 w 10477"/>
                  <a:gd name="connsiteY1" fmla="*/ 7620 h 7620"/>
                  <a:gd name="connsiteX2" fmla="*/ 10478 w 10477"/>
                  <a:gd name="connsiteY2" fmla="*/ 0 h 7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" h="7620">
                    <a:moveTo>
                      <a:pt x="10478" y="0"/>
                    </a:moveTo>
                    <a:lnTo>
                      <a:pt x="0" y="7620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1" name="Freeform: Shape 330">
                <a:extLst>
                  <a:ext uri="{FF2B5EF4-FFF2-40B4-BE49-F238E27FC236}">
                    <a16:creationId xmlns:a16="http://schemas.microsoft.com/office/drawing/2014/main" id="{63952508-24AC-3FBB-7BFE-D4BEDB5FCE26}"/>
                  </a:ext>
                </a:extLst>
              </p:cNvPr>
              <p:cNvSpPr/>
              <p:nvPr/>
            </p:nvSpPr>
            <p:spPr>
              <a:xfrm>
                <a:off x="6241288" y="3185998"/>
                <a:ext cx="7469" cy="2801"/>
              </a:xfrm>
              <a:custGeom>
                <a:avLst/>
                <a:gdLst>
                  <a:gd name="connsiteX0" fmla="*/ 0 w 7619"/>
                  <a:gd name="connsiteY0" fmla="*/ 2858 h 2857"/>
                  <a:gd name="connsiteX1" fmla="*/ 7620 w 7619"/>
                  <a:gd name="connsiteY1" fmla="*/ 0 h 2857"/>
                  <a:gd name="connsiteX2" fmla="*/ 0 w 7619"/>
                  <a:gd name="connsiteY2" fmla="*/ 2858 h 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19" h="2857">
                    <a:moveTo>
                      <a:pt x="0" y="2858"/>
                    </a:moveTo>
                    <a:lnTo>
                      <a:pt x="7620" y="0"/>
                    </a:lnTo>
                    <a:lnTo>
                      <a:pt x="0" y="285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2" name="Freeform: Shape 331">
                <a:extLst>
                  <a:ext uri="{FF2B5EF4-FFF2-40B4-BE49-F238E27FC236}">
                    <a16:creationId xmlns:a16="http://schemas.microsoft.com/office/drawing/2014/main" id="{7D6F5FEF-4855-5696-23E3-3A1E0CC0C5DF}"/>
                  </a:ext>
                </a:extLst>
              </p:cNvPr>
              <p:cNvSpPr/>
              <p:nvPr/>
            </p:nvSpPr>
            <p:spPr>
              <a:xfrm>
                <a:off x="6155387" y="3005882"/>
                <a:ext cx="16806" cy="28012"/>
              </a:xfrm>
              <a:custGeom>
                <a:avLst/>
                <a:gdLst>
                  <a:gd name="connsiteX0" fmla="*/ 0 w 17144"/>
                  <a:gd name="connsiteY0" fmla="*/ 0 h 28575"/>
                  <a:gd name="connsiteX1" fmla="*/ 0 w 17144"/>
                  <a:gd name="connsiteY1" fmla="*/ 0 h 28575"/>
                  <a:gd name="connsiteX2" fmla="*/ 0 w 17144"/>
                  <a:gd name="connsiteY2" fmla="*/ 0 h 28575"/>
                  <a:gd name="connsiteX3" fmla="*/ 10478 w 17144"/>
                  <a:gd name="connsiteY3" fmla="*/ 14288 h 28575"/>
                  <a:gd name="connsiteX4" fmla="*/ 17145 w 17144"/>
                  <a:gd name="connsiteY4" fmla="*/ 28575 h 28575"/>
                  <a:gd name="connsiteX5" fmla="*/ 10478 w 17144"/>
                  <a:gd name="connsiteY5" fmla="*/ 10382 h 28575"/>
                  <a:gd name="connsiteX6" fmla="*/ 0 w 17144"/>
                  <a:gd name="connsiteY6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44" h="2857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478" y="14288"/>
                    </a:lnTo>
                    <a:lnTo>
                      <a:pt x="17145" y="28575"/>
                    </a:lnTo>
                    <a:lnTo>
                      <a:pt x="10478" y="103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3" name="Freeform: Shape 332">
                <a:extLst>
                  <a:ext uri="{FF2B5EF4-FFF2-40B4-BE49-F238E27FC236}">
                    <a16:creationId xmlns:a16="http://schemas.microsoft.com/office/drawing/2014/main" id="{5B91A6D4-C498-B175-7DF4-0F792244D474}"/>
                  </a:ext>
                </a:extLst>
              </p:cNvPr>
              <p:cNvSpPr/>
              <p:nvPr/>
            </p:nvSpPr>
            <p:spPr>
              <a:xfrm>
                <a:off x="6203939" y="3085248"/>
                <a:ext cx="16806" cy="34548"/>
              </a:xfrm>
              <a:custGeom>
                <a:avLst/>
                <a:gdLst>
                  <a:gd name="connsiteX0" fmla="*/ 6668 w 17144"/>
                  <a:gd name="connsiteY0" fmla="*/ 20955 h 35242"/>
                  <a:gd name="connsiteX1" fmla="*/ 0 w 17144"/>
                  <a:gd name="connsiteY1" fmla="*/ 35243 h 35242"/>
                  <a:gd name="connsiteX2" fmla="*/ 17145 w 17144"/>
                  <a:gd name="connsiteY2" fmla="*/ 0 h 35242"/>
                  <a:gd name="connsiteX3" fmla="*/ 6668 w 17144"/>
                  <a:gd name="connsiteY3" fmla="*/ 20955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4" h="35242">
                    <a:moveTo>
                      <a:pt x="6668" y="20955"/>
                    </a:moveTo>
                    <a:lnTo>
                      <a:pt x="0" y="35243"/>
                    </a:lnTo>
                    <a:lnTo>
                      <a:pt x="17145" y="0"/>
                    </a:lnTo>
                    <a:lnTo>
                      <a:pt x="6668" y="2095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4" name="Freeform: Shape 333">
                <a:extLst>
                  <a:ext uri="{FF2B5EF4-FFF2-40B4-BE49-F238E27FC236}">
                    <a16:creationId xmlns:a16="http://schemas.microsoft.com/office/drawing/2014/main" id="{1C7C481F-9E32-3F87-50C3-C305176F9BED}"/>
                  </a:ext>
                </a:extLst>
              </p:cNvPr>
              <p:cNvSpPr/>
              <p:nvPr/>
            </p:nvSpPr>
            <p:spPr>
              <a:xfrm>
                <a:off x="6329993" y="2487660"/>
                <a:ext cx="55089" cy="16713"/>
              </a:xfrm>
              <a:custGeom>
                <a:avLst/>
                <a:gdLst>
                  <a:gd name="connsiteX0" fmla="*/ 27623 w 56197"/>
                  <a:gd name="connsiteY0" fmla="*/ 10382 h 17049"/>
                  <a:gd name="connsiteX1" fmla="*/ 56198 w 56197"/>
                  <a:gd name="connsiteY1" fmla="*/ 0 h 17049"/>
                  <a:gd name="connsiteX2" fmla="*/ 0 w 56197"/>
                  <a:gd name="connsiteY2" fmla="*/ 17050 h 17049"/>
                  <a:gd name="connsiteX3" fmla="*/ 27623 w 56197"/>
                  <a:gd name="connsiteY3" fmla="*/ 10382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197" h="17049">
                    <a:moveTo>
                      <a:pt x="27623" y="10382"/>
                    </a:moveTo>
                    <a:lnTo>
                      <a:pt x="56198" y="0"/>
                    </a:lnTo>
                    <a:lnTo>
                      <a:pt x="0" y="17050"/>
                    </a:lnTo>
                    <a:lnTo>
                      <a:pt x="27623" y="103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5" name="Freeform: Shape 334">
                <a:extLst>
                  <a:ext uri="{FF2B5EF4-FFF2-40B4-BE49-F238E27FC236}">
                    <a16:creationId xmlns:a16="http://schemas.microsoft.com/office/drawing/2014/main" id="{D25F6445-23CF-E332-F9ED-F84B4E873AF4}"/>
                  </a:ext>
                </a:extLst>
              </p:cNvPr>
              <p:cNvSpPr/>
              <p:nvPr/>
            </p:nvSpPr>
            <p:spPr>
              <a:xfrm>
                <a:off x="3710896" y="3293378"/>
                <a:ext cx="120450" cy="44819"/>
              </a:xfrm>
              <a:custGeom>
                <a:avLst/>
                <a:gdLst>
                  <a:gd name="connsiteX0" fmla="*/ 63817 w 122872"/>
                  <a:gd name="connsiteY0" fmla="*/ 10573 h 45720"/>
                  <a:gd name="connsiteX1" fmla="*/ 49530 w 122872"/>
                  <a:gd name="connsiteY1" fmla="*/ 13430 h 45720"/>
                  <a:gd name="connsiteX2" fmla="*/ 35242 w 122872"/>
                  <a:gd name="connsiteY2" fmla="*/ 23813 h 45720"/>
                  <a:gd name="connsiteX3" fmla="*/ 20955 w 122872"/>
                  <a:gd name="connsiteY3" fmla="*/ 31433 h 45720"/>
                  <a:gd name="connsiteX4" fmla="*/ 14288 w 122872"/>
                  <a:gd name="connsiteY4" fmla="*/ 27718 h 45720"/>
                  <a:gd name="connsiteX5" fmla="*/ 14288 w 122872"/>
                  <a:gd name="connsiteY5" fmla="*/ 13430 h 45720"/>
                  <a:gd name="connsiteX6" fmla="*/ 6667 w 122872"/>
                  <a:gd name="connsiteY6" fmla="*/ 21050 h 45720"/>
                  <a:gd name="connsiteX7" fmla="*/ 0 w 122872"/>
                  <a:gd name="connsiteY7" fmla="*/ 34385 h 45720"/>
                  <a:gd name="connsiteX8" fmla="*/ 14288 w 122872"/>
                  <a:gd name="connsiteY8" fmla="*/ 45720 h 45720"/>
                  <a:gd name="connsiteX9" fmla="*/ 45720 w 122872"/>
                  <a:gd name="connsiteY9" fmla="*/ 45720 h 45720"/>
                  <a:gd name="connsiteX10" fmla="*/ 66675 w 122872"/>
                  <a:gd name="connsiteY10" fmla="*/ 34385 h 45720"/>
                  <a:gd name="connsiteX11" fmla="*/ 87630 w 122872"/>
                  <a:gd name="connsiteY11" fmla="*/ 27718 h 45720"/>
                  <a:gd name="connsiteX12" fmla="*/ 109537 w 122872"/>
                  <a:gd name="connsiteY12" fmla="*/ 17145 h 45720"/>
                  <a:gd name="connsiteX13" fmla="*/ 120015 w 122872"/>
                  <a:gd name="connsiteY13" fmla="*/ 13430 h 45720"/>
                  <a:gd name="connsiteX14" fmla="*/ 122873 w 122872"/>
                  <a:gd name="connsiteY14" fmla="*/ 2858 h 45720"/>
                  <a:gd name="connsiteX15" fmla="*/ 121920 w 122872"/>
                  <a:gd name="connsiteY15" fmla="*/ 0 h 45720"/>
                  <a:gd name="connsiteX16" fmla="*/ 91440 w 122872"/>
                  <a:gd name="connsiteY16" fmla="*/ 2858 h 45720"/>
                  <a:gd name="connsiteX17" fmla="*/ 63817 w 122872"/>
                  <a:gd name="connsiteY17" fmla="*/ 10573 h 45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2872" h="45720">
                    <a:moveTo>
                      <a:pt x="63817" y="10573"/>
                    </a:moveTo>
                    <a:lnTo>
                      <a:pt x="49530" y="13430"/>
                    </a:lnTo>
                    <a:lnTo>
                      <a:pt x="35242" y="23813"/>
                    </a:lnTo>
                    <a:lnTo>
                      <a:pt x="20955" y="31433"/>
                    </a:lnTo>
                    <a:lnTo>
                      <a:pt x="14288" y="27718"/>
                    </a:lnTo>
                    <a:lnTo>
                      <a:pt x="14288" y="13430"/>
                    </a:lnTo>
                    <a:lnTo>
                      <a:pt x="6667" y="21050"/>
                    </a:lnTo>
                    <a:lnTo>
                      <a:pt x="0" y="34385"/>
                    </a:lnTo>
                    <a:lnTo>
                      <a:pt x="14288" y="45720"/>
                    </a:lnTo>
                    <a:lnTo>
                      <a:pt x="45720" y="45720"/>
                    </a:lnTo>
                    <a:lnTo>
                      <a:pt x="66675" y="34385"/>
                    </a:lnTo>
                    <a:lnTo>
                      <a:pt x="87630" y="27718"/>
                    </a:lnTo>
                    <a:lnTo>
                      <a:pt x="109537" y="17145"/>
                    </a:lnTo>
                    <a:lnTo>
                      <a:pt x="120015" y="13430"/>
                    </a:lnTo>
                    <a:lnTo>
                      <a:pt x="122873" y="2858"/>
                    </a:lnTo>
                    <a:lnTo>
                      <a:pt x="121920" y="0"/>
                    </a:lnTo>
                    <a:lnTo>
                      <a:pt x="91440" y="2858"/>
                    </a:lnTo>
                    <a:lnTo>
                      <a:pt x="63817" y="1057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6" name="Freeform: Shape 335">
                <a:extLst>
                  <a:ext uri="{FF2B5EF4-FFF2-40B4-BE49-F238E27FC236}">
                    <a16:creationId xmlns:a16="http://schemas.microsoft.com/office/drawing/2014/main" id="{6471AD91-D8B1-32EF-35D2-7B59106B81D7}"/>
                  </a:ext>
                </a:extLst>
              </p:cNvPr>
              <p:cNvSpPr/>
              <p:nvPr/>
            </p:nvSpPr>
            <p:spPr>
              <a:xfrm>
                <a:off x="8673641" y="3818228"/>
                <a:ext cx="28012" cy="38283"/>
              </a:xfrm>
              <a:custGeom>
                <a:avLst/>
                <a:gdLst>
                  <a:gd name="connsiteX0" fmla="*/ 0 w 28575"/>
                  <a:gd name="connsiteY0" fmla="*/ 39053 h 39052"/>
                  <a:gd name="connsiteX1" fmla="*/ 28575 w 28575"/>
                  <a:gd name="connsiteY1" fmla="*/ 0 h 39052"/>
                  <a:gd name="connsiteX2" fmla="*/ 14288 w 28575"/>
                  <a:gd name="connsiteY2" fmla="*/ 18097 h 39052"/>
                  <a:gd name="connsiteX3" fmla="*/ 0 w 28575"/>
                  <a:gd name="connsiteY3" fmla="*/ 39053 h 3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9052">
                    <a:moveTo>
                      <a:pt x="0" y="39053"/>
                    </a:moveTo>
                    <a:lnTo>
                      <a:pt x="28575" y="0"/>
                    </a:lnTo>
                    <a:lnTo>
                      <a:pt x="14288" y="18097"/>
                    </a:lnTo>
                    <a:lnTo>
                      <a:pt x="0" y="3905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id="{263264E5-8DAF-C1E3-C23A-3C8D3E29C997}"/>
                  </a:ext>
                </a:extLst>
              </p:cNvPr>
              <p:cNvSpPr/>
              <p:nvPr/>
            </p:nvSpPr>
            <p:spPr>
              <a:xfrm>
                <a:off x="8673641" y="3862954"/>
                <a:ext cx="34547" cy="34641"/>
              </a:xfrm>
              <a:custGeom>
                <a:avLst/>
                <a:gdLst>
                  <a:gd name="connsiteX0" fmla="*/ 35243 w 35242"/>
                  <a:gd name="connsiteY0" fmla="*/ 35338 h 35337"/>
                  <a:gd name="connsiteX1" fmla="*/ 35243 w 35242"/>
                  <a:gd name="connsiteY1" fmla="*/ 35338 h 35337"/>
                  <a:gd name="connsiteX2" fmla="*/ 35243 w 35242"/>
                  <a:gd name="connsiteY2" fmla="*/ 10573 h 35337"/>
                  <a:gd name="connsiteX3" fmla="*/ 0 w 35242"/>
                  <a:gd name="connsiteY3" fmla="*/ 0 h 35337"/>
                  <a:gd name="connsiteX4" fmla="*/ 35243 w 35242"/>
                  <a:gd name="connsiteY4" fmla="*/ 10573 h 35337"/>
                  <a:gd name="connsiteX5" fmla="*/ 35243 w 35242"/>
                  <a:gd name="connsiteY5" fmla="*/ 35338 h 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242" h="35337">
                    <a:moveTo>
                      <a:pt x="35243" y="35338"/>
                    </a:moveTo>
                    <a:lnTo>
                      <a:pt x="35243" y="35338"/>
                    </a:lnTo>
                    <a:lnTo>
                      <a:pt x="35243" y="10573"/>
                    </a:lnTo>
                    <a:lnTo>
                      <a:pt x="0" y="0"/>
                    </a:lnTo>
                    <a:lnTo>
                      <a:pt x="35243" y="10573"/>
                    </a:lnTo>
                    <a:lnTo>
                      <a:pt x="35243" y="3533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941FB53A-4F38-D505-4DF1-36C8BA7C0680}"/>
                  </a:ext>
                </a:extLst>
              </p:cNvPr>
              <p:cNvSpPr/>
              <p:nvPr/>
            </p:nvSpPr>
            <p:spPr>
              <a:xfrm>
                <a:off x="8407529" y="2975068"/>
                <a:ext cx="877701" cy="359486"/>
              </a:xfrm>
              <a:custGeom>
                <a:avLst/>
                <a:gdLst>
                  <a:gd name="connsiteX0" fmla="*/ 24765 w 895350"/>
                  <a:gd name="connsiteY0" fmla="*/ 144780 h 366712"/>
                  <a:gd name="connsiteX1" fmla="*/ 53340 w 895350"/>
                  <a:gd name="connsiteY1" fmla="*/ 147638 h 366712"/>
                  <a:gd name="connsiteX2" fmla="*/ 78105 w 895350"/>
                  <a:gd name="connsiteY2" fmla="*/ 172307 h 366712"/>
                  <a:gd name="connsiteX3" fmla="*/ 92393 w 895350"/>
                  <a:gd name="connsiteY3" fmla="*/ 193357 h 366712"/>
                  <a:gd name="connsiteX4" fmla="*/ 92393 w 895350"/>
                  <a:gd name="connsiteY4" fmla="*/ 207645 h 366712"/>
                  <a:gd name="connsiteX5" fmla="*/ 80963 w 895350"/>
                  <a:gd name="connsiteY5" fmla="*/ 221932 h 366712"/>
                  <a:gd name="connsiteX6" fmla="*/ 88582 w 895350"/>
                  <a:gd name="connsiteY6" fmla="*/ 242888 h 366712"/>
                  <a:gd name="connsiteX7" fmla="*/ 102870 w 895350"/>
                  <a:gd name="connsiteY7" fmla="*/ 250507 h 366712"/>
                  <a:gd name="connsiteX8" fmla="*/ 161925 w 895350"/>
                  <a:gd name="connsiteY8" fmla="*/ 253270 h 366712"/>
                  <a:gd name="connsiteX9" fmla="*/ 180023 w 895350"/>
                  <a:gd name="connsiteY9" fmla="*/ 271463 h 366712"/>
                  <a:gd name="connsiteX10" fmla="*/ 219075 w 895350"/>
                  <a:gd name="connsiteY10" fmla="*/ 292417 h 366712"/>
                  <a:gd name="connsiteX11" fmla="*/ 229553 w 895350"/>
                  <a:gd name="connsiteY11" fmla="*/ 317182 h 366712"/>
                  <a:gd name="connsiteX12" fmla="*/ 240030 w 895350"/>
                  <a:gd name="connsiteY12" fmla="*/ 331470 h 366712"/>
                  <a:gd name="connsiteX13" fmla="*/ 335280 w 895350"/>
                  <a:gd name="connsiteY13" fmla="*/ 335280 h 366712"/>
                  <a:gd name="connsiteX14" fmla="*/ 383857 w 895350"/>
                  <a:gd name="connsiteY14" fmla="*/ 338138 h 366712"/>
                  <a:gd name="connsiteX15" fmla="*/ 426720 w 895350"/>
                  <a:gd name="connsiteY15" fmla="*/ 359092 h 366712"/>
                  <a:gd name="connsiteX16" fmla="*/ 489585 w 895350"/>
                  <a:gd name="connsiteY16" fmla="*/ 366713 h 366712"/>
                  <a:gd name="connsiteX17" fmla="*/ 528638 w 895350"/>
                  <a:gd name="connsiteY17" fmla="*/ 341852 h 366712"/>
                  <a:gd name="connsiteX18" fmla="*/ 605790 w 895350"/>
                  <a:gd name="connsiteY18" fmla="*/ 341852 h 366712"/>
                  <a:gd name="connsiteX19" fmla="*/ 638175 w 895350"/>
                  <a:gd name="connsiteY19" fmla="*/ 323850 h 366712"/>
                  <a:gd name="connsiteX20" fmla="*/ 638175 w 895350"/>
                  <a:gd name="connsiteY20" fmla="*/ 313277 h 366712"/>
                  <a:gd name="connsiteX21" fmla="*/ 669607 w 895350"/>
                  <a:gd name="connsiteY21" fmla="*/ 296132 h 366712"/>
                  <a:gd name="connsiteX22" fmla="*/ 659130 w 895350"/>
                  <a:gd name="connsiteY22" fmla="*/ 275177 h 366712"/>
                  <a:gd name="connsiteX23" fmla="*/ 669607 w 895350"/>
                  <a:gd name="connsiteY23" fmla="*/ 253270 h 366712"/>
                  <a:gd name="connsiteX24" fmla="*/ 694373 w 895350"/>
                  <a:gd name="connsiteY24" fmla="*/ 253270 h 366712"/>
                  <a:gd name="connsiteX25" fmla="*/ 725805 w 895350"/>
                  <a:gd name="connsiteY25" fmla="*/ 257175 h 366712"/>
                  <a:gd name="connsiteX26" fmla="*/ 750570 w 895350"/>
                  <a:gd name="connsiteY26" fmla="*/ 232315 h 366712"/>
                  <a:gd name="connsiteX27" fmla="*/ 779145 w 895350"/>
                  <a:gd name="connsiteY27" fmla="*/ 232315 h 366712"/>
                  <a:gd name="connsiteX28" fmla="*/ 810578 w 895350"/>
                  <a:gd name="connsiteY28" fmla="*/ 207645 h 366712"/>
                  <a:gd name="connsiteX29" fmla="*/ 845820 w 895350"/>
                  <a:gd name="connsiteY29" fmla="*/ 193357 h 366712"/>
                  <a:gd name="connsiteX30" fmla="*/ 866775 w 895350"/>
                  <a:gd name="connsiteY30" fmla="*/ 193357 h 366712"/>
                  <a:gd name="connsiteX31" fmla="*/ 895350 w 895350"/>
                  <a:gd name="connsiteY31" fmla="*/ 197167 h 366712"/>
                  <a:gd name="connsiteX32" fmla="*/ 891540 w 895350"/>
                  <a:gd name="connsiteY32" fmla="*/ 179927 h 366712"/>
                  <a:gd name="connsiteX33" fmla="*/ 856298 w 895350"/>
                  <a:gd name="connsiteY33" fmla="*/ 144780 h 366712"/>
                  <a:gd name="connsiteX34" fmla="*/ 838200 w 895350"/>
                  <a:gd name="connsiteY34" fmla="*/ 140970 h 366712"/>
                  <a:gd name="connsiteX35" fmla="*/ 824865 w 895350"/>
                  <a:gd name="connsiteY35" fmla="*/ 151352 h 366712"/>
                  <a:gd name="connsiteX36" fmla="*/ 775335 w 895350"/>
                  <a:gd name="connsiteY36" fmla="*/ 147638 h 366712"/>
                  <a:gd name="connsiteX37" fmla="*/ 782003 w 895350"/>
                  <a:gd name="connsiteY37" fmla="*/ 122777 h 366712"/>
                  <a:gd name="connsiteX38" fmla="*/ 796290 w 895350"/>
                  <a:gd name="connsiteY38" fmla="*/ 91345 h 366712"/>
                  <a:gd name="connsiteX39" fmla="*/ 806768 w 895350"/>
                  <a:gd name="connsiteY39" fmla="*/ 77057 h 366712"/>
                  <a:gd name="connsiteX40" fmla="*/ 764857 w 895350"/>
                  <a:gd name="connsiteY40" fmla="*/ 74295 h 366712"/>
                  <a:gd name="connsiteX41" fmla="*/ 750570 w 895350"/>
                  <a:gd name="connsiteY41" fmla="*/ 62770 h 366712"/>
                  <a:gd name="connsiteX42" fmla="*/ 732473 w 895350"/>
                  <a:gd name="connsiteY42" fmla="*/ 66675 h 366712"/>
                  <a:gd name="connsiteX43" fmla="*/ 701040 w 895350"/>
                  <a:gd name="connsiteY43" fmla="*/ 91345 h 366712"/>
                  <a:gd name="connsiteX44" fmla="*/ 648653 w 895350"/>
                  <a:gd name="connsiteY44" fmla="*/ 101917 h 366712"/>
                  <a:gd name="connsiteX45" fmla="*/ 616268 w 895350"/>
                  <a:gd name="connsiteY45" fmla="*/ 105632 h 366712"/>
                  <a:gd name="connsiteX46" fmla="*/ 578168 w 895350"/>
                  <a:gd name="connsiteY46" fmla="*/ 101917 h 366712"/>
                  <a:gd name="connsiteX47" fmla="*/ 567690 w 895350"/>
                  <a:gd name="connsiteY47" fmla="*/ 91345 h 366712"/>
                  <a:gd name="connsiteX48" fmla="*/ 557213 w 895350"/>
                  <a:gd name="connsiteY48" fmla="*/ 77057 h 366712"/>
                  <a:gd name="connsiteX49" fmla="*/ 539115 w 895350"/>
                  <a:gd name="connsiteY49" fmla="*/ 74295 h 366712"/>
                  <a:gd name="connsiteX50" fmla="*/ 528638 w 895350"/>
                  <a:gd name="connsiteY50" fmla="*/ 62770 h 366712"/>
                  <a:gd name="connsiteX51" fmla="*/ 486728 w 895350"/>
                  <a:gd name="connsiteY51" fmla="*/ 56102 h 366712"/>
                  <a:gd name="connsiteX52" fmla="*/ 461963 w 895350"/>
                  <a:gd name="connsiteY52" fmla="*/ 70390 h 366712"/>
                  <a:gd name="connsiteX53" fmla="*/ 416243 w 895350"/>
                  <a:gd name="connsiteY53" fmla="*/ 62770 h 366712"/>
                  <a:gd name="connsiteX54" fmla="*/ 398145 w 895350"/>
                  <a:gd name="connsiteY54" fmla="*/ 41815 h 366712"/>
                  <a:gd name="connsiteX55" fmla="*/ 395288 w 895350"/>
                  <a:gd name="connsiteY55" fmla="*/ 24670 h 366712"/>
                  <a:gd name="connsiteX56" fmla="*/ 352425 w 895350"/>
                  <a:gd name="connsiteY56" fmla="*/ 10382 h 366712"/>
                  <a:gd name="connsiteX57" fmla="*/ 302895 w 895350"/>
                  <a:gd name="connsiteY57" fmla="*/ 0 h 366712"/>
                  <a:gd name="connsiteX58" fmla="*/ 271463 w 895350"/>
                  <a:gd name="connsiteY58" fmla="*/ 31432 h 366712"/>
                  <a:gd name="connsiteX59" fmla="*/ 292418 w 895350"/>
                  <a:gd name="connsiteY59" fmla="*/ 56102 h 366712"/>
                  <a:gd name="connsiteX60" fmla="*/ 289560 w 895350"/>
                  <a:gd name="connsiteY60" fmla="*/ 70390 h 366712"/>
                  <a:gd name="connsiteX61" fmla="*/ 267653 w 895350"/>
                  <a:gd name="connsiteY61" fmla="*/ 87630 h 366712"/>
                  <a:gd name="connsiteX62" fmla="*/ 254318 w 895350"/>
                  <a:gd name="connsiteY62" fmla="*/ 77057 h 366712"/>
                  <a:gd name="connsiteX63" fmla="*/ 197168 w 895350"/>
                  <a:gd name="connsiteY63" fmla="*/ 77057 h 366712"/>
                  <a:gd name="connsiteX64" fmla="*/ 180023 w 895350"/>
                  <a:gd name="connsiteY64" fmla="*/ 56102 h 366712"/>
                  <a:gd name="connsiteX65" fmla="*/ 144780 w 895350"/>
                  <a:gd name="connsiteY65" fmla="*/ 49530 h 366712"/>
                  <a:gd name="connsiteX66" fmla="*/ 113348 w 895350"/>
                  <a:gd name="connsiteY66" fmla="*/ 45720 h 366712"/>
                  <a:gd name="connsiteX67" fmla="*/ 53340 w 895350"/>
                  <a:gd name="connsiteY67" fmla="*/ 77057 h 366712"/>
                  <a:gd name="connsiteX68" fmla="*/ 39053 w 895350"/>
                  <a:gd name="connsiteY68" fmla="*/ 91345 h 366712"/>
                  <a:gd name="connsiteX69" fmla="*/ 14288 w 895350"/>
                  <a:gd name="connsiteY69" fmla="*/ 95250 h 366712"/>
                  <a:gd name="connsiteX70" fmla="*/ 0 w 895350"/>
                  <a:gd name="connsiteY70" fmla="*/ 109538 h 366712"/>
                  <a:gd name="connsiteX71" fmla="*/ 7620 w 895350"/>
                  <a:gd name="connsiteY71" fmla="*/ 126682 h 366712"/>
                  <a:gd name="connsiteX72" fmla="*/ 24765 w 895350"/>
                  <a:gd name="connsiteY72" fmla="*/ 144780 h 36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895350" h="366712">
                    <a:moveTo>
                      <a:pt x="24765" y="144780"/>
                    </a:moveTo>
                    <a:lnTo>
                      <a:pt x="53340" y="147638"/>
                    </a:lnTo>
                    <a:lnTo>
                      <a:pt x="78105" y="172307"/>
                    </a:lnTo>
                    <a:lnTo>
                      <a:pt x="92393" y="193357"/>
                    </a:lnTo>
                    <a:lnTo>
                      <a:pt x="92393" y="207645"/>
                    </a:lnTo>
                    <a:lnTo>
                      <a:pt x="80963" y="221932"/>
                    </a:lnTo>
                    <a:lnTo>
                      <a:pt x="88582" y="242888"/>
                    </a:lnTo>
                    <a:lnTo>
                      <a:pt x="102870" y="250507"/>
                    </a:lnTo>
                    <a:lnTo>
                      <a:pt x="161925" y="253270"/>
                    </a:lnTo>
                    <a:lnTo>
                      <a:pt x="180023" y="271463"/>
                    </a:lnTo>
                    <a:lnTo>
                      <a:pt x="219075" y="292417"/>
                    </a:lnTo>
                    <a:lnTo>
                      <a:pt x="229553" y="317182"/>
                    </a:lnTo>
                    <a:lnTo>
                      <a:pt x="240030" y="331470"/>
                    </a:lnTo>
                    <a:lnTo>
                      <a:pt x="335280" y="335280"/>
                    </a:lnTo>
                    <a:lnTo>
                      <a:pt x="383857" y="338138"/>
                    </a:lnTo>
                    <a:lnTo>
                      <a:pt x="426720" y="359092"/>
                    </a:lnTo>
                    <a:lnTo>
                      <a:pt x="489585" y="366713"/>
                    </a:lnTo>
                    <a:lnTo>
                      <a:pt x="528638" y="341852"/>
                    </a:lnTo>
                    <a:lnTo>
                      <a:pt x="605790" y="341852"/>
                    </a:lnTo>
                    <a:lnTo>
                      <a:pt x="638175" y="323850"/>
                    </a:lnTo>
                    <a:lnTo>
                      <a:pt x="638175" y="313277"/>
                    </a:lnTo>
                    <a:lnTo>
                      <a:pt x="669607" y="296132"/>
                    </a:lnTo>
                    <a:lnTo>
                      <a:pt x="659130" y="275177"/>
                    </a:lnTo>
                    <a:lnTo>
                      <a:pt x="669607" y="253270"/>
                    </a:lnTo>
                    <a:lnTo>
                      <a:pt x="694373" y="253270"/>
                    </a:lnTo>
                    <a:lnTo>
                      <a:pt x="725805" y="257175"/>
                    </a:lnTo>
                    <a:lnTo>
                      <a:pt x="750570" y="232315"/>
                    </a:lnTo>
                    <a:lnTo>
                      <a:pt x="779145" y="232315"/>
                    </a:lnTo>
                    <a:lnTo>
                      <a:pt x="810578" y="207645"/>
                    </a:lnTo>
                    <a:lnTo>
                      <a:pt x="845820" y="193357"/>
                    </a:lnTo>
                    <a:lnTo>
                      <a:pt x="866775" y="193357"/>
                    </a:lnTo>
                    <a:lnTo>
                      <a:pt x="895350" y="197167"/>
                    </a:lnTo>
                    <a:lnTo>
                      <a:pt x="891540" y="179927"/>
                    </a:lnTo>
                    <a:lnTo>
                      <a:pt x="856298" y="144780"/>
                    </a:lnTo>
                    <a:lnTo>
                      <a:pt x="838200" y="140970"/>
                    </a:lnTo>
                    <a:lnTo>
                      <a:pt x="824865" y="151352"/>
                    </a:lnTo>
                    <a:lnTo>
                      <a:pt x="775335" y="147638"/>
                    </a:lnTo>
                    <a:lnTo>
                      <a:pt x="782003" y="122777"/>
                    </a:lnTo>
                    <a:lnTo>
                      <a:pt x="796290" y="91345"/>
                    </a:lnTo>
                    <a:lnTo>
                      <a:pt x="806768" y="77057"/>
                    </a:lnTo>
                    <a:lnTo>
                      <a:pt x="764857" y="74295"/>
                    </a:lnTo>
                    <a:lnTo>
                      <a:pt x="750570" y="62770"/>
                    </a:lnTo>
                    <a:lnTo>
                      <a:pt x="732473" y="66675"/>
                    </a:lnTo>
                    <a:lnTo>
                      <a:pt x="701040" y="91345"/>
                    </a:lnTo>
                    <a:lnTo>
                      <a:pt x="648653" y="101917"/>
                    </a:lnTo>
                    <a:lnTo>
                      <a:pt x="616268" y="105632"/>
                    </a:lnTo>
                    <a:lnTo>
                      <a:pt x="578168" y="101917"/>
                    </a:lnTo>
                    <a:lnTo>
                      <a:pt x="567690" y="91345"/>
                    </a:lnTo>
                    <a:lnTo>
                      <a:pt x="557213" y="77057"/>
                    </a:lnTo>
                    <a:lnTo>
                      <a:pt x="539115" y="74295"/>
                    </a:lnTo>
                    <a:lnTo>
                      <a:pt x="528638" y="62770"/>
                    </a:lnTo>
                    <a:lnTo>
                      <a:pt x="486728" y="56102"/>
                    </a:lnTo>
                    <a:lnTo>
                      <a:pt x="461963" y="70390"/>
                    </a:lnTo>
                    <a:lnTo>
                      <a:pt x="416243" y="62770"/>
                    </a:lnTo>
                    <a:lnTo>
                      <a:pt x="398145" y="41815"/>
                    </a:lnTo>
                    <a:lnTo>
                      <a:pt x="395288" y="24670"/>
                    </a:lnTo>
                    <a:lnTo>
                      <a:pt x="352425" y="10382"/>
                    </a:lnTo>
                    <a:lnTo>
                      <a:pt x="302895" y="0"/>
                    </a:lnTo>
                    <a:lnTo>
                      <a:pt x="271463" y="31432"/>
                    </a:lnTo>
                    <a:lnTo>
                      <a:pt x="292418" y="56102"/>
                    </a:lnTo>
                    <a:lnTo>
                      <a:pt x="289560" y="70390"/>
                    </a:lnTo>
                    <a:lnTo>
                      <a:pt x="267653" y="87630"/>
                    </a:lnTo>
                    <a:lnTo>
                      <a:pt x="254318" y="77057"/>
                    </a:lnTo>
                    <a:lnTo>
                      <a:pt x="197168" y="77057"/>
                    </a:lnTo>
                    <a:lnTo>
                      <a:pt x="180023" y="56102"/>
                    </a:lnTo>
                    <a:lnTo>
                      <a:pt x="144780" y="49530"/>
                    </a:lnTo>
                    <a:lnTo>
                      <a:pt x="113348" y="45720"/>
                    </a:lnTo>
                    <a:lnTo>
                      <a:pt x="53340" y="77057"/>
                    </a:lnTo>
                    <a:lnTo>
                      <a:pt x="39053" y="91345"/>
                    </a:lnTo>
                    <a:lnTo>
                      <a:pt x="14288" y="95250"/>
                    </a:lnTo>
                    <a:lnTo>
                      <a:pt x="0" y="109538"/>
                    </a:lnTo>
                    <a:lnTo>
                      <a:pt x="7620" y="126682"/>
                    </a:lnTo>
                    <a:lnTo>
                      <a:pt x="24765" y="14478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9" name="Freeform: Shape 338">
                <a:extLst>
                  <a:ext uri="{FF2B5EF4-FFF2-40B4-BE49-F238E27FC236}">
                    <a16:creationId xmlns:a16="http://schemas.microsoft.com/office/drawing/2014/main" id="{A867DFEF-34A6-B8A1-AA40-50A6C83DB3D3}"/>
                  </a:ext>
                </a:extLst>
              </p:cNvPr>
              <p:cNvSpPr/>
              <p:nvPr/>
            </p:nvSpPr>
            <p:spPr>
              <a:xfrm>
                <a:off x="8134881" y="3513832"/>
                <a:ext cx="66294" cy="62560"/>
              </a:xfrm>
              <a:custGeom>
                <a:avLst/>
                <a:gdLst>
                  <a:gd name="connsiteX0" fmla="*/ 20955 w 67627"/>
                  <a:gd name="connsiteY0" fmla="*/ 49530 h 63817"/>
                  <a:gd name="connsiteX1" fmla="*/ 24765 w 67627"/>
                  <a:gd name="connsiteY1" fmla="*/ 63817 h 63817"/>
                  <a:gd name="connsiteX2" fmla="*/ 53340 w 67627"/>
                  <a:gd name="connsiteY2" fmla="*/ 49530 h 63817"/>
                  <a:gd name="connsiteX3" fmla="*/ 67628 w 67627"/>
                  <a:gd name="connsiteY3" fmla="*/ 35147 h 63817"/>
                  <a:gd name="connsiteX4" fmla="*/ 67628 w 67627"/>
                  <a:gd name="connsiteY4" fmla="*/ 21908 h 63817"/>
                  <a:gd name="connsiteX5" fmla="*/ 35243 w 67627"/>
                  <a:gd name="connsiteY5" fmla="*/ 0 h 63817"/>
                  <a:gd name="connsiteX6" fmla="*/ 0 w 67627"/>
                  <a:gd name="connsiteY6" fmla="*/ 14288 h 63817"/>
                  <a:gd name="connsiteX7" fmla="*/ 3810 w 67627"/>
                  <a:gd name="connsiteY7" fmla="*/ 39052 h 63817"/>
                  <a:gd name="connsiteX8" fmla="*/ 20955 w 67627"/>
                  <a:gd name="connsiteY8" fmla="*/ 49530 h 63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627" h="63817">
                    <a:moveTo>
                      <a:pt x="20955" y="49530"/>
                    </a:moveTo>
                    <a:lnTo>
                      <a:pt x="24765" y="63817"/>
                    </a:lnTo>
                    <a:lnTo>
                      <a:pt x="53340" y="49530"/>
                    </a:lnTo>
                    <a:lnTo>
                      <a:pt x="67628" y="35147"/>
                    </a:lnTo>
                    <a:lnTo>
                      <a:pt x="67628" y="21908"/>
                    </a:lnTo>
                    <a:lnTo>
                      <a:pt x="35243" y="0"/>
                    </a:lnTo>
                    <a:lnTo>
                      <a:pt x="0" y="14288"/>
                    </a:lnTo>
                    <a:lnTo>
                      <a:pt x="3810" y="39052"/>
                    </a:lnTo>
                    <a:lnTo>
                      <a:pt x="20955" y="4953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0" name="Freeform: Shape 339">
                <a:extLst>
                  <a:ext uri="{FF2B5EF4-FFF2-40B4-BE49-F238E27FC236}">
                    <a16:creationId xmlns:a16="http://schemas.microsoft.com/office/drawing/2014/main" id="{AF9A3828-72E8-D86F-5ED9-2A0E8030073C}"/>
                  </a:ext>
                </a:extLst>
              </p:cNvPr>
              <p:cNvSpPr/>
              <p:nvPr/>
            </p:nvSpPr>
            <p:spPr>
              <a:xfrm>
                <a:off x="9316043" y="2919885"/>
                <a:ext cx="75631" cy="6629"/>
              </a:xfrm>
              <a:custGeom>
                <a:avLst/>
                <a:gdLst>
                  <a:gd name="connsiteX0" fmla="*/ 77153 w 77152"/>
                  <a:gd name="connsiteY0" fmla="*/ 0 h 6762"/>
                  <a:gd name="connsiteX1" fmla="*/ 0 w 77152"/>
                  <a:gd name="connsiteY1" fmla="*/ 6763 h 6762"/>
                  <a:gd name="connsiteX2" fmla="*/ 45720 w 77152"/>
                  <a:gd name="connsiteY2" fmla="*/ 2858 h 6762"/>
                  <a:gd name="connsiteX3" fmla="*/ 77153 w 77152"/>
                  <a:gd name="connsiteY3" fmla="*/ 0 h 6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52" h="6762">
                    <a:moveTo>
                      <a:pt x="77153" y="0"/>
                    </a:moveTo>
                    <a:lnTo>
                      <a:pt x="0" y="6763"/>
                    </a:lnTo>
                    <a:lnTo>
                      <a:pt x="45720" y="2858"/>
                    </a:lnTo>
                    <a:lnTo>
                      <a:pt x="7715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1" name="Freeform: Shape 340">
                <a:extLst>
                  <a:ext uri="{FF2B5EF4-FFF2-40B4-BE49-F238E27FC236}">
                    <a16:creationId xmlns:a16="http://schemas.microsoft.com/office/drawing/2014/main" id="{0874C0B8-AD35-D735-912A-15C837DC6B26}"/>
                  </a:ext>
                </a:extLst>
              </p:cNvPr>
              <p:cNvSpPr/>
              <p:nvPr/>
            </p:nvSpPr>
            <p:spPr>
              <a:xfrm>
                <a:off x="8189972" y="3683771"/>
                <a:ext cx="225027" cy="124186"/>
              </a:xfrm>
              <a:custGeom>
                <a:avLst/>
                <a:gdLst>
                  <a:gd name="connsiteX0" fmla="*/ 0 w 229552"/>
                  <a:gd name="connsiteY0" fmla="*/ 52388 h 126682"/>
                  <a:gd name="connsiteX1" fmla="*/ 35243 w 229552"/>
                  <a:gd name="connsiteY1" fmla="*/ 62770 h 126682"/>
                  <a:gd name="connsiteX2" fmla="*/ 84773 w 229552"/>
                  <a:gd name="connsiteY2" fmla="*/ 91345 h 126682"/>
                  <a:gd name="connsiteX3" fmla="*/ 127635 w 229552"/>
                  <a:gd name="connsiteY3" fmla="*/ 95250 h 126682"/>
                  <a:gd name="connsiteX4" fmla="*/ 155257 w 229552"/>
                  <a:gd name="connsiteY4" fmla="*/ 116110 h 126682"/>
                  <a:gd name="connsiteX5" fmla="*/ 180023 w 229552"/>
                  <a:gd name="connsiteY5" fmla="*/ 126683 h 126682"/>
                  <a:gd name="connsiteX6" fmla="*/ 229552 w 229552"/>
                  <a:gd name="connsiteY6" fmla="*/ 122872 h 126682"/>
                  <a:gd name="connsiteX7" fmla="*/ 225743 w 229552"/>
                  <a:gd name="connsiteY7" fmla="*/ 80963 h 126682"/>
                  <a:gd name="connsiteX8" fmla="*/ 186690 w 229552"/>
                  <a:gd name="connsiteY8" fmla="*/ 77057 h 126682"/>
                  <a:gd name="connsiteX9" fmla="*/ 159068 w 229552"/>
                  <a:gd name="connsiteY9" fmla="*/ 73247 h 126682"/>
                  <a:gd name="connsiteX10" fmla="*/ 127635 w 229552"/>
                  <a:gd name="connsiteY10" fmla="*/ 52388 h 126682"/>
                  <a:gd name="connsiteX11" fmla="*/ 105727 w 229552"/>
                  <a:gd name="connsiteY11" fmla="*/ 38100 h 126682"/>
                  <a:gd name="connsiteX12" fmla="*/ 78105 w 229552"/>
                  <a:gd name="connsiteY12" fmla="*/ 24670 h 126682"/>
                  <a:gd name="connsiteX13" fmla="*/ 53340 w 229552"/>
                  <a:gd name="connsiteY13" fmla="*/ 0 h 126682"/>
                  <a:gd name="connsiteX14" fmla="*/ 28575 w 229552"/>
                  <a:gd name="connsiteY14" fmla="*/ 10382 h 126682"/>
                  <a:gd name="connsiteX15" fmla="*/ 7620 w 229552"/>
                  <a:gd name="connsiteY15" fmla="*/ 24670 h 126682"/>
                  <a:gd name="connsiteX16" fmla="*/ 0 w 229552"/>
                  <a:gd name="connsiteY16" fmla="*/ 52388 h 126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9552" h="126682">
                    <a:moveTo>
                      <a:pt x="0" y="52388"/>
                    </a:moveTo>
                    <a:lnTo>
                      <a:pt x="35243" y="62770"/>
                    </a:lnTo>
                    <a:lnTo>
                      <a:pt x="84773" y="91345"/>
                    </a:lnTo>
                    <a:lnTo>
                      <a:pt x="127635" y="95250"/>
                    </a:lnTo>
                    <a:lnTo>
                      <a:pt x="155257" y="116110"/>
                    </a:lnTo>
                    <a:lnTo>
                      <a:pt x="180023" y="126683"/>
                    </a:lnTo>
                    <a:lnTo>
                      <a:pt x="229552" y="122872"/>
                    </a:lnTo>
                    <a:lnTo>
                      <a:pt x="225743" y="80963"/>
                    </a:lnTo>
                    <a:lnTo>
                      <a:pt x="186690" y="77057"/>
                    </a:lnTo>
                    <a:lnTo>
                      <a:pt x="159068" y="73247"/>
                    </a:lnTo>
                    <a:lnTo>
                      <a:pt x="127635" y="52388"/>
                    </a:lnTo>
                    <a:lnTo>
                      <a:pt x="105727" y="38100"/>
                    </a:lnTo>
                    <a:lnTo>
                      <a:pt x="78105" y="24670"/>
                    </a:lnTo>
                    <a:lnTo>
                      <a:pt x="53340" y="0"/>
                    </a:lnTo>
                    <a:lnTo>
                      <a:pt x="28575" y="10382"/>
                    </a:lnTo>
                    <a:lnTo>
                      <a:pt x="7620" y="24670"/>
                    </a:lnTo>
                    <a:lnTo>
                      <a:pt x="0" y="5238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2" name="Freeform: Shape 341">
                <a:extLst>
                  <a:ext uri="{FF2B5EF4-FFF2-40B4-BE49-F238E27FC236}">
                    <a16:creationId xmlns:a16="http://schemas.microsoft.com/office/drawing/2014/main" id="{8B337890-3371-7CE2-E595-0E08F79141E7}"/>
                  </a:ext>
                </a:extLst>
              </p:cNvPr>
              <p:cNvSpPr/>
              <p:nvPr/>
            </p:nvSpPr>
            <p:spPr>
              <a:xfrm>
                <a:off x="8439277" y="3752867"/>
                <a:ext cx="85903" cy="44725"/>
              </a:xfrm>
              <a:custGeom>
                <a:avLst/>
                <a:gdLst>
                  <a:gd name="connsiteX0" fmla="*/ 2857 w 87630"/>
                  <a:gd name="connsiteY0" fmla="*/ 35147 h 45624"/>
                  <a:gd name="connsiteX1" fmla="*/ 13335 w 87630"/>
                  <a:gd name="connsiteY1" fmla="*/ 41910 h 45624"/>
                  <a:gd name="connsiteX2" fmla="*/ 27622 w 87630"/>
                  <a:gd name="connsiteY2" fmla="*/ 45625 h 45624"/>
                  <a:gd name="connsiteX3" fmla="*/ 80963 w 87630"/>
                  <a:gd name="connsiteY3" fmla="*/ 39053 h 45624"/>
                  <a:gd name="connsiteX4" fmla="*/ 87630 w 87630"/>
                  <a:gd name="connsiteY4" fmla="*/ 27623 h 45624"/>
                  <a:gd name="connsiteX5" fmla="*/ 80963 w 87630"/>
                  <a:gd name="connsiteY5" fmla="*/ 10478 h 45624"/>
                  <a:gd name="connsiteX6" fmla="*/ 56197 w 87630"/>
                  <a:gd name="connsiteY6" fmla="*/ 6572 h 45624"/>
                  <a:gd name="connsiteX7" fmla="*/ 35243 w 87630"/>
                  <a:gd name="connsiteY7" fmla="*/ 0 h 45624"/>
                  <a:gd name="connsiteX8" fmla="*/ 17145 w 87630"/>
                  <a:gd name="connsiteY8" fmla="*/ 0 h 45624"/>
                  <a:gd name="connsiteX9" fmla="*/ 6668 w 87630"/>
                  <a:gd name="connsiteY9" fmla="*/ 10478 h 45624"/>
                  <a:gd name="connsiteX10" fmla="*/ 0 w 87630"/>
                  <a:gd name="connsiteY10" fmla="*/ 10478 h 45624"/>
                  <a:gd name="connsiteX11" fmla="*/ 0 w 87630"/>
                  <a:gd name="connsiteY11" fmla="*/ 24765 h 45624"/>
                  <a:gd name="connsiteX12" fmla="*/ 2857 w 87630"/>
                  <a:gd name="connsiteY12" fmla="*/ 35147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7630" h="45624">
                    <a:moveTo>
                      <a:pt x="2857" y="35147"/>
                    </a:moveTo>
                    <a:lnTo>
                      <a:pt x="13335" y="41910"/>
                    </a:lnTo>
                    <a:lnTo>
                      <a:pt x="27622" y="45625"/>
                    </a:lnTo>
                    <a:lnTo>
                      <a:pt x="80963" y="39053"/>
                    </a:lnTo>
                    <a:lnTo>
                      <a:pt x="87630" y="27623"/>
                    </a:lnTo>
                    <a:lnTo>
                      <a:pt x="80963" y="10478"/>
                    </a:lnTo>
                    <a:lnTo>
                      <a:pt x="56197" y="6572"/>
                    </a:lnTo>
                    <a:lnTo>
                      <a:pt x="35243" y="0"/>
                    </a:lnTo>
                    <a:lnTo>
                      <a:pt x="17145" y="0"/>
                    </a:lnTo>
                    <a:lnTo>
                      <a:pt x="6668" y="10478"/>
                    </a:lnTo>
                    <a:lnTo>
                      <a:pt x="0" y="10478"/>
                    </a:lnTo>
                    <a:lnTo>
                      <a:pt x="0" y="24765"/>
                    </a:lnTo>
                    <a:lnTo>
                      <a:pt x="2857" y="3514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3" name="Freeform: Shape 342">
                <a:extLst>
                  <a:ext uri="{FF2B5EF4-FFF2-40B4-BE49-F238E27FC236}">
                    <a16:creationId xmlns:a16="http://schemas.microsoft.com/office/drawing/2014/main" id="{DA9FB8E6-0555-E2BE-A1FD-06A44B7070A3}"/>
                  </a:ext>
                </a:extLst>
              </p:cNvPr>
              <p:cNvSpPr/>
              <p:nvPr/>
            </p:nvSpPr>
            <p:spPr>
              <a:xfrm>
                <a:off x="9464505" y="2975068"/>
                <a:ext cx="18674" cy="44818"/>
              </a:xfrm>
              <a:custGeom>
                <a:avLst/>
                <a:gdLst>
                  <a:gd name="connsiteX0" fmla="*/ 19050 w 19050"/>
                  <a:gd name="connsiteY0" fmla="*/ 45720 h 45719"/>
                  <a:gd name="connsiteX1" fmla="*/ 0 w 19050"/>
                  <a:gd name="connsiteY1" fmla="*/ 0 h 45719"/>
                  <a:gd name="connsiteX2" fmla="*/ 14288 w 19050"/>
                  <a:gd name="connsiteY2" fmla="*/ 35242 h 45719"/>
                  <a:gd name="connsiteX3" fmla="*/ 19050 w 19050"/>
                  <a:gd name="connsiteY3" fmla="*/ 45720 h 4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5719">
                    <a:moveTo>
                      <a:pt x="19050" y="45720"/>
                    </a:moveTo>
                    <a:lnTo>
                      <a:pt x="0" y="0"/>
                    </a:lnTo>
                    <a:lnTo>
                      <a:pt x="14288" y="35242"/>
                    </a:lnTo>
                    <a:lnTo>
                      <a:pt x="19050" y="4572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4" name="Freeform: Shape 343">
                <a:extLst>
                  <a:ext uri="{FF2B5EF4-FFF2-40B4-BE49-F238E27FC236}">
                    <a16:creationId xmlns:a16="http://schemas.microsoft.com/office/drawing/2014/main" id="{A5DACAEC-4E95-E39E-EC72-A6808B6B548B}"/>
                  </a:ext>
                </a:extLst>
              </p:cNvPr>
              <p:cNvSpPr/>
              <p:nvPr/>
            </p:nvSpPr>
            <p:spPr>
              <a:xfrm>
                <a:off x="9529866" y="3064613"/>
                <a:ext cx="52288" cy="28012"/>
              </a:xfrm>
              <a:custGeom>
                <a:avLst/>
                <a:gdLst>
                  <a:gd name="connsiteX0" fmla="*/ 41910 w 53339"/>
                  <a:gd name="connsiteY0" fmla="*/ 24860 h 28575"/>
                  <a:gd name="connsiteX1" fmla="*/ 53340 w 53339"/>
                  <a:gd name="connsiteY1" fmla="*/ 28575 h 28575"/>
                  <a:gd name="connsiteX2" fmla="*/ 0 w 53339"/>
                  <a:gd name="connsiteY2" fmla="*/ 0 h 28575"/>
                  <a:gd name="connsiteX3" fmla="*/ 18098 w 53339"/>
                  <a:gd name="connsiteY3" fmla="*/ 10573 h 28575"/>
                  <a:gd name="connsiteX4" fmla="*/ 41910 w 53339"/>
                  <a:gd name="connsiteY4" fmla="*/ 2486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39" h="28575">
                    <a:moveTo>
                      <a:pt x="41910" y="24860"/>
                    </a:moveTo>
                    <a:lnTo>
                      <a:pt x="53340" y="28575"/>
                    </a:lnTo>
                    <a:lnTo>
                      <a:pt x="0" y="0"/>
                    </a:lnTo>
                    <a:lnTo>
                      <a:pt x="18098" y="10573"/>
                    </a:lnTo>
                    <a:lnTo>
                      <a:pt x="41910" y="2486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5" name="Freeform: Shape 344">
                <a:extLst>
                  <a:ext uri="{FF2B5EF4-FFF2-40B4-BE49-F238E27FC236}">
                    <a16:creationId xmlns:a16="http://schemas.microsoft.com/office/drawing/2014/main" id="{02B246E9-7E91-EE81-8CB0-F423AA0C93CF}"/>
                  </a:ext>
                </a:extLst>
              </p:cNvPr>
              <p:cNvSpPr/>
              <p:nvPr/>
            </p:nvSpPr>
            <p:spPr>
              <a:xfrm>
                <a:off x="3476531" y="3088983"/>
                <a:ext cx="331472" cy="249213"/>
              </a:xfrm>
              <a:custGeom>
                <a:avLst/>
                <a:gdLst>
                  <a:gd name="connsiteX0" fmla="*/ 280988 w 338137"/>
                  <a:gd name="connsiteY0" fmla="*/ 197072 h 254222"/>
                  <a:gd name="connsiteX1" fmla="*/ 284798 w 338137"/>
                  <a:gd name="connsiteY1" fmla="*/ 179927 h 254222"/>
                  <a:gd name="connsiteX2" fmla="*/ 288608 w 338137"/>
                  <a:gd name="connsiteY2" fmla="*/ 165640 h 254222"/>
                  <a:gd name="connsiteX3" fmla="*/ 299085 w 338137"/>
                  <a:gd name="connsiteY3" fmla="*/ 155258 h 254222"/>
                  <a:gd name="connsiteX4" fmla="*/ 302895 w 338137"/>
                  <a:gd name="connsiteY4" fmla="*/ 144685 h 254222"/>
                  <a:gd name="connsiteX5" fmla="*/ 309563 w 338137"/>
                  <a:gd name="connsiteY5" fmla="*/ 144685 h 254222"/>
                  <a:gd name="connsiteX6" fmla="*/ 320040 w 338137"/>
                  <a:gd name="connsiteY6" fmla="*/ 155258 h 254222"/>
                  <a:gd name="connsiteX7" fmla="*/ 334327 w 338137"/>
                  <a:gd name="connsiteY7" fmla="*/ 151352 h 254222"/>
                  <a:gd name="connsiteX8" fmla="*/ 338138 w 338137"/>
                  <a:gd name="connsiteY8" fmla="*/ 137065 h 254222"/>
                  <a:gd name="connsiteX9" fmla="*/ 326708 w 338137"/>
                  <a:gd name="connsiteY9" fmla="*/ 120015 h 254222"/>
                  <a:gd name="connsiteX10" fmla="*/ 313373 w 338137"/>
                  <a:gd name="connsiteY10" fmla="*/ 105727 h 254222"/>
                  <a:gd name="connsiteX11" fmla="*/ 292418 w 338137"/>
                  <a:gd name="connsiteY11" fmla="*/ 98965 h 254222"/>
                  <a:gd name="connsiteX12" fmla="*/ 270510 w 338137"/>
                  <a:gd name="connsiteY12" fmla="*/ 95250 h 254222"/>
                  <a:gd name="connsiteX13" fmla="*/ 242888 w 338137"/>
                  <a:gd name="connsiteY13" fmla="*/ 95250 h 254222"/>
                  <a:gd name="connsiteX14" fmla="*/ 221933 w 338137"/>
                  <a:gd name="connsiteY14" fmla="*/ 91440 h 254222"/>
                  <a:gd name="connsiteX15" fmla="*/ 210503 w 338137"/>
                  <a:gd name="connsiteY15" fmla="*/ 80963 h 254222"/>
                  <a:gd name="connsiteX16" fmla="*/ 203835 w 338137"/>
                  <a:gd name="connsiteY16" fmla="*/ 63722 h 254222"/>
                  <a:gd name="connsiteX17" fmla="*/ 197168 w 338137"/>
                  <a:gd name="connsiteY17" fmla="*/ 41815 h 254222"/>
                  <a:gd name="connsiteX18" fmla="*/ 193358 w 338137"/>
                  <a:gd name="connsiteY18" fmla="*/ 35147 h 254222"/>
                  <a:gd name="connsiteX19" fmla="*/ 172403 w 338137"/>
                  <a:gd name="connsiteY19" fmla="*/ 35147 h 254222"/>
                  <a:gd name="connsiteX20" fmla="*/ 164783 w 338137"/>
                  <a:gd name="connsiteY20" fmla="*/ 20860 h 254222"/>
                  <a:gd name="connsiteX21" fmla="*/ 154305 w 338137"/>
                  <a:gd name="connsiteY21" fmla="*/ 6572 h 254222"/>
                  <a:gd name="connsiteX22" fmla="*/ 137160 w 338137"/>
                  <a:gd name="connsiteY22" fmla="*/ 6572 h 254222"/>
                  <a:gd name="connsiteX23" fmla="*/ 119063 w 338137"/>
                  <a:gd name="connsiteY23" fmla="*/ 0 h 254222"/>
                  <a:gd name="connsiteX24" fmla="*/ 105728 w 338137"/>
                  <a:gd name="connsiteY24" fmla="*/ 0 h 254222"/>
                  <a:gd name="connsiteX25" fmla="*/ 91440 w 338137"/>
                  <a:gd name="connsiteY25" fmla="*/ 10477 h 254222"/>
                  <a:gd name="connsiteX26" fmla="*/ 73343 w 338137"/>
                  <a:gd name="connsiteY26" fmla="*/ 20860 h 254222"/>
                  <a:gd name="connsiteX27" fmla="*/ 59055 w 338137"/>
                  <a:gd name="connsiteY27" fmla="*/ 31433 h 254222"/>
                  <a:gd name="connsiteX28" fmla="*/ 48578 w 338137"/>
                  <a:gd name="connsiteY28" fmla="*/ 28575 h 254222"/>
                  <a:gd name="connsiteX29" fmla="*/ 38100 w 338137"/>
                  <a:gd name="connsiteY29" fmla="*/ 28575 h 254222"/>
                  <a:gd name="connsiteX30" fmla="*/ 59055 w 338137"/>
                  <a:gd name="connsiteY30" fmla="*/ 31433 h 254222"/>
                  <a:gd name="connsiteX31" fmla="*/ 56198 w 338137"/>
                  <a:gd name="connsiteY31" fmla="*/ 39052 h 254222"/>
                  <a:gd name="connsiteX32" fmla="*/ 35243 w 338137"/>
                  <a:gd name="connsiteY32" fmla="*/ 45720 h 254222"/>
                  <a:gd name="connsiteX33" fmla="*/ 20955 w 338137"/>
                  <a:gd name="connsiteY33" fmla="*/ 53340 h 254222"/>
                  <a:gd name="connsiteX34" fmla="*/ 6668 w 338137"/>
                  <a:gd name="connsiteY34" fmla="*/ 66675 h 254222"/>
                  <a:gd name="connsiteX35" fmla="*/ 0 w 338137"/>
                  <a:gd name="connsiteY35" fmla="*/ 74295 h 254222"/>
                  <a:gd name="connsiteX36" fmla="*/ 17145 w 338137"/>
                  <a:gd name="connsiteY36" fmla="*/ 80963 h 254222"/>
                  <a:gd name="connsiteX37" fmla="*/ 41910 w 338137"/>
                  <a:gd name="connsiteY37" fmla="*/ 80963 h 254222"/>
                  <a:gd name="connsiteX38" fmla="*/ 62865 w 338137"/>
                  <a:gd name="connsiteY38" fmla="*/ 80963 h 254222"/>
                  <a:gd name="connsiteX39" fmla="*/ 73343 w 338137"/>
                  <a:gd name="connsiteY39" fmla="*/ 74295 h 254222"/>
                  <a:gd name="connsiteX40" fmla="*/ 80963 w 338137"/>
                  <a:gd name="connsiteY40" fmla="*/ 66675 h 254222"/>
                  <a:gd name="connsiteX41" fmla="*/ 94298 w 338137"/>
                  <a:gd name="connsiteY41" fmla="*/ 56102 h 254222"/>
                  <a:gd name="connsiteX42" fmla="*/ 101918 w 338137"/>
                  <a:gd name="connsiteY42" fmla="*/ 66675 h 254222"/>
                  <a:gd name="connsiteX43" fmla="*/ 119063 w 338137"/>
                  <a:gd name="connsiteY43" fmla="*/ 77152 h 254222"/>
                  <a:gd name="connsiteX44" fmla="*/ 137160 w 338137"/>
                  <a:gd name="connsiteY44" fmla="*/ 84677 h 254222"/>
                  <a:gd name="connsiteX45" fmla="*/ 154305 w 338137"/>
                  <a:gd name="connsiteY45" fmla="*/ 80963 h 254222"/>
                  <a:gd name="connsiteX46" fmla="*/ 168593 w 338137"/>
                  <a:gd name="connsiteY46" fmla="*/ 80963 h 254222"/>
                  <a:gd name="connsiteX47" fmla="*/ 186690 w 338137"/>
                  <a:gd name="connsiteY47" fmla="*/ 77152 h 254222"/>
                  <a:gd name="connsiteX48" fmla="*/ 197168 w 338137"/>
                  <a:gd name="connsiteY48" fmla="*/ 84677 h 254222"/>
                  <a:gd name="connsiteX49" fmla="*/ 210503 w 338137"/>
                  <a:gd name="connsiteY49" fmla="*/ 95250 h 254222"/>
                  <a:gd name="connsiteX50" fmla="*/ 210503 w 338137"/>
                  <a:gd name="connsiteY50" fmla="*/ 101822 h 254222"/>
                  <a:gd name="connsiteX51" fmla="*/ 197168 w 338137"/>
                  <a:gd name="connsiteY51" fmla="*/ 95250 h 254222"/>
                  <a:gd name="connsiteX52" fmla="*/ 179070 w 338137"/>
                  <a:gd name="connsiteY52" fmla="*/ 95250 h 254222"/>
                  <a:gd name="connsiteX53" fmla="*/ 164783 w 338137"/>
                  <a:gd name="connsiteY53" fmla="*/ 105727 h 254222"/>
                  <a:gd name="connsiteX54" fmla="*/ 154305 w 338137"/>
                  <a:gd name="connsiteY54" fmla="*/ 109538 h 254222"/>
                  <a:gd name="connsiteX55" fmla="*/ 147638 w 338137"/>
                  <a:gd name="connsiteY55" fmla="*/ 101822 h 254222"/>
                  <a:gd name="connsiteX56" fmla="*/ 140970 w 338137"/>
                  <a:gd name="connsiteY56" fmla="*/ 109538 h 254222"/>
                  <a:gd name="connsiteX57" fmla="*/ 126683 w 338137"/>
                  <a:gd name="connsiteY57" fmla="*/ 123825 h 254222"/>
                  <a:gd name="connsiteX58" fmla="*/ 108585 w 338137"/>
                  <a:gd name="connsiteY58" fmla="*/ 137065 h 254222"/>
                  <a:gd name="connsiteX59" fmla="*/ 112395 w 338137"/>
                  <a:gd name="connsiteY59" fmla="*/ 151352 h 254222"/>
                  <a:gd name="connsiteX60" fmla="*/ 126683 w 338137"/>
                  <a:gd name="connsiteY60" fmla="*/ 147638 h 254222"/>
                  <a:gd name="connsiteX61" fmla="*/ 133350 w 338137"/>
                  <a:gd name="connsiteY61" fmla="*/ 134302 h 254222"/>
                  <a:gd name="connsiteX62" fmla="*/ 119063 w 338137"/>
                  <a:gd name="connsiteY62" fmla="*/ 165640 h 254222"/>
                  <a:gd name="connsiteX63" fmla="*/ 112395 w 338137"/>
                  <a:gd name="connsiteY63" fmla="*/ 207645 h 254222"/>
                  <a:gd name="connsiteX64" fmla="*/ 112395 w 338137"/>
                  <a:gd name="connsiteY64" fmla="*/ 229552 h 254222"/>
                  <a:gd name="connsiteX65" fmla="*/ 119063 w 338137"/>
                  <a:gd name="connsiteY65" fmla="*/ 254222 h 254222"/>
                  <a:gd name="connsiteX66" fmla="*/ 137160 w 338137"/>
                  <a:gd name="connsiteY66" fmla="*/ 250508 h 254222"/>
                  <a:gd name="connsiteX67" fmla="*/ 154305 w 338137"/>
                  <a:gd name="connsiteY67" fmla="*/ 236220 h 254222"/>
                  <a:gd name="connsiteX68" fmla="*/ 161925 w 338137"/>
                  <a:gd name="connsiteY68" fmla="*/ 219075 h 254222"/>
                  <a:gd name="connsiteX69" fmla="*/ 161925 w 338137"/>
                  <a:gd name="connsiteY69" fmla="*/ 197072 h 254222"/>
                  <a:gd name="connsiteX70" fmla="*/ 161925 w 338137"/>
                  <a:gd name="connsiteY70" fmla="*/ 179927 h 254222"/>
                  <a:gd name="connsiteX71" fmla="*/ 161925 w 338137"/>
                  <a:gd name="connsiteY71" fmla="*/ 158972 h 254222"/>
                  <a:gd name="connsiteX72" fmla="*/ 161925 w 338137"/>
                  <a:gd name="connsiteY72" fmla="*/ 144685 h 254222"/>
                  <a:gd name="connsiteX73" fmla="*/ 164783 w 338137"/>
                  <a:gd name="connsiteY73" fmla="*/ 137065 h 254222"/>
                  <a:gd name="connsiteX74" fmla="*/ 176213 w 338137"/>
                  <a:gd name="connsiteY74" fmla="*/ 137065 h 254222"/>
                  <a:gd name="connsiteX75" fmla="*/ 182880 w 338137"/>
                  <a:gd name="connsiteY75" fmla="*/ 130397 h 254222"/>
                  <a:gd name="connsiteX76" fmla="*/ 189548 w 338137"/>
                  <a:gd name="connsiteY76" fmla="*/ 120015 h 254222"/>
                  <a:gd name="connsiteX77" fmla="*/ 203835 w 338137"/>
                  <a:gd name="connsiteY77" fmla="*/ 116110 h 254222"/>
                  <a:gd name="connsiteX78" fmla="*/ 218123 w 338137"/>
                  <a:gd name="connsiteY78" fmla="*/ 123825 h 254222"/>
                  <a:gd name="connsiteX79" fmla="*/ 235268 w 338137"/>
                  <a:gd name="connsiteY79" fmla="*/ 126683 h 254222"/>
                  <a:gd name="connsiteX80" fmla="*/ 242888 w 338137"/>
                  <a:gd name="connsiteY80" fmla="*/ 140970 h 254222"/>
                  <a:gd name="connsiteX81" fmla="*/ 239078 w 338137"/>
                  <a:gd name="connsiteY81" fmla="*/ 158972 h 254222"/>
                  <a:gd name="connsiteX82" fmla="*/ 232410 w 338137"/>
                  <a:gd name="connsiteY82" fmla="*/ 172402 h 254222"/>
                  <a:gd name="connsiteX83" fmla="*/ 224790 w 338137"/>
                  <a:gd name="connsiteY83" fmla="*/ 179927 h 254222"/>
                  <a:gd name="connsiteX84" fmla="*/ 228600 w 338137"/>
                  <a:gd name="connsiteY84" fmla="*/ 186690 h 254222"/>
                  <a:gd name="connsiteX85" fmla="*/ 239078 w 338137"/>
                  <a:gd name="connsiteY85" fmla="*/ 179927 h 254222"/>
                  <a:gd name="connsiteX86" fmla="*/ 249555 w 338137"/>
                  <a:gd name="connsiteY86" fmla="*/ 172402 h 254222"/>
                  <a:gd name="connsiteX87" fmla="*/ 260033 w 338137"/>
                  <a:gd name="connsiteY87" fmla="*/ 176213 h 254222"/>
                  <a:gd name="connsiteX88" fmla="*/ 260033 w 338137"/>
                  <a:gd name="connsiteY88" fmla="*/ 194215 h 254222"/>
                  <a:gd name="connsiteX89" fmla="*/ 257175 w 338137"/>
                  <a:gd name="connsiteY89" fmla="*/ 204788 h 254222"/>
                  <a:gd name="connsiteX90" fmla="*/ 267653 w 338137"/>
                  <a:gd name="connsiteY90" fmla="*/ 200977 h 254222"/>
                  <a:gd name="connsiteX91" fmla="*/ 280988 w 338137"/>
                  <a:gd name="connsiteY91" fmla="*/ 197072 h 254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338137" h="254222">
                    <a:moveTo>
                      <a:pt x="280988" y="197072"/>
                    </a:moveTo>
                    <a:lnTo>
                      <a:pt x="284798" y="179927"/>
                    </a:lnTo>
                    <a:lnTo>
                      <a:pt x="288608" y="165640"/>
                    </a:lnTo>
                    <a:lnTo>
                      <a:pt x="299085" y="155258"/>
                    </a:lnTo>
                    <a:lnTo>
                      <a:pt x="302895" y="144685"/>
                    </a:lnTo>
                    <a:lnTo>
                      <a:pt x="309563" y="144685"/>
                    </a:lnTo>
                    <a:lnTo>
                      <a:pt x="320040" y="155258"/>
                    </a:lnTo>
                    <a:lnTo>
                      <a:pt x="334327" y="151352"/>
                    </a:lnTo>
                    <a:lnTo>
                      <a:pt x="338138" y="137065"/>
                    </a:lnTo>
                    <a:lnTo>
                      <a:pt x="326708" y="120015"/>
                    </a:lnTo>
                    <a:lnTo>
                      <a:pt x="313373" y="105727"/>
                    </a:lnTo>
                    <a:lnTo>
                      <a:pt x="292418" y="98965"/>
                    </a:lnTo>
                    <a:lnTo>
                      <a:pt x="270510" y="95250"/>
                    </a:lnTo>
                    <a:lnTo>
                      <a:pt x="242888" y="95250"/>
                    </a:lnTo>
                    <a:lnTo>
                      <a:pt x="221933" y="91440"/>
                    </a:lnTo>
                    <a:lnTo>
                      <a:pt x="210503" y="80963"/>
                    </a:lnTo>
                    <a:lnTo>
                      <a:pt x="203835" y="63722"/>
                    </a:lnTo>
                    <a:lnTo>
                      <a:pt x="197168" y="41815"/>
                    </a:lnTo>
                    <a:lnTo>
                      <a:pt x="193358" y="35147"/>
                    </a:lnTo>
                    <a:lnTo>
                      <a:pt x="172403" y="35147"/>
                    </a:lnTo>
                    <a:lnTo>
                      <a:pt x="164783" y="20860"/>
                    </a:lnTo>
                    <a:lnTo>
                      <a:pt x="154305" y="6572"/>
                    </a:lnTo>
                    <a:lnTo>
                      <a:pt x="137160" y="6572"/>
                    </a:lnTo>
                    <a:lnTo>
                      <a:pt x="119063" y="0"/>
                    </a:lnTo>
                    <a:lnTo>
                      <a:pt x="105728" y="0"/>
                    </a:lnTo>
                    <a:lnTo>
                      <a:pt x="91440" y="10477"/>
                    </a:lnTo>
                    <a:lnTo>
                      <a:pt x="73343" y="20860"/>
                    </a:lnTo>
                    <a:lnTo>
                      <a:pt x="59055" y="31433"/>
                    </a:lnTo>
                    <a:lnTo>
                      <a:pt x="48578" y="28575"/>
                    </a:lnTo>
                    <a:lnTo>
                      <a:pt x="38100" y="28575"/>
                    </a:lnTo>
                    <a:lnTo>
                      <a:pt x="59055" y="31433"/>
                    </a:lnTo>
                    <a:lnTo>
                      <a:pt x="56198" y="39052"/>
                    </a:lnTo>
                    <a:lnTo>
                      <a:pt x="35243" y="45720"/>
                    </a:lnTo>
                    <a:lnTo>
                      <a:pt x="20955" y="53340"/>
                    </a:lnTo>
                    <a:lnTo>
                      <a:pt x="6668" y="66675"/>
                    </a:lnTo>
                    <a:lnTo>
                      <a:pt x="0" y="74295"/>
                    </a:lnTo>
                    <a:lnTo>
                      <a:pt x="17145" y="80963"/>
                    </a:lnTo>
                    <a:lnTo>
                      <a:pt x="41910" y="80963"/>
                    </a:lnTo>
                    <a:lnTo>
                      <a:pt x="62865" y="80963"/>
                    </a:lnTo>
                    <a:lnTo>
                      <a:pt x="73343" y="74295"/>
                    </a:lnTo>
                    <a:lnTo>
                      <a:pt x="80963" y="66675"/>
                    </a:lnTo>
                    <a:lnTo>
                      <a:pt x="94298" y="56102"/>
                    </a:lnTo>
                    <a:lnTo>
                      <a:pt x="101918" y="66675"/>
                    </a:lnTo>
                    <a:lnTo>
                      <a:pt x="119063" y="77152"/>
                    </a:lnTo>
                    <a:lnTo>
                      <a:pt x="137160" y="84677"/>
                    </a:lnTo>
                    <a:lnTo>
                      <a:pt x="154305" y="80963"/>
                    </a:lnTo>
                    <a:lnTo>
                      <a:pt x="168593" y="80963"/>
                    </a:lnTo>
                    <a:lnTo>
                      <a:pt x="186690" y="77152"/>
                    </a:lnTo>
                    <a:lnTo>
                      <a:pt x="197168" y="84677"/>
                    </a:lnTo>
                    <a:lnTo>
                      <a:pt x="210503" y="95250"/>
                    </a:lnTo>
                    <a:lnTo>
                      <a:pt x="210503" y="101822"/>
                    </a:lnTo>
                    <a:lnTo>
                      <a:pt x="197168" y="95250"/>
                    </a:lnTo>
                    <a:lnTo>
                      <a:pt x="179070" y="95250"/>
                    </a:lnTo>
                    <a:lnTo>
                      <a:pt x="164783" y="105727"/>
                    </a:lnTo>
                    <a:lnTo>
                      <a:pt x="154305" y="109538"/>
                    </a:lnTo>
                    <a:lnTo>
                      <a:pt x="147638" y="101822"/>
                    </a:lnTo>
                    <a:lnTo>
                      <a:pt x="140970" y="109538"/>
                    </a:lnTo>
                    <a:lnTo>
                      <a:pt x="126683" y="123825"/>
                    </a:lnTo>
                    <a:lnTo>
                      <a:pt x="108585" y="137065"/>
                    </a:lnTo>
                    <a:lnTo>
                      <a:pt x="112395" y="151352"/>
                    </a:lnTo>
                    <a:lnTo>
                      <a:pt x="126683" y="147638"/>
                    </a:lnTo>
                    <a:lnTo>
                      <a:pt x="133350" y="134302"/>
                    </a:lnTo>
                    <a:lnTo>
                      <a:pt x="119063" y="165640"/>
                    </a:lnTo>
                    <a:lnTo>
                      <a:pt x="112395" y="207645"/>
                    </a:lnTo>
                    <a:lnTo>
                      <a:pt x="112395" y="229552"/>
                    </a:lnTo>
                    <a:lnTo>
                      <a:pt x="119063" y="254222"/>
                    </a:lnTo>
                    <a:lnTo>
                      <a:pt x="137160" y="250508"/>
                    </a:lnTo>
                    <a:lnTo>
                      <a:pt x="154305" y="236220"/>
                    </a:lnTo>
                    <a:lnTo>
                      <a:pt x="161925" y="219075"/>
                    </a:lnTo>
                    <a:lnTo>
                      <a:pt x="161925" y="197072"/>
                    </a:lnTo>
                    <a:lnTo>
                      <a:pt x="161925" y="179927"/>
                    </a:lnTo>
                    <a:lnTo>
                      <a:pt x="161925" y="158972"/>
                    </a:lnTo>
                    <a:lnTo>
                      <a:pt x="161925" y="144685"/>
                    </a:lnTo>
                    <a:lnTo>
                      <a:pt x="164783" y="137065"/>
                    </a:lnTo>
                    <a:lnTo>
                      <a:pt x="176213" y="137065"/>
                    </a:lnTo>
                    <a:lnTo>
                      <a:pt x="182880" y="130397"/>
                    </a:lnTo>
                    <a:lnTo>
                      <a:pt x="189548" y="120015"/>
                    </a:lnTo>
                    <a:lnTo>
                      <a:pt x="203835" y="116110"/>
                    </a:lnTo>
                    <a:lnTo>
                      <a:pt x="218123" y="123825"/>
                    </a:lnTo>
                    <a:lnTo>
                      <a:pt x="235268" y="126683"/>
                    </a:lnTo>
                    <a:lnTo>
                      <a:pt x="242888" y="140970"/>
                    </a:lnTo>
                    <a:lnTo>
                      <a:pt x="239078" y="158972"/>
                    </a:lnTo>
                    <a:lnTo>
                      <a:pt x="232410" y="172402"/>
                    </a:lnTo>
                    <a:lnTo>
                      <a:pt x="224790" y="179927"/>
                    </a:lnTo>
                    <a:lnTo>
                      <a:pt x="228600" y="186690"/>
                    </a:lnTo>
                    <a:lnTo>
                      <a:pt x="239078" y="179927"/>
                    </a:lnTo>
                    <a:lnTo>
                      <a:pt x="249555" y="172402"/>
                    </a:lnTo>
                    <a:lnTo>
                      <a:pt x="260033" y="176213"/>
                    </a:lnTo>
                    <a:lnTo>
                      <a:pt x="260033" y="194215"/>
                    </a:lnTo>
                    <a:lnTo>
                      <a:pt x="257175" y="204788"/>
                    </a:lnTo>
                    <a:lnTo>
                      <a:pt x="267653" y="200977"/>
                    </a:lnTo>
                    <a:lnTo>
                      <a:pt x="280988" y="19707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6" name="Freeform: Shape 345">
                <a:extLst>
                  <a:ext uri="{FF2B5EF4-FFF2-40B4-BE49-F238E27FC236}">
                    <a16:creationId xmlns:a16="http://schemas.microsoft.com/office/drawing/2014/main" id="{496FC6C9-3735-7ABB-6462-A7D1AB37B161}"/>
                  </a:ext>
                </a:extLst>
              </p:cNvPr>
              <p:cNvSpPr/>
              <p:nvPr/>
            </p:nvSpPr>
            <p:spPr>
              <a:xfrm>
                <a:off x="7437390" y="3907867"/>
                <a:ext cx="76564" cy="14005"/>
              </a:xfrm>
              <a:custGeom>
                <a:avLst/>
                <a:gdLst>
                  <a:gd name="connsiteX0" fmla="*/ 0 w 78104"/>
                  <a:gd name="connsiteY0" fmla="*/ 0 h 14287"/>
                  <a:gd name="connsiteX1" fmla="*/ 14288 w 78104"/>
                  <a:gd name="connsiteY1" fmla="*/ 3810 h 14287"/>
                  <a:gd name="connsiteX2" fmla="*/ 35242 w 78104"/>
                  <a:gd name="connsiteY2" fmla="*/ 10382 h 14287"/>
                  <a:gd name="connsiteX3" fmla="*/ 45720 w 78104"/>
                  <a:gd name="connsiteY3" fmla="*/ 14288 h 14287"/>
                  <a:gd name="connsiteX4" fmla="*/ 78105 w 78104"/>
                  <a:gd name="connsiteY4" fmla="*/ 10382 h 14287"/>
                  <a:gd name="connsiteX5" fmla="*/ 45720 w 78104"/>
                  <a:gd name="connsiteY5" fmla="*/ 10382 h 14287"/>
                  <a:gd name="connsiteX6" fmla="*/ 0 w 78104"/>
                  <a:gd name="connsiteY6" fmla="*/ 0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104" h="14287">
                    <a:moveTo>
                      <a:pt x="0" y="0"/>
                    </a:moveTo>
                    <a:lnTo>
                      <a:pt x="14288" y="3810"/>
                    </a:lnTo>
                    <a:lnTo>
                      <a:pt x="35242" y="10382"/>
                    </a:lnTo>
                    <a:lnTo>
                      <a:pt x="45720" y="14288"/>
                    </a:lnTo>
                    <a:lnTo>
                      <a:pt x="78105" y="10382"/>
                    </a:lnTo>
                    <a:lnTo>
                      <a:pt x="45720" y="103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7" name="Freeform: Shape 346">
                <a:extLst>
                  <a:ext uri="{FF2B5EF4-FFF2-40B4-BE49-F238E27FC236}">
                    <a16:creationId xmlns:a16="http://schemas.microsoft.com/office/drawing/2014/main" id="{FE02EDD2-4023-AC94-3AB0-89FAF700B0BB}"/>
                  </a:ext>
                </a:extLst>
              </p:cNvPr>
              <p:cNvSpPr/>
              <p:nvPr/>
            </p:nvSpPr>
            <p:spPr>
              <a:xfrm>
                <a:off x="6889294" y="3531479"/>
                <a:ext cx="51354" cy="27078"/>
              </a:xfrm>
              <a:custGeom>
                <a:avLst/>
                <a:gdLst>
                  <a:gd name="connsiteX0" fmla="*/ 27622 w 52387"/>
                  <a:gd name="connsiteY0" fmla="*/ 6763 h 27622"/>
                  <a:gd name="connsiteX1" fmla="*/ 13335 w 52387"/>
                  <a:gd name="connsiteY1" fmla="*/ 10573 h 27622"/>
                  <a:gd name="connsiteX2" fmla="*/ 0 w 52387"/>
                  <a:gd name="connsiteY2" fmla="*/ 10573 h 27622"/>
                  <a:gd name="connsiteX3" fmla="*/ 0 w 52387"/>
                  <a:gd name="connsiteY3" fmla="*/ 21050 h 27622"/>
                  <a:gd name="connsiteX4" fmla="*/ 6668 w 52387"/>
                  <a:gd name="connsiteY4" fmla="*/ 27622 h 27622"/>
                  <a:gd name="connsiteX5" fmla="*/ 20955 w 52387"/>
                  <a:gd name="connsiteY5" fmla="*/ 27622 h 27622"/>
                  <a:gd name="connsiteX6" fmla="*/ 31432 w 52387"/>
                  <a:gd name="connsiteY6" fmla="*/ 21050 h 27622"/>
                  <a:gd name="connsiteX7" fmla="*/ 38100 w 52387"/>
                  <a:gd name="connsiteY7" fmla="*/ 14288 h 27622"/>
                  <a:gd name="connsiteX8" fmla="*/ 52388 w 52387"/>
                  <a:gd name="connsiteY8" fmla="*/ 0 h 27622"/>
                  <a:gd name="connsiteX9" fmla="*/ 41910 w 52387"/>
                  <a:gd name="connsiteY9" fmla="*/ 6763 h 27622"/>
                  <a:gd name="connsiteX10" fmla="*/ 27622 w 52387"/>
                  <a:gd name="connsiteY10" fmla="*/ 6763 h 2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2387" h="27622">
                    <a:moveTo>
                      <a:pt x="27622" y="6763"/>
                    </a:moveTo>
                    <a:lnTo>
                      <a:pt x="13335" y="10573"/>
                    </a:lnTo>
                    <a:lnTo>
                      <a:pt x="0" y="10573"/>
                    </a:lnTo>
                    <a:lnTo>
                      <a:pt x="0" y="21050"/>
                    </a:lnTo>
                    <a:lnTo>
                      <a:pt x="6668" y="27622"/>
                    </a:lnTo>
                    <a:lnTo>
                      <a:pt x="20955" y="27622"/>
                    </a:lnTo>
                    <a:lnTo>
                      <a:pt x="31432" y="21050"/>
                    </a:lnTo>
                    <a:lnTo>
                      <a:pt x="38100" y="14288"/>
                    </a:lnTo>
                    <a:lnTo>
                      <a:pt x="52388" y="0"/>
                    </a:lnTo>
                    <a:lnTo>
                      <a:pt x="41910" y="6763"/>
                    </a:lnTo>
                    <a:lnTo>
                      <a:pt x="27622" y="67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id="{ACC644BB-4ECE-5EB4-0E3E-7479B953ACDA}"/>
                  </a:ext>
                </a:extLst>
              </p:cNvPr>
              <p:cNvSpPr/>
              <p:nvPr/>
            </p:nvSpPr>
            <p:spPr>
              <a:xfrm>
                <a:off x="6161922" y="3127267"/>
                <a:ext cx="121384" cy="65361"/>
              </a:xfrm>
              <a:custGeom>
                <a:avLst/>
                <a:gdLst>
                  <a:gd name="connsiteX0" fmla="*/ 101918 w 123825"/>
                  <a:gd name="connsiteY0" fmla="*/ 2762 h 66675"/>
                  <a:gd name="connsiteX1" fmla="*/ 88582 w 123825"/>
                  <a:gd name="connsiteY1" fmla="*/ 0 h 66675"/>
                  <a:gd name="connsiteX2" fmla="*/ 70485 w 123825"/>
                  <a:gd name="connsiteY2" fmla="*/ 2762 h 66675"/>
                  <a:gd name="connsiteX3" fmla="*/ 53340 w 123825"/>
                  <a:gd name="connsiteY3" fmla="*/ 2762 h 66675"/>
                  <a:gd name="connsiteX4" fmla="*/ 42863 w 123825"/>
                  <a:gd name="connsiteY4" fmla="*/ 2762 h 66675"/>
                  <a:gd name="connsiteX5" fmla="*/ 39053 w 123825"/>
                  <a:gd name="connsiteY5" fmla="*/ 10382 h 66675"/>
                  <a:gd name="connsiteX6" fmla="*/ 31432 w 123825"/>
                  <a:gd name="connsiteY6" fmla="*/ 10382 h 66675"/>
                  <a:gd name="connsiteX7" fmla="*/ 14288 w 123825"/>
                  <a:gd name="connsiteY7" fmla="*/ 27623 h 66675"/>
                  <a:gd name="connsiteX8" fmla="*/ 0 w 123825"/>
                  <a:gd name="connsiteY8" fmla="*/ 49530 h 66675"/>
                  <a:gd name="connsiteX9" fmla="*/ 28575 w 123825"/>
                  <a:gd name="connsiteY9" fmla="*/ 49530 h 66675"/>
                  <a:gd name="connsiteX10" fmla="*/ 28575 w 123825"/>
                  <a:gd name="connsiteY10" fmla="*/ 66675 h 66675"/>
                  <a:gd name="connsiteX11" fmla="*/ 53340 w 123825"/>
                  <a:gd name="connsiteY11" fmla="*/ 62770 h 66675"/>
                  <a:gd name="connsiteX12" fmla="*/ 53340 w 123825"/>
                  <a:gd name="connsiteY12" fmla="*/ 56198 h 66675"/>
                  <a:gd name="connsiteX13" fmla="*/ 60007 w 123825"/>
                  <a:gd name="connsiteY13" fmla="*/ 52388 h 66675"/>
                  <a:gd name="connsiteX14" fmla="*/ 70485 w 123825"/>
                  <a:gd name="connsiteY14" fmla="*/ 59912 h 66675"/>
                  <a:gd name="connsiteX15" fmla="*/ 80963 w 123825"/>
                  <a:gd name="connsiteY15" fmla="*/ 62770 h 66675"/>
                  <a:gd name="connsiteX16" fmla="*/ 88582 w 123825"/>
                  <a:gd name="connsiteY16" fmla="*/ 59912 h 66675"/>
                  <a:gd name="connsiteX17" fmla="*/ 88582 w 123825"/>
                  <a:gd name="connsiteY17" fmla="*/ 41910 h 66675"/>
                  <a:gd name="connsiteX18" fmla="*/ 99060 w 123825"/>
                  <a:gd name="connsiteY18" fmla="*/ 52388 h 66675"/>
                  <a:gd name="connsiteX19" fmla="*/ 116205 w 123825"/>
                  <a:gd name="connsiteY19" fmla="*/ 49530 h 66675"/>
                  <a:gd name="connsiteX20" fmla="*/ 123825 w 123825"/>
                  <a:gd name="connsiteY20" fmla="*/ 35243 h 66675"/>
                  <a:gd name="connsiteX21" fmla="*/ 120015 w 123825"/>
                  <a:gd name="connsiteY21" fmla="*/ 27623 h 66675"/>
                  <a:gd name="connsiteX22" fmla="*/ 113348 w 123825"/>
                  <a:gd name="connsiteY22" fmla="*/ 27623 h 66675"/>
                  <a:gd name="connsiteX23" fmla="*/ 99060 w 123825"/>
                  <a:gd name="connsiteY23" fmla="*/ 24670 h 66675"/>
                  <a:gd name="connsiteX24" fmla="*/ 101918 w 123825"/>
                  <a:gd name="connsiteY24" fmla="*/ 14288 h 66675"/>
                  <a:gd name="connsiteX25" fmla="*/ 105728 w 123825"/>
                  <a:gd name="connsiteY25" fmla="*/ 6668 h 66675"/>
                  <a:gd name="connsiteX26" fmla="*/ 101918 w 123825"/>
                  <a:gd name="connsiteY26" fmla="*/ 2762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3825" h="66675">
                    <a:moveTo>
                      <a:pt x="101918" y="2762"/>
                    </a:moveTo>
                    <a:lnTo>
                      <a:pt x="88582" y="0"/>
                    </a:lnTo>
                    <a:lnTo>
                      <a:pt x="70485" y="2762"/>
                    </a:lnTo>
                    <a:lnTo>
                      <a:pt x="53340" y="2762"/>
                    </a:lnTo>
                    <a:lnTo>
                      <a:pt x="42863" y="2762"/>
                    </a:lnTo>
                    <a:lnTo>
                      <a:pt x="39053" y="10382"/>
                    </a:lnTo>
                    <a:lnTo>
                      <a:pt x="31432" y="10382"/>
                    </a:lnTo>
                    <a:lnTo>
                      <a:pt x="14288" y="27623"/>
                    </a:lnTo>
                    <a:lnTo>
                      <a:pt x="0" y="49530"/>
                    </a:lnTo>
                    <a:lnTo>
                      <a:pt x="28575" y="49530"/>
                    </a:lnTo>
                    <a:lnTo>
                      <a:pt x="28575" y="66675"/>
                    </a:lnTo>
                    <a:lnTo>
                      <a:pt x="53340" y="62770"/>
                    </a:lnTo>
                    <a:lnTo>
                      <a:pt x="53340" y="56198"/>
                    </a:lnTo>
                    <a:lnTo>
                      <a:pt x="60007" y="52388"/>
                    </a:lnTo>
                    <a:lnTo>
                      <a:pt x="70485" y="59912"/>
                    </a:lnTo>
                    <a:lnTo>
                      <a:pt x="80963" y="62770"/>
                    </a:lnTo>
                    <a:lnTo>
                      <a:pt x="88582" y="59912"/>
                    </a:lnTo>
                    <a:lnTo>
                      <a:pt x="88582" y="41910"/>
                    </a:lnTo>
                    <a:lnTo>
                      <a:pt x="99060" y="52388"/>
                    </a:lnTo>
                    <a:lnTo>
                      <a:pt x="116205" y="49530"/>
                    </a:lnTo>
                    <a:lnTo>
                      <a:pt x="123825" y="35243"/>
                    </a:lnTo>
                    <a:lnTo>
                      <a:pt x="120015" y="27623"/>
                    </a:lnTo>
                    <a:lnTo>
                      <a:pt x="113348" y="27623"/>
                    </a:lnTo>
                    <a:lnTo>
                      <a:pt x="99060" y="24670"/>
                    </a:lnTo>
                    <a:lnTo>
                      <a:pt x="101918" y="14288"/>
                    </a:lnTo>
                    <a:lnTo>
                      <a:pt x="105728" y="6668"/>
                    </a:lnTo>
                    <a:lnTo>
                      <a:pt x="101918" y="276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id="{4F24BEB5-224C-DC73-E88F-D45D691D1C31}"/>
                  </a:ext>
                </a:extLst>
              </p:cNvPr>
              <p:cNvSpPr/>
              <p:nvPr/>
            </p:nvSpPr>
            <p:spPr>
              <a:xfrm>
                <a:off x="6751103" y="1809771"/>
                <a:ext cx="4452931" cy="1538790"/>
              </a:xfrm>
              <a:custGeom>
                <a:avLst/>
                <a:gdLst>
                  <a:gd name="connsiteX0" fmla="*/ 4521518 w 4542472"/>
                  <a:gd name="connsiteY0" fmla="*/ 585788 h 1569720"/>
                  <a:gd name="connsiteX1" fmla="*/ 4490085 w 4542472"/>
                  <a:gd name="connsiteY1" fmla="*/ 564832 h 1569720"/>
                  <a:gd name="connsiteX2" fmla="*/ 4454843 w 4542472"/>
                  <a:gd name="connsiteY2" fmla="*/ 557213 h 1569720"/>
                  <a:gd name="connsiteX3" fmla="*/ 4426268 w 4542472"/>
                  <a:gd name="connsiteY3" fmla="*/ 553307 h 1569720"/>
                  <a:gd name="connsiteX4" fmla="*/ 4436745 w 4542472"/>
                  <a:gd name="connsiteY4" fmla="*/ 585788 h 1569720"/>
                  <a:gd name="connsiteX5" fmla="*/ 4423410 w 4542472"/>
                  <a:gd name="connsiteY5" fmla="*/ 592360 h 1569720"/>
                  <a:gd name="connsiteX6" fmla="*/ 4405312 w 4542472"/>
                  <a:gd name="connsiteY6" fmla="*/ 564832 h 1569720"/>
                  <a:gd name="connsiteX7" fmla="*/ 4394835 w 4542472"/>
                  <a:gd name="connsiteY7" fmla="*/ 542925 h 1569720"/>
                  <a:gd name="connsiteX8" fmla="*/ 4380547 w 4542472"/>
                  <a:gd name="connsiteY8" fmla="*/ 521970 h 1569720"/>
                  <a:gd name="connsiteX9" fmla="*/ 4299585 w 4542472"/>
                  <a:gd name="connsiteY9" fmla="*/ 486632 h 1569720"/>
                  <a:gd name="connsiteX10" fmla="*/ 4253865 w 4542472"/>
                  <a:gd name="connsiteY10" fmla="*/ 461963 h 1569720"/>
                  <a:gd name="connsiteX11" fmla="*/ 4176713 w 4542472"/>
                  <a:gd name="connsiteY11" fmla="*/ 434245 h 1569720"/>
                  <a:gd name="connsiteX12" fmla="*/ 4110038 w 4542472"/>
                  <a:gd name="connsiteY12" fmla="*/ 422910 h 1569720"/>
                  <a:gd name="connsiteX13" fmla="*/ 4052888 w 4542472"/>
                  <a:gd name="connsiteY13" fmla="*/ 422910 h 1569720"/>
                  <a:gd name="connsiteX14" fmla="*/ 4021455 w 4542472"/>
                  <a:gd name="connsiteY14" fmla="*/ 409575 h 1569720"/>
                  <a:gd name="connsiteX15" fmla="*/ 4000500 w 4542472"/>
                  <a:gd name="connsiteY15" fmla="*/ 412432 h 1569720"/>
                  <a:gd name="connsiteX16" fmla="*/ 4004310 w 4542472"/>
                  <a:gd name="connsiteY16" fmla="*/ 444722 h 1569720"/>
                  <a:gd name="connsiteX17" fmla="*/ 4014788 w 4542472"/>
                  <a:gd name="connsiteY17" fmla="*/ 465773 h 1569720"/>
                  <a:gd name="connsiteX18" fmla="*/ 4004310 w 4542472"/>
                  <a:gd name="connsiteY18" fmla="*/ 480060 h 1569720"/>
                  <a:gd name="connsiteX19" fmla="*/ 3969067 w 4542472"/>
                  <a:gd name="connsiteY19" fmla="*/ 476250 h 1569720"/>
                  <a:gd name="connsiteX20" fmla="*/ 3936683 w 4542472"/>
                  <a:gd name="connsiteY20" fmla="*/ 451485 h 1569720"/>
                  <a:gd name="connsiteX21" fmla="*/ 3936683 w 4542472"/>
                  <a:gd name="connsiteY21" fmla="*/ 430435 h 1569720"/>
                  <a:gd name="connsiteX22" fmla="*/ 3926205 w 4542472"/>
                  <a:gd name="connsiteY22" fmla="*/ 426720 h 1569720"/>
                  <a:gd name="connsiteX23" fmla="*/ 3898583 w 4542472"/>
                  <a:gd name="connsiteY23" fmla="*/ 441007 h 1569720"/>
                  <a:gd name="connsiteX24" fmla="*/ 3884295 w 4542472"/>
                  <a:gd name="connsiteY24" fmla="*/ 441007 h 1569720"/>
                  <a:gd name="connsiteX25" fmla="*/ 3768090 w 4542472"/>
                  <a:gd name="connsiteY25" fmla="*/ 434245 h 1569720"/>
                  <a:gd name="connsiteX26" fmla="*/ 3743325 w 4542472"/>
                  <a:gd name="connsiteY26" fmla="*/ 444722 h 1569720"/>
                  <a:gd name="connsiteX27" fmla="*/ 3711892 w 4542472"/>
                  <a:gd name="connsiteY27" fmla="*/ 434245 h 1569720"/>
                  <a:gd name="connsiteX28" fmla="*/ 3704272 w 4542472"/>
                  <a:gd name="connsiteY28" fmla="*/ 419957 h 1569720"/>
                  <a:gd name="connsiteX29" fmla="*/ 3708083 w 4542472"/>
                  <a:gd name="connsiteY29" fmla="*/ 395288 h 1569720"/>
                  <a:gd name="connsiteX30" fmla="*/ 3669030 w 4542472"/>
                  <a:gd name="connsiteY30" fmla="*/ 374332 h 1569720"/>
                  <a:gd name="connsiteX31" fmla="*/ 3574733 w 4542472"/>
                  <a:gd name="connsiteY31" fmla="*/ 370523 h 1569720"/>
                  <a:gd name="connsiteX32" fmla="*/ 3482340 w 4542472"/>
                  <a:gd name="connsiteY32" fmla="*/ 366713 h 1569720"/>
                  <a:gd name="connsiteX33" fmla="*/ 3429952 w 4542472"/>
                  <a:gd name="connsiteY33" fmla="*/ 345757 h 1569720"/>
                  <a:gd name="connsiteX34" fmla="*/ 3405188 w 4542472"/>
                  <a:gd name="connsiteY34" fmla="*/ 335185 h 1569720"/>
                  <a:gd name="connsiteX35" fmla="*/ 3419475 w 4542472"/>
                  <a:gd name="connsiteY35" fmla="*/ 317182 h 1569720"/>
                  <a:gd name="connsiteX36" fmla="*/ 3390900 w 4542472"/>
                  <a:gd name="connsiteY36" fmla="*/ 303848 h 1569720"/>
                  <a:gd name="connsiteX37" fmla="*/ 3328035 w 4542472"/>
                  <a:gd name="connsiteY37" fmla="*/ 310420 h 1569720"/>
                  <a:gd name="connsiteX38" fmla="*/ 3317558 w 4542472"/>
                  <a:gd name="connsiteY38" fmla="*/ 303848 h 1569720"/>
                  <a:gd name="connsiteX39" fmla="*/ 3295650 w 4542472"/>
                  <a:gd name="connsiteY39" fmla="*/ 285750 h 1569720"/>
                  <a:gd name="connsiteX40" fmla="*/ 3176588 w 4542472"/>
                  <a:gd name="connsiteY40" fmla="*/ 279082 h 1569720"/>
                  <a:gd name="connsiteX41" fmla="*/ 3137535 w 4542472"/>
                  <a:gd name="connsiteY41" fmla="*/ 292322 h 1569720"/>
                  <a:gd name="connsiteX42" fmla="*/ 3141345 w 4542472"/>
                  <a:gd name="connsiteY42" fmla="*/ 324707 h 1569720"/>
                  <a:gd name="connsiteX43" fmla="*/ 3112770 w 4542472"/>
                  <a:gd name="connsiteY43" fmla="*/ 338995 h 1569720"/>
                  <a:gd name="connsiteX44" fmla="*/ 3073717 w 4542472"/>
                  <a:gd name="connsiteY44" fmla="*/ 352425 h 1569720"/>
                  <a:gd name="connsiteX45" fmla="*/ 3027997 w 4542472"/>
                  <a:gd name="connsiteY45" fmla="*/ 335185 h 1569720"/>
                  <a:gd name="connsiteX46" fmla="*/ 2986088 w 4542472"/>
                  <a:gd name="connsiteY46" fmla="*/ 349472 h 1569720"/>
                  <a:gd name="connsiteX47" fmla="*/ 2940367 w 4542472"/>
                  <a:gd name="connsiteY47" fmla="*/ 324707 h 1569720"/>
                  <a:gd name="connsiteX48" fmla="*/ 2905125 w 4542472"/>
                  <a:gd name="connsiteY48" fmla="*/ 377095 h 1569720"/>
                  <a:gd name="connsiteX49" fmla="*/ 2866072 w 4542472"/>
                  <a:gd name="connsiteY49" fmla="*/ 366713 h 1569720"/>
                  <a:gd name="connsiteX50" fmla="*/ 2827972 w 4542472"/>
                  <a:gd name="connsiteY50" fmla="*/ 320897 h 1569720"/>
                  <a:gd name="connsiteX51" fmla="*/ 2848927 w 4542472"/>
                  <a:gd name="connsiteY51" fmla="*/ 306610 h 1569720"/>
                  <a:gd name="connsiteX52" fmla="*/ 2841308 w 4542472"/>
                  <a:gd name="connsiteY52" fmla="*/ 275273 h 1569720"/>
                  <a:gd name="connsiteX53" fmla="*/ 2809875 w 4542472"/>
                  <a:gd name="connsiteY53" fmla="*/ 239935 h 1569720"/>
                  <a:gd name="connsiteX54" fmla="*/ 2753677 w 4542472"/>
                  <a:gd name="connsiteY54" fmla="*/ 243745 h 1569720"/>
                  <a:gd name="connsiteX55" fmla="*/ 2718435 w 4542472"/>
                  <a:gd name="connsiteY55" fmla="*/ 225647 h 1569720"/>
                  <a:gd name="connsiteX56" fmla="*/ 2693670 w 4542472"/>
                  <a:gd name="connsiteY56" fmla="*/ 221932 h 1569720"/>
                  <a:gd name="connsiteX57" fmla="*/ 2679383 w 4542472"/>
                  <a:gd name="connsiteY57" fmla="*/ 268510 h 1569720"/>
                  <a:gd name="connsiteX58" fmla="*/ 2552700 w 4542472"/>
                  <a:gd name="connsiteY58" fmla="*/ 254222 h 1569720"/>
                  <a:gd name="connsiteX59" fmla="*/ 2552700 w 4542472"/>
                  <a:gd name="connsiteY59" fmla="*/ 236220 h 1569720"/>
                  <a:gd name="connsiteX60" fmla="*/ 2422208 w 4542472"/>
                  <a:gd name="connsiteY60" fmla="*/ 233363 h 1569720"/>
                  <a:gd name="connsiteX61" fmla="*/ 2405063 w 4542472"/>
                  <a:gd name="connsiteY61" fmla="*/ 243745 h 1569720"/>
                  <a:gd name="connsiteX62" fmla="*/ 2373630 w 4542472"/>
                  <a:gd name="connsiteY62" fmla="*/ 221932 h 1569720"/>
                  <a:gd name="connsiteX63" fmla="*/ 2352675 w 4542472"/>
                  <a:gd name="connsiteY63" fmla="*/ 215170 h 1569720"/>
                  <a:gd name="connsiteX64" fmla="*/ 2345055 w 4542472"/>
                  <a:gd name="connsiteY64" fmla="*/ 198120 h 1569720"/>
                  <a:gd name="connsiteX65" fmla="*/ 2317433 w 4542472"/>
                  <a:gd name="connsiteY65" fmla="*/ 204788 h 1569720"/>
                  <a:gd name="connsiteX66" fmla="*/ 2299335 w 4542472"/>
                  <a:gd name="connsiteY66" fmla="*/ 221932 h 1569720"/>
                  <a:gd name="connsiteX67" fmla="*/ 2303145 w 4542472"/>
                  <a:gd name="connsiteY67" fmla="*/ 236220 h 1569720"/>
                  <a:gd name="connsiteX68" fmla="*/ 2228850 w 4542472"/>
                  <a:gd name="connsiteY68" fmla="*/ 257175 h 1569720"/>
                  <a:gd name="connsiteX69" fmla="*/ 2189797 w 4542472"/>
                  <a:gd name="connsiteY69" fmla="*/ 271463 h 1569720"/>
                  <a:gd name="connsiteX70" fmla="*/ 2183130 w 4542472"/>
                  <a:gd name="connsiteY70" fmla="*/ 264795 h 1569720"/>
                  <a:gd name="connsiteX71" fmla="*/ 2270760 w 4542472"/>
                  <a:gd name="connsiteY71" fmla="*/ 215170 h 1569720"/>
                  <a:gd name="connsiteX72" fmla="*/ 2334577 w 4542472"/>
                  <a:gd name="connsiteY72" fmla="*/ 180022 h 1569720"/>
                  <a:gd name="connsiteX73" fmla="*/ 2394585 w 4542472"/>
                  <a:gd name="connsiteY73" fmla="*/ 148495 h 1569720"/>
                  <a:gd name="connsiteX74" fmla="*/ 2408872 w 4542472"/>
                  <a:gd name="connsiteY74" fmla="*/ 113347 h 1569720"/>
                  <a:gd name="connsiteX75" fmla="*/ 2401252 w 4542472"/>
                  <a:gd name="connsiteY75" fmla="*/ 91345 h 1569720"/>
                  <a:gd name="connsiteX76" fmla="*/ 2352675 w 4542472"/>
                  <a:gd name="connsiteY76" fmla="*/ 60007 h 1569720"/>
                  <a:gd name="connsiteX77" fmla="*/ 2218372 w 4542472"/>
                  <a:gd name="connsiteY77" fmla="*/ 63722 h 1569720"/>
                  <a:gd name="connsiteX78" fmla="*/ 2232660 w 4542472"/>
                  <a:gd name="connsiteY78" fmla="*/ 38957 h 1569720"/>
                  <a:gd name="connsiteX79" fmla="*/ 2158365 w 4542472"/>
                  <a:gd name="connsiteY79" fmla="*/ 35147 h 1569720"/>
                  <a:gd name="connsiteX80" fmla="*/ 2197417 w 4542472"/>
                  <a:gd name="connsiteY80" fmla="*/ 14288 h 1569720"/>
                  <a:gd name="connsiteX81" fmla="*/ 2165985 w 4542472"/>
                  <a:gd name="connsiteY81" fmla="*/ 3810 h 1569720"/>
                  <a:gd name="connsiteX82" fmla="*/ 2105977 w 4542472"/>
                  <a:gd name="connsiteY82" fmla="*/ 0 h 1569720"/>
                  <a:gd name="connsiteX83" fmla="*/ 2063115 w 4542472"/>
                  <a:gd name="connsiteY83" fmla="*/ 35147 h 1569720"/>
                  <a:gd name="connsiteX84" fmla="*/ 2070735 w 4542472"/>
                  <a:gd name="connsiteY84" fmla="*/ 63722 h 1569720"/>
                  <a:gd name="connsiteX85" fmla="*/ 1982152 w 4542472"/>
                  <a:gd name="connsiteY85" fmla="*/ 91345 h 1569720"/>
                  <a:gd name="connsiteX86" fmla="*/ 1922145 w 4542472"/>
                  <a:gd name="connsiteY86" fmla="*/ 84772 h 1569720"/>
                  <a:gd name="connsiteX87" fmla="*/ 1859280 w 4542472"/>
                  <a:gd name="connsiteY87" fmla="*/ 91345 h 1569720"/>
                  <a:gd name="connsiteX88" fmla="*/ 1711642 w 4542472"/>
                  <a:gd name="connsiteY88" fmla="*/ 140970 h 1569720"/>
                  <a:gd name="connsiteX89" fmla="*/ 1644015 w 4542472"/>
                  <a:gd name="connsiteY89" fmla="*/ 173260 h 1569720"/>
                  <a:gd name="connsiteX90" fmla="*/ 1665922 w 4542472"/>
                  <a:gd name="connsiteY90" fmla="*/ 211360 h 1569720"/>
                  <a:gd name="connsiteX91" fmla="*/ 1584007 w 4542472"/>
                  <a:gd name="connsiteY91" fmla="*/ 225647 h 1569720"/>
                  <a:gd name="connsiteX92" fmla="*/ 1503045 w 4542472"/>
                  <a:gd name="connsiteY92" fmla="*/ 229457 h 1569720"/>
                  <a:gd name="connsiteX93" fmla="*/ 1482090 w 4542472"/>
                  <a:gd name="connsiteY93" fmla="*/ 243745 h 1569720"/>
                  <a:gd name="connsiteX94" fmla="*/ 1492567 w 4542472"/>
                  <a:gd name="connsiteY94" fmla="*/ 281845 h 1569720"/>
                  <a:gd name="connsiteX95" fmla="*/ 1524952 w 4542472"/>
                  <a:gd name="connsiteY95" fmla="*/ 306610 h 1569720"/>
                  <a:gd name="connsiteX96" fmla="*/ 1548765 w 4542472"/>
                  <a:gd name="connsiteY96" fmla="*/ 331470 h 1569720"/>
                  <a:gd name="connsiteX97" fmla="*/ 1500188 w 4542472"/>
                  <a:gd name="connsiteY97" fmla="*/ 331470 h 1569720"/>
                  <a:gd name="connsiteX98" fmla="*/ 1464945 w 4542472"/>
                  <a:gd name="connsiteY98" fmla="*/ 303848 h 1569720"/>
                  <a:gd name="connsiteX99" fmla="*/ 1404938 w 4542472"/>
                  <a:gd name="connsiteY99" fmla="*/ 285750 h 1569720"/>
                  <a:gd name="connsiteX100" fmla="*/ 1394460 w 4542472"/>
                  <a:gd name="connsiteY100" fmla="*/ 292322 h 1569720"/>
                  <a:gd name="connsiteX101" fmla="*/ 1419225 w 4542472"/>
                  <a:gd name="connsiteY101" fmla="*/ 320897 h 1569720"/>
                  <a:gd name="connsiteX102" fmla="*/ 1383982 w 4542472"/>
                  <a:gd name="connsiteY102" fmla="*/ 314325 h 1569720"/>
                  <a:gd name="connsiteX103" fmla="*/ 1363027 w 4542472"/>
                  <a:gd name="connsiteY103" fmla="*/ 320897 h 1569720"/>
                  <a:gd name="connsiteX104" fmla="*/ 1376363 w 4542472"/>
                  <a:gd name="connsiteY104" fmla="*/ 341948 h 1569720"/>
                  <a:gd name="connsiteX105" fmla="*/ 1411605 w 4542472"/>
                  <a:gd name="connsiteY105" fmla="*/ 352425 h 1569720"/>
                  <a:gd name="connsiteX106" fmla="*/ 1436370 w 4542472"/>
                  <a:gd name="connsiteY106" fmla="*/ 370523 h 1569720"/>
                  <a:gd name="connsiteX107" fmla="*/ 1415415 w 4542472"/>
                  <a:gd name="connsiteY107" fmla="*/ 370523 h 1569720"/>
                  <a:gd name="connsiteX108" fmla="*/ 1373505 w 4542472"/>
                  <a:gd name="connsiteY108" fmla="*/ 360045 h 1569720"/>
                  <a:gd name="connsiteX109" fmla="*/ 1344930 w 4542472"/>
                  <a:gd name="connsiteY109" fmla="*/ 352425 h 1569720"/>
                  <a:gd name="connsiteX110" fmla="*/ 1338263 w 4542472"/>
                  <a:gd name="connsiteY110" fmla="*/ 335185 h 1569720"/>
                  <a:gd name="connsiteX111" fmla="*/ 1348740 w 4542472"/>
                  <a:gd name="connsiteY111" fmla="*/ 310420 h 1569720"/>
                  <a:gd name="connsiteX112" fmla="*/ 1344930 w 4542472"/>
                  <a:gd name="connsiteY112" fmla="*/ 279082 h 1569720"/>
                  <a:gd name="connsiteX113" fmla="*/ 1330642 w 4542472"/>
                  <a:gd name="connsiteY113" fmla="*/ 279082 h 1569720"/>
                  <a:gd name="connsiteX114" fmla="*/ 1327785 w 4542472"/>
                  <a:gd name="connsiteY114" fmla="*/ 306610 h 1569720"/>
                  <a:gd name="connsiteX115" fmla="*/ 1303020 w 4542472"/>
                  <a:gd name="connsiteY115" fmla="*/ 317182 h 1569720"/>
                  <a:gd name="connsiteX116" fmla="*/ 1281113 w 4542472"/>
                  <a:gd name="connsiteY116" fmla="*/ 338995 h 1569720"/>
                  <a:gd name="connsiteX117" fmla="*/ 1292542 w 4542472"/>
                  <a:gd name="connsiteY117" fmla="*/ 360045 h 1569720"/>
                  <a:gd name="connsiteX118" fmla="*/ 1309688 w 4542472"/>
                  <a:gd name="connsiteY118" fmla="*/ 387572 h 1569720"/>
                  <a:gd name="connsiteX119" fmla="*/ 1295400 w 4542472"/>
                  <a:gd name="connsiteY119" fmla="*/ 422910 h 1569720"/>
                  <a:gd name="connsiteX120" fmla="*/ 1295400 w 4542472"/>
                  <a:gd name="connsiteY120" fmla="*/ 458057 h 1569720"/>
                  <a:gd name="connsiteX121" fmla="*/ 1369695 w 4542472"/>
                  <a:gd name="connsiteY121" fmla="*/ 461963 h 1569720"/>
                  <a:gd name="connsiteX122" fmla="*/ 1404938 w 4542472"/>
                  <a:gd name="connsiteY122" fmla="*/ 472345 h 1569720"/>
                  <a:gd name="connsiteX123" fmla="*/ 1419225 w 4542472"/>
                  <a:gd name="connsiteY123" fmla="*/ 500920 h 1569720"/>
                  <a:gd name="connsiteX124" fmla="*/ 1394460 w 4542472"/>
                  <a:gd name="connsiteY124" fmla="*/ 521970 h 1569720"/>
                  <a:gd name="connsiteX125" fmla="*/ 1386840 w 4542472"/>
                  <a:gd name="connsiteY125" fmla="*/ 493395 h 1569720"/>
                  <a:gd name="connsiteX126" fmla="*/ 1369695 w 4542472"/>
                  <a:gd name="connsiteY126" fmla="*/ 476250 h 1569720"/>
                  <a:gd name="connsiteX127" fmla="*/ 1330642 w 4542472"/>
                  <a:gd name="connsiteY127" fmla="*/ 469582 h 1569720"/>
                  <a:gd name="connsiteX128" fmla="*/ 1313497 w 4542472"/>
                  <a:gd name="connsiteY128" fmla="*/ 497110 h 1569720"/>
                  <a:gd name="connsiteX129" fmla="*/ 1327785 w 4542472"/>
                  <a:gd name="connsiteY129" fmla="*/ 525685 h 1569720"/>
                  <a:gd name="connsiteX130" fmla="*/ 1278255 w 4542472"/>
                  <a:gd name="connsiteY130" fmla="*/ 575215 h 1569720"/>
                  <a:gd name="connsiteX131" fmla="*/ 1243013 w 4542472"/>
                  <a:gd name="connsiteY131" fmla="*/ 602932 h 1569720"/>
                  <a:gd name="connsiteX132" fmla="*/ 1211580 w 4542472"/>
                  <a:gd name="connsiteY132" fmla="*/ 600075 h 1569720"/>
                  <a:gd name="connsiteX133" fmla="*/ 1179195 w 4542472"/>
                  <a:gd name="connsiteY133" fmla="*/ 592360 h 1569720"/>
                  <a:gd name="connsiteX134" fmla="*/ 1158240 w 4542472"/>
                  <a:gd name="connsiteY134" fmla="*/ 578072 h 1569720"/>
                  <a:gd name="connsiteX135" fmla="*/ 1172527 w 4542472"/>
                  <a:gd name="connsiteY135" fmla="*/ 571500 h 1569720"/>
                  <a:gd name="connsiteX136" fmla="*/ 1200150 w 4542472"/>
                  <a:gd name="connsiteY136" fmla="*/ 578072 h 1569720"/>
                  <a:gd name="connsiteX137" fmla="*/ 1224915 w 4542472"/>
                  <a:gd name="connsiteY137" fmla="*/ 567690 h 1569720"/>
                  <a:gd name="connsiteX138" fmla="*/ 1274445 w 4542472"/>
                  <a:gd name="connsiteY138" fmla="*/ 525685 h 1569720"/>
                  <a:gd name="connsiteX139" fmla="*/ 1288732 w 4542472"/>
                  <a:gd name="connsiteY139" fmla="*/ 493395 h 1569720"/>
                  <a:gd name="connsiteX140" fmla="*/ 1260157 w 4542472"/>
                  <a:gd name="connsiteY140" fmla="*/ 472345 h 1569720"/>
                  <a:gd name="connsiteX141" fmla="*/ 1267777 w 4542472"/>
                  <a:gd name="connsiteY141" fmla="*/ 395288 h 1569720"/>
                  <a:gd name="connsiteX142" fmla="*/ 1260157 w 4542472"/>
                  <a:gd name="connsiteY142" fmla="*/ 363760 h 1569720"/>
                  <a:gd name="connsiteX143" fmla="*/ 1243013 w 4542472"/>
                  <a:gd name="connsiteY143" fmla="*/ 349472 h 1569720"/>
                  <a:gd name="connsiteX144" fmla="*/ 1260157 w 4542472"/>
                  <a:gd name="connsiteY144" fmla="*/ 320897 h 1569720"/>
                  <a:gd name="connsiteX145" fmla="*/ 1267777 w 4542472"/>
                  <a:gd name="connsiteY145" fmla="*/ 289560 h 1569720"/>
                  <a:gd name="connsiteX146" fmla="*/ 1260157 w 4542472"/>
                  <a:gd name="connsiteY146" fmla="*/ 279082 h 1569720"/>
                  <a:gd name="connsiteX147" fmla="*/ 1172527 w 4542472"/>
                  <a:gd name="connsiteY147" fmla="*/ 271463 h 1569720"/>
                  <a:gd name="connsiteX148" fmla="*/ 1143952 w 4542472"/>
                  <a:gd name="connsiteY148" fmla="*/ 327660 h 1569720"/>
                  <a:gd name="connsiteX149" fmla="*/ 1102042 w 4542472"/>
                  <a:gd name="connsiteY149" fmla="*/ 360045 h 1569720"/>
                  <a:gd name="connsiteX150" fmla="*/ 1098232 w 4542472"/>
                  <a:gd name="connsiteY150" fmla="*/ 370523 h 1569720"/>
                  <a:gd name="connsiteX151" fmla="*/ 1116330 w 4542472"/>
                  <a:gd name="connsiteY151" fmla="*/ 381000 h 1569720"/>
                  <a:gd name="connsiteX152" fmla="*/ 1102042 w 4542472"/>
                  <a:gd name="connsiteY152" fmla="*/ 416147 h 1569720"/>
                  <a:gd name="connsiteX153" fmla="*/ 1102042 w 4542472"/>
                  <a:gd name="connsiteY153" fmla="*/ 434245 h 1569720"/>
                  <a:gd name="connsiteX154" fmla="*/ 1133475 w 4542472"/>
                  <a:gd name="connsiteY154" fmla="*/ 451485 h 1569720"/>
                  <a:gd name="connsiteX155" fmla="*/ 1158240 w 4542472"/>
                  <a:gd name="connsiteY155" fmla="*/ 476250 h 1569720"/>
                  <a:gd name="connsiteX156" fmla="*/ 1143952 w 4542472"/>
                  <a:gd name="connsiteY156" fmla="*/ 500920 h 1569720"/>
                  <a:gd name="connsiteX157" fmla="*/ 1091565 w 4542472"/>
                  <a:gd name="connsiteY157" fmla="*/ 472345 h 1569720"/>
                  <a:gd name="connsiteX158" fmla="*/ 1042035 w 4542472"/>
                  <a:gd name="connsiteY158" fmla="*/ 451485 h 1569720"/>
                  <a:gd name="connsiteX159" fmla="*/ 982027 w 4542472"/>
                  <a:gd name="connsiteY159" fmla="*/ 430435 h 1569720"/>
                  <a:gd name="connsiteX160" fmla="*/ 925830 w 4542472"/>
                  <a:gd name="connsiteY160" fmla="*/ 426720 h 1569720"/>
                  <a:gd name="connsiteX161" fmla="*/ 890588 w 4542472"/>
                  <a:gd name="connsiteY161" fmla="*/ 395288 h 1569720"/>
                  <a:gd name="connsiteX162" fmla="*/ 876300 w 4542472"/>
                  <a:gd name="connsiteY162" fmla="*/ 399098 h 1569720"/>
                  <a:gd name="connsiteX163" fmla="*/ 876300 w 4542472"/>
                  <a:gd name="connsiteY163" fmla="*/ 422910 h 1569720"/>
                  <a:gd name="connsiteX164" fmla="*/ 915352 w 4542472"/>
                  <a:gd name="connsiteY164" fmla="*/ 437198 h 1569720"/>
                  <a:gd name="connsiteX165" fmla="*/ 936307 w 4542472"/>
                  <a:gd name="connsiteY165" fmla="*/ 465773 h 1569720"/>
                  <a:gd name="connsiteX166" fmla="*/ 908685 w 4542472"/>
                  <a:gd name="connsiteY166" fmla="*/ 482822 h 1569720"/>
                  <a:gd name="connsiteX167" fmla="*/ 901065 w 4542472"/>
                  <a:gd name="connsiteY167" fmla="*/ 497110 h 1569720"/>
                  <a:gd name="connsiteX168" fmla="*/ 883920 w 4542472"/>
                  <a:gd name="connsiteY168" fmla="*/ 497110 h 1569720"/>
                  <a:gd name="connsiteX169" fmla="*/ 886777 w 4542472"/>
                  <a:gd name="connsiteY169" fmla="*/ 482822 h 1569720"/>
                  <a:gd name="connsiteX170" fmla="*/ 880110 w 4542472"/>
                  <a:gd name="connsiteY170" fmla="*/ 465773 h 1569720"/>
                  <a:gd name="connsiteX171" fmla="*/ 838200 w 4542472"/>
                  <a:gd name="connsiteY171" fmla="*/ 490538 h 1569720"/>
                  <a:gd name="connsiteX172" fmla="*/ 774382 w 4542472"/>
                  <a:gd name="connsiteY172" fmla="*/ 486632 h 1569720"/>
                  <a:gd name="connsiteX173" fmla="*/ 767715 w 4542472"/>
                  <a:gd name="connsiteY173" fmla="*/ 500920 h 1569720"/>
                  <a:gd name="connsiteX174" fmla="*/ 732472 w 4542472"/>
                  <a:gd name="connsiteY174" fmla="*/ 500920 h 1569720"/>
                  <a:gd name="connsiteX175" fmla="*/ 739140 w 4542472"/>
                  <a:gd name="connsiteY175" fmla="*/ 469582 h 1569720"/>
                  <a:gd name="connsiteX176" fmla="*/ 718185 w 4542472"/>
                  <a:gd name="connsiteY176" fmla="*/ 476250 h 1569720"/>
                  <a:gd name="connsiteX177" fmla="*/ 697230 w 4542472"/>
                  <a:gd name="connsiteY177" fmla="*/ 497110 h 1569720"/>
                  <a:gd name="connsiteX178" fmla="*/ 679132 w 4542472"/>
                  <a:gd name="connsiteY178" fmla="*/ 493395 h 1569720"/>
                  <a:gd name="connsiteX179" fmla="*/ 577215 w 4542472"/>
                  <a:gd name="connsiteY179" fmla="*/ 532448 h 1569720"/>
                  <a:gd name="connsiteX180" fmla="*/ 560070 w 4542472"/>
                  <a:gd name="connsiteY180" fmla="*/ 575215 h 1569720"/>
                  <a:gd name="connsiteX181" fmla="*/ 517207 w 4542472"/>
                  <a:gd name="connsiteY181" fmla="*/ 571500 h 1569720"/>
                  <a:gd name="connsiteX182" fmla="*/ 489585 w 4542472"/>
                  <a:gd name="connsiteY182" fmla="*/ 546735 h 1569720"/>
                  <a:gd name="connsiteX183" fmla="*/ 506730 w 4542472"/>
                  <a:gd name="connsiteY183" fmla="*/ 529495 h 1569720"/>
                  <a:gd name="connsiteX184" fmla="*/ 535305 w 4542472"/>
                  <a:gd name="connsiteY184" fmla="*/ 529495 h 1569720"/>
                  <a:gd name="connsiteX185" fmla="*/ 535305 w 4542472"/>
                  <a:gd name="connsiteY185" fmla="*/ 515207 h 1569720"/>
                  <a:gd name="connsiteX186" fmla="*/ 513397 w 4542472"/>
                  <a:gd name="connsiteY186" fmla="*/ 490538 h 1569720"/>
                  <a:gd name="connsiteX187" fmla="*/ 454342 w 4542472"/>
                  <a:gd name="connsiteY187" fmla="*/ 493395 h 1569720"/>
                  <a:gd name="connsiteX188" fmla="*/ 467677 w 4542472"/>
                  <a:gd name="connsiteY188" fmla="*/ 507682 h 1569720"/>
                  <a:gd name="connsiteX189" fmla="*/ 461010 w 4542472"/>
                  <a:gd name="connsiteY189" fmla="*/ 546735 h 1569720"/>
                  <a:gd name="connsiteX190" fmla="*/ 475297 w 4542472"/>
                  <a:gd name="connsiteY190" fmla="*/ 560927 h 1569720"/>
                  <a:gd name="connsiteX191" fmla="*/ 464820 w 4542472"/>
                  <a:gd name="connsiteY191" fmla="*/ 602932 h 1569720"/>
                  <a:gd name="connsiteX192" fmla="*/ 415290 w 4542472"/>
                  <a:gd name="connsiteY192" fmla="*/ 588645 h 1569720"/>
                  <a:gd name="connsiteX193" fmla="*/ 397192 w 4542472"/>
                  <a:gd name="connsiteY193" fmla="*/ 602932 h 1569720"/>
                  <a:gd name="connsiteX194" fmla="*/ 365760 w 4542472"/>
                  <a:gd name="connsiteY194" fmla="*/ 620935 h 1569720"/>
                  <a:gd name="connsiteX195" fmla="*/ 344805 w 4542472"/>
                  <a:gd name="connsiteY195" fmla="*/ 641890 h 1569720"/>
                  <a:gd name="connsiteX196" fmla="*/ 361950 w 4542472"/>
                  <a:gd name="connsiteY196" fmla="*/ 662940 h 1569720"/>
                  <a:gd name="connsiteX197" fmla="*/ 361950 w 4542472"/>
                  <a:gd name="connsiteY197" fmla="*/ 681038 h 1569720"/>
                  <a:gd name="connsiteX198" fmla="*/ 316230 w 4542472"/>
                  <a:gd name="connsiteY198" fmla="*/ 670465 h 1569720"/>
                  <a:gd name="connsiteX199" fmla="*/ 295275 w 4542472"/>
                  <a:gd name="connsiteY199" fmla="*/ 662940 h 1569720"/>
                  <a:gd name="connsiteX200" fmla="*/ 274320 w 4542472"/>
                  <a:gd name="connsiteY200" fmla="*/ 645795 h 1569720"/>
                  <a:gd name="connsiteX201" fmla="*/ 260032 w 4542472"/>
                  <a:gd name="connsiteY201" fmla="*/ 662940 h 1569720"/>
                  <a:gd name="connsiteX202" fmla="*/ 278130 w 4542472"/>
                  <a:gd name="connsiteY202" fmla="*/ 683895 h 1569720"/>
                  <a:gd name="connsiteX203" fmla="*/ 299085 w 4542472"/>
                  <a:gd name="connsiteY203" fmla="*/ 691515 h 1569720"/>
                  <a:gd name="connsiteX204" fmla="*/ 295275 w 4542472"/>
                  <a:gd name="connsiteY204" fmla="*/ 708565 h 1569720"/>
                  <a:gd name="connsiteX205" fmla="*/ 260032 w 4542472"/>
                  <a:gd name="connsiteY205" fmla="*/ 708565 h 1569720"/>
                  <a:gd name="connsiteX206" fmla="*/ 232410 w 4542472"/>
                  <a:gd name="connsiteY206" fmla="*/ 683895 h 1569720"/>
                  <a:gd name="connsiteX207" fmla="*/ 214313 w 4542472"/>
                  <a:gd name="connsiteY207" fmla="*/ 681038 h 1569720"/>
                  <a:gd name="connsiteX208" fmla="*/ 203835 w 4542472"/>
                  <a:gd name="connsiteY208" fmla="*/ 635222 h 1569720"/>
                  <a:gd name="connsiteX209" fmla="*/ 200025 w 4542472"/>
                  <a:gd name="connsiteY209" fmla="*/ 613315 h 1569720"/>
                  <a:gd name="connsiteX210" fmla="*/ 186690 w 4542472"/>
                  <a:gd name="connsiteY210" fmla="*/ 602932 h 1569720"/>
                  <a:gd name="connsiteX211" fmla="*/ 158115 w 4542472"/>
                  <a:gd name="connsiteY211" fmla="*/ 588645 h 1569720"/>
                  <a:gd name="connsiteX212" fmla="*/ 133350 w 4542472"/>
                  <a:gd name="connsiteY212" fmla="*/ 557213 h 1569720"/>
                  <a:gd name="connsiteX213" fmla="*/ 164782 w 4542472"/>
                  <a:gd name="connsiteY213" fmla="*/ 571500 h 1569720"/>
                  <a:gd name="connsiteX214" fmla="*/ 203835 w 4542472"/>
                  <a:gd name="connsiteY214" fmla="*/ 585788 h 1569720"/>
                  <a:gd name="connsiteX215" fmla="*/ 257175 w 4542472"/>
                  <a:gd name="connsiteY215" fmla="*/ 596265 h 1569720"/>
                  <a:gd name="connsiteX216" fmla="*/ 302895 w 4542472"/>
                  <a:gd name="connsiteY216" fmla="*/ 613315 h 1569720"/>
                  <a:gd name="connsiteX217" fmla="*/ 355282 w 4542472"/>
                  <a:gd name="connsiteY217" fmla="*/ 600075 h 1569720"/>
                  <a:gd name="connsiteX218" fmla="*/ 386715 w 4542472"/>
                  <a:gd name="connsiteY218" fmla="*/ 571500 h 1569720"/>
                  <a:gd name="connsiteX219" fmla="*/ 383857 w 4542472"/>
                  <a:gd name="connsiteY219" fmla="*/ 539972 h 1569720"/>
                  <a:gd name="connsiteX220" fmla="*/ 330517 w 4542472"/>
                  <a:gd name="connsiteY220" fmla="*/ 511397 h 1569720"/>
                  <a:gd name="connsiteX221" fmla="*/ 284797 w 4542472"/>
                  <a:gd name="connsiteY221" fmla="*/ 482822 h 1569720"/>
                  <a:gd name="connsiteX222" fmla="*/ 235267 w 4542472"/>
                  <a:gd name="connsiteY222" fmla="*/ 458057 h 1569720"/>
                  <a:gd name="connsiteX223" fmla="*/ 168592 w 4542472"/>
                  <a:gd name="connsiteY223" fmla="*/ 455295 h 1569720"/>
                  <a:gd name="connsiteX224" fmla="*/ 151447 w 4542472"/>
                  <a:gd name="connsiteY224" fmla="*/ 447675 h 1569720"/>
                  <a:gd name="connsiteX225" fmla="*/ 140970 w 4542472"/>
                  <a:gd name="connsiteY225" fmla="*/ 430435 h 1569720"/>
                  <a:gd name="connsiteX226" fmla="*/ 108585 w 4542472"/>
                  <a:gd name="connsiteY226" fmla="*/ 430435 h 1569720"/>
                  <a:gd name="connsiteX227" fmla="*/ 70485 w 4542472"/>
                  <a:gd name="connsiteY227" fmla="*/ 437198 h 1569720"/>
                  <a:gd name="connsiteX228" fmla="*/ 70485 w 4542472"/>
                  <a:gd name="connsiteY228" fmla="*/ 447675 h 1569720"/>
                  <a:gd name="connsiteX229" fmla="*/ 52388 w 4542472"/>
                  <a:gd name="connsiteY229" fmla="*/ 451485 h 1569720"/>
                  <a:gd name="connsiteX230" fmla="*/ 35242 w 4542472"/>
                  <a:gd name="connsiteY230" fmla="*/ 469582 h 1569720"/>
                  <a:gd name="connsiteX231" fmla="*/ 27622 w 4542472"/>
                  <a:gd name="connsiteY231" fmla="*/ 507682 h 1569720"/>
                  <a:gd name="connsiteX232" fmla="*/ 70485 w 4542472"/>
                  <a:gd name="connsiteY232" fmla="*/ 532448 h 1569720"/>
                  <a:gd name="connsiteX233" fmla="*/ 41910 w 4542472"/>
                  <a:gd name="connsiteY233" fmla="*/ 560927 h 1569720"/>
                  <a:gd name="connsiteX234" fmla="*/ 59055 w 4542472"/>
                  <a:gd name="connsiteY234" fmla="*/ 592360 h 1569720"/>
                  <a:gd name="connsiteX235" fmla="*/ 70485 w 4542472"/>
                  <a:gd name="connsiteY235" fmla="*/ 620935 h 1569720"/>
                  <a:gd name="connsiteX236" fmla="*/ 70485 w 4542472"/>
                  <a:gd name="connsiteY236" fmla="*/ 620935 h 1569720"/>
                  <a:gd name="connsiteX237" fmla="*/ 70485 w 4542472"/>
                  <a:gd name="connsiteY237" fmla="*/ 620935 h 1569720"/>
                  <a:gd name="connsiteX238" fmla="*/ 56197 w 4542472"/>
                  <a:gd name="connsiteY238" fmla="*/ 656177 h 1569720"/>
                  <a:gd name="connsiteX239" fmla="*/ 73342 w 4542472"/>
                  <a:gd name="connsiteY239" fmla="*/ 673322 h 1569720"/>
                  <a:gd name="connsiteX240" fmla="*/ 87630 w 4542472"/>
                  <a:gd name="connsiteY240" fmla="*/ 698182 h 1569720"/>
                  <a:gd name="connsiteX241" fmla="*/ 70485 w 4542472"/>
                  <a:gd name="connsiteY241" fmla="*/ 716185 h 1569720"/>
                  <a:gd name="connsiteX242" fmla="*/ 112395 w 4542472"/>
                  <a:gd name="connsiteY242" fmla="*/ 747713 h 1569720"/>
                  <a:gd name="connsiteX243" fmla="*/ 98107 w 4542472"/>
                  <a:gd name="connsiteY243" fmla="*/ 772478 h 1569720"/>
                  <a:gd name="connsiteX244" fmla="*/ 52388 w 4542472"/>
                  <a:gd name="connsiteY244" fmla="*/ 814388 h 1569720"/>
                  <a:gd name="connsiteX245" fmla="*/ 21907 w 4542472"/>
                  <a:gd name="connsiteY245" fmla="*/ 837152 h 1569720"/>
                  <a:gd name="connsiteX246" fmla="*/ 38100 w 4542472"/>
                  <a:gd name="connsiteY246" fmla="*/ 857250 h 1569720"/>
                  <a:gd name="connsiteX247" fmla="*/ 70485 w 4542472"/>
                  <a:gd name="connsiteY247" fmla="*/ 871538 h 1569720"/>
                  <a:gd name="connsiteX248" fmla="*/ 45720 w 4542472"/>
                  <a:gd name="connsiteY248" fmla="*/ 874395 h 1569720"/>
                  <a:gd name="connsiteX249" fmla="*/ 13335 w 4542472"/>
                  <a:gd name="connsiteY249" fmla="*/ 899065 h 1569720"/>
                  <a:gd name="connsiteX250" fmla="*/ 2857 w 4542472"/>
                  <a:gd name="connsiteY250" fmla="*/ 920115 h 1569720"/>
                  <a:gd name="connsiteX251" fmla="*/ 2857 w 4542472"/>
                  <a:gd name="connsiteY251" fmla="*/ 948690 h 1569720"/>
                  <a:gd name="connsiteX252" fmla="*/ 0 w 4542472"/>
                  <a:gd name="connsiteY252" fmla="*/ 969645 h 1569720"/>
                  <a:gd name="connsiteX253" fmla="*/ 10477 w 4542472"/>
                  <a:gd name="connsiteY253" fmla="*/ 990600 h 1569720"/>
                  <a:gd name="connsiteX254" fmla="*/ 17145 w 4542472"/>
                  <a:gd name="connsiteY254" fmla="*/ 1019175 h 1569720"/>
                  <a:gd name="connsiteX255" fmla="*/ 24765 w 4542472"/>
                  <a:gd name="connsiteY255" fmla="*/ 1029652 h 1569720"/>
                  <a:gd name="connsiteX256" fmla="*/ 56197 w 4542472"/>
                  <a:gd name="connsiteY256" fmla="*/ 1037177 h 1569720"/>
                  <a:gd name="connsiteX257" fmla="*/ 56197 w 4542472"/>
                  <a:gd name="connsiteY257" fmla="*/ 1047750 h 1569720"/>
                  <a:gd name="connsiteX258" fmla="*/ 91440 w 4542472"/>
                  <a:gd name="connsiteY258" fmla="*/ 1050608 h 1569720"/>
                  <a:gd name="connsiteX259" fmla="*/ 98107 w 4542472"/>
                  <a:gd name="connsiteY259" fmla="*/ 1089565 h 1569720"/>
                  <a:gd name="connsiteX260" fmla="*/ 147638 w 4542472"/>
                  <a:gd name="connsiteY260" fmla="*/ 1143000 h 1569720"/>
                  <a:gd name="connsiteX261" fmla="*/ 143827 w 4542472"/>
                  <a:gd name="connsiteY261" fmla="*/ 1145858 h 1569720"/>
                  <a:gd name="connsiteX262" fmla="*/ 112395 w 4542472"/>
                  <a:gd name="connsiteY262" fmla="*/ 1145858 h 1569720"/>
                  <a:gd name="connsiteX263" fmla="*/ 112395 w 4542472"/>
                  <a:gd name="connsiteY263" fmla="*/ 1181100 h 1569720"/>
                  <a:gd name="connsiteX264" fmla="*/ 126682 w 4542472"/>
                  <a:gd name="connsiteY264" fmla="*/ 1188720 h 1569720"/>
                  <a:gd name="connsiteX265" fmla="*/ 137160 w 4542472"/>
                  <a:gd name="connsiteY265" fmla="*/ 1184815 h 1569720"/>
                  <a:gd name="connsiteX266" fmla="*/ 143827 w 4542472"/>
                  <a:gd name="connsiteY266" fmla="*/ 1178147 h 1569720"/>
                  <a:gd name="connsiteX267" fmla="*/ 186690 w 4542472"/>
                  <a:gd name="connsiteY267" fmla="*/ 1178147 h 1569720"/>
                  <a:gd name="connsiteX268" fmla="*/ 193357 w 4542472"/>
                  <a:gd name="connsiteY268" fmla="*/ 1195388 h 1569720"/>
                  <a:gd name="connsiteX269" fmla="*/ 189547 w 4542472"/>
                  <a:gd name="connsiteY269" fmla="*/ 1216247 h 1569720"/>
                  <a:gd name="connsiteX270" fmla="*/ 221932 w 4542472"/>
                  <a:gd name="connsiteY270" fmla="*/ 1223963 h 1569720"/>
                  <a:gd name="connsiteX271" fmla="*/ 228600 w 4542472"/>
                  <a:gd name="connsiteY271" fmla="*/ 1248727 h 1569720"/>
                  <a:gd name="connsiteX272" fmla="*/ 284797 w 4542472"/>
                  <a:gd name="connsiteY272" fmla="*/ 1251490 h 1569720"/>
                  <a:gd name="connsiteX273" fmla="*/ 288607 w 4542472"/>
                  <a:gd name="connsiteY273" fmla="*/ 1263015 h 1569720"/>
                  <a:gd name="connsiteX274" fmla="*/ 323850 w 4542472"/>
                  <a:gd name="connsiteY274" fmla="*/ 1263015 h 1569720"/>
                  <a:gd name="connsiteX275" fmla="*/ 351472 w 4542472"/>
                  <a:gd name="connsiteY275" fmla="*/ 1280065 h 1569720"/>
                  <a:gd name="connsiteX276" fmla="*/ 348615 w 4542472"/>
                  <a:gd name="connsiteY276" fmla="*/ 1336358 h 1569720"/>
                  <a:gd name="connsiteX277" fmla="*/ 320040 w 4542472"/>
                  <a:gd name="connsiteY277" fmla="*/ 1343977 h 1569720"/>
                  <a:gd name="connsiteX278" fmla="*/ 302895 w 4542472"/>
                  <a:gd name="connsiteY278" fmla="*/ 1350645 h 1569720"/>
                  <a:gd name="connsiteX279" fmla="*/ 299085 w 4542472"/>
                  <a:gd name="connsiteY279" fmla="*/ 1364933 h 1569720"/>
                  <a:gd name="connsiteX280" fmla="*/ 330517 w 4542472"/>
                  <a:gd name="connsiteY280" fmla="*/ 1368647 h 1569720"/>
                  <a:gd name="connsiteX281" fmla="*/ 302895 w 4542472"/>
                  <a:gd name="connsiteY281" fmla="*/ 1385888 h 1569720"/>
                  <a:gd name="connsiteX282" fmla="*/ 305752 w 4542472"/>
                  <a:gd name="connsiteY282" fmla="*/ 1403890 h 1569720"/>
                  <a:gd name="connsiteX283" fmla="*/ 284797 w 4542472"/>
                  <a:gd name="connsiteY283" fmla="*/ 1424940 h 1569720"/>
                  <a:gd name="connsiteX284" fmla="*/ 278130 w 4542472"/>
                  <a:gd name="connsiteY284" fmla="*/ 1449610 h 1569720"/>
                  <a:gd name="connsiteX285" fmla="*/ 302895 w 4542472"/>
                  <a:gd name="connsiteY285" fmla="*/ 1460183 h 1569720"/>
                  <a:gd name="connsiteX286" fmla="*/ 348615 w 4542472"/>
                  <a:gd name="connsiteY286" fmla="*/ 1491615 h 1569720"/>
                  <a:gd name="connsiteX287" fmla="*/ 369570 w 4542472"/>
                  <a:gd name="connsiteY287" fmla="*/ 1487710 h 1569720"/>
                  <a:gd name="connsiteX288" fmla="*/ 390525 w 4542472"/>
                  <a:gd name="connsiteY288" fmla="*/ 1501997 h 1569720"/>
                  <a:gd name="connsiteX289" fmla="*/ 408622 w 4542472"/>
                  <a:gd name="connsiteY289" fmla="*/ 1499140 h 1569720"/>
                  <a:gd name="connsiteX290" fmla="*/ 421957 w 4542472"/>
                  <a:gd name="connsiteY290" fmla="*/ 1499140 h 1569720"/>
                  <a:gd name="connsiteX291" fmla="*/ 446722 w 4542472"/>
                  <a:gd name="connsiteY291" fmla="*/ 1512570 h 1569720"/>
                  <a:gd name="connsiteX292" fmla="*/ 464820 w 4542472"/>
                  <a:gd name="connsiteY292" fmla="*/ 1520190 h 1569720"/>
                  <a:gd name="connsiteX293" fmla="*/ 475297 w 4542472"/>
                  <a:gd name="connsiteY293" fmla="*/ 1520190 h 1569720"/>
                  <a:gd name="connsiteX294" fmla="*/ 492442 w 4542472"/>
                  <a:gd name="connsiteY294" fmla="*/ 1516285 h 1569720"/>
                  <a:gd name="connsiteX295" fmla="*/ 510540 w 4542472"/>
                  <a:gd name="connsiteY295" fmla="*/ 1526858 h 1569720"/>
                  <a:gd name="connsiteX296" fmla="*/ 527685 w 4542472"/>
                  <a:gd name="connsiteY296" fmla="*/ 1544860 h 1569720"/>
                  <a:gd name="connsiteX297" fmla="*/ 538163 w 4542472"/>
                  <a:gd name="connsiteY297" fmla="*/ 1547813 h 1569720"/>
                  <a:gd name="connsiteX298" fmla="*/ 566738 w 4542472"/>
                  <a:gd name="connsiteY298" fmla="*/ 1569720 h 1569720"/>
                  <a:gd name="connsiteX299" fmla="*/ 573405 w 4542472"/>
                  <a:gd name="connsiteY299" fmla="*/ 1565815 h 1569720"/>
                  <a:gd name="connsiteX300" fmla="*/ 591502 w 4542472"/>
                  <a:gd name="connsiteY300" fmla="*/ 1547813 h 1569720"/>
                  <a:gd name="connsiteX301" fmla="*/ 566738 w 4542472"/>
                  <a:gd name="connsiteY301" fmla="*/ 1520190 h 1569720"/>
                  <a:gd name="connsiteX302" fmla="*/ 562927 w 4542472"/>
                  <a:gd name="connsiteY302" fmla="*/ 1487710 h 1569720"/>
                  <a:gd name="connsiteX303" fmla="*/ 552450 w 4542472"/>
                  <a:gd name="connsiteY303" fmla="*/ 1470565 h 1569720"/>
                  <a:gd name="connsiteX304" fmla="*/ 538163 w 4542472"/>
                  <a:gd name="connsiteY304" fmla="*/ 1460183 h 1569720"/>
                  <a:gd name="connsiteX305" fmla="*/ 552450 w 4542472"/>
                  <a:gd name="connsiteY305" fmla="*/ 1441990 h 1569720"/>
                  <a:gd name="connsiteX306" fmla="*/ 560070 w 4542472"/>
                  <a:gd name="connsiteY306" fmla="*/ 1428750 h 1569720"/>
                  <a:gd name="connsiteX307" fmla="*/ 577215 w 4542472"/>
                  <a:gd name="connsiteY307" fmla="*/ 1417320 h 1569720"/>
                  <a:gd name="connsiteX308" fmla="*/ 605790 w 4542472"/>
                  <a:gd name="connsiteY308" fmla="*/ 1396365 h 1569720"/>
                  <a:gd name="connsiteX309" fmla="*/ 598170 w 4542472"/>
                  <a:gd name="connsiteY309" fmla="*/ 1371600 h 1569720"/>
                  <a:gd name="connsiteX310" fmla="*/ 577215 w 4542472"/>
                  <a:gd name="connsiteY310" fmla="*/ 1343977 h 1569720"/>
                  <a:gd name="connsiteX311" fmla="*/ 552450 w 4542472"/>
                  <a:gd name="connsiteY311" fmla="*/ 1336358 h 1569720"/>
                  <a:gd name="connsiteX312" fmla="*/ 535305 w 4542472"/>
                  <a:gd name="connsiteY312" fmla="*/ 1311497 h 1569720"/>
                  <a:gd name="connsiteX313" fmla="*/ 545782 w 4542472"/>
                  <a:gd name="connsiteY313" fmla="*/ 1269683 h 1569720"/>
                  <a:gd name="connsiteX314" fmla="*/ 566738 w 4542472"/>
                  <a:gd name="connsiteY314" fmla="*/ 1244822 h 1569720"/>
                  <a:gd name="connsiteX315" fmla="*/ 581025 w 4542472"/>
                  <a:gd name="connsiteY315" fmla="*/ 1273397 h 1569720"/>
                  <a:gd name="connsiteX316" fmla="*/ 594360 w 4542472"/>
                  <a:gd name="connsiteY316" fmla="*/ 1265777 h 1569720"/>
                  <a:gd name="connsiteX317" fmla="*/ 598170 w 4542472"/>
                  <a:gd name="connsiteY317" fmla="*/ 1244822 h 1569720"/>
                  <a:gd name="connsiteX318" fmla="*/ 641032 w 4542472"/>
                  <a:gd name="connsiteY318" fmla="*/ 1213390 h 1569720"/>
                  <a:gd name="connsiteX319" fmla="*/ 668655 w 4542472"/>
                  <a:gd name="connsiteY319" fmla="*/ 1203008 h 1569720"/>
                  <a:gd name="connsiteX320" fmla="*/ 732472 w 4542472"/>
                  <a:gd name="connsiteY320" fmla="*/ 1213390 h 1569720"/>
                  <a:gd name="connsiteX321" fmla="*/ 770572 w 4542472"/>
                  <a:gd name="connsiteY321" fmla="*/ 1238250 h 1569720"/>
                  <a:gd name="connsiteX322" fmla="*/ 799147 w 4542472"/>
                  <a:gd name="connsiteY322" fmla="*/ 1241108 h 1569720"/>
                  <a:gd name="connsiteX323" fmla="*/ 838200 w 4542472"/>
                  <a:gd name="connsiteY323" fmla="*/ 1223963 h 1569720"/>
                  <a:gd name="connsiteX324" fmla="*/ 869632 w 4542472"/>
                  <a:gd name="connsiteY324" fmla="*/ 1223963 h 1569720"/>
                  <a:gd name="connsiteX325" fmla="*/ 886777 w 4542472"/>
                  <a:gd name="connsiteY325" fmla="*/ 1241108 h 1569720"/>
                  <a:gd name="connsiteX326" fmla="*/ 932497 w 4542472"/>
                  <a:gd name="connsiteY326" fmla="*/ 1238250 h 1569720"/>
                  <a:gd name="connsiteX327" fmla="*/ 950595 w 4542472"/>
                  <a:gd name="connsiteY327" fmla="*/ 1220152 h 1569720"/>
                  <a:gd name="connsiteX328" fmla="*/ 936307 w 4542472"/>
                  <a:gd name="connsiteY328" fmla="*/ 1205865 h 1569720"/>
                  <a:gd name="connsiteX329" fmla="*/ 911542 w 4542472"/>
                  <a:gd name="connsiteY329" fmla="*/ 1199102 h 1569720"/>
                  <a:gd name="connsiteX330" fmla="*/ 922020 w 4542472"/>
                  <a:gd name="connsiteY330" fmla="*/ 1184815 h 1569720"/>
                  <a:gd name="connsiteX331" fmla="*/ 932497 w 4542472"/>
                  <a:gd name="connsiteY331" fmla="*/ 1174433 h 1569720"/>
                  <a:gd name="connsiteX332" fmla="*/ 936307 w 4542472"/>
                  <a:gd name="connsiteY332" fmla="*/ 1156240 h 1569720"/>
                  <a:gd name="connsiteX333" fmla="*/ 957263 w 4542472"/>
                  <a:gd name="connsiteY333" fmla="*/ 1149572 h 1569720"/>
                  <a:gd name="connsiteX334" fmla="*/ 950595 w 4542472"/>
                  <a:gd name="connsiteY334" fmla="*/ 1135285 h 1569720"/>
                  <a:gd name="connsiteX335" fmla="*/ 943927 w 4542472"/>
                  <a:gd name="connsiteY335" fmla="*/ 1118140 h 1569720"/>
                  <a:gd name="connsiteX336" fmla="*/ 982027 w 4542472"/>
                  <a:gd name="connsiteY336" fmla="*/ 1114425 h 1569720"/>
                  <a:gd name="connsiteX337" fmla="*/ 1137285 w 4542472"/>
                  <a:gd name="connsiteY337" fmla="*/ 1072515 h 1569720"/>
                  <a:gd name="connsiteX338" fmla="*/ 1176338 w 4542472"/>
                  <a:gd name="connsiteY338" fmla="*/ 1064895 h 1569720"/>
                  <a:gd name="connsiteX339" fmla="*/ 1211580 w 4542472"/>
                  <a:gd name="connsiteY339" fmla="*/ 1068610 h 1569720"/>
                  <a:gd name="connsiteX340" fmla="*/ 1218247 w 4542472"/>
                  <a:gd name="connsiteY340" fmla="*/ 1093470 h 1569720"/>
                  <a:gd name="connsiteX341" fmla="*/ 1235392 w 4542472"/>
                  <a:gd name="connsiteY341" fmla="*/ 1103852 h 1569720"/>
                  <a:gd name="connsiteX342" fmla="*/ 1270635 w 4542472"/>
                  <a:gd name="connsiteY342" fmla="*/ 1114425 h 1569720"/>
                  <a:gd name="connsiteX343" fmla="*/ 1305877 w 4542472"/>
                  <a:gd name="connsiteY343" fmla="*/ 1132427 h 1569720"/>
                  <a:gd name="connsiteX344" fmla="*/ 1338263 w 4542472"/>
                  <a:gd name="connsiteY344" fmla="*/ 1114425 h 1569720"/>
                  <a:gd name="connsiteX345" fmla="*/ 1376363 w 4542472"/>
                  <a:gd name="connsiteY345" fmla="*/ 1103852 h 1569720"/>
                  <a:gd name="connsiteX346" fmla="*/ 1380172 w 4542472"/>
                  <a:gd name="connsiteY346" fmla="*/ 1120997 h 1569720"/>
                  <a:gd name="connsiteX347" fmla="*/ 1411605 w 4542472"/>
                  <a:gd name="connsiteY347" fmla="*/ 1143000 h 1569720"/>
                  <a:gd name="connsiteX348" fmla="*/ 1440180 w 4542472"/>
                  <a:gd name="connsiteY348" fmla="*/ 1184815 h 1569720"/>
                  <a:gd name="connsiteX349" fmla="*/ 1464945 w 4542472"/>
                  <a:gd name="connsiteY349" fmla="*/ 1227677 h 1569720"/>
                  <a:gd name="connsiteX350" fmla="*/ 1479232 w 4542472"/>
                  <a:gd name="connsiteY350" fmla="*/ 1227677 h 1569720"/>
                  <a:gd name="connsiteX351" fmla="*/ 1485900 w 4542472"/>
                  <a:gd name="connsiteY351" fmla="*/ 1213390 h 1569720"/>
                  <a:gd name="connsiteX352" fmla="*/ 1524952 w 4542472"/>
                  <a:gd name="connsiteY352" fmla="*/ 1234440 h 1569720"/>
                  <a:gd name="connsiteX353" fmla="*/ 1573530 w 4542472"/>
                  <a:gd name="connsiteY353" fmla="*/ 1227677 h 1569720"/>
                  <a:gd name="connsiteX354" fmla="*/ 1591627 w 4542472"/>
                  <a:gd name="connsiteY354" fmla="*/ 1251490 h 1569720"/>
                  <a:gd name="connsiteX355" fmla="*/ 1616392 w 4542472"/>
                  <a:gd name="connsiteY355" fmla="*/ 1269683 h 1569720"/>
                  <a:gd name="connsiteX356" fmla="*/ 1654492 w 4542472"/>
                  <a:gd name="connsiteY356" fmla="*/ 1273397 h 1569720"/>
                  <a:gd name="connsiteX357" fmla="*/ 1662113 w 4542472"/>
                  <a:gd name="connsiteY357" fmla="*/ 1298258 h 1569720"/>
                  <a:gd name="connsiteX358" fmla="*/ 1689735 w 4542472"/>
                  <a:gd name="connsiteY358" fmla="*/ 1298258 h 1569720"/>
                  <a:gd name="connsiteX359" fmla="*/ 1704022 w 4542472"/>
                  <a:gd name="connsiteY359" fmla="*/ 1283970 h 1569720"/>
                  <a:gd name="connsiteX360" fmla="*/ 1728788 w 4542472"/>
                  <a:gd name="connsiteY360" fmla="*/ 1280065 h 1569720"/>
                  <a:gd name="connsiteX361" fmla="*/ 1743075 w 4542472"/>
                  <a:gd name="connsiteY361" fmla="*/ 1265777 h 1569720"/>
                  <a:gd name="connsiteX362" fmla="*/ 1803082 w 4542472"/>
                  <a:gd name="connsiteY362" fmla="*/ 1234440 h 1569720"/>
                  <a:gd name="connsiteX363" fmla="*/ 1834515 w 4542472"/>
                  <a:gd name="connsiteY363" fmla="*/ 1238250 h 1569720"/>
                  <a:gd name="connsiteX364" fmla="*/ 1869757 w 4542472"/>
                  <a:gd name="connsiteY364" fmla="*/ 1244822 h 1569720"/>
                  <a:gd name="connsiteX365" fmla="*/ 1886902 w 4542472"/>
                  <a:gd name="connsiteY365" fmla="*/ 1265777 h 1569720"/>
                  <a:gd name="connsiteX366" fmla="*/ 1944052 w 4542472"/>
                  <a:gd name="connsiteY366" fmla="*/ 1265777 h 1569720"/>
                  <a:gd name="connsiteX367" fmla="*/ 1957388 w 4542472"/>
                  <a:gd name="connsiteY367" fmla="*/ 1276350 h 1569720"/>
                  <a:gd name="connsiteX368" fmla="*/ 1979295 w 4542472"/>
                  <a:gd name="connsiteY368" fmla="*/ 1259110 h 1569720"/>
                  <a:gd name="connsiteX369" fmla="*/ 1982152 w 4542472"/>
                  <a:gd name="connsiteY369" fmla="*/ 1244822 h 1569720"/>
                  <a:gd name="connsiteX370" fmla="*/ 1961197 w 4542472"/>
                  <a:gd name="connsiteY370" fmla="*/ 1220152 h 1569720"/>
                  <a:gd name="connsiteX371" fmla="*/ 1992630 w 4542472"/>
                  <a:gd name="connsiteY371" fmla="*/ 1188720 h 1569720"/>
                  <a:gd name="connsiteX372" fmla="*/ 2042160 w 4542472"/>
                  <a:gd name="connsiteY372" fmla="*/ 1199102 h 1569720"/>
                  <a:gd name="connsiteX373" fmla="*/ 2085022 w 4542472"/>
                  <a:gd name="connsiteY373" fmla="*/ 1213390 h 1569720"/>
                  <a:gd name="connsiteX374" fmla="*/ 2087880 w 4542472"/>
                  <a:gd name="connsiteY374" fmla="*/ 1230535 h 1569720"/>
                  <a:gd name="connsiteX375" fmla="*/ 2105977 w 4542472"/>
                  <a:gd name="connsiteY375" fmla="*/ 1251490 h 1569720"/>
                  <a:gd name="connsiteX376" fmla="*/ 2151697 w 4542472"/>
                  <a:gd name="connsiteY376" fmla="*/ 1259110 h 1569720"/>
                  <a:gd name="connsiteX377" fmla="*/ 2176463 w 4542472"/>
                  <a:gd name="connsiteY377" fmla="*/ 1244822 h 1569720"/>
                  <a:gd name="connsiteX378" fmla="*/ 2218372 w 4542472"/>
                  <a:gd name="connsiteY378" fmla="*/ 1251490 h 1569720"/>
                  <a:gd name="connsiteX379" fmla="*/ 2228850 w 4542472"/>
                  <a:gd name="connsiteY379" fmla="*/ 1263015 h 1569720"/>
                  <a:gd name="connsiteX380" fmla="*/ 2246947 w 4542472"/>
                  <a:gd name="connsiteY380" fmla="*/ 1265777 h 1569720"/>
                  <a:gd name="connsiteX381" fmla="*/ 2257425 w 4542472"/>
                  <a:gd name="connsiteY381" fmla="*/ 1280065 h 1569720"/>
                  <a:gd name="connsiteX382" fmla="*/ 2267902 w 4542472"/>
                  <a:gd name="connsiteY382" fmla="*/ 1290638 h 1569720"/>
                  <a:gd name="connsiteX383" fmla="*/ 2306002 w 4542472"/>
                  <a:gd name="connsiteY383" fmla="*/ 1294352 h 1569720"/>
                  <a:gd name="connsiteX384" fmla="*/ 2338388 w 4542472"/>
                  <a:gd name="connsiteY384" fmla="*/ 1290638 h 1569720"/>
                  <a:gd name="connsiteX385" fmla="*/ 2390775 w 4542472"/>
                  <a:gd name="connsiteY385" fmla="*/ 1280065 h 1569720"/>
                  <a:gd name="connsiteX386" fmla="*/ 2422208 w 4542472"/>
                  <a:gd name="connsiteY386" fmla="*/ 1255395 h 1569720"/>
                  <a:gd name="connsiteX387" fmla="*/ 2440305 w 4542472"/>
                  <a:gd name="connsiteY387" fmla="*/ 1251490 h 1569720"/>
                  <a:gd name="connsiteX388" fmla="*/ 2454592 w 4542472"/>
                  <a:gd name="connsiteY388" fmla="*/ 1263015 h 1569720"/>
                  <a:gd name="connsiteX389" fmla="*/ 2496502 w 4542472"/>
                  <a:gd name="connsiteY389" fmla="*/ 1265777 h 1569720"/>
                  <a:gd name="connsiteX390" fmla="*/ 2527935 w 4542472"/>
                  <a:gd name="connsiteY390" fmla="*/ 1283970 h 1569720"/>
                  <a:gd name="connsiteX391" fmla="*/ 2546033 w 4542472"/>
                  <a:gd name="connsiteY391" fmla="*/ 1265777 h 1569720"/>
                  <a:gd name="connsiteX392" fmla="*/ 2566988 w 4542472"/>
                  <a:gd name="connsiteY392" fmla="*/ 1263015 h 1569720"/>
                  <a:gd name="connsiteX393" fmla="*/ 2573655 w 4542472"/>
                  <a:gd name="connsiteY393" fmla="*/ 1234440 h 1569720"/>
                  <a:gd name="connsiteX394" fmla="*/ 2591752 w 4542472"/>
                  <a:gd name="connsiteY394" fmla="*/ 1203008 h 1569720"/>
                  <a:gd name="connsiteX395" fmla="*/ 2608897 w 4542472"/>
                  <a:gd name="connsiteY395" fmla="*/ 1192435 h 1569720"/>
                  <a:gd name="connsiteX396" fmla="*/ 2608897 w 4542472"/>
                  <a:gd name="connsiteY396" fmla="*/ 1167765 h 1569720"/>
                  <a:gd name="connsiteX397" fmla="*/ 2587942 w 4542472"/>
                  <a:gd name="connsiteY397" fmla="*/ 1163860 h 1569720"/>
                  <a:gd name="connsiteX398" fmla="*/ 2591752 w 4542472"/>
                  <a:gd name="connsiteY398" fmla="*/ 1149572 h 1569720"/>
                  <a:gd name="connsiteX399" fmla="*/ 2616517 w 4542472"/>
                  <a:gd name="connsiteY399" fmla="*/ 1139190 h 1569720"/>
                  <a:gd name="connsiteX400" fmla="*/ 2693670 w 4542472"/>
                  <a:gd name="connsiteY400" fmla="*/ 1132427 h 1569720"/>
                  <a:gd name="connsiteX401" fmla="*/ 2722245 w 4542472"/>
                  <a:gd name="connsiteY401" fmla="*/ 1143000 h 1569720"/>
                  <a:gd name="connsiteX402" fmla="*/ 2747010 w 4542472"/>
                  <a:gd name="connsiteY402" fmla="*/ 1153477 h 1569720"/>
                  <a:gd name="connsiteX403" fmla="*/ 2767965 w 4542472"/>
                  <a:gd name="connsiteY403" fmla="*/ 1188720 h 1569720"/>
                  <a:gd name="connsiteX404" fmla="*/ 2787015 w 4542472"/>
                  <a:gd name="connsiteY404" fmla="*/ 1234440 h 1569720"/>
                  <a:gd name="connsiteX405" fmla="*/ 2795588 w 4542472"/>
                  <a:gd name="connsiteY405" fmla="*/ 1251490 h 1569720"/>
                  <a:gd name="connsiteX406" fmla="*/ 2806065 w 4542472"/>
                  <a:gd name="connsiteY406" fmla="*/ 1280065 h 1569720"/>
                  <a:gd name="connsiteX407" fmla="*/ 2834640 w 4542472"/>
                  <a:gd name="connsiteY407" fmla="*/ 1280065 h 1569720"/>
                  <a:gd name="connsiteX408" fmla="*/ 2887980 w 4542472"/>
                  <a:gd name="connsiteY408" fmla="*/ 1308640 h 1569720"/>
                  <a:gd name="connsiteX409" fmla="*/ 2894647 w 4542472"/>
                  <a:gd name="connsiteY409" fmla="*/ 1343977 h 1569720"/>
                  <a:gd name="connsiteX410" fmla="*/ 2933700 w 4542472"/>
                  <a:gd name="connsiteY410" fmla="*/ 1346740 h 1569720"/>
                  <a:gd name="connsiteX411" fmla="*/ 2944177 w 4542472"/>
                  <a:gd name="connsiteY411" fmla="*/ 1333500 h 1569720"/>
                  <a:gd name="connsiteX412" fmla="*/ 2968942 w 4542472"/>
                  <a:gd name="connsiteY412" fmla="*/ 1329690 h 1569720"/>
                  <a:gd name="connsiteX413" fmla="*/ 2996565 w 4542472"/>
                  <a:gd name="connsiteY413" fmla="*/ 1325785 h 1569720"/>
                  <a:gd name="connsiteX414" fmla="*/ 3000375 w 4542472"/>
                  <a:gd name="connsiteY414" fmla="*/ 1350645 h 1569720"/>
                  <a:gd name="connsiteX415" fmla="*/ 2986088 w 4542472"/>
                  <a:gd name="connsiteY415" fmla="*/ 1358265 h 1569720"/>
                  <a:gd name="connsiteX416" fmla="*/ 2975610 w 4542472"/>
                  <a:gd name="connsiteY416" fmla="*/ 1396365 h 1569720"/>
                  <a:gd name="connsiteX417" fmla="*/ 2954655 w 4542472"/>
                  <a:gd name="connsiteY417" fmla="*/ 1435322 h 1569720"/>
                  <a:gd name="connsiteX418" fmla="*/ 2933700 w 4542472"/>
                  <a:gd name="connsiteY418" fmla="*/ 1439227 h 1569720"/>
                  <a:gd name="connsiteX419" fmla="*/ 2922270 w 4542472"/>
                  <a:gd name="connsiteY419" fmla="*/ 1428750 h 1569720"/>
                  <a:gd name="connsiteX420" fmla="*/ 2898458 w 4542472"/>
                  <a:gd name="connsiteY420" fmla="*/ 1445895 h 1569720"/>
                  <a:gd name="connsiteX421" fmla="*/ 2898458 w 4542472"/>
                  <a:gd name="connsiteY421" fmla="*/ 1509713 h 1569720"/>
                  <a:gd name="connsiteX422" fmla="*/ 2929890 w 4542472"/>
                  <a:gd name="connsiteY422" fmla="*/ 1501997 h 1569720"/>
                  <a:gd name="connsiteX423" fmla="*/ 2954655 w 4542472"/>
                  <a:gd name="connsiteY423" fmla="*/ 1516285 h 1569720"/>
                  <a:gd name="connsiteX424" fmla="*/ 2986088 w 4542472"/>
                  <a:gd name="connsiteY424" fmla="*/ 1501997 h 1569720"/>
                  <a:gd name="connsiteX425" fmla="*/ 3010852 w 4542472"/>
                  <a:gd name="connsiteY425" fmla="*/ 1484852 h 1569720"/>
                  <a:gd name="connsiteX426" fmla="*/ 3042285 w 4542472"/>
                  <a:gd name="connsiteY426" fmla="*/ 1445895 h 1569720"/>
                  <a:gd name="connsiteX427" fmla="*/ 3148013 w 4542472"/>
                  <a:gd name="connsiteY427" fmla="*/ 1315402 h 1569720"/>
                  <a:gd name="connsiteX428" fmla="*/ 3158490 w 4542472"/>
                  <a:gd name="connsiteY428" fmla="*/ 1283970 h 1569720"/>
                  <a:gd name="connsiteX429" fmla="*/ 3162300 w 4542472"/>
                  <a:gd name="connsiteY429" fmla="*/ 1227677 h 1569720"/>
                  <a:gd name="connsiteX430" fmla="*/ 3176588 w 4542472"/>
                  <a:gd name="connsiteY430" fmla="*/ 1188720 h 1569720"/>
                  <a:gd name="connsiteX431" fmla="*/ 3183255 w 4542472"/>
                  <a:gd name="connsiteY431" fmla="*/ 1149572 h 1569720"/>
                  <a:gd name="connsiteX432" fmla="*/ 3155633 w 4542472"/>
                  <a:gd name="connsiteY432" fmla="*/ 1114425 h 1569720"/>
                  <a:gd name="connsiteX433" fmla="*/ 3116580 w 4542472"/>
                  <a:gd name="connsiteY433" fmla="*/ 1107758 h 1569720"/>
                  <a:gd name="connsiteX434" fmla="*/ 3091815 w 4542472"/>
                  <a:gd name="connsiteY434" fmla="*/ 1128713 h 1569720"/>
                  <a:gd name="connsiteX435" fmla="*/ 3073717 w 4542472"/>
                  <a:gd name="connsiteY435" fmla="*/ 1100138 h 1569720"/>
                  <a:gd name="connsiteX436" fmla="*/ 3056572 w 4542472"/>
                  <a:gd name="connsiteY436" fmla="*/ 1120997 h 1569720"/>
                  <a:gd name="connsiteX437" fmla="*/ 3052763 w 4542472"/>
                  <a:gd name="connsiteY437" fmla="*/ 1093470 h 1569720"/>
                  <a:gd name="connsiteX438" fmla="*/ 3017520 w 4542472"/>
                  <a:gd name="connsiteY438" fmla="*/ 1097185 h 1569720"/>
                  <a:gd name="connsiteX439" fmla="*/ 3014663 w 4542472"/>
                  <a:gd name="connsiteY439" fmla="*/ 1079183 h 1569720"/>
                  <a:gd name="connsiteX440" fmla="*/ 3218497 w 4542472"/>
                  <a:gd name="connsiteY440" fmla="*/ 902970 h 1569720"/>
                  <a:gd name="connsiteX441" fmla="*/ 3309938 w 4542472"/>
                  <a:gd name="connsiteY441" fmla="*/ 902970 h 1569720"/>
                  <a:gd name="connsiteX442" fmla="*/ 3334702 w 4542472"/>
                  <a:gd name="connsiteY442" fmla="*/ 899065 h 1569720"/>
                  <a:gd name="connsiteX443" fmla="*/ 3388042 w 4542472"/>
                  <a:gd name="connsiteY443" fmla="*/ 902970 h 1569720"/>
                  <a:gd name="connsiteX444" fmla="*/ 3398520 w 4542472"/>
                  <a:gd name="connsiteY444" fmla="*/ 888683 h 1569720"/>
                  <a:gd name="connsiteX445" fmla="*/ 3423285 w 4542472"/>
                  <a:gd name="connsiteY445" fmla="*/ 884777 h 1569720"/>
                  <a:gd name="connsiteX446" fmla="*/ 3461385 w 4542472"/>
                  <a:gd name="connsiteY446" fmla="*/ 888683 h 1569720"/>
                  <a:gd name="connsiteX447" fmla="*/ 3471863 w 4542472"/>
                  <a:gd name="connsiteY447" fmla="*/ 902970 h 1569720"/>
                  <a:gd name="connsiteX448" fmla="*/ 3457575 w 4542472"/>
                  <a:gd name="connsiteY448" fmla="*/ 917258 h 1569720"/>
                  <a:gd name="connsiteX449" fmla="*/ 3510915 w 4542472"/>
                  <a:gd name="connsiteY449" fmla="*/ 913352 h 1569720"/>
                  <a:gd name="connsiteX450" fmla="*/ 3539490 w 4542472"/>
                  <a:gd name="connsiteY450" fmla="*/ 909638 h 1569720"/>
                  <a:gd name="connsiteX451" fmla="*/ 3567113 w 4542472"/>
                  <a:gd name="connsiteY451" fmla="*/ 909638 h 1569720"/>
                  <a:gd name="connsiteX452" fmla="*/ 3549967 w 4542472"/>
                  <a:gd name="connsiteY452" fmla="*/ 892397 h 1569720"/>
                  <a:gd name="connsiteX453" fmla="*/ 3542347 w 4542472"/>
                  <a:gd name="connsiteY453" fmla="*/ 884777 h 1569720"/>
                  <a:gd name="connsiteX454" fmla="*/ 3556635 w 4542472"/>
                  <a:gd name="connsiteY454" fmla="*/ 857250 h 1569720"/>
                  <a:gd name="connsiteX455" fmla="*/ 3623310 w 4542472"/>
                  <a:gd name="connsiteY455" fmla="*/ 803815 h 1569720"/>
                  <a:gd name="connsiteX456" fmla="*/ 3693795 w 4542472"/>
                  <a:gd name="connsiteY456" fmla="*/ 803815 h 1569720"/>
                  <a:gd name="connsiteX457" fmla="*/ 3711892 w 4542472"/>
                  <a:gd name="connsiteY457" fmla="*/ 797147 h 1569720"/>
                  <a:gd name="connsiteX458" fmla="*/ 3697605 w 4542472"/>
                  <a:gd name="connsiteY458" fmla="*/ 824865 h 1569720"/>
                  <a:gd name="connsiteX459" fmla="*/ 3711892 w 4542472"/>
                  <a:gd name="connsiteY459" fmla="*/ 839152 h 1569720"/>
                  <a:gd name="connsiteX460" fmla="*/ 3768090 w 4542472"/>
                  <a:gd name="connsiteY460" fmla="*/ 803815 h 1569720"/>
                  <a:gd name="connsiteX461" fmla="*/ 3792855 w 4542472"/>
                  <a:gd name="connsiteY461" fmla="*/ 803815 h 1569720"/>
                  <a:gd name="connsiteX462" fmla="*/ 3792855 w 4542472"/>
                  <a:gd name="connsiteY462" fmla="*/ 772478 h 1569720"/>
                  <a:gd name="connsiteX463" fmla="*/ 3803333 w 4542472"/>
                  <a:gd name="connsiteY463" fmla="*/ 762000 h 1569720"/>
                  <a:gd name="connsiteX464" fmla="*/ 3813810 w 4542472"/>
                  <a:gd name="connsiteY464" fmla="*/ 758190 h 1569720"/>
                  <a:gd name="connsiteX465" fmla="*/ 3841433 w 4542472"/>
                  <a:gd name="connsiteY465" fmla="*/ 768572 h 1569720"/>
                  <a:gd name="connsiteX466" fmla="*/ 3828097 w 4542472"/>
                  <a:gd name="connsiteY466" fmla="*/ 776288 h 1569720"/>
                  <a:gd name="connsiteX467" fmla="*/ 3799522 w 4542472"/>
                  <a:gd name="connsiteY467" fmla="*/ 839152 h 1569720"/>
                  <a:gd name="connsiteX468" fmla="*/ 3782377 w 4542472"/>
                  <a:gd name="connsiteY468" fmla="*/ 846677 h 1569720"/>
                  <a:gd name="connsiteX469" fmla="*/ 3725227 w 4542472"/>
                  <a:gd name="connsiteY469" fmla="*/ 884777 h 1569720"/>
                  <a:gd name="connsiteX470" fmla="*/ 3651885 w 4542472"/>
                  <a:gd name="connsiteY470" fmla="*/ 955358 h 1569720"/>
                  <a:gd name="connsiteX471" fmla="*/ 3623310 w 4542472"/>
                  <a:gd name="connsiteY471" fmla="*/ 962977 h 1569720"/>
                  <a:gd name="connsiteX472" fmla="*/ 3602355 w 4542472"/>
                  <a:gd name="connsiteY472" fmla="*/ 1001935 h 1569720"/>
                  <a:gd name="connsiteX473" fmla="*/ 3581400 w 4542472"/>
                  <a:gd name="connsiteY473" fmla="*/ 1026795 h 1569720"/>
                  <a:gd name="connsiteX474" fmla="*/ 3581400 w 4542472"/>
                  <a:gd name="connsiteY474" fmla="*/ 1089565 h 1569720"/>
                  <a:gd name="connsiteX475" fmla="*/ 3602355 w 4542472"/>
                  <a:gd name="connsiteY475" fmla="*/ 1178147 h 1569720"/>
                  <a:gd name="connsiteX476" fmla="*/ 3609022 w 4542472"/>
                  <a:gd name="connsiteY476" fmla="*/ 1234440 h 1569720"/>
                  <a:gd name="connsiteX477" fmla="*/ 3662363 w 4542472"/>
                  <a:gd name="connsiteY477" fmla="*/ 1181100 h 1569720"/>
                  <a:gd name="connsiteX478" fmla="*/ 3662363 w 4542472"/>
                  <a:gd name="connsiteY478" fmla="*/ 1156240 h 1569720"/>
                  <a:gd name="connsiteX479" fmla="*/ 3704272 w 4542472"/>
                  <a:gd name="connsiteY479" fmla="*/ 1143000 h 1569720"/>
                  <a:gd name="connsiteX480" fmla="*/ 3708083 w 4542472"/>
                  <a:gd name="connsiteY480" fmla="*/ 1135285 h 1569720"/>
                  <a:gd name="connsiteX481" fmla="*/ 3704272 w 4542472"/>
                  <a:gd name="connsiteY481" fmla="*/ 1128713 h 1569720"/>
                  <a:gd name="connsiteX482" fmla="*/ 3704272 w 4542472"/>
                  <a:gd name="connsiteY482" fmla="*/ 1118140 h 1569720"/>
                  <a:gd name="connsiteX483" fmla="*/ 3718560 w 4542472"/>
                  <a:gd name="connsiteY483" fmla="*/ 1103852 h 1569720"/>
                  <a:gd name="connsiteX484" fmla="*/ 3760470 w 4542472"/>
                  <a:gd name="connsiteY484" fmla="*/ 1089565 h 1569720"/>
                  <a:gd name="connsiteX485" fmla="*/ 3749992 w 4542472"/>
                  <a:gd name="connsiteY485" fmla="*/ 1058227 h 1569720"/>
                  <a:gd name="connsiteX486" fmla="*/ 3760470 w 4542472"/>
                  <a:gd name="connsiteY486" fmla="*/ 1033463 h 1569720"/>
                  <a:gd name="connsiteX487" fmla="*/ 3792855 w 4542472"/>
                  <a:gd name="connsiteY487" fmla="*/ 1022890 h 1569720"/>
                  <a:gd name="connsiteX488" fmla="*/ 3782377 w 4542472"/>
                  <a:gd name="connsiteY488" fmla="*/ 994315 h 1569720"/>
                  <a:gd name="connsiteX489" fmla="*/ 3789045 w 4542472"/>
                  <a:gd name="connsiteY489" fmla="*/ 962977 h 1569720"/>
                  <a:gd name="connsiteX490" fmla="*/ 3760470 w 4542472"/>
                  <a:gd name="connsiteY490" fmla="*/ 962977 h 1569720"/>
                  <a:gd name="connsiteX491" fmla="*/ 3760470 w 4542472"/>
                  <a:gd name="connsiteY491" fmla="*/ 941927 h 1569720"/>
                  <a:gd name="connsiteX492" fmla="*/ 3803333 w 4542472"/>
                  <a:gd name="connsiteY492" fmla="*/ 874395 h 1569720"/>
                  <a:gd name="connsiteX493" fmla="*/ 3852863 w 4542472"/>
                  <a:gd name="connsiteY493" fmla="*/ 874395 h 1569720"/>
                  <a:gd name="connsiteX494" fmla="*/ 3859530 w 4542472"/>
                  <a:gd name="connsiteY494" fmla="*/ 853440 h 1569720"/>
                  <a:gd name="connsiteX495" fmla="*/ 3876675 w 4542472"/>
                  <a:gd name="connsiteY495" fmla="*/ 853440 h 1569720"/>
                  <a:gd name="connsiteX496" fmla="*/ 3884295 w 4542472"/>
                  <a:gd name="connsiteY496" fmla="*/ 882015 h 1569720"/>
                  <a:gd name="connsiteX497" fmla="*/ 3911917 w 4542472"/>
                  <a:gd name="connsiteY497" fmla="*/ 853440 h 1569720"/>
                  <a:gd name="connsiteX498" fmla="*/ 3965258 w 4542472"/>
                  <a:gd name="connsiteY498" fmla="*/ 853440 h 1569720"/>
                  <a:gd name="connsiteX499" fmla="*/ 3990022 w 4542472"/>
                  <a:gd name="connsiteY499" fmla="*/ 874395 h 1569720"/>
                  <a:gd name="connsiteX500" fmla="*/ 4060508 w 4542472"/>
                  <a:gd name="connsiteY500" fmla="*/ 818102 h 1569720"/>
                  <a:gd name="connsiteX501" fmla="*/ 4095750 w 4542472"/>
                  <a:gd name="connsiteY501" fmla="*/ 801053 h 1569720"/>
                  <a:gd name="connsiteX502" fmla="*/ 4158615 w 4542472"/>
                  <a:gd name="connsiteY502" fmla="*/ 772478 h 1569720"/>
                  <a:gd name="connsiteX503" fmla="*/ 4179570 w 4542472"/>
                  <a:gd name="connsiteY503" fmla="*/ 754285 h 1569720"/>
                  <a:gd name="connsiteX504" fmla="*/ 4226242 w 4542472"/>
                  <a:gd name="connsiteY504" fmla="*/ 772478 h 1569720"/>
                  <a:gd name="connsiteX505" fmla="*/ 4250055 w 4542472"/>
                  <a:gd name="connsiteY505" fmla="*/ 758190 h 1569720"/>
                  <a:gd name="connsiteX506" fmla="*/ 4229100 w 4542472"/>
                  <a:gd name="connsiteY506" fmla="*/ 726757 h 1569720"/>
                  <a:gd name="connsiteX507" fmla="*/ 4218622 w 4542472"/>
                  <a:gd name="connsiteY507" fmla="*/ 695325 h 1569720"/>
                  <a:gd name="connsiteX508" fmla="*/ 4193858 w 4542472"/>
                  <a:gd name="connsiteY508" fmla="*/ 681038 h 1569720"/>
                  <a:gd name="connsiteX509" fmla="*/ 4169092 w 4542472"/>
                  <a:gd name="connsiteY509" fmla="*/ 670465 h 1569720"/>
                  <a:gd name="connsiteX510" fmla="*/ 4172902 w 4542472"/>
                  <a:gd name="connsiteY510" fmla="*/ 656177 h 1569720"/>
                  <a:gd name="connsiteX511" fmla="*/ 4187190 w 4542472"/>
                  <a:gd name="connsiteY511" fmla="*/ 666750 h 1569720"/>
                  <a:gd name="connsiteX512" fmla="*/ 4211955 w 4542472"/>
                  <a:gd name="connsiteY512" fmla="*/ 670465 h 1569720"/>
                  <a:gd name="connsiteX513" fmla="*/ 4247197 w 4542472"/>
                  <a:gd name="connsiteY513" fmla="*/ 666750 h 1569720"/>
                  <a:gd name="connsiteX514" fmla="*/ 4278630 w 4542472"/>
                  <a:gd name="connsiteY514" fmla="*/ 638175 h 1569720"/>
                  <a:gd name="connsiteX515" fmla="*/ 4268153 w 4542472"/>
                  <a:gd name="connsiteY515" fmla="*/ 627602 h 1569720"/>
                  <a:gd name="connsiteX516" fmla="*/ 4271963 w 4542472"/>
                  <a:gd name="connsiteY516" fmla="*/ 602932 h 1569720"/>
                  <a:gd name="connsiteX517" fmla="*/ 4295775 w 4542472"/>
                  <a:gd name="connsiteY517" fmla="*/ 600075 h 1569720"/>
                  <a:gd name="connsiteX518" fmla="*/ 4307205 w 4542472"/>
                  <a:gd name="connsiteY518" fmla="*/ 635222 h 1569720"/>
                  <a:gd name="connsiteX519" fmla="*/ 4380547 w 4542472"/>
                  <a:gd name="connsiteY519" fmla="*/ 631507 h 1569720"/>
                  <a:gd name="connsiteX520" fmla="*/ 4377691 w 4542472"/>
                  <a:gd name="connsiteY520" fmla="*/ 659035 h 1569720"/>
                  <a:gd name="connsiteX521" fmla="*/ 4405312 w 4542472"/>
                  <a:gd name="connsiteY521" fmla="*/ 670465 h 1569720"/>
                  <a:gd name="connsiteX522" fmla="*/ 4454843 w 4542472"/>
                  <a:gd name="connsiteY522" fmla="*/ 695325 h 1569720"/>
                  <a:gd name="connsiteX523" fmla="*/ 4469130 w 4542472"/>
                  <a:gd name="connsiteY523" fmla="*/ 662940 h 1569720"/>
                  <a:gd name="connsiteX524" fmla="*/ 4475797 w 4542472"/>
                  <a:gd name="connsiteY524" fmla="*/ 638175 h 1569720"/>
                  <a:gd name="connsiteX525" fmla="*/ 4521518 w 4542472"/>
                  <a:gd name="connsiteY525" fmla="*/ 627602 h 1569720"/>
                  <a:gd name="connsiteX526" fmla="*/ 4542472 w 4542472"/>
                  <a:gd name="connsiteY526" fmla="*/ 606647 h 1569720"/>
                  <a:gd name="connsiteX527" fmla="*/ 4521518 w 4542472"/>
                  <a:gd name="connsiteY527" fmla="*/ 585788 h 1569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</a:cxnLst>
                <a:rect l="l" t="t" r="r" b="b"/>
                <a:pathLst>
                  <a:path w="4542472" h="1569720">
                    <a:moveTo>
                      <a:pt x="4521518" y="585788"/>
                    </a:moveTo>
                    <a:lnTo>
                      <a:pt x="4490085" y="564832"/>
                    </a:lnTo>
                    <a:lnTo>
                      <a:pt x="4454843" y="557213"/>
                    </a:lnTo>
                    <a:lnTo>
                      <a:pt x="4426268" y="553307"/>
                    </a:lnTo>
                    <a:lnTo>
                      <a:pt x="4436745" y="585788"/>
                    </a:lnTo>
                    <a:lnTo>
                      <a:pt x="4423410" y="592360"/>
                    </a:lnTo>
                    <a:lnTo>
                      <a:pt x="4405312" y="564832"/>
                    </a:lnTo>
                    <a:lnTo>
                      <a:pt x="4394835" y="542925"/>
                    </a:lnTo>
                    <a:lnTo>
                      <a:pt x="4380547" y="521970"/>
                    </a:lnTo>
                    <a:lnTo>
                      <a:pt x="4299585" y="486632"/>
                    </a:lnTo>
                    <a:lnTo>
                      <a:pt x="4253865" y="461963"/>
                    </a:lnTo>
                    <a:lnTo>
                      <a:pt x="4176713" y="434245"/>
                    </a:lnTo>
                    <a:lnTo>
                      <a:pt x="4110038" y="422910"/>
                    </a:lnTo>
                    <a:lnTo>
                      <a:pt x="4052888" y="422910"/>
                    </a:lnTo>
                    <a:lnTo>
                      <a:pt x="4021455" y="409575"/>
                    </a:lnTo>
                    <a:lnTo>
                      <a:pt x="4000500" y="412432"/>
                    </a:lnTo>
                    <a:lnTo>
                      <a:pt x="4004310" y="444722"/>
                    </a:lnTo>
                    <a:lnTo>
                      <a:pt x="4014788" y="465773"/>
                    </a:lnTo>
                    <a:lnTo>
                      <a:pt x="4004310" y="480060"/>
                    </a:lnTo>
                    <a:lnTo>
                      <a:pt x="3969067" y="476250"/>
                    </a:lnTo>
                    <a:lnTo>
                      <a:pt x="3936683" y="451485"/>
                    </a:lnTo>
                    <a:lnTo>
                      <a:pt x="3936683" y="430435"/>
                    </a:lnTo>
                    <a:lnTo>
                      <a:pt x="3926205" y="426720"/>
                    </a:lnTo>
                    <a:lnTo>
                      <a:pt x="3898583" y="441007"/>
                    </a:lnTo>
                    <a:lnTo>
                      <a:pt x="3884295" y="441007"/>
                    </a:lnTo>
                    <a:lnTo>
                      <a:pt x="3768090" y="434245"/>
                    </a:lnTo>
                    <a:lnTo>
                      <a:pt x="3743325" y="444722"/>
                    </a:lnTo>
                    <a:lnTo>
                      <a:pt x="3711892" y="434245"/>
                    </a:lnTo>
                    <a:lnTo>
                      <a:pt x="3704272" y="419957"/>
                    </a:lnTo>
                    <a:lnTo>
                      <a:pt x="3708083" y="395288"/>
                    </a:lnTo>
                    <a:lnTo>
                      <a:pt x="3669030" y="374332"/>
                    </a:lnTo>
                    <a:lnTo>
                      <a:pt x="3574733" y="370523"/>
                    </a:lnTo>
                    <a:lnTo>
                      <a:pt x="3482340" y="366713"/>
                    </a:lnTo>
                    <a:lnTo>
                      <a:pt x="3429952" y="345757"/>
                    </a:lnTo>
                    <a:lnTo>
                      <a:pt x="3405188" y="335185"/>
                    </a:lnTo>
                    <a:lnTo>
                      <a:pt x="3419475" y="317182"/>
                    </a:lnTo>
                    <a:lnTo>
                      <a:pt x="3390900" y="303848"/>
                    </a:lnTo>
                    <a:lnTo>
                      <a:pt x="3328035" y="310420"/>
                    </a:lnTo>
                    <a:lnTo>
                      <a:pt x="3317558" y="303848"/>
                    </a:lnTo>
                    <a:lnTo>
                      <a:pt x="3295650" y="285750"/>
                    </a:lnTo>
                    <a:lnTo>
                      <a:pt x="3176588" y="279082"/>
                    </a:lnTo>
                    <a:lnTo>
                      <a:pt x="3137535" y="292322"/>
                    </a:lnTo>
                    <a:lnTo>
                      <a:pt x="3141345" y="324707"/>
                    </a:lnTo>
                    <a:lnTo>
                      <a:pt x="3112770" y="338995"/>
                    </a:lnTo>
                    <a:lnTo>
                      <a:pt x="3073717" y="352425"/>
                    </a:lnTo>
                    <a:lnTo>
                      <a:pt x="3027997" y="335185"/>
                    </a:lnTo>
                    <a:lnTo>
                      <a:pt x="2986088" y="349472"/>
                    </a:lnTo>
                    <a:lnTo>
                      <a:pt x="2940367" y="324707"/>
                    </a:lnTo>
                    <a:lnTo>
                      <a:pt x="2905125" y="377095"/>
                    </a:lnTo>
                    <a:lnTo>
                      <a:pt x="2866072" y="366713"/>
                    </a:lnTo>
                    <a:lnTo>
                      <a:pt x="2827972" y="320897"/>
                    </a:lnTo>
                    <a:lnTo>
                      <a:pt x="2848927" y="306610"/>
                    </a:lnTo>
                    <a:lnTo>
                      <a:pt x="2841308" y="275273"/>
                    </a:lnTo>
                    <a:lnTo>
                      <a:pt x="2809875" y="239935"/>
                    </a:lnTo>
                    <a:lnTo>
                      <a:pt x="2753677" y="243745"/>
                    </a:lnTo>
                    <a:lnTo>
                      <a:pt x="2718435" y="225647"/>
                    </a:lnTo>
                    <a:lnTo>
                      <a:pt x="2693670" y="221932"/>
                    </a:lnTo>
                    <a:lnTo>
                      <a:pt x="2679383" y="268510"/>
                    </a:lnTo>
                    <a:lnTo>
                      <a:pt x="2552700" y="254222"/>
                    </a:lnTo>
                    <a:lnTo>
                      <a:pt x="2552700" y="236220"/>
                    </a:lnTo>
                    <a:lnTo>
                      <a:pt x="2422208" y="233363"/>
                    </a:lnTo>
                    <a:lnTo>
                      <a:pt x="2405063" y="243745"/>
                    </a:lnTo>
                    <a:lnTo>
                      <a:pt x="2373630" y="221932"/>
                    </a:lnTo>
                    <a:lnTo>
                      <a:pt x="2352675" y="215170"/>
                    </a:lnTo>
                    <a:lnTo>
                      <a:pt x="2345055" y="198120"/>
                    </a:lnTo>
                    <a:lnTo>
                      <a:pt x="2317433" y="204788"/>
                    </a:lnTo>
                    <a:lnTo>
                      <a:pt x="2299335" y="221932"/>
                    </a:lnTo>
                    <a:lnTo>
                      <a:pt x="2303145" y="236220"/>
                    </a:lnTo>
                    <a:lnTo>
                      <a:pt x="2228850" y="257175"/>
                    </a:lnTo>
                    <a:lnTo>
                      <a:pt x="2189797" y="271463"/>
                    </a:lnTo>
                    <a:lnTo>
                      <a:pt x="2183130" y="264795"/>
                    </a:lnTo>
                    <a:lnTo>
                      <a:pt x="2270760" y="215170"/>
                    </a:lnTo>
                    <a:lnTo>
                      <a:pt x="2334577" y="180022"/>
                    </a:lnTo>
                    <a:lnTo>
                      <a:pt x="2394585" y="148495"/>
                    </a:lnTo>
                    <a:lnTo>
                      <a:pt x="2408872" y="113347"/>
                    </a:lnTo>
                    <a:lnTo>
                      <a:pt x="2401252" y="91345"/>
                    </a:lnTo>
                    <a:lnTo>
                      <a:pt x="2352675" y="60007"/>
                    </a:lnTo>
                    <a:lnTo>
                      <a:pt x="2218372" y="63722"/>
                    </a:lnTo>
                    <a:lnTo>
                      <a:pt x="2232660" y="38957"/>
                    </a:lnTo>
                    <a:lnTo>
                      <a:pt x="2158365" y="35147"/>
                    </a:lnTo>
                    <a:lnTo>
                      <a:pt x="2197417" y="14288"/>
                    </a:lnTo>
                    <a:lnTo>
                      <a:pt x="2165985" y="3810"/>
                    </a:lnTo>
                    <a:lnTo>
                      <a:pt x="2105977" y="0"/>
                    </a:lnTo>
                    <a:lnTo>
                      <a:pt x="2063115" y="35147"/>
                    </a:lnTo>
                    <a:lnTo>
                      <a:pt x="2070735" y="63722"/>
                    </a:lnTo>
                    <a:lnTo>
                      <a:pt x="1982152" y="91345"/>
                    </a:lnTo>
                    <a:lnTo>
                      <a:pt x="1922145" y="84772"/>
                    </a:lnTo>
                    <a:lnTo>
                      <a:pt x="1859280" y="91345"/>
                    </a:lnTo>
                    <a:lnTo>
                      <a:pt x="1711642" y="140970"/>
                    </a:lnTo>
                    <a:lnTo>
                      <a:pt x="1644015" y="173260"/>
                    </a:lnTo>
                    <a:lnTo>
                      <a:pt x="1665922" y="211360"/>
                    </a:lnTo>
                    <a:lnTo>
                      <a:pt x="1584007" y="225647"/>
                    </a:lnTo>
                    <a:lnTo>
                      <a:pt x="1503045" y="229457"/>
                    </a:lnTo>
                    <a:lnTo>
                      <a:pt x="1482090" y="243745"/>
                    </a:lnTo>
                    <a:lnTo>
                      <a:pt x="1492567" y="281845"/>
                    </a:lnTo>
                    <a:lnTo>
                      <a:pt x="1524952" y="306610"/>
                    </a:lnTo>
                    <a:lnTo>
                      <a:pt x="1548765" y="331470"/>
                    </a:lnTo>
                    <a:lnTo>
                      <a:pt x="1500188" y="331470"/>
                    </a:lnTo>
                    <a:lnTo>
                      <a:pt x="1464945" y="303848"/>
                    </a:lnTo>
                    <a:lnTo>
                      <a:pt x="1404938" y="285750"/>
                    </a:lnTo>
                    <a:lnTo>
                      <a:pt x="1394460" y="292322"/>
                    </a:lnTo>
                    <a:lnTo>
                      <a:pt x="1419225" y="320897"/>
                    </a:lnTo>
                    <a:lnTo>
                      <a:pt x="1383982" y="314325"/>
                    </a:lnTo>
                    <a:lnTo>
                      <a:pt x="1363027" y="320897"/>
                    </a:lnTo>
                    <a:lnTo>
                      <a:pt x="1376363" y="341948"/>
                    </a:lnTo>
                    <a:lnTo>
                      <a:pt x="1411605" y="352425"/>
                    </a:lnTo>
                    <a:lnTo>
                      <a:pt x="1436370" y="370523"/>
                    </a:lnTo>
                    <a:lnTo>
                      <a:pt x="1415415" y="370523"/>
                    </a:lnTo>
                    <a:lnTo>
                      <a:pt x="1373505" y="360045"/>
                    </a:lnTo>
                    <a:lnTo>
                      <a:pt x="1344930" y="352425"/>
                    </a:lnTo>
                    <a:lnTo>
                      <a:pt x="1338263" y="335185"/>
                    </a:lnTo>
                    <a:lnTo>
                      <a:pt x="1348740" y="310420"/>
                    </a:lnTo>
                    <a:lnTo>
                      <a:pt x="1344930" y="279082"/>
                    </a:lnTo>
                    <a:lnTo>
                      <a:pt x="1330642" y="279082"/>
                    </a:lnTo>
                    <a:lnTo>
                      <a:pt x="1327785" y="306610"/>
                    </a:lnTo>
                    <a:lnTo>
                      <a:pt x="1303020" y="317182"/>
                    </a:lnTo>
                    <a:lnTo>
                      <a:pt x="1281113" y="338995"/>
                    </a:lnTo>
                    <a:lnTo>
                      <a:pt x="1292542" y="360045"/>
                    </a:lnTo>
                    <a:lnTo>
                      <a:pt x="1309688" y="387572"/>
                    </a:lnTo>
                    <a:lnTo>
                      <a:pt x="1295400" y="422910"/>
                    </a:lnTo>
                    <a:lnTo>
                      <a:pt x="1295400" y="458057"/>
                    </a:lnTo>
                    <a:lnTo>
                      <a:pt x="1369695" y="461963"/>
                    </a:lnTo>
                    <a:lnTo>
                      <a:pt x="1404938" y="472345"/>
                    </a:lnTo>
                    <a:lnTo>
                      <a:pt x="1419225" y="500920"/>
                    </a:lnTo>
                    <a:lnTo>
                      <a:pt x="1394460" y="521970"/>
                    </a:lnTo>
                    <a:lnTo>
                      <a:pt x="1386840" y="493395"/>
                    </a:lnTo>
                    <a:lnTo>
                      <a:pt x="1369695" y="476250"/>
                    </a:lnTo>
                    <a:lnTo>
                      <a:pt x="1330642" y="469582"/>
                    </a:lnTo>
                    <a:lnTo>
                      <a:pt x="1313497" y="497110"/>
                    </a:lnTo>
                    <a:lnTo>
                      <a:pt x="1327785" y="525685"/>
                    </a:lnTo>
                    <a:lnTo>
                      <a:pt x="1278255" y="575215"/>
                    </a:lnTo>
                    <a:lnTo>
                      <a:pt x="1243013" y="602932"/>
                    </a:lnTo>
                    <a:lnTo>
                      <a:pt x="1211580" y="600075"/>
                    </a:lnTo>
                    <a:lnTo>
                      <a:pt x="1179195" y="592360"/>
                    </a:lnTo>
                    <a:lnTo>
                      <a:pt x="1158240" y="578072"/>
                    </a:lnTo>
                    <a:lnTo>
                      <a:pt x="1172527" y="571500"/>
                    </a:lnTo>
                    <a:lnTo>
                      <a:pt x="1200150" y="578072"/>
                    </a:lnTo>
                    <a:lnTo>
                      <a:pt x="1224915" y="567690"/>
                    </a:lnTo>
                    <a:lnTo>
                      <a:pt x="1274445" y="525685"/>
                    </a:lnTo>
                    <a:lnTo>
                      <a:pt x="1288732" y="493395"/>
                    </a:lnTo>
                    <a:lnTo>
                      <a:pt x="1260157" y="472345"/>
                    </a:lnTo>
                    <a:lnTo>
                      <a:pt x="1267777" y="395288"/>
                    </a:lnTo>
                    <a:lnTo>
                      <a:pt x="1260157" y="363760"/>
                    </a:lnTo>
                    <a:lnTo>
                      <a:pt x="1243013" y="349472"/>
                    </a:lnTo>
                    <a:lnTo>
                      <a:pt x="1260157" y="320897"/>
                    </a:lnTo>
                    <a:lnTo>
                      <a:pt x="1267777" y="289560"/>
                    </a:lnTo>
                    <a:lnTo>
                      <a:pt x="1260157" y="279082"/>
                    </a:lnTo>
                    <a:lnTo>
                      <a:pt x="1172527" y="271463"/>
                    </a:lnTo>
                    <a:lnTo>
                      <a:pt x="1143952" y="327660"/>
                    </a:lnTo>
                    <a:lnTo>
                      <a:pt x="1102042" y="360045"/>
                    </a:lnTo>
                    <a:lnTo>
                      <a:pt x="1098232" y="370523"/>
                    </a:lnTo>
                    <a:lnTo>
                      <a:pt x="1116330" y="381000"/>
                    </a:lnTo>
                    <a:lnTo>
                      <a:pt x="1102042" y="416147"/>
                    </a:lnTo>
                    <a:lnTo>
                      <a:pt x="1102042" y="434245"/>
                    </a:lnTo>
                    <a:lnTo>
                      <a:pt x="1133475" y="451485"/>
                    </a:lnTo>
                    <a:lnTo>
                      <a:pt x="1158240" y="476250"/>
                    </a:lnTo>
                    <a:lnTo>
                      <a:pt x="1143952" y="500920"/>
                    </a:lnTo>
                    <a:lnTo>
                      <a:pt x="1091565" y="472345"/>
                    </a:lnTo>
                    <a:lnTo>
                      <a:pt x="1042035" y="451485"/>
                    </a:lnTo>
                    <a:lnTo>
                      <a:pt x="982027" y="430435"/>
                    </a:lnTo>
                    <a:lnTo>
                      <a:pt x="925830" y="426720"/>
                    </a:lnTo>
                    <a:lnTo>
                      <a:pt x="890588" y="395288"/>
                    </a:lnTo>
                    <a:lnTo>
                      <a:pt x="876300" y="399098"/>
                    </a:lnTo>
                    <a:lnTo>
                      <a:pt x="876300" y="422910"/>
                    </a:lnTo>
                    <a:lnTo>
                      <a:pt x="915352" y="437198"/>
                    </a:lnTo>
                    <a:lnTo>
                      <a:pt x="936307" y="465773"/>
                    </a:lnTo>
                    <a:lnTo>
                      <a:pt x="908685" y="482822"/>
                    </a:lnTo>
                    <a:lnTo>
                      <a:pt x="901065" y="497110"/>
                    </a:lnTo>
                    <a:lnTo>
                      <a:pt x="883920" y="497110"/>
                    </a:lnTo>
                    <a:lnTo>
                      <a:pt x="886777" y="482822"/>
                    </a:lnTo>
                    <a:lnTo>
                      <a:pt x="880110" y="465773"/>
                    </a:lnTo>
                    <a:lnTo>
                      <a:pt x="838200" y="490538"/>
                    </a:lnTo>
                    <a:lnTo>
                      <a:pt x="774382" y="486632"/>
                    </a:lnTo>
                    <a:lnTo>
                      <a:pt x="767715" y="500920"/>
                    </a:lnTo>
                    <a:lnTo>
                      <a:pt x="732472" y="500920"/>
                    </a:lnTo>
                    <a:lnTo>
                      <a:pt x="739140" y="469582"/>
                    </a:lnTo>
                    <a:lnTo>
                      <a:pt x="718185" y="476250"/>
                    </a:lnTo>
                    <a:lnTo>
                      <a:pt x="697230" y="497110"/>
                    </a:lnTo>
                    <a:lnTo>
                      <a:pt x="679132" y="493395"/>
                    </a:lnTo>
                    <a:lnTo>
                      <a:pt x="577215" y="532448"/>
                    </a:lnTo>
                    <a:lnTo>
                      <a:pt x="560070" y="575215"/>
                    </a:lnTo>
                    <a:lnTo>
                      <a:pt x="517207" y="571500"/>
                    </a:lnTo>
                    <a:lnTo>
                      <a:pt x="489585" y="546735"/>
                    </a:lnTo>
                    <a:lnTo>
                      <a:pt x="506730" y="529495"/>
                    </a:lnTo>
                    <a:lnTo>
                      <a:pt x="535305" y="529495"/>
                    </a:lnTo>
                    <a:lnTo>
                      <a:pt x="535305" y="515207"/>
                    </a:lnTo>
                    <a:lnTo>
                      <a:pt x="513397" y="490538"/>
                    </a:lnTo>
                    <a:lnTo>
                      <a:pt x="454342" y="493395"/>
                    </a:lnTo>
                    <a:lnTo>
                      <a:pt x="467677" y="507682"/>
                    </a:lnTo>
                    <a:lnTo>
                      <a:pt x="461010" y="546735"/>
                    </a:lnTo>
                    <a:lnTo>
                      <a:pt x="475297" y="560927"/>
                    </a:lnTo>
                    <a:lnTo>
                      <a:pt x="464820" y="602932"/>
                    </a:lnTo>
                    <a:lnTo>
                      <a:pt x="415290" y="588645"/>
                    </a:lnTo>
                    <a:lnTo>
                      <a:pt x="397192" y="602932"/>
                    </a:lnTo>
                    <a:lnTo>
                      <a:pt x="365760" y="620935"/>
                    </a:lnTo>
                    <a:lnTo>
                      <a:pt x="344805" y="641890"/>
                    </a:lnTo>
                    <a:lnTo>
                      <a:pt x="361950" y="662940"/>
                    </a:lnTo>
                    <a:lnTo>
                      <a:pt x="361950" y="681038"/>
                    </a:lnTo>
                    <a:lnTo>
                      <a:pt x="316230" y="670465"/>
                    </a:lnTo>
                    <a:lnTo>
                      <a:pt x="295275" y="662940"/>
                    </a:lnTo>
                    <a:lnTo>
                      <a:pt x="274320" y="645795"/>
                    </a:lnTo>
                    <a:lnTo>
                      <a:pt x="260032" y="662940"/>
                    </a:lnTo>
                    <a:lnTo>
                      <a:pt x="278130" y="683895"/>
                    </a:lnTo>
                    <a:lnTo>
                      <a:pt x="299085" y="691515"/>
                    </a:lnTo>
                    <a:lnTo>
                      <a:pt x="295275" y="708565"/>
                    </a:lnTo>
                    <a:lnTo>
                      <a:pt x="260032" y="708565"/>
                    </a:lnTo>
                    <a:lnTo>
                      <a:pt x="232410" y="683895"/>
                    </a:lnTo>
                    <a:lnTo>
                      <a:pt x="214313" y="681038"/>
                    </a:lnTo>
                    <a:lnTo>
                      <a:pt x="203835" y="635222"/>
                    </a:lnTo>
                    <a:lnTo>
                      <a:pt x="200025" y="613315"/>
                    </a:lnTo>
                    <a:lnTo>
                      <a:pt x="186690" y="602932"/>
                    </a:lnTo>
                    <a:lnTo>
                      <a:pt x="158115" y="588645"/>
                    </a:lnTo>
                    <a:lnTo>
                      <a:pt x="133350" y="557213"/>
                    </a:lnTo>
                    <a:lnTo>
                      <a:pt x="164782" y="571500"/>
                    </a:lnTo>
                    <a:lnTo>
                      <a:pt x="203835" y="585788"/>
                    </a:lnTo>
                    <a:lnTo>
                      <a:pt x="257175" y="596265"/>
                    </a:lnTo>
                    <a:lnTo>
                      <a:pt x="302895" y="613315"/>
                    </a:lnTo>
                    <a:lnTo>
                      <a:pt x="355282" y="600075"/>
                    </a:lnTo>
                    <a:lnTo>
                      <a:pt x="386715" y="571500"/>
                    </a:lnTo>
                    <a:lnTo>
                      <a:pt x="383857" y="539972"/>
                    </a:lnTo>
                    <a:lnTo>
                      <a:pt x="330517" y="511397"/>
                    </a:lnTo>
                    <a:lnTo>
                      <a:pt x="284797" y="482822"/>
                    </a:lnTo>
                    <a:lnTo>
                      <a:pt x="235267" y="458057"/>
                    </a:lnTo>
                    <a:lnTo>
                      <a:pt x="168592" y="455295"/>
                    </a:lnTo>
                    <a:lnTo>
                      <a:pt x="151447" y="447675"/>
                    </a:lnTo>
                    <a:lnTo>
                      <a:pt x="140970" y="430435"/>
                    </a:lnTo>
                    <a:lnTo>
                      <a:pt x="108585" y="430435"/>
                    </a:lnTo>
                    <a:lnTo>
                      <a:pt x="70485" y="437198"/>
                    </a:lnTo>
                    <a:lnTo>
                      <a:pt x="70485" y="447675"/>
                    </a:lnTo>
                    <a:lnTo>
                      <a:pt x="52388" y="451485"/>
                    </a:lnTo>
                    <a:lnTo>
                      <a:pt x="35242" y="469582"/>
                    </a:lnTo>
                    <a:lnTo>
                      <a:pt x="27622" y="507682"/>
                    </a:lnTo>
                    <a:lnTo>
                      <a:pt x="70485" y="532448"/>
                    </a:lnTo>
                    <a:lnTo>
                      <a:pt x="41910" y="560927"/>
                    </a:lnTo>
                    <a:lnTo>
                      <a:pt x="59055" y="592360"/>
                    </a:lnTo>
                    <a:lnTo>
                      <a:pt x="70485" y="620935"/>
                    </a:lnTo>
                    <a:lnTo>
                      <a:pt x="70485" y="620935"/>
                    </a:lnTo>
                    <a:lnTo>
                      <a:pt x="70485" y="620935"/>
                    </a:lnTo>
                    <a:lnTo>
                      <a:pt x="56197" y="656177"/>
                    </a:lnTo>
                    <a:lnTo>
                      <a:pt x="73342" y="673322"/>
                    </a:lnTo>
                    <a:lnTo>
                      <a:pt x="87630" y="698182"/>
                    </a:lnTo>
                    <a:lnTo>
                      <a:pt x="70485" y="716185"/>
                    </a:lnTo>
                    <a:lnTo>
                      <a:pt x="112395" y="747713"/>
                    </a:lnTo>
                    <a:lnTo>
                      <a:pt x="98107" y="772478"/>
                    </a:lnTo>
                    <a:lnTo>
                      <a:pt x="52388" y="814388"/>
                    </a:lnTo>
                    <a:lnTo>
                      <a:pt x="21907" y="837152"/>
                    </a:lnTo>
                    <a:lnTo>
                      <a:pt x="38100" y="857250"/>
                    </a:lnTo>
                    <a:lnTo>
                      <a:pt x="70485" y="871538"/>
                    </a:lnTo>
                    <a:lnTo>
                      <a:pt x="45720" y="874395"/>
                    </a:lnTo>
                    <a:lnTo>
                      <a:pt x="13335" y="899065"/>
                    </a:lnTo>
                    <a:lnTo>
                      <a:pt x="2857" y="920115"/>
                    </a:lnTo>
                    <a:lnTo>
                      <a:pt x="2857" y="948690"/>
                    </a:lnTo>
                    <a:lnTo>
                      <a:pt x="0" y="969645"/>
                    </a:lnTo>
                    <a:lnTo>
                      <a:pt x="10477" y="990600"/>
                    </a:lnTo>
                    <a:lnTo>
                      <a:pt x="17145" y="1019175"/>
                    </a:lnTo>
                    <a:lnTo>
                      <a:pt x="24765" y="1029652"/>
                    </a:lnTo>
                    <a:lnTo>
                      <a:pt x="56197" y="1037177"/>
                    </a:lnTo>
                    <a:lnTo>
                      <a:pt x="56197" y="1047750"/>
                    </a:lnTo>
                    <a:lnTo>
                      <a:pt x="91440" y="1050608"/>
                    </a:lnTo>
                    <a:lnTo>
                      <a:pt x="98107" y="1089565"/>
                    </a:lnTo>
                    <a:lnTo>
                      <a:pt x="147638" y="1143000"/>
                    </a:lnTo>
                    <a:lnTo>
                      <a:pt x="143827" y="1145858"/>
                    </a:lnTo>
                    <a:lnTo>
                      <a:pt x="112395" y="1145858"/>
                    </a:lnTo>
                    <a:lnTo>
                      <a:pt x="112395" y="1181100"/>
                    </a:lnTo>
                    <a:lnTo>
                      <a:pt x="126682" y="1188720"/>
                    </a:lnTo>
                    <a:lnTo>
                      <a:pt x="137160" y="1184815"/>
                    </a:lnTo>
                    <a:lnTo>
                      <a:pt x="143827" y="1178147"/>
                    </a:lnTo>
                    <a:lnTo>
                      <a:pt x="186690" y="1178147"/>
                    </a:lnTo>
                    <a:lnTo>
                      <a:pt x="193357" y="1195388"/>
                    </a:lnTo>
                    <a:lnTo>
                      <a:pt x="189547" y="1216247"/>
                    </a:lnTo>
                    <a:lnTo>
                      <a:pt x="221932" y="1223963"/>
                    </a:lnTo>
                    <a:lnTo>
                      <a:pt x="228600" y="1248727"/>
                    </a:lnTo>
                    <a:lnTo>
                      <a:pt x="284797" y="1251490"/>
                    </a:lnTo>
                    <a:lnTo>
                      <a:pt x="288607" y="1263015"/>
                    </a:lnTo>
                    <a:lnTo>
                      <a:pt x="323850" y="1263015"/>
                    </a:lnTo>
                    <a:lnTo>
                      <a:pt x="351472" y="1280065"/>
                    </a:lnTo>
                    <a:lnTo>
                      <a:pt x="348615" y="1336358"/>
                    </a:lnTo>
                    <a:lnTo>
                      <a:pt x="320040" y="1343977"/>
                    </a:lnTo>
                    <a:lnTo>
                      <a:pt x="302895" y="1350645"/>
                    </a:lnTo>
                    <a:lnTo>
                      <a:pt x="299085" y="1364933"/>
                    </a:lnTo>
                    <a:lnTo>
                      <a:pt x="330517" y="1368647"/>
                    </a:lnTo>
                    <a:lnTo>
                      <a:pt x="302895" y="1385888"/>
                    </a:lnTo>
                    <a:lnTo>
                      <a:pt x="305752" y="1403890"/>
                    </a:lnTo>
                    <a:lnTo>
                      <a:pt x="284797" y="1424940"/>
                    </a:lnTo>
                    <a:lnTo>
                      <a:pt x="278130" y="1449610"/>
                    </a:lnTo>
                    <a:lnTo>
                      <a:pt x="302895" y="1460183"/>
                    </a:lnTo>
                    <a:lnTo>
                      <a:pt x="348615" y="1491615"/>
                    </a:lnTo>
                    <a:lnTo>
                      <a:pt x="369570" y="1487710"/>
                    </a:lnTo>
                    <a:lnTo>
                      <a:pt x="390525" y="1501997"/>
                    </a:lnTo>
                    <a:lnTo>
                      <a:pt x="408622" y="1499140"/>
                    </a:lnTo>
                    <a:lnTo>
                      <a:pt x="421957" y="1499140"/>
                    </a:lnTo>
                    <a:lnTo>
                      <a:pt x="446722" y="1512570"/>
                    </a:lnTo>
                    <a:lnTo>
                      <a:pt x="464820" y="1520190"/>
                    </a:lnTo>
                    <a:lnTo>
                      <a:pt x="475297" y="1520190"/>
                    </a:lnTo>
                    <a:lnTo>
                      <a:pt x="492442" y="1516285"/>
                    </a:lnTo>
                    <a:lnTo>
                      <a:pt x="510540" y="1526858"/>
                    </a:lnTo>
                    <a:lnTo>
                      <a:pt x="527685" y="1544860"/>
                    </a:lnTo>
                    <a:lnTo>
                      <a:pt x="538163" y="1547813"/>
                    </a:lnTo>
                    <a:lnTo>
                      <a:pt x="566738" y="1569720"/>
                    </a:lnTo>
                    <a:lnTo>
                      <a:pt x="573405" y="1565815"/>
                    </a:lnTo>
                    <a:lnTo>
                      <a:pt x="591502" y="1547813"/>
                    </a:lnTo>
                    <a:lnTo>
                      <a:pt x="566738" y="1520190"/>
                    </a:lnTo>
                    <a:lnTo>
                      <a:pt x="562927" y="1487710"/>
                    </a:lnTo>
                    <a:lnTo>
                      <a:pt x="552450" y="1470565"/>
                    </a:lnTo>
                    <a:lnTo>
                      <a:pt x="538163" y="1460183"/>
                    </a:lnTo>
                    <a:lnTo>
                      <a:pt x="552450" y="1441990"/>
                    </a:lnTo>
                    <a:lnTo>
                      <a:pt x="560070" y="1428750"/>
                    </a:lnTo>
                    <a:lnTo>
                      <a:pt x="577215" y="1417320"/>
                    </a:lnTo>
                    <a:lnTo>
                      <a:pt x="605790" y="1396365"/>
                    </a:lnTo>
                    <a:lnTo>
                      <a:pt x="598170" y="1371600"/>
                    </a:lnTo>
                    <a:lnTo>
                      <a:pt x="577215" y="1343977"/>
                    </a:lnTo>
                    <a:lnTo>
                      <a:pt x="552450" y="1336358"/>
                    </a:lnTo>
                    <a:lnTo>
                      <a:pt x="535305" y="1311497"/>
                    </a:lnTo>
                    <a:lnTo>
                      <a:pt x="545782" y="1269683"/>
                    </a:lnTo>
                    <a:lnTo>
                      <a:pt x="566738" y="1244822"/>
                    </a:lnTo>
                    <a:lnTo>
                      <a:pt x="581025" y="1273397"/>
                    </a:lnTo>
                    <a:lnTo>
                      <a:pt x="594360" y="1265777"/>
                    </a:lnTo>
                    <a:lnTo>
                      <a:pt x="598170" y="1244822"/>
                    </a:lnTo>
                    <a:lnTo>
                      <a:pt x="641032" y="1213390"/>
                    </a:lnTo>
                    <a:lnTo>
                      <a:pt x="668655" y="1203008"/>
                    </a:lnTo>
                    <a:lnTo>
                      <a:pt x="732472" y="1213390"/>
                    </a:lnTo>
                    <a:lnTo>
                      <a:pt x="770572" y="1238250"/>
                    </a:lnTo>
                    <a:lnTo>
                      <a:pt x="799147" y="1241108"/>
                    </a:lnTo>
                    <a:lnTo>
                      <a:pt x="838200" y="1223963"/>
                    </a:lnTo>
                    <a:lnTo>
                      <a:pt x="869632" y="1223963"/>
                    </a:lnTo>
                    <a:lnTo>
                      <a:pt x="886777" y="1241108"/>
                    </a:lnTo>
                    <a:lnTo>
                      <a:pt x="932497" y="1238250"/>
                    </a:lnTo>
                    <a:lnTo>
                      <a:pt x="950595" y="1220152"/>
                    </a:lnTo>
                    <a:lnTo>
                      <a:pt x="936307" y="1205865"/>
                    </a:lnTo>
                    <a:lnTo>
                      <a:pt x="911542" y="1199102"/>
                    </a:lnTo>
                    <a:lnTo>
                      <a:pt x="922020" y="1184815"/>
                    </a:lnTo>
                    <a:lnTo>
                      <a:pt x="932497" y="1174433"/>
                    </a:lnTo>
                    <a:lnTo>
                      <a:pt x="936307" y="1156240"/>
                    </a:lnTo>
                    <a:lnTo>
                      <a:pt x="957263" y="1149572"/>
                    </a:lnTo>
                    <a:lnTo>
                      <a:pt x="950595" y="1135285"/>
                    </a:lnTo>
                    <a:lnTo>
                      <a:pt x="943927" y="1118140"/>
                    </a:lnTo>
                    <a:lnTo>
                      <a:pt x="982027" y="1114425"/>
                    </a:lnTo>
                    <a:lnTo>
                      <a:pt x="1137285" y="1072515"/>
                    </a:lnTo>
                    <a:lnTo>
                      <a:pt x="1176338" y="1064895"/>
                    </a:lnTo>
                    <a:lnTo>
                      <a:pt x="1211580" y="1068610"/>
                    </a:lnTo>
                    <a:lnTo>
                      <a:pt x="1218247" y="1093470"/>
                    </a:lnTo>
                    <a:lnTo>
                      <a:pt x="1235392" y="1103852"/>
                    </a:lnTo>
                    <a:lnTo>
                      <a:pt x="1270635" y="1114425"/>
                    </a:lnTo>
                    <a:lnTo>
                      <a:pt x="1305877" y="1132427"/>
                    </a:lnTo>
                    <a:lnTo>
                      <a:pt x="1338263" y="1114425"/>
                    </a:lnTo>
                    <a:lnTo>
                      <a:pt x="1376363" y="1103852"/>
                    </a:lnTo>
                    <a:lnTo>
                      <a:pt x="1380172" y="1120997"/>
                    </a:lnTo>
                    <a:lnTo>
                      <a:pt x="1411605" y="1143000"/>
                    </a:lnTo>
                    <a:lnTo>
                      <a:pt x="1440180" y="1184815"/>
                    </a:lnTo>
                    <a:lnTo>
                      <a:pt x="1464945" y="1227677"/>
                    </a:lnTo>
                    <a:lnTo>
                      <a:pt x="1479232" y="1227677"/>
                    </a:lnTo>
                    <a:lnTo>
                      <a:pt x="1485900" y="1213390"/>
                    </a:lnTo>
                    <a:lnTo>
                      <a:pt x="1524952" y="1234440"/>
                    </a:lnTo>
                    <a:lnTo>
                      <a:pt x="1573530" y="1227677"/>
                    </a:lnTo>
                    <a:lnTo>
                      <a:pt x="1591627" y="1251490"/>
                    </a:lnTo>
                    <a:lnTo>
                      <a:pt x="1616392" y="1269683"/>
                    </a:lnTo>
                    <a:lnTo>
                      <a:pt x="1654492" y="1273397"/>
                    </a:lnTo>
                    <a:lnTo>
                      <a:pt x="1662113" y="1298258"/>
                    </a:lnTo>
                    <a:lnTo>
                      <a:pt x="1689735" y="1298258"/>
                    </a:lnTo>
                    <a:lnTo>
                      <a:pt x="1704022" y="1283970"/>
                    </a:lnTo>
                    <a:lnTo>
                      <a:pt x="1728788" y="1280065"/>
                    </a:lnTo>
                    <a:lnTo>
                      <a:pt x="1743075" y="1265777"/>
                    </a:lnTo>
                    <a:lnTo>
                      <a:pt x="1803082" y="1234440"/>
                    </a:lnTo>
                    <a:lnTo>
                      <a:pt x="1834515" y="1238250"/>
                    </a:lnTo>
                    <a:lnTo>
                      <a:pt x="1869757" y="1244822"/>
                    </a:lnTo>
                    <a:lnTo>
                      <a:pt x="1886902" y="1265777"/>
                    </a:lnTo>
                    <a:lnTo>
                      <a:pt x="1944052" y="1265777"/>
                    </a:lnTo>
                    <a:lnTo>
                      <a:pt x="1957388" y="1276350"/>
                    </a:lnTo>
                    <a:lnTo>
                      <a:pt x="1979295" y="1259110"/>
                    </a:lnTo>
                    <a:lnTo>
                      <a:pt x="1982152" y="1244822"/>
                    </a:lnTo>
                    <a:lnTo>
                      <a:pt x="1961197" y="1220152"/>
                    </a:lnTo>
                    <a:lnTo>
                      <a:pt x="1992630" y="1188720"/>
                    </a:lnTo>
                    <a:lnTo>
                      <a:pt x="2042160" y="1199102"/>
                    </a:lnTo>
                    <a:lnTo>
                      <a:pt x="2085022" y="1213390"/>
                    </a:lnTo>
                    <a:lnTo>
                      <a:pt x="2087880" y="1230535"/>
                    </a:lnTo>
                    <a:lnTo>
                      <a:pt x="2105977" y="1251490"/>
                    </a:lnTo>
                    <a:lnTo>
                      <a:pt x="2151697" y="1259110"/>
                    </a:lnTo>
                    <a:lnTo>
                      <a:pt x="2176463" y="1244822"/>
                    </a:lnTo>
                    <a:lnTo>
                      <a:pt x="2218372" y="1251490"/>
                    </a:lnTo>
                    <a:lnTo>
                      <a:pt x="2228850" y="1263015"/>
                    </a:lnTo>
                    <a:lnTo>
                      <a:pt x="2246947" y="1265777"/>
                    </a:lnTo>
                    <a:lnTo>
                      <a:pt x="2257425" y="1280065"/>
                    </a:lnTo>
                    <a:lnTo>
                      <a:pt x="2267902" y="1290638"/>
                    </a:lnTo>
                    <a:lnTo>
                      <a:pt x="2306002" y="1294352"/>
                    </a:lnTo>
                    <a:lnTo>
                      <a:pt x="2338388" y="1290638"/>
                    </a:lnTo>
                    <a:lnTo>
                      <a:pt x="2390775" y="1280065"/>
                    </a:lnTo>
                    <a:lnTo>
                      <a:pt x="2422208" y="1255395"/>
                    </a:lnTo>
                    <a:lnTo>
                      <a:pt x="2440305" y="1251490"/>
                    </a:lnTo>
                    <a:lnTo>
                      <a:pt x="2454592" y="1263015"/>
                    </a:lnTo>
                    <a:lnTo>
                      <a:pt x="2496502" y="1265777"/>
                    </a:lnTo>
                    <a:lnTo>
                      <a:pt x="2527935" y="1283970"/>
                    </a:lnTo>
                    <a:lnTo>
                      <a:pt x="2546033" y="1265777"/>
                    </a:lnTo>
                    <a:lnTo>
                      <a:pt x="2566988" y="1263015"/>
                    </a:lnTo>
                    <a:lnTo>
                      <a:pt x="2573655" y="1234440"/>
                    </a:lnTo>
                    <a:lnTo>
                      <a:pt x="2591752" y="1203008"/>
                    </a:lnTo>
                    <a:lnTo>
                      <a:pt x="2608897" y="1192435"/>
                    </a:lnTo>
                    <a:lnTo>
                      <a:pt x="2608897" y="1167765"/>
                    </a:lnTo>
                    <a:lnTo>
                      <a:pt x="2587942" y="1163860"/>
                    </a:lnTo>
                    <a:lnTo>
                      <a:pt x="2591752" y="1149572"/>
                    </a:lnTo>
                    <a:lnTo>
                      <a:pt x="2616517" y="1139190"/>
                    </a:lnTo>
                    <a:lnTo>
                      <a:pt x="2693670" y="1132427"/>
                    </a:lnTo>
                    <a:lnTo>
                      <a:pt x="2722245" y="1143000"/>
                    </a:lnTo>
                    <a:lnTo>
                      <a:pt x="2747010" y="1153477"/>
                    </a:lnTo>
                    <a:lnTo>
                      <a:pt x="2767965" y="1188720"/>
                    </a:lnTo>
                    <a:lnTo>
                      <a:pt x="2787015" y="1234440"/>
                    </a:lnTo>
                    <a:lnTo>
                      <a:pt x="2795588" y="1251490"/>
                    </a:lnTo>
                    <a:lnTo>
                      <a:pt x="2806065" y="1280065"/>
                    </a:lnTo>
                    <a:lnTo>
                      <a:pt x="2834640" y="1280065"/>
                    </a:lnTo>
                    <a:lnTo>
                      <a:pt x="2887980" y="1308640"/>
                    </a:lnTo>
                    <a:lnTo>
                      <a:pt x="2894647" y="1343977"/>
                    </a:lnTo>
                    <a:lnTo>
                      <a:pt x="2933700" y="1346740"/>
                    </a:lnTo>
                    <a:lnTo>
                      <a:pt x="2944177" y="1333500"/>
                    </a:lnTo>
                    <a:lnTo>
                      <a:pt x="2968942" y="1329690"/>
                    </a:lnTo>
                    <a:lnTo>
                      <a:pt x="2996565" y="1325785"/>
                    </a:lnTo>
                    <a:lnTo>
                      <a:pt x="3000375" y="1350645"/>
                    </a:lnTo>
                    <a:lnTo>
                      <a:pt x="2986088" y="1358265"/>
                    </a:lnTo>
                    <a:lnTo>
                      <a:pt x="2975610" y="1396365"/>
                    </a:lnTo>
                    <a:lnTo>
                      <a:pt x="2954655" y="1435322"/>
                    </a:lnTo>
                    <a:lnTo>
                      <a:pt x="2933700" y="1439227"/>
                    </a:lnTo>
                    <a:lnTo>
                      <a:pt x="2922270" y="1428750"/>
                    </a:lnTo>
                    <a:lnTo>
                      <a:pt x="2898458" y="1445895"/>
                    </a:lnTo>
                    <a:lnTo>
                      <a:pt x="2898458" y="1509713"/>
                    </a:lnTo>
                    <a:lnTo>
                      <a:pt x="2929890" y="1501997"/>
                    </a:lnTo>
                    <a:lnTo>
                      <a:pt x="2954655" y="1516285"/>
                    </a:lnTo>
                    <a:lnTo>
                      <a:pt x="2986088" y="1501997"/>
                    </a:lnTo>
                    <a:lnTo>
                      <a:pt x="3010852" y="1484852"/>
                    </a:lnTo>
                    <a:lnTo>
                      <a:pt x="3042285" y="1445895"/>
                    </a:lnTo>
                    <a:lnTo>
                      <a:pt x="3148013" y="1315402"/>
                    </a:lnTo>
                    <a:lnTo>
                      <a:pt x="3158490" y="1283970"/>
                    </a:lnTo>
                    <a:lnTo>
                      <a:pt x="3162300" y="1227677"/>
                    </a:lnTo>
                    <a:lnTo>
                      <a:pt x="3176588" y="1188720"/>
                    </a:lnTo>
                    <a:lnTo>
                      <a:pt x="3183255" y="1149572"/>
                    </a:lnTo>
                    <a:lnTo>
                      <a:pt x="3155633" y="1114425"/>
                    </a:lnTo>
                    <a:lnTo>
                      <a:pt x="3116580" y="1107758"/>
                    </a:lnTo>
                    <a:lnTo>
                      <a:pt x="3091815" y="1128713"/>
                    </a:lnTo>
                    <a:lnTo>
                      <a:pt x="3073717" y="1100138"/>
                    </a:lnTo>
                    <a:lnTo>
                      <a:pt x="3056572" y="1120997"/>
                    </a:lnTo>
                    <a:lnTo>
                      <a:pt x="3052763" y="1093470"/>
                    </a:lnTo>
                    <a:lnTo>
                      <a:pt x="3017520" y="1097185"/>
                    </a:lnTo>
                    <a:lnTo>
                      <a:pt x="3014663" y="1079183"/>
                    </a:lnTo>
                    <a:lnTo>
                      <a:pt x="3218497" y="902970"/>
                    </a:lnTo>
                    <a:lnTo>
                      <a:pt x="3309938" y="902970"/>
                    </a:lnTo>
                    <a:lnTo>
                      <a:pt x="3334702" y="899065"/>
                    </a:lnTo>
                    <a:lnTo>
                      <a:pt x="3388042" y="902970"/>
                    </a:lnTo>
                    <a:lnTo>
                      <a:pt x="3398520" y="888683"/>
                    </a:lnTo>
                    <a:lnTo>
                      <a:pt x="3423285" y="884777"/>
                    </a:lnTo>
                    <a:lnTo>
                      <a:pt x="3461385" y="888683"/>
                    </a:lnTo>
                    <a:lnTo>
                      <a:pt x="3471863" y="902970"/>
                    </a:lnTo>
                    <a:lnTo>
                      <a:pt x="3457575" y="917258"/>
                    </a:lnTo>
                    <a:lnTo>
                      <a:pt x="3510915" y="913352"/>
                    </a:lnTo>
                    <a:lnTo>
                      <a:pt x="3539490" y="909638"/>
                    </a:lnTo>
                    <a:lnTo>
                      <a:pt x="3567113" y="909638"/>
                    </a:lnTo>
                    <a:lnTo>
                      <a:pt x="3549967" y="892397"/>
                    </a:lnTo>
                    <a:lnTo>
                      <a:pt x="3542347" y="884777"/>
                    </a:lnTo>
                    <a:lnTo>
                      <a:pt x="3556635" y="857250"/>
                    </a:lnTo>
                    <a:lnTo>
                      <a:pt x="3623310" y="803815"/>
                    </a:lnTo>
                    <a:lnTo>
                      <a:pt x="3693795" y="803815"/>
                    </a:lnTo>
                    <a:lnTo>
                      <a:pt x="3711892" y="797147"/>
                    </a:lnTo>
                    <a:lnTo>
                      <a:pt x="3697605" y="824865"/>
                    </a:lnTo>
                    <a:lnTo>
                      <a:pt x="3711892" y="839152"/>
                    </a:lnTo>
                    <a:lnTo>
                      <a:pt x="3768090" y="803815"/>
                    </a:lnTo>
                    <a:lnTo>
                      <a:pt x="3792855" y="803815"/>
                    </a:lnTo>
                    <a:lnTo>
                      <a:pt x="3792855" y="772478"/>
                    </a:lnTo>
                    <a:lnTo>
                      <a:pt x="3803333" y="762000"/>
                    </a:lnTo>
                    <a:lnTo>
                      <a:pt x="3813810" y="758190"/>
                    </a:lnTo>
                    <a:lnTo>
                      <a:pt x="3841433" y="768572"/>
                    </a:lnTo>
                    <a:lnTo>
                      <a:pt x="3828097" y="776288"/>
                    </a:lnTo>
                    <a:lnTo>
                      <a:pt x="3799522" y="839152"/>
                    </a:lnTo>
                    <a:lnTo>
                      <a:pt x="3782377" y="846677"/>
                    </a:lnTo>
                    <a:lnTo>
                      <a:pt x="3725227" y="884777"/>
                    </a:lnTo>
                    <a:lnTo>
                      <a:pt x="3651885" y="955358"/>
                    </a:lnTo>
                    <a:lnTo>
                      <a:pt x="3623310" y="962977"/>
                    </a:lnTo>
                    <a:lnTo>
                      <a:pt x="3602355" y="1001935"/>
                    </a:lnTo>
                    <a:lnTo>
                      <a:pt x="3581400" y="1026795"/>
                    </a:lnTo>
                    <a:lnTo>
                      <a:pt x="3581400" y="1089565"/>
                    </a:lnTo>
                    <a:lnTo>
                      <a:pt x="3602355" y="1178147"/>
                    </a:lnTo>
                    <a:lnTo>
                      <a:pt x="3609022" y="1234440"/>
                    </a:lnTo>
                    <a:lnTo>
                      <a:pt x="3662363" y="1181100"/>
                    </a:lnTo>
                    <a:lnTo>
                      <a:pt x="3662363" y="1156240"/>
                    </a:lnTo>
                    <a:lnTo>
                      <a:pt x="3704272" y="1143000"/>
                    </a:lnTo>
                    <a:lnTo>
                      <a:pt x="3708083" y="1135285"/>
                    </a:lnTo>
                    <a:lnTo>
                      <a:pt x="3704272" y="1128713"/>
                    </a:lnTo>
                    <a:lnTo>
                      <a:pt x="3704272" y="1118140"/>
                    </a:lnTo>
                    <a:lnTo>
                      <a:pt x="3718560" y="1103852"/>
                    </a:lnTo>
                    <a:lnTo>
                      <a:pt x="3760470" y="1089565"/>
                    </a:lnTo>
                    <a:lnTo>
                      <a:pt x="3749992" y="1058227"/>
                    </a:lnTo>
                    <a:lnTo>
                      <a:pt x="3760470" y="1033463"/>
                    </a:lnTo>
                    <a:lnTo>
                      <a:pt x="3792855" y="1022890"/>
                    </a:lnTo>
                    <a:lnTo>
                      <a:pt x="3782377" y="994315"/>
                    </a:lnTo>
                    <a:lnTo>
                      <a:pt x="3789045" y="962977"/>
                    </a:lnTo>
                    <a:lnTo>
                      <a:pt x="3760470" y="962977"/>
                    </a:lnTo>
                    <a:lnTo>
                      <a:pt x="3760470" y="941927"/>
                    </a:lnTo>
                    <a:lnTo>
                      <a:pt x="3803333" y="874395"/>
                    </a:lnTo>
                    <a:lnTo>
                      <a:pt x="3852863" y="874395"/>
                    </a:lnTo>
                    <a:lnTo>
                      <a:pt x="3859530" y="853440"/>
                    </a:lnTo>
                    <a:lnTo>
                      <a:pt x="3876675" y="853440"/>
                    </a:lnTo>
                    <a:lnTo>
                      <a:pt x="3884295" y="882015"/>
                    </a:lnTo>
                    <a:lnTo>
                      <a:pt x="3911917" y="853440"/>
                    </a:lnTo>
                    <a:lnTo>
                      <a:pt x="3965258" y="853440"/>
                    </a:lnTo>
                    <a:lnTo>
                      <a:pt x="3990022" y="874395"/>
                    </a:lnTo>
                    <a:lnTo>
                      <a:pt x="4060508" y="818102"/>
                    </a:lnTo>
                    <a:lnTo>
                      <a:pt x="4095750" y="801053"/>
                    </a:lnTo>
                    <a:lnTo>
                      <a:pt x="4158615" y="772478"/>
                    </a:lnTo>
                    <a:lnTo>
                      <a:pt x="4179570" y="754285"/>
                    </a:lnTo>
                    <a:lnTo>
                      <a:pt x="4226242" y="772478"/>
                    </a:lnTo>
                    <a:lnTo>
                      <a:pt x="4250055" y="758190"/>
                    </a:lnTo>
                    <a:lnTo>
                      <a:pt x="4229100" y="726757"/>
                    </a:lnTo>
                    <a:lnTo>
                      <a:pt x="4218622" y="695325"/>
                    </a:lnTo>
                    <a:lnTo>
                      <a:pt x="4193858" y="681038"/>
                    </a:lnTo>
                    <a:lnTo>
                      <a:pt x="4169092" y="670465"/>
                    </a:lnTo>
                    <a:lnTo>
                      <a:pt x="4172902" y="656177"/>
                    </a:lnTo>
                    <a:lnTo>
                      <a:pt x="4187190" y="666750"/>
                    </a:lnTo>
                    <a:lnTo>
                      <a:pt x="4211955" y="670465"/>
                    </a:lnTo>
                    <a:lnTo>
                      <a:pt x="4247197" y="666750"/>
                    </a:lnTo>
                    <a:lnTo>
                      <a:pt x="4278630" y="638175"/>
                    </a:lnTo>
                    <a:lnTo>
                      <a:pt x="4268153" y="627602"/>
                    </a:lnTo>
                    <a:lnTo>
                      <a:pt x="4271963" y="602932"/>
                    </a:lnTo>
                    <a:lnTo>
                      <a:pt x="4295775" y="600075"/>
                    </a:lnTo>
                    <a:lnTo>
                      <a:pt x="4307205" y="635222"/>
                    </a:lnTo>
                    <a:lnTo>
                      <a:pt x="4380547" y="631507"/>
                    </a:lnTo>
                    <a:lnTo>
                      <a:pt x="4377691" y="659035"/>
                    </a:lnTo>
                    <a:lnTo>
                      <a:pt x="4405312" y="670465"/>
                    </a:lnTo>
                    <a:lnTo>
                      <a:pt x="4454843" y="695325"/>
                    </a:lnTo>
                    <a:lnTo>
                      <a:pt x="4469130" y="662940"/>
                    </a:lnTo>
                    <a:lnTo>
                      <a:pt x="4475797" y="638175"/>
                    </a:lnTo>
                    <a:lnTo>
                      <a:pt x="4521518" y="627602"/>
                    </a:lnTo>
                    <a:lnTo>
                      <a:pt x="4542472" y="606647"/>
                    </a:lnTo>
                    <a:lnTo>
                      <a:pt x="4521518" y="5857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id="{2AF7F68D-7606-26A3-1C7E-348C91FD9EA0}"/>
                  </a:ext>
                </a:extLst>
              </p:cNvPr>
              <p:cNvSpPr/>
              <p:nvPr/>
            </p:nvSpPr>
            <p:spPr>
              <a:xfrm>
                <a:off x="7410311" y="1847960"/>
                <a:ext cx="476199" cy="339037"/>
              </a:xfrm>
              <a:custGeom>
                <a:avLst/>
                <a:gdLst>
                  <a:gd name="connsiteX0" fmla="*/ 35243 w 485775"/>
                  <a:gd name="connsiteY0" fmla="*/ 321088 h 345852"/>
                  <a:gd name="connsiteX1" fmla="*/ 52388 w 485775"/>
                  <a:gd name="connsiteY1" fmla="*/ 310515 h 345852"/>
                  <a:gd name="connsiteX2" fmla="*/ 62865 w 485775"/>
                  <a:gd name="connsiteY2" fmla="*/ 321088 h 345852"/>
                  <a:gd name="connsiteX3" fmla="*/ 62865 w 485775"/>
                  <a:gd name="connsiteY3" fmla="*/ 342043 h 345852"/>
                  <a:gd name="connsiteX4" fmla="*/ 155257 w 485775"/>
                  <a:gd name="connsiteY4" fmla="*/ 345853 h 345852"/>
                  <a:gd name="connsiteX5" fmla="*/ 130493 w 485775"/>
                  <a:gd name="connsiteY5" fmla="*/ 324803 h 345852"/>
                  <a:gd name="connsiteX6" fmla="*/ 126682 w 485775"/>
                  <a:gd name="connsiteY6" fmla="*/ 306800 h 345852"/>
                  <a:gd name="connsiteX7" fmla="*/ 108585 w 485775"/>
                  <a:gd name="connsiteY7" fmla="*/ 292513 h 345852"/>
                  <a:gd name="connsiteX8" fmla="*/ 112395 w 485775"/>
                  <a:gd name="connsiteY8" fmla="*/ 246793 h 345852"/>
                  <a:gd name="connsiteX9" fmla="*/ 151448 w 485775"/>
                  <a:gd name="connsiteY9" fmla="*/ 204788 h 345852"/>
                  <a:gd name="connsiteX10" fmla="*/ 168593 w 485775"/>
                  <a:gd name="connsiteY10" fmla="*/ 180118 h 345852"/>
                  <a:gd name="connsiteX11" fmla="*/ 193357 w 485775"/>
                  <a:gd name="connsiteY11" fmla="*/ 165830 h 345852"/>
                  <a:gd name="connsiteX12" fmla="*/ 193357 w 485775"/>
                  <a:gd name="connsiteY12" fmla="*/ 144875 h 345852"/>
                  <a:gd name="connsiteX13" fmla="*/ 214313 w 485775"/>
                  <a:gd name="connsiteY13" fmla="*/ 141065 h 345852"/>
                  <a:gd name="connsiteX14" fmla="*/ 239077 w 485775"/>
                  <a:gd name="connsiteY14" fmla="*/ 130588 h 345852"/>
                  <a:gd name="connsiteX15" fmla="*/ 292418 w 485775"/>
                  <a:gd name="connsiteY15" fmla="*/ 87725 h 345852"/>
                  <a:gd name="connsiteX16" fmla="*/ 390525 w 485775"/>
                  <a:gd name="connsiteY16" fmla="*/ 70580 h 345852"/>
                  <a:gd name="connsiteX17" fmla="*/ 446723 w 485775"/>
                  <a:gd name="connsiteY17" fmla="*/ 52388 h 345852"/>
                  <a:gd name="connsiteX18" fmla="*/ 479107 w 485775"/>
                  <a:gd name="connsiteY18" fmla="*/ 31528 h 345852"/>
                  <a:gd name="connsiteX19" fmla="*/ 485775 w 485775"/>
                  <a:gd name="connsiteY19" fmla="*/ 10478 h 345852"/>
                  <a:gd name="connsiteX20" fmla="*/ 468630 w 485775"/>
                  <a:gd name="connsiteY20" fmla="*/ 0 h 345852"/>
                  <a:gd name="connsiteX21" fmla="*/ 440055 w 485775"/>
                  <a:gd name="connsiteY21" fmla="*/ 0 h 345852"/>
                  <a:gd name="connsiteX22" fmla="*/ 404813 w 485775"/>
                  <a:gd name="connsiteY22" fmla="*/ 14288 h 345852"/>
                  <a:gd name="connsiteX23" fmla="*/ 369570 w 485775"/>
                  <a:gd name="connsiteY23" fmla="*/ 35338 h 345852"/>
                  <a:gd name="connsiteX24" fmla="*/ 309563 w 485775"/>
                  <a:gd name="connsiteY24" fmla="*/ 42005 h 345852"/>
                  <a:gd name="connsiteX25" fmla="*/ 246698 w 485775"/>
                  <a:gd name="connsiteY25" fmla="*/ 49625 h 345852"/>
                  <a:gd name="connsiteX26" fmla="*/ 232410 w 485775"/>
                  <a:gd name="connsiteY26" fmla="*/ 63913 h 345852"/>
                  <a:gd name="connsiteX27" fmla="*/ 193357 w 485775"/>
                  <a:gd name="connsiteY27" fmla="*/ 70580 h 345852"/>
                  <a:gd name="connsiteX28" fmla="*/ 133350 w 485775"/>
                  <a:gd name="connsiteY28" fmla="*/ 116300 h 345852"/>
                  <a:gd name="connsiteX29" fmla="*/ 112395 w 485775"/>
                  <a:gd name="connsiteY29" fmla="*/ 147638 h 345852"/>
                  <a:gd name="connsiteX30" fmla="*/ 66675 w 485775"/>
                  <a:gd name="connsiteY30" fmla="*/ 186690 h 345852"/>
                  <a:gd name="connsiteX31" fmla="*/ 84773 w 485775"/>
                  <a:gd name="connsiteY31" fmla="*/ 190500 h 345852"/>
                  <a:gd name="connsiteX32" fmla="*/ 77152 w 485775"/>
                  <a:gd name="connsiteY32" fmla="*/ 204788 h 345852"/>
                  <a:gd name="connsiteX33" fmla="*/ 60007 w 485775"/>
                  <a:gd name="connsiteY33" fmla="*/ 207740 h 345852"/>
                  <a:gd name="connsiteX34" fmla="*/ 35243 w 485775"/>
                  <a:gd name="connsiteY34" fmla="*/ 232505 h 345852"/>
                  <a:gd name="connsiteX35" fmla="*/ 35243 w 485775"/>
                  <a:gd name="connsiteY35" fmla="*/ 250603 h 345852"/>
                  <a:gd name="connsiteX36" fmla="*/ 20955 w 485775"/>
                  <a:gd name="connsiteY36" fmla="*/ 264890 h 345852"/>
                  <a:gd name="connsiteX37" fmla="*/ 0 w 485775"/>
                  <a:gd name="connsiteY37" fmla="*/ 271463 h 345852"/>
                  <a:gd name="connsiteX38" fmla="*/ 0 w 485775"/>
                  <a:gd name="connsiteY38" fmla="*/ 292513 h 345852"/>
                  <a:gd name="connsiteX39" fmla="*/ 17145 w 485775"/>
                  <a:gd name="connsiteY39" fmla="*/ 310515 h 345852"/>
                  <a:gd name="connsiteX40" fmla="*/ 35243 w 485775"/>
                  <a:gd name="connsiteY40" fmla="*/ 321088 h 345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85775" h="345852">
                    <a:moveTo>
                      <a:pt x="35243" y="321088"/>
                    </a:moveTo>
                    <a:lnTo>
                      <a:pt x="52388" y="310515"/>
                    </a:lnTo>
                    <a:lnTo>
                      <a:pt x="62865" y="321088"/>
                    </a:lnTo>
                    <a:lnTo>
                      <a:pt x="62865" y="342043"/>
                    </a:lnTo>
                    <a:lnTo>
                      <a:pt x="155257" y="345853"/>
                    </a:lnTo>
                    <a:lnTo>
                      <a:pt x="130493" y="324803"/>
                    </a:lnTo>
                    <a:lnTo>
                      <a:pt x="126682" y="306800"/>
                    </a:lnTo>
                    <a:lnTo>
                      <a:pt x="108585" y="292513"/>
                    </a:lnTo>
                    <a:lnTo>
                      <a:pt x="112395" y="246793"/>
                    </a:lnTo>
                    <a:lnTo>
                      <a:pt x="151448" y="204788"/>
                    </a:lnTo>
                    <a:lnTo>
                      <a:pt x="168593" y="180118"/>
                    </a:lnTo>
                    <a:lnTo>
                      <a:pt x="193357" y="165830"/>
                    </a:lnTo>
                    <a:lnTo>
                      <a:pt x="193357" y="144875"/>
                    </a:lnTo>
                    <a:lnTo>
                      <a:pt x="214313" y="141065"/>
                    </a:lnTo>
                    <a:lnTo>
                      <a:pt x="239077" y="130588"/>
                    </a:lnTo>
                    <a:lnTo>
                      <a:pt x="292418" y="87725"/>
                    </a:lnTo>
                    <a:lnTo>
                      <a:pt x="390525" y="70580"/>
                    </a:lnTo>
                    <a:lnTo>
                      <a:pt x="446723" y="52388"/>
                    </a:lnTo>
                    <a:lnTo>
                      <a:pt x="479107" y="31528"/>
                    </a:lnTo>
                    <a:lnTo>
                      <a:pt x="485775" y="10478"/>
                    </a:lnTo>
                    <a:lnTo>
                      <a:pt x="468630" y="0"/>
                    </a:lnTo>
                    <a:lnTo>
                      <a:pt x="440055" y="0"/>
                    </a:lnTo>
                    <a:lnTo>
                      <a:pt x="404813" y="14288"/>
                    </a:lnTo>
                    <a:lnTo>
                      <a:pt x="369570" y="35338"/>
                    </a:lnTo>
                    <a:lnTo>
                      <a:pt x="309563" y="42005"/>
                    </a:lnTo>
                    <a:lnTo>
                      <a:pt x="246698" y="49625"/>
                    </a:lnTo>
                    <a:lnTo>
                      <a:pt x="232410" y="63913"/>
                    </a:lnTo>
                    <a:lnTo>
                      <a:pt x="193357" y="70580"/>
                    </a:lnTo>
                    <a:lnTo>
                      <a:pt x="133350" y="116300"/>
                    </a:lnTo>
                    <a:lnTo>
                      <a:pt x="112395" y="147638"/>
                    </a:lnTo>
                    <a:lnTo>
                      <a:pt x="66675" y="186690"/>
                    </a:lnTo>
                    <a:lnTo>
                      <a:pt x="84773" y="190500"/>
                    </a:lnTo>
                    <a:lnTo>
                      <a:pt x="77152" y="204788"/>
                    </a:lnTo>
                    <a:lnTo>
                      <a:pt x="60007" y="207740"/>
                    </a:lnTo>
                    <a:lnTo>
                      <a:pt x="35243" y="232505"/>
                    </a:lnTo>
                    <a:lnTo>
                      <a:pt x="35243" y="250603"/>
                    </a:lnTo>
                    <a:lnTo>
                      <a:pt x="20955" y="264890"/>
                    </a:lnTo>
                    <a:lnTo>
                      <a:pt x="0" y="271463"/>
                    </a:lnTo>
                    <a:lnTo>
                      <a:pt x="0" y="292513"/>
                    </a:lnTo>
                    <a:lnTo>
                      <a:pt x="17145" y="310515"/>
                    </a:lnTo>
                    <a:lnTo>
                      <a:pt x="35243" y="3210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1" name="Freeform: Shape 350">
                <a:extLst>
                  <a:ext uri="{FF2B5EF4-FFF2-40B4-BE49-F238E27FC236}">
                    <a16:creationId xmlns:a16="http://schemas.microsoft.com/office/drawing/2014/main" id="{7AE73951-0218-A770-E820-B82E3A427FB9}"/>
                  </a:ext>
                </a:extLst>
              </p:cNvPr>
              <p:cNvSpPr/>
              <p:nvPr/>
            </p:nvSpPr>
            <p:spPr>
              <a:xfrm>
                <a:off x="8718460" y="1706127"/>
                <a:ext cx="166203" cy="89638"/>
              </a:xfrm>
              <a:custGeom>
                <a:avLst/>
                <a:gdLst>
                  <a:gd name="connsiteX0" fmla="*/ 14288 w 169545"/>
                  <a:gd name="connsiteY0" fmla="*/ 91440 h 91440"/>
                  <a:gd name="connsiteX1" fmla="*/ 35243 w 169545"/>
                  <a:gd name="connsiteY1" fmla="*/ 84773 h 91440"/>
                  <a:gd name="connsiteX2" fmla="*/ 45720 w 169545"/>
                  <a:gd name="connsiteY2" fmla="*/ 74200 h 91440"/>
                  <a:gd name="connsiteX3" fmla="*/ 101918 w 169545"/>
                  <a:gd name="connsiteY3" fmla="*/ 70485 h 91440"/>
                  <a:gd name="connsiteX4" fmla="*/ 151448 w 169545"/>
                  <a:gd name="connsiteY4" fmla="*/ 70485 h 91440"/>
                  <a:gd name="connsiteX5" fmla="*/ 165735 w 169545"/>
                  <a:gd name="connsiteY5" fmla="*/ 56198 h 91440"/>
                  <a:gd name="connsiteX6" fmla="*/ 169545 w 169545"/>
                  <a:gd name="connsiteY6" fmla="*/ 39053 h 91440"/>
                  <a:gd name="connsiteX7" fmla="*/ 144780 w 169545"/>
                  <a:gd name="connsiteY7" fmla="*/ 28575 h 91440"/>
                  <a:gd name="connsiteX8" fmla="*/ 123825 w 169545"/>
                  <a:gd name="connsiteY8" fmla="*/ 10478 h 91440"/>
                  <a:gd name="connsiteX9" fmla="*/ 95250 w 169545"/>
                  <a:gd name="connsiteY9" fmla="*/ 24765 h 91440"/>
                  <a:gd name="connsiteX10" fmla="*/ 101918 w 169545"/>
                  <a:gd name="connsiteY10" fmla="*/ 0 h 91440"/>
                  <a:gd name="connsiteX11" fmla="*/ 70485 w 169545"/>
                  <a:gd name="connsiteY11" fmla="*/ 3715 h 91440"/>
                  <a:gd name="connsiteX12" fmla="*/ 49530 w 169545"/>
                  <a:gd name="connsiteY12" fmla="*/ 24765 h 91440"/>
                  <a:gd name="connsiteX13" fmla="*/ 28575 w 169545"/>
                  <a:gd name="connsiteY13" fmla="*/ 53340 h 91440"/>
                  <a:gd name="connsiteX14" fmla="*/ 0 w 169545"/>
                  <a:gd name="connsiteY14" fmla="*/ 84773 h 91440"/>
                  <a:gd name="connsiteX15" fmla="*/ 14288 w 169545"/>
                  <a:gd name="connsiteY15" fmla="*/ 91440 h 91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9545" h="91440">
                    <a:moveTo>
                      <a:pt x="14288" y="91440"/>
                    </a:moveTo>
                    <a:lnTo>
                      <a:pt x="35243" y="84773"/>
                    </a:lnTo>
                    <a:lnTo>
                      <a:pt x="45720" y="74200"/>
                    </a:lnTo>
                    <a:lnTo>
                      <a:pt x="101918" y="70485"/>
                    </a:lnTo>
                    <a:lnTo>
                      <a:pt x="151448" y="70485"/>
                    </a:lnTo>
                    <a:lnTo>
                      <a:pt x="165735" y="56198"/>
                    </a:lnTo>
                    <a:lnTo>
                      <a:pt x="169545" y="39053"/>
                    </a:lnTo>
                    <a:lnTo>
                      <a:pt x="144780" y="28575"/>
                    </a:lnTo>
                    <a:lnTo>
                      <a:pt x="123825" y="10478"/>
                    </a:lnTo>
                    <a:lnTo>
                      <a:pt x="95250" y="24765"/>
                    </a:lnTo>
                    <a:lnTo>
                      <a:pt x="101918" y="0"/>
                    </a:lnTo>
                    <a:lnTo>
                      <a:pt x="70485" y="3715"/>
                    </a:lnTo>
                    <a:lnTo>
                      <a:pt x="49530" y="24765"/>
                    </a:lnTo>
                    <a:lnTo>
                      <a:pt x="28575" y="53340"/>
                    </a:lnTo>
                    <a:lnTo>
                      <a:pt x="0" y="84773"/>
                    </a:lnTo>
                    <a:lnTo>
                      <a:pt x="14288" y="9144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2" name="Freeform: Shape 351">
                <a:extLst>
                  <a:ext uri="{FF2B5EF4-FFF2-40B4-BE49-F238E27FC236}">
                    <a16:creationId xmlns:a16="http://schemas.microsoft.com/office/drawing/2014/main" id="{2B2CE4B7-D6D3-BA98-939B-E3291F163145}"/>
                  </a:ext>
                </a:extLst>
              </p:cNvPr>
              <p:cNvSpPr/>
              <p:nvPr/>
            </p:nvSpPr>
            <p:spPr>
              <a:xfrm>
                <a:off x="8566262" y="1657573"/>
                <a:ext cx="166202" cy="79367"/>
              </a:xfrm>
              <a:custGeom>
                <a:avLst/>
                <a:gdLst>
                  <a:gd name="connsiteX0" fmla="*/ 81915 w 169544"/>
                  <a:gd name="connsiteY0" fmla="*/ 0 h 80962"/>
                  <a:gd name="connsiteX1" fmla="*/ 28575 w 169544"/>
                  <a:gd name="connsiteY1" fmla="*/ 10382 h 80962"/>
                  <a:gd name="connsiteX2" fmla="*/ 0 w 169544"/>
                  <a:gd name="connsiteY2" fmla="*/ 38957 h 80962"/>
                  <a:gd name="connsiteX3" fmla="*/ 14288 w 169544"/>
                  <a:gd name="connsiteY3" fmla="*/ 49530 h 80962"/>
                  <a:gd name="connsiteX4" fmla="*/ 28575 w 169544"/>
                  <a:gd name="connsiteY4" fmla="*/ 70390 h 80962"/>
                  <a:gd name="connsiteX5" fmla="*/ 70485 w 169544"/>
                  <a:gd name="connsiteY5" fmla="*/ 70390 h 80962"/>
                  <a:gd name="connsiteX6" fmla="*/ 95250 w 169544"/>
                  <a:gd name="connsiteY6" fmla="*/ 80962 h 80962"/>
                  <a:gd name="connsiteX7" fmla="*/ 162878 w 169544"/>
                  <a:gd name="connsiteY7" fmla="*/ 80962 h 80962"/>
                  <a:gd name="connsiteX8" fmla="*/ 148590 w 169544"/>
                  <a:gd name="connsiteY8" fmla="*/ 63817 h 80962"/>
                  <a:gd name="connsiteX9" fmla="*/ 169545 w 169544"/>
                  <a:gd name="connsiteY9" fmla="*/ 45720 h 80962"/>
                  <a:gd name="connsiteX10" fmla="*/ 169545 w 169544"/>
                  <a:gd name="connsiteY10" fmla="*/ 24670 h 80962"/>
                  <a:gd name="connsiteX11" fmla="*/ 155257 w 169544"/>
                  <a:gd name="connsiteY11" fmla="*/ 10382 h 80962"/>
                  <a:gd name="connsiteX12" fmla="*/ 134303 w 169544"/>
                  <a:gd name="connsiteY12" fmla="*/ 14288 h 80962"/>
                  <a:gd name="connsiteX13" fmla="*/ 113348 w 169544"/>
                  <a:gd name="connsiteY13" fmla="*/ 18002 h 80962"/>
                  <a:gd name="connsiteX14" fmla="*/ 113348 w 169544"/>
                  <a:gd name="connsiteY14" fmla="*/ 3715 h 80962"/>
                  <a:gd name="connsiteX15" fmla="*/ 81915 w 169544"/>
                  <a:gd name="connsiteY15" fmla="*/ 0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9544" h="80962">
                    <a:moveTo>
                      <a:pt x="81915" y="0"/>
                    </a:moveTo>
                    <a:lnTo>
                      <a:pt x="28575" y="10382"/>
                    </a:lnTo>
                    <a:lnTo>
                      <a:pt x="0" y="38957"/>
                    </a:lnTo>
                    <a:lnTo>
                      <a:pt x="14288" y="49530"/>
                    </a:lnTo>
                    <a:lnTo>
                      <a:pt x="28575" y="70390"/>
                    </a:lnTo>
                    <a:lnTo>
                      <a:pt x="70485" y="70390"/>
                    </a:lnTo>
                    <a:lnTo>
                      <a:pt x="95250" y="80962"/>
                    </a:lnTo>
                    <a:lnTo>
                      <a:pt x="162878" y="80962"/>
                    </a:lnTo>
                    <a:lnTo>
                      <a:pt x="148590" y="63817"/>
                    </a:lnTo>
                    <a:lnTo>
                      <a:pt x="169545" y="45720"/>
                    </a:lnTo>
                    <a:lnTo>
                      <a:pt x="169545" y="24670"/>
                    </a:lnTo>
                    <a:lnTo>
                      <a:pt x="155257" y="10382"/>
                    </a:lnTo>
                    <a:lnTo>
                      <a:pt x="134303" y="14288"/>
                    </a:lnTo>
                    <a:lnTo>
                      <a:pt x="113348" y="18002"/>
                    </a:lnTo>
                    <a:lnTo>
                      <a:pt x="113348" y="3715"/>
                    </a:lnTo>
                    <a:lnTo>
                      <a:pt x="8191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3" name="Freeform: Shape 352">
                <a:extLst>
                  <a:ext uri="{FF2B5EF4-FFF2-40B4-BE49-F238E27FC236}">
                    <a16:creationId xmlns:a16="http://schemas.microsoft.com/office/drawing/2014/main" id="{F9D15C6F-0866-CED3-2E98-5E2F2F6DA379}"/>
                  </a:ext>
                </a:extLst>
              </p:cNvPr>
              <p:cNvSpPr/>
              <p:nvPr/>
            </p:nvSpPr>
            <p:spPr>
              <a:xfrm>
                <a:off x="8525179" y="1585675"/>
                <a:ext cx="144727" cy="75539"/>
              </a:xfrm>
              <a:custGeom>
                <a:avLst/>
                <a:gdLst>
                  <a:gd name="connsiteX0" fmla="*/ 63817 w 147637"/>
                  <a:gd name="connsiteY0" fmla="*/ 73343 h 77057"/>
                  <a:gd name="connsiteX1" fmla="*/ 99060 w 147637"/>
                  <a:gd name="connsiteY1" fmla="*/ 66675 h 77057"/>
                  <a:gd name="connsiteX2" fmla="*/ 130492 w 147637"/>
                  <a:gd name="connsiteY2" fmla="*/ 62770 h 77057"/>
                  <a:gd name="connsiteX3" fmla="*/ 134302 w 147637"/>
                  <a:gd name="connsiteY3" fmla="*/ 48482 h 77057"/>
                  <a:gd name="connsiteX4" fmla="*/ 147638 w 147637"/>
                  <a:gd name="connsiteY4" fmla="*/ 38100 h 77057"/>
                  <a:gd name="connsiteX5" fmla="*/ 126682 w 147637"/>
                  <a:gd name="connsiteY5" fmla="*/ 23813 h 77057"/>
                  <a:gd name="connsiteX6" fmla="*/ 105727 w 147637"/>
                  <a:gd name="connsiteY6" fmla="*/ 2762 h 77057"/>
                  <a:gd name="connsiteX7" fmla="*/ 77152 w 147637"/>
                  <a:gd name="connsiteY7" fmla="*/ 0 h 77057"/>
                  <a:gd name="connsiteX8" fmla="*/ 70485 w 147637"/>
                  <a:gd name="connsiteY8" fmla="*/ 17050 h 77057"/>
                  <a:gd name="connsiteX9" fmla="*/ 28575 w 147637"/>
                  <a:gd name="connsiteY9" fmla="*/ 20955 h 77057"/>
                  <a:gd name="connsiteX10" fmla="*/ 20955 w 147637"/>
                  <a:gd name="connsiteY10" fmla="*/ 31337 h 77057"/>
                  <a:gd name="connsiteX11" fmla="*/ 18097 w 147637"/>
                  <a:gd name="connsiteY11" fmla="*/ 48482 h 77057"/>
                  <a:gd name="connsiteX12" fmla="*/ 0 w 147637"/>
                  <a:gd name="connsiteY12" fmla="*/ 59055 h 77057"/>
                  <a:gd name="connsiteX13" fmla="*/ 39052 w 147637"/>
                  <a:gd name="connsiteY13" fmla="*/ 77057 h 77057"/>
                  <a:gd name="connsiteX14" fmla="*/ 63817 w 147637"/>
                  <a:gd name="connsiteY14" fmla="*/ 73343 h 7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7637" h="77057">
                    <a:moveTo>
                      <a:pt x="63817" y="73343"/>
                    </a:moveTo>
                    <a:lnTo>
                      <a:pt x="99060" y="66675"/>
                    </a:lnTo>
                    <a:lnTo>
                      <a:pt x="130492" y="62770"/>
                    </a:lnTo>
                    <a:lnTo>
                      <a:pt x="134302" y="48482"/>
                    </a:lnTo>
                    <a:lnTo>
                      <a:pt x="147638" y="38100"/>
                    </a:lnTo>
                    <a:lnTo>
                      <a:pt x="126682" y="23813"/>
                    </a:lnTo>
                    <a:lnTo>
                      <a:pt x="105727" y="2762"/>
                    </a:lnTo>
                    <a:lnTo>
                      <a:pt x="77152" y="0"/>
                    </a:lnTo>
                    <a:lnTo>
                      <a:pt x="70485" y="17050"/>
                    </a:lnTo>
                    <a:lnTo>
                      <a:pt x="28575" y="20955"/>
                    </a:lnTo>
                    <a:lnTo>
                      <a:pt x="20955" y="31337"/>
                    </a:lnTo>
                    <a:lnTo>
                      <a:pt x="18097" y="48482"/>
                    </a:lnTo>
                    <a:lnTo>
                      <a:pt x="0" y="59055"/>
                    </a:lnTo>
                    <a:lnTo>
                      <a:pt x="39052" y="77057"/>
                    </a:lnTo>
                    <a:lnTo>
                      <a:pt x="63817" y="7334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4" name="Freeform: Shape 353">
                <a:extLst>
                  <a:ext uri="{FF2B5EF4-FFF2-40B4-BE49-F238E27FC236}">
                    <a16:creationId xmlns:a16="http://schemas.microsoft.com/office/drawing/2014/main" id="{B2BAB919-895A-2779-4F56-45D0C78AD73C}"/>
                  </a:ext>
                </a:extLst>
              </p:cNvPr>
              <p:cNvSpPr/>
              <p:nvPr/>
            </p:nvSpPr>
            <p:spPr>
              <a:xfrm>
                <a:off x="9753960" y="1899316"/>
                <a:ext cx="221292" cy="76659"/>
              </a:xfrm>
              <a:custGeom>
                <a:avLst/>
                <a:gdLst>
                  <a:gd name="connsiteX0" fmla="*/ 45720 w 225742"/>
                  <a:gd name="connsiteY0" fmla="*/ 78200 h 78200"/>
                  <a:gd name="connsiteX1" fmla="*/ 67627 w 225742"/>
                  <a:gd name="connsiteY1" fmla="*/ 74390 h 78200"/>
                  <a:gd name="connsiteX2" fmla="*/ 67627 w 225742"/>
                  <a:gd name="connsiteY2" fmla="*/ 60103 h 78200"/>
                  <a:gd name="connsiteX3" fmla="*/ 84773 w 225742"/>
                  <a:gd name="connsiteY3" fmla="*/ 63913 h 78200"/>
                  <a:gd name="connsiteX4" fmla="*/ 109538 w 225742"/>
                  <a:gd name="connsiteY4" fmla="*/ 63913 h 78200"/>
                  <a:gd name="connsiteX5" fmla="*/ 138113 w 225742"/>
                  <a:gd name="connsiteY5" fmla="*/ 67628 h 78200"/>
                  <a:gd name="connsiteX6" fmla="*/ 155257 w 225742"/>
                  <a:gd name="connsiteY6" fmla="*/ 67628 h 78200"/>
                  <a:gd name="connsiteX7" fmla="*/ 148590 w 225742"/>
                  <a:gd name="connsiteY7" fmla="*/ 53340 h 78200"/>
                  <a:gd name="connsiteX8" fmla="*/ 140970 w 225742"/>
                  <a:gd name="connsiteY8" fmla="*/ 42863 h 78200"/>
                  <a:gd name="connsiteX9" fmla="*/ 138113 w 225742"/>
                  <a:gd name="connsiteY9" fmla="*/ 28575 h 78200"/>
                  <a:gd name="connsiteX10" fmla="*/ 159068 w 225742"/>
                  <a:gd name="connsiteY10" fmla="*/ 24765 h 78200"/>
                  <a:gd name="connsiteX11" fmla="*/ 151448 w 225742"/>
                  <a:gd name="connsiteY11" fmla="*/ 42863 h 78200"/>
                  <a:gd name="connsiteX12" fmla="*/ 161925 w 225742"/>
                  <a:gd name="connsiteY12" fmla="*/ 57150 h 78200"/>
                  <a:gd name="connsiteX13" fmla="*/ 183832 w 225742"/>
                  <a:gd name="connsiteY13" fmla="*/ 63913 h 78200"/>
                  <a:gd name="connsiteX14" fmla="*/ 211455 w 225742"/>
                  <a:gd name="connsiteY14" fmla="*/ 57150 h 78200"/>
                  <a:gd name="connsiteX15" fmla="*/ 225743 w 225742"/>
                  <a:gd name="connsiteY15" fmla="*/ 35338 h 78200"/>
                  <a:gd name="connsiteX16" fmla="*/ 211455 w 225742"/>
                  <a:gd name="connsiteY16" fmla="*/ 24765 h 78200"/>
                  <a:gd name="connsiteX17" fmla="*/ 176213 w 225742"/>
                  <a:gd name="connsiteY17" fmla="*/ 14288 h 78200"/>
                  <a:gd name="connsiteX18" fmla="*/ 151448 w 225742"/>
                  <a:gd name="connsiteY18" fmla="*/ 18193 h 78200"/>
                  <a:gd name="connsiteX19" fmla="*/ 134302 w 225742"/>
                  <a:gd name="connsiteY19" fmla="*/ 7715 h 78200"/>
                  <a:gd name="connsiteX20" fmla="*/ 113348 w 225742"/>
                  <a:gd name="connsiteY20" fmla="*/ 7715 h 78200"/>
                  <a:gd name="connsiteX21" fmla="*/ 102870 w 225742"/>
                  <a:gd name="connsiteY21" fmla="*/ 28575 h 78200"/>
                  <a:gd name="connsiteX22" fmla="*/ 80963 w 225742"/>
                  <a:gd name="connsiteY22" fmla="*/ 14288 h 78200"/>
                  <a:gd name="connsiteX23" fmla="*/ 53340 w 225742"/>
                  <a:gd name="connsiteY23" fmla="*/ 0 h 78200"/>
                  <a:gd name="connsiteX24" fmla="*/ 32385 w 225742"/>
                  <a:gd name="connsiteY24" fmla="*/ 0 h 78200"/>
                  <a:gd name="connsiteX25" fmla="*/ 10477 w 225742"/>
                  <a:gd name="connsiteY25" fmla="*/ 11525 h 78200"/>
                  <a:gd name="connsiteX26" fmla="*/ 0 w 225742"/>
                  <a:gd name="connsiteY26" fmla="*/ 35338 h 78200"/>
                  <a:gd name="connsiteX27" fmla="*/ 3810 w 225742"/>
                  <a:gd name="connsiteY27" fmla="*/ 57150 h 78200"/>
                  <a:gd name="connsiteX28" fmla="*/ 45720 w 225742"/>
                  <a:gd name="connsiteY28" fmla="*/ 78200 h 7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25742" h="78200">
                    <a:moveTo>
                      <a:pt x="45720" y="78200"/>
                    </a:moveTo>
                    <a:lnTo>
                      <a:pt x="67627" y="74390"/>
                    </a:lnTo>
                    <a:lnTo>
                      <a:pt x="67627" y="60103"/>
                    </a:lnTo>
                    <a:lnTo>
                      <a:pt x="84773" y="63913"/>
                    </a:lnTo>
                    <a:lnTo>
                      <a:pt x="109538" y="63913"/>
                    </a:lnTo>
                    <a:lnTo>
                      <a:pt x="138113" y="67628"/>
                    </a:lnTo>
                    <a:lnTo>
                      <a:pt x="155257" y="67628"/>
                    </a:lnTo>
                    <a:lnTo>
                      <a:pt x="148590" y="53340"/>
                    </a:lnTo>
                    <a:lnTo>
                      <a:pt x="140970" y="42863"/>
                    </a:lnTo>
                    <a:lnTo>
                      <a:pt x="138113" y="28575"/>
                    </a:lnTo>
                    <a:lnTo>
                      <a:pt x="159068" y="24765"/>
                    </a:lnTo>
                    <a:lnTo>
                      <a:pt x="151448" y="42863"/>
                    </a:lnTo>
                    <a:lnTo>
                      <a:pt x="161925" y="57150"/>
                    </a:lnTo>
                    <a:lnTo>
                      <a:pt x="183832" y="63913"/>
                    </a:lnTo>
                    <a:lnTo>
                      <a:pt x="211455" y="57150"/>
                    </a:lnTo>
                    <a:lnTo>
                      <a:pt x="225743" y="35338"/>
                    </a:lnTo>
                    <a:lnTo>
                      <a:pt x="211455" y="24765"/>
                    </a:lnTo>
                    <a:lnTo>
                      <a:pt x="176213" y="14288"/>
                    </a:lnTo>
                    <a:lnTo>
                      <a:pt x="151448" y="18193"/>
                    </a:lnTo>
                    <a:lnTo>
                      <a:pt x="134302" y="7715"/>
                    </a:lnTo>
                    <a:lnTo>
                      <a:pt x="113348" y="7715"/>
                    </a:lnTo>
                    <a:lnTo>
                      <a:pt x="102870" y="28575"/>
                    </a:lnTo>
                    <a:lnTo>
                      <a:pt x="80963" y="14288"/>
                    </a:lnTo>
                    <a:lnTo>
                      <a:pt x="53340" y="0"/>
                    </a:lnTo>
                    <a:lnTo>
                      <a:pt x="32385" y="0"/>
                    </a:lnTo>
                    <a:lnTo>
                      <a:pt x="10477" y="11525"/>
                    </a:lnTo>
                    <a:lnTo>
                      <a:pt x="0" y="35338"/>
                    </a:lnTo>
                    <a:lnTo>
                      <a:pt x="3810" y="57150"/>
                    </a:lnTo>
                    <a:lnTo>
                      <a:pt x="45720" y="7820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5" name="Freeform: Shape 354">
                <a:extLst>
                  <a:ext uri="{FF2B5EF4-FFF2-40B4-BE49-F238E27FC236}">
                    <a16:creationId xmlns:a16="http://schemas.microsoft.com/office/drawing/2014/main" id="{D9999FBE-23DC-4BE1-4405-17F89DFD9505}"/>
                  </a:ext>
                </a:extLst>
              </p:cNvPr>
              <p:cNvSpPr/>
              <p:nvPr/>
            </p:nvSpPr>
            <p:spPr>
              <a:xfrm>
                <a:off x="10003264" y="1933957"/>
                <a:ext cx="126986" cy="42017"/>
              </a:xfrm>
              <a:custGeom>
                <a:avLst/>
                <a:gdLst>
                  <a:gd name="connsiteX0" fmla="*/ 35243 w 129539"/>
                  <a:gd name="connsiteY0" fmla="*/ 35243 h 42862"/>
                  <a:gd name="connsiteX1" fmla="*/ 62865 w 129539"/>
                  <a:gd name="connsiteY1" fmla="*/ 42863 h 42862"/>
                  <a:gd name="connsiteX2" fmla="*/ 83820 w 129539"/>
                  <a:gd name="connsiteY2" fmla="*/ 42863 h 42862"/>
                  <a:gd name="connsiteX3" fmla="*/ 105727 w 129539"/>
                  <a:gd name="connsiteY3" fmla="*/ 35243 h 42862"/>
                  <a:gd name="connsiteX4" fmla="*/ 129540 w 129539"/>
                  <a:gd name="connsiteY4" fmla="*/ 24765 h 42862"/>
                  <a:gd name="connsiteX5" fmla="*/ 119063 w 129539"/>
                  <a:gd name="connsiteY5" fmla="*/ 18002 h 42862"/>
                  <a:gd name="connsiteX6" fmla="*/ 87630 w 129539"/>
                  <a:gd name="connsiteY6" fmla="*/ 14288 h 42862"/>
                  <a:gd name="connsiteX7" fmla="*/ 62865 w 129539"/>
                  <a:gd name="connsiteY7" fmla="*/ 7525 h 42862"/>
                  <a:gd name="connsiteX8" fmla="*/ 27622 w 129539"/>
                  <a:gd name="connsiteY8" fmla="*/ 7525 h 42862"/>
                  <a:gd name="connsiteX9" fmla="*/ 10477 w 129539"/>
                  <a:gd name="connsiteY9" fmla="*/ 0 h 42862"/>
                  <a:gd name="connsiteX10" fmla="*/ 0 w 129539"/>
                  <a:gd name="connsiteY10" fmla="*/ 14288 h 42862"/>
                  <a:gd name="connsiteX11" fmla="*/ 6668 w 129539"/>
                  <a:gd name="connsiteY11" fmla="*/ 28575 h 42862"/>
                  <a:gd name="connsiteX12" fmla="*/ 35243 w 129539"/>
                  <a:gd name="connsiteY12" fmla="*/ 35243 h 4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9539" h="42862">
                    <a:moveTo>
                      <a:pt x="35243" y="35243"/>
                    </a:moveTo>
                    <a:lnTo>
                      <a:pt x="62865" y="42863"/>
                    </a:lnTo>
                    <a:lnTo>
                      <a:pt x="83820" y="42863"/>
                    </a:lnTo>
                    <a:lnTo>
                      <a:pt x="105727" y="35243"/>
                    </a:lnTo>
                    <a:lnTo>
                      <a:pt x="129540" y="24765"/>
                    </a:lnTo>
                    <a:lnTo>
                      <a:pt x="119063" y="18002"/>
                    </a:lnTo>
                    <a:lnTo>
                      <a:pt x="87630" y="14288"/>
                    </a:lnTo>
                    <a:lnTo>
                      <a:pt x="62865" y="7525"/>
                    </a:lnTo>
                    <a:lnTo>
                      <a:pt x="27622" y="7525"/>
                    </a:lnTo>
                    <a:lnTo>
                      <a:pt x="10477" y="0"/>
                    </a:lnTo>
                    <a:lnTo>
                      <a:pt x="0" y="14288"/>
                    </a:lnTo>
                    <a:lnTo>
                      <a:pt x="6668" y="28575"/>
                    </a:lnTo>
                    <a:lnTo>
                      <a:pt x="35243" y="3524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6" name="Freeform: Shape 355">
                <a:extLst>
                  <a:ext uri="{FF2B5EF4-FFF2-40B4-BE49-F238E27FC236}">
                    <a16:creationId xmlns:a16="http://schemas.microsoft.com/office/drawing/2014/main" id="{080305E2-074C-B90E-38EC-A6A92EC90E0A}"/>
                  </a:ext>
                </a:extLst>
              </p:cNvPr>
              <p:cNvSpPr/>
              <p:nvPr/>
            </p:nvSpPr>
            <p:spPr>
              <a:xfrm>
                <a:off x="10894038" y="2134709"/>
                <a:ext cx="99908" cy="42017"/>
              </a:xfrm>
              <a:custGeom>
                <a:avLst/>
                <a:gdLst>
                  <a:gd name="connsiteX0" fmla="*/ 17145 w 101917"/>
                  <a:gd name="connsiteY0" fmla="*/ 42863 h 42862"/>
                  <a:gd name="connsiteX1" fmla="*/ 41910 w 101917"/>
                  <a:gd name="connsiteY1" fmla="*/ 42863 h 42862"/>
                  <a:gd name="connsiteX2" fmla="*/ 80963 w 101917"/>
                  <a:gd name="connsiteY2" fmla="*/ 35243 h 42862"/>
                  <a:gd name="connsiteX3" fmla="*/ 101918 w 101917"/>
                  <a:gd name="connsiteY3" fmla="*/ 32290 h 42862"/>
                  <a:gd name="connsiteX4" fmla="*/ 101918 w 101917"/>
                  <a:gd name="connsiteY4" fmla="*/ 14288 h 42862"/>
                  <a:gd name="connsiteX5" fmla="*/ 83820 w 101917"/>
                  <a:gd name="connsiteY5" fmla="*/ 7525 h 42862"/>
                  <a:gd name="connsiteX6" fmla="*/ 62865 w 101917"/>
                  <a:gd name="connsiteY6" fmla="*/ 0 h 42862"/>
                  <a:gd name="connsiteX7" fmla="*/ 38100 w 101917"/>
                  <a:gd name="connsiteY7" fmla="*/ 3715 h 42862"/>
                  <a:gd name="connsiteX8" fmla="*/ 23813 w 101917"/>
                  <a:gd name="connsiteY8" fmla="*/ 14288 h 42862"/>
                  <a:gd name="connsiteX9" fmla="*/ 0 w 101917"/>
                  <a:gd name="connsiteY9" fmla="*/ 28575 h 42862"/>
                  <a:gd name="connsiteX10" fmla="*/ 2858 w 101917"/>
                  <a:gd name="connsiteY10" fmla="*/ 42863 h 42862"/>
                  <a:gd name="connsiteX11" fmla="*/ 17145 w 101917"/>
                  <a:gd name="connsiteY11" fmla="*/ 42863 h 4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1917" h="42862">
                    <a:moveTo>
                      <a:pt x="17145" y="42863"/>
                    </a:moveTo>
                    <a:lnTo>
                      <a:pt x="41910" y="42863"/>
                    </a:lnTo>
                    <a:lnTo>
                      <a:pt x="80963" y="35243"/>
                    </a:lnTo>
                    <a:lnTo>
                      <a:pt x="101918" y="32290"/>
                    </a:lnTo>
                    <a:lnTo>
                      <a:pt x="101918" y="14288"/>
                    </a:lnTo>
                    <a:lnTo>
                      <a:pt x="83820" y="7525"/>
                    </a:lnTo>
                    <a:lnTo>
                      <a:pt x="62865" y="0"/>
                    </a:lnTo>
                    <a:lnTo>
                      <a:pt x="38100" y="3715"/>
                    </a:lnTo>
                    <a:lnTo>
                      <a:pt x="23813" y="14288"/>
                    </a:lnTo>
                    <a:lnTo>
                      <a:pt x="0" y="28575"/>
                    </a:lnTo>
                    <a:lnTo>
                      <a:pt x="2858" y="42863"/>
                    </a:lnTo>
                    <a:lnTo>
                      <a:pt x="17145" y="4286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7" name="Freeform: Shape 356">
                <a:extLst>
                  <a:ext uri="{FF2B5EF4-FFF2-40B4-BE49-F238E27FC236}">
                    <a16:creationId xmlns:a16="http://schemas.microsoft.com/office/drawing/2014/main" id="{47B1DA5E-D208-A024-EA0E-CF24C39BC38F}"/>
                  </a:ext>
                </a:extLst>
              </p:cNvPr>
              <p:cNvSpPr/>
              <p:nvPr/>
            </p:nvSpPr>
            <p:spPr>
              <a:xfrm>
                <a:off x="6296379" y="1667750"/>
                <a:ext cx="288520" cy="208222"/>
              </a:xfrm>
              <a:custGeom>
                <a:avLst/>
                <a:gdLst>
                  <a:gd name="connsiteX0" fmla="*/ 20002 w 294322"/>
                  <a:gd name="connsiteY0" fmla="*/ 42863 h 212407"/>
                  <a:gd name="connsiteX1" fmla="*/ 34290 w 294322"/>
                  <a:gd name="connsiteY1" fmla="*/ 42863 h 212407"/>
                  <a:gd name="connsiteX2" fmla="*/ 34290 w 294322"/>
                  <a:gd name="connsiteY2" fmla="*/ 49625 h 212407"/>
                  <a:gd name="connsiteX3" fmla="*/ 12382 w 294322"/>
                  <a:gd name="connsiteY3" fmla="*/ 63913 h 212407"/>
                  <a:gd name="connsiteX4" fmla="*/ 20002 w 294322"/>
                  <a:gd name="connsiteY4" fmla="*/ 82010 h 212407"/>
                  <a:gd name="connsiteX5" fmla="*/ 47625 w 294322"/>
                  <a:gd name="connsiteY5" fmla="*/ 102870 h 212407"/>
                  <a:gd name="connsiteX6" fmla="*/ 65722 w 294322"/>
                  <a:gd name="connsiteY6" fmla="*/ 113348 h 212407"/>
                  <a:gd name="connsiteX7" fmla="*/ 90488 w 294322"/>
                  <a:gd name="connsiteY7" fmla="*/ 99060 h 212407"/>
                  <a:gd name="connsiteX8" fmla="*/ 97155 w 294322"/>
                  <a:gd name="connsiteY8" fmla="*/ 84868 h 212407"/>
                  <a:gd name="connsiteX9" fmla="*/ 107632 w 294322"/>
                  <a:gd name="connsiteY9" fmla="*/ 84868 h 212407"/>
                  <a:gd name="connsiteX10" fmla="*/ 115252 w 294322"/>
                  <a:gd name="connsiteY10" fmla="*/ 74295 h 212407"/>
                  <a:gd name="connsiteX11" fmla="*/ 125730 w 294322"/>
                  <a:gd name="connsiteY11" fmla="*/ 78200 h 212407"/>
                  <a:gd name="connsiteX12" fmla="*/ 125730 w 294322"/>
                  <a:gd name="connsiteY12" fmla="*/ 92488 h 212407"/>
                  <a:gd name="connsiteX13" fmla="*/ 146685 w 294322"/>
                  <a:gd name="connsiteY13" fmla="*/ 92488 h 212407"/>
                  <a:gd name="connsiteX14" fmla="*/ 157163 w 294322"/>
                  <a:gd name="connsiteY14" fmla="*/ 84868 h 212407"/>
                  <a:gd name="connsiteX15" fmla="*/ 171450 w 294322"/>
                  <a:gd name="connsiteY15" fmla="*/ 99060 h 212407"/>
                  <a:gd name="connsiteX16" fmla="*/ 150495 w 294322"/>
                  <a:gd name="connsiteY16" fmla="*/ 105823 h 212407"/>
                  <a:gd name="connsiteX17" fmla="*/ 121920 w 294322"/>
                  <a:gd name="connsiteY17" fmla="*/ 105823 h 212407"/>
                  <a:gd name="connsiteX18" fmla="*/ 97155 w 294322"/>
                  <a:gd name="connsiteY18" fmla="*/ 113348 h 212407"/>
                  <a:gd name="connsiteX19" fmla="*/ 76200 w 294322"/>
                  <a:gd name="connsiteY19" fmla="*/ 120110 h 212407"/>
                  <a:gd name="connsiteX20" fmla="*/ 76200 w 294322"/>
                  <a:gd name="connsiteY20" fmla="*/ 138208 h 212407"/>
                  <a:gd name="connsiteX21" fmla="*/ 103822 w 294322"/>
                  <a:gd name="connsiteY21" fmla="*/ 134398 h 212407"/>
                  <a:gd name="connsiteX22" fmla="*/ 125730 w 294322"/>
                  <a:gd name="connsiteY22" fmla="*/ 140970 h 212407"/>
                  <a:gd name="connsiteX23" fmla="*/ 146685 w 294322"/>
                  <a:gd name="connsiteY23" fmla="*/ 155257 h 212407"/>
                  <a:gd name="connsiteX24" fmla="*/ 97155 w 294322"/>
                  <a:gd name="connsiteY24" fmla="*/ 148685 h 212407"/>
                  <a:gd name="connsiteX25" fmla="*/ 80010 w 294322"/>
                  <a:gd name="connsiteY25" fmla="*/ 162973 h 212407"/>
                  <a:gd name="connsiteX26" fmla="*/ 103822 w 294322"/>
                  <a:gd name="connsiteY26" fmla="*/ 173450 h 212407"/>
                  <a:gd name="connsiteX27" fmla="*/ 118110 w 294322"/>
                  <a:gd name="connsiteY27" fmla="*/ 183832 h 212407"/>
                  <a:gd name="connsiteX28" fmla="*/ 142875 w 294322"/>
                  <a:gd name="connsiteY28" fmla="*/ 180023 h 212407"/>
                  <a:gd name="connsiteX29" fmla="*/ 142875 w 294322"/>
                  <a:gd name="connsiteY29" fmla="*/ 201073 h 212407"/>
                  <a:gd name="connsiteX30" fmla="*/ 163830 w 294322"/>
                  <a:gd name="connsiteY30" fmla="*/ 212407 h 212407"/>
                  <a:gd name="connsiteX31" fmla="*/ 178118 w 294322"/>
                  <a:gd name="connsiteY31" fmla="*/ 180023 h 212407"/>
                  <a:gd name="connsiteX32" fmla="*/ 188595 w 294322"/>
                  <a:gd name="connsiteY32" fmla="*/ 155257 h 212407"/>
                  <a:gd name="connsiteX33" fmla="*/ 206693 w 294322"/>
                  <a:gd name="connsiteY33" fmla="*/ 148685 h 212407"/>
                  <a:gd name="connsiteX34" fmla="*/ 209550 w 294322"/>
                  <a:gd name="connsiteY34" fmla="*/ 120110 h 212407"/>
                  <a:gd name="connsiteX35" fmla="*/ 217170 w 294322"/>
                  <a:gd name="connsiteY35" fmla="*/ 105823 h 212407"/>
                  <a:gd name="connsiteX36" fmla="*/ 241935 w 294322"/>
                  <a:gd name="connsiteY36" fmla="*/ 92488 h 212407"/>
                  <a:gd name="connsiteX37" fmla="*/ 280035 w 294322"/>
                  <a:gd name="connsiteY37" fmla="*/ 84868 h 212407"/>
                  <a:gd name="connsiteX38" fmla="*/ 294322 w 294322"/>
                  <a:gd name="connsiteY38" fmla="*/ 78200 h 212407"/>
                  <a:gd name="connsiteX39" fmla="*/ 266700 w 294322"/>
                  <a:gd name="connsiteY39" fmla="*/ 63913 h 212407"/>
                  <a:gd name="connsiteX40" fmla="*/ 223838 w 294322"/>
                  <a:gd name="connsiteY40" fmla="*/ 53435 h 212407"/>
                  <a:gd name="connsiteX41" fmla="*/ 223838 w 294322"/>
                  <a:gd name="connsiteY41" fmla="*/ 39148 h 212407"/>
                  <a:gd name="connsiteX42" fmla="*/ 202882 w 294322"/>
                  <a:gd name="connsiteY42" fmla="*/ 28575 h 212407"/>
                  <a:gd name="connsiteX43" fmla="*/ 196215 w 294322"/>
                  <a:gd name="connsiteY43" fmla="*/ 39148 h 212407"/>
                  <a:gd name="connsiteX44" fmla="*/ 181927 w 294322"/>
                  <a:gd name="connsiteY44" fmla="*/ 35338 h 212407"/>
                  <a:gd name="connsiteX45" fmla="*/ 188595 w 294322"/>
                  <a:gd name="connsiteY45" fmla="*/ 14288 h 212407"/>
                  <a:gd name="connsiteX46" fmla="*/ 167640 w 294322"/>
                  <a:gd name="connsiteY46" fmla="*/ 7620 h 212407"/>
                  <a:gd name="connsiteX47" fmla="*/ 150495 w 294322"/>
                  <a:gd name="connsiteY47" fmla="*/ 0 h 212407"/>
                  <a:gd name="connsiteX48" fmla="*/ 142875 w 294322"/>
                  <a:gd name="connsiteY48" fmla="*/ 7620 h 212407"/>
                  <a:gd name="connsiteX49" fmla="*/ 146685 w 294322"/>
                  <a:gd name="connsiteY49" fmla="*/ 21907 h 212407"/>
                  <a:gd name="connsiteX50" fmla="*/ 153352 w 294322"/>
                  <a:gd name="connsiteY50" fmla="*/ 42863 h 212407"/>
                  <a:gd name="connsiteX51" fmla="*/ 157163 w 294322"/>
                  <a:gd name="connsiteY51" fmla="*/ 67723 h 212407"/>
                  <a:gd name="connsiteX52" fmla="*/ 146685 w 294322"/>
                  <a:gd name="connsiteY52" fmla="*/ 63913 h 212407"/>
                  <a:gd name="connsiteX53" fmla="*/ 136207 w 294322"/>
                  <a:gd name="connsiteY53" fmla="*/ 49625 h 212407"/>
                  <a:gd name="connsiteX54" fmla="*/ 132397 w 294322"/>
                  <a:gd name="connsiteY54" fmla="*/ 39148 h 212407"/>
                  <a:gd name="connsiteX55" fmla="*/ 128588 w 294322"/>
                  <a:gd name="connsiteY55" fmla="*/ 24860 h 212407"/>
                  <a:gd name="connsiteX56" fmla="*/ 111443 w 294322"/>
                  <a:gd name="connsiteY56" fmla="*/ 18193 h 212407"/>
                  <a:gd name="connsiteX57" fmla="*/ 97155 w 294322"/>
                  <a:gd name="connsiteY57" fmla="*/ 21907 h 212407"/>
                  <a:gd name="connsiteX58" fmla="*/ 90488 w 294322"/>
                  <a:gd name="connsiteY58" fmla="*/ 46768 h 212407"/>
                  <a:gd name="connsiteX59" fmla="*/ 82868 w 294322"/>
                  <a:gd name="connsiteY59" fmla="*/ 18193 h 212407"/>
                  <a:gd name="connsiteX60" fmla="*/ 58102 w 294322"/>
                  <a:gd name="connsiteY60" fmla="*/ 14288 h 212407"/>
                  <a:gd name="connsiteX61" fmla="*/ 34290 w 294322"/>
                  <a:gd name="connsiteY61" fmla="*/ 14288 h 212407"/>
                  <a:gd name="connsiteX62" fmla="*/ 7620 w 294322"/>
                  <a:gd name="connsiteY62" fmla="*/ 21907 h 212407"/>
                  <a:gd name="connsiteX63" fmla="*/ 0 w 294322"/>
                  <a:gd name="connsiteY63" fmla="*/ 35338 h 212407"/>
                  <a:gd name="connsiteX64" fmla="*/ 3810 w 294322"/>
                  <a:gd name="connsiteY64" fmla="*/ 53435 h 212407"/>
                  <a:gd name="connsiteX65" fmla="*/ 20002 w 294322"/>
                  <a:gd name="connsiteY65" fmla="*/ 42863 h 212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294322" h="212407">
                    <a:moveTo>
                      <a:pt x="20002" y="42863"/>
                    </a:moveTo>
                    <a:lnTo>
                      <a:pt x="34290" y="42863"/>
                    </a:lnTo>
                    <a:lnTo>
                      <a:pt x="34290" y="49625"/>
                    </a:lnTo>
                    <a:lnTo>
                      <a:pt x="12382" y="63913"/>
                    </a:lnTo>
                    <a:lnTo>
                      <a:pt x="20002" y="82010"/>
                    </a:lnTo>
                    <a:lnTo>
                      <a:pt x="47625" y="102870"/>
                    </a:lnTo>
                    <a:lnTo>
                      <a:pt x="65722" y="113348"/>
                    </a:lnTo>
                    <a:lnTo>
                      <a:pt x="90488" y="99060"/>
                    </a:lnTo>
                    <a:lnTo>
                      <a:pt x="97155" y="84868"/>
                    </a:lnTo>
                    <a:lnTo>
                      <a:pt x="107632" y="84868"/>
                    </a:lnTo>
                    <a:lnTo>
                      <a:pt x="115252" y="74295"/>
                    </a:lnTo>
                    <a:lnTo>
                      <a:pt x="125730" y="78200"/>
                    </a:lnTo>
                    <a:lnTo>
                      <a:pt x="125730" y="92488"/>
                    </a:lnTo>
                    <a:lnTo>
                      <a:pt x="146685" y="92488"/>
                    </a:lnTo>
                    <a:lnTo>
                      <a:pt x="157163" y="84868"/>
                    </a:lnTo>
                    <a:lnTo>
                      <a:pt x="171450" y="99060"/>
                    </a:lnTo>
                    <a:lnTo>
                      <a:pt x="150495" y="105823"/>
                    </a:lnTo>
                    <a:lnTo>
                      <a:pt x="121920" y="105823"/>
                    </a:lnTo>
                    <a:lnTo>
                      <a:pt x="97155" y="113348"/>
                    </a:lnTo>
                    <a:lnTo>
                      <a:pt x="76200" y="120110"/>
                    </a:lnTo>
                    <a:lnTo>
                      <a:pt x="76200" y="138208"/>
                    </a:lnTo>
                    <a:lnTo>
                      <a:pt x="103822" y="134398"/>
                    </a:lnTo>
                    <a:lnTo>
                      <a:pt x="125730" y="140970"/>
                    </a:lnTo>
                    <a:lnTo>
                      <a:pt x="146685" y="155257"/>
                    </a:lnTo>
                    <a:lnTo>
                      <a:pt x="97155" y="148685"/>
                    </a:lnTo>
                    <a:lnTo>
                      <a:pt x="80010" y="162973"/>
                    </a:lnTo>
                    <a:lnTo>
                      <a:pt x="103822" y="173450"/>
                    </a:lnTo>
                    <a:lnTo>
                      <a:pt x="118110" y="183832"/>
                    </a:lnTo>
                    <a:lnTo>
                      <a:pt x="142875" y="180023"/>
                    </a:lnTo>
                    <a:lnTo>
                      <a:pt x="142875" y="201073"/>
                    </a:lnTo>
                    <a:lnTo>
                      <a:pt x="163830" y="212407"/>
                    </a:lnTo>
                    <a:lnTo>
                      <a:pt x="178118" y="180023"/>
                    </a:lnTo>
                    <a:lnTo>
                      <a:pt x="188595" y="155257"/>
                    </a:lnTo>
                    <a:lnTo>
                      <a:pt x="206693" y="148685"/>
                    </a:lnTo>
                    <a:lnTo>
                      <a:pt x="209550" y="120110"/>
                    </a:lnTo>
                    <a:lnTo>
                      <a:pt x="217170" y="105823"/>
                    </a:lnTo>
                    <a:lnTo>
                      <a:pt x="241935" y="92488"/>
                    </a:lnTo>
                    <a:lnTo>
                      <a:pt x="280035" y="84868"/>
                    </a:lnTo>
                    <a:lnTo>
                      <a:pt x="294322" y="78200"/>
                    </a:lnTo>
                    <a:lnTo>
                      <a:pt x="266700" y="63913"/>
                    </a:lnTo>
                    <a:lnTo>
                      <a:pt x="223838" y="53435"/>
                    </a:lnTo>
                    <a:lnTo>
                      <a:pt x="223838" y="39148"/>
                    </a:lnTo>
                    <a:lnTo>
                      <a:pt x="202882" y="28575"/>
                    </a:lnTo>
                    <a:lnTo>
                      <a:pt x="196215" y="39148"/>
                    </a:lnTo>
                    <a:lnTo>
                      <a:pt x="181927" y="35338"/>
                    </a:lnTo>
                    <a:lnTo>
                      <a:pt x="188595" y="14288"/>
                    </a:lnTo>
                    <a:lnTo>
                      <a:pt x="167640" y="7620"/>
                    </a:lnTo>
                    <a:lnTo>
                      <a:pt x="150495" y="0"/>
                    </a:lnTo>
                    <a:lnTo>
                      <a:pt x="142875" y="7620"/>
                    </a:lnTo>
                    <a:lnTo>
                      <a:pt x="146685" y="21907"/>
                    </a:lnTo>
                    <a:lnTo>
                      <a:pt x="153352" y="42863"/>
                    </a:lnTo>
                    <a:lnTo>
                      <a:pt x="157163" y="67723"/>
                    </a:lnTo>
                    <a:lnTo>
                      <a:pt x="146685" y="63913"/>
                    </a:lnTo>
                    <a:lnTo>
                      <a:pt x="136207" y="49625"/>
                    </a:lnTo>
                    <a:lnTo>
                      <a:pt x="132397" y="39148"/>
                    </a:lnTo>
                    <a:lnTo>
                      <a:pt x="128588" y="24860"/>
                    </a:lnTo>
                    <a:lnTo>
                      <a:pt x="111443" y="18193"/>
                    </a:lnTo>
                    <a:lnTo>
                      <a:pt x="97155" y="21907"/>
                    </a:lnTo>
                    <a:lnTo>
                      <a:pt x="90488" y="46768"/>
                    </a:lnTo>
                    <a:lnTo>
                      <a:pt x="82868" y="18193"/>
                    </a:lnTo>
                    <a:lnTo>
                      <a:pt x="58102" y="14288"/>
                    </a:lnTo>
                    <a:lnTo>
                      <a:pt x="34290" y="14288"/>
                    </a:lnTo>
                    <a:lnTo>
                      <a:pt x="7620" y="21907"/>
                    </a:lnTo>
                    <a:lnTo>
                      <a:pt x="0" y="35338"/>
                    </a:lnTo>
                    <a:lnTo>
                      <a:pt x="3810" y="53435"/>
                    </a:lnTo>
                    <a:lnTo>
                      <a:pt x="20002" y="428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8" name="Freeform: Shape 357">
                <a:extLst>
                  <a:ext uri="{FF2B5EF4-FFF2-40B4-BE49-F238E27FC236}">
                    <a16:creationId xmlns:a16="http://schemas.microsoft.com/office/drawing/2014/main" id="{8A598B43-56B9-57B0-5CBF-FC288C36F2F3}"/>
                  </a:ext>
                </a:extLst>
              </p:cNvPr>
              <p:cNvSpPr/>
              <p:nvPr/>
            </p:nvSpPr>
            <p:spPr>
              <a:xfrm>
                <a:off x="6498997" y="1637031"/>
                <a:ext cx="248370" cy="86743"/>
              </a:xfrm>
              <a:custGeom>
                <a:avLst/>
                <a:gdLst>
                  <a:gd name="connsiteX0" fmla="*/ 31432 w 253364"/>
                  <a:gd name="connsiteY0" fmla="*/ 45625 h 88487"/>
                  <a:gd name="connsiteX1" fmla="*/ 60007 w 253364"/>
                  <a:gd name="connsiteY1" fmla="*/ 38957 h 88487"/>
                  <a:gd name="connsiteX2" fmla="*/ 87630 w 253364"/>
                  <a:gd name="connsiteY2" fmla="*/ 38957 h 88487"/>
                  <a:gd name="connsiteX3" fmla="*/ 105727 w 253364"/>
                  <a:gd name="connsiteY3" fmla="*/ 42863 h 88487"/>
                  <a:gd name="connsiteX4" fmla="*/ 95250 w 253364"/>
                  <a:gd name="connsiteY4" fmla="*/ 49530 h 88487"/>
                  <a:gd name="connsiteX5" fmla="*/ 62865 w 253364"/>
                  <a:gd name="connsiteY5" fmla="*/ 53245 h 88487"/>
                  <a:gd name="connsiteX6" fmla="*/ 60007 w 253364"/>
                  <a:gd name="connsiteY6" fmla="*/ 66675 h 88487"/>
                  <a:gd name="connsiteX7" fmla="*/ 91440 w 253364"/>
                  <a:gd name="connsiteY7" fmla="*/ 66675 h 88487"/>
                  <a:gd name="connsiteX8" fmla="*/ 108585 w 253364"/>
                  <a:gd name="connsiteY8" fmla="*/ 66675 h 88487"/>
                  <a:gd name="connsiteX9" fmla="*/ 119063 w 253364"/>
                  <a:gd name="connsiteY9" fmla="*/ 66675 h 88487"/>
                  <a:gd name="connsiteX10" fmla="*/ 130492 w 253364"/>
                  <a:gd name="connsiteY10" fmla="*/ 80963 h 88487"/>
                  <a:gd name="connsiteX11" fmla="*/ 161925 w 253364"/>
                  <a:gd name="connsiteY11" fmla="*/ 88487 h 88487"/>
                  <a:gd name="connsiteX12" fmla="*/ 176213 w 253364"/>
                  <a:gd name="connsiteY12" fmla="*/ 66675 h 88487"/>
                  <a:gd name="connsiteX13" fmla="*/ 200025 w 253364"/>
                  <a:gd name="connsiteY13" fmla="*/ 66675 h 88487"/>
                  <a:gd name="connsiteX14" fmla="*/ 214313 w 253364"/>
                  <a:gd name="connsiteY14" fmla="*/ 53245 h 88487"/>
                  <a:gd name="connsiteX15" fmla="*/ 242888 w 253364"/>
                  <a:gd name="connsiteY15" fmla="*/ 38957 h 88487"/>
                  <a:gd name="connsiteX16" fmla="*/ 253365 w 253364"/>
                  <a:gd name="connsiteY16" fmla="*/ 28575 h 88487"/>
                  <a:gd name="connsiteX17" fmla="*/ 232410 w 253364"/>
                  <a:gd name="connsiteY17" fmla="*/ 24670 h 88487"/>
                  <a:gd name="connsiteX18" fmla="*/ 200025 w 253364"/>
                  <a:gd name="connsiteY18" fmla="*/ 18097 h 88487"/>
                  <a:gd name="connsiteX19" fmla="*/ 168592 w 253364"/>
                  <a:gd name="connsiteY19" fmla="*/ 14288 h 88487"/>
                  <a:gd name="connsiteX20" fmla="*/ 143827 w 253364"/>
                  <a:gd name="connsiteY20" fmla="*/ 24670 h 88487"/>
                  <a:gd name="connsiteX21" fmla="*/ 130492 w 253364"/>
                  <a:gd name="connsiteY21" fmla="*/ 0 h 88487"/>
                  <a:gd name="connsiteX22" fmla="*/ 116205 w 253364"/>
                  <a:gd name="connsiteY22" fmla="*/ 20955 h 88487"/>
                  <a:gd name="connsiteX23" fmla="*/ 98107 w 253364"/>
                  <a:gd name="connsiteY23" fmla="*/ 18097 h 88487"/>
                  <a:gd name="connsiteX24" fmla="*/ 80963 w 253364"/>
                  <a:gd name="connsiteY24" fmla="*/ 18097 h 88487"/>
                  <a:gd name="connsiteX25" fmla="*/ 52388 w 253364"/>
                  <a:gd name="connsiteY25" fmla="*/ 10382 h 88487"/>
                  <a:gd name="connsiteX26" fmla="*/ 38100 w 253364"/>
                  <a:gd name="connsiteY26" fmla="*/ 10382 h 88487"/>
                  <a:gd name="connsiteX27" fmla="*/ 17145 w 253364"/>
                  <a:gd name="connsiteY27" fmla="*/ 24670 h 88487"/>
                  <a:gd name="connsiteX28" fmla="*/ 0 w 253364"/>
                  <a:gd name="connsiteY28" fmla="*/ 31337 h 88487"/>
                  <a:gd name="connsiteX29" fmla="*/ 2857 w 253364"/>
                  <a:gd name="connsiteY29" fmla="*/ 42863 h 88487"/>
                  <a:gd name="connsiteX30" fmla="*/ 31432 w 253364"/>
                  <a:gd name="connsiteY30" fmla="*/ 45625 h 88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53364" h="88487">
                    <a:moveTo>
                      <a:pt x="31432" y="45625"/>
                    </a:moveTo>
                    <a:lnTo>
                      <a:pt x="60007" y="38957"/>
                    </a:lnTo>
                    <a:lnTo>
                      <a:pt x="87630" y="38957"/>
                    </a:lnTo>
                    <a:lnTo>
                      <a:pt x="105727" y="42863"/>
                    </a:lnTo>
                    <a:lnTo>
                      <a:pt x="95250" y="49530"/>
                    </a:lnTo>
                    <a:lnTo>
                      <a:pt x="62865" y="53245"/>
                    </a:lnTo>
                    <a:lnTo>
                      <a:pt x="60007" y="66675"/>
                    </a:lnTo>
                    <a:lnTo>
                      <a:pt x="91440" y="66675"/>
                    </a:lnTo>
                    <a:lnTo>
                      <a:pt x="108585" y="66675"/>
                    </a:lnTo>
                    <a:lnTo>
                      <a:pt x="119063" y="66675"/>
                    </a:lnTo>
                    <a:lnTo>
                      <a:pt x="130492" y="80963"/>
                    </a:lnTo>
                    <a:lnTo>
                      <a:pt x="161925" y="88487"/>
                    </a:lnTo>
                    <a:lnTo>
                      <a:pt x="176213" y="66675"/>
                    </a:lnTo>
                    <a:lnTo>
                      <a:pt x="200025" y="66675"/>
                    </a:lnTo>
                    <a:lnTo>
                      <a:pt x="214313" y="53245"/>
                    </a:lnTo>
                    <a:lnTo>
                      <a:pt x="242888" y="38957"/>
                    </a:lnTo>
                    <a:lnTo>
                      <a:pt x="253365" y="28575"/>
                    </a:lnTo>
                    <a:lnTo>
                      <a:pt x="232410" y="24670"/>
                    </a:lnTo>
                    <a:lnTo>
                      <a:pt x="200025" y="18097"/>
                    </a:lnTo>
                    <a:lnTo>
                      <a:pt x="168592" y="14288"/>
                    </a:lnTo>
                    <a:lnTo>
                      <a:pt x="143827" y="24670"/>
                    </a:lnTo>
                    <a:lnTo>
                      <a:pt x="130492" y="0"/>
                    </a:lnTo>
                    <a:lnTo>
                      <a:pt x="116205" y="20955"/>
                    </a:lnTo>
                    <a:lnTo>
                      <a:pt x="98107" y="18097"/>
                    </a:lnTo>
                    <a:lnTo>
                      <a:pt x="80963" y="18097"/>
                    </a:lnTo>
                    <a:lnTo>
                      <a:pt x="52388" y="10382"/>
                    </a:lnTo>
                    <a:lnTo>
                      <a:pt x="38100" y="10382"/>
                    </a:lnTo>
                    <a:lnTo>
                      <a:pt x="17145" y="24670"/>
                    </a:lnTo>
                    <a:lnTo>
                      <a:pt x="0" y="31337"/>
                    </a:lnTo>
                    <a:lnTo>
                      <a:pt x="2857" y="42863"/>
                    </a:lnTo>
                    <a:lnTo>
                      <a:pt x="31432" y="456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9" name="Freeform: Shape 358">
                <a:extLst>
                  <a:ext uri="{FF2B5EF4-FFF2-40B4-BE49-F238E27FC236}">
                    <a16:creationId xmlns:a16="http://schemas.microsoft.com/office/drawing/2014/main" id="{0E23463C-18F2-6F07-8AEB-0913C4F66422}"/>
                  </a:ext>
                </a:extLst>
              </p:cNvPr>
              <p:cNvSpPr/>
              <p:nvPr/>
            </p:nvSpPr>
            <p:spPr>
              <a:xfrm>
                <a:off x="6568092" y="1778865"/>
                <a:ext cx="99908" cy="55090"/>
              </a:xfrm>
              <a:custGeom>
                <a:avLst/>
                <a:gdLst>
                  <a:gd name="connsiteX0" fmla="*/ 66675 w 101917"/>
                  <a:gd name="connsiteY0" fmla="*/ 49625 h 56197"/>
                  <a:gd name="connsiteX1" fmla="*/ 91440 w 101917"/>
                  <a:gd name="connsiteY1" fmla="*/ 35338 h 56197"/>
                  <a:gd name="connsiteX2" fmla="*/ 101918 w 101917"/>
                  <a:gd name="connsiteY2" fmla="*/ 21050 h 56197"/>
                  <a:gd name="connsiteX3" fmla="*/ 83820 w 101917"/>
                  <a:gd name="connsiteY3" fmla="*/ 21050 h 56197"/>
                  <a:gd name="connsiteX4" fmla="*/ 73343 w 101917"/>
                  <a:gd name="connsiteY4" fmla="*/ 14288 h 56197"/>
                  <a:gd name="connsiteX5" fmla="*/ 66675 w 101917"/>
                  <a:gd name="connsiteY5" fmla="*/ 0 h 56197"/>
                  <a:gd name="connsiteX6" fmla="*/ 52388 w 101917"/>
                  <a:gd name="connsiteY6" fmla="*/ 0 h 56197"/>
                  <a:gd name="connsiteX7" fmla="*/ 24765 w 101917"/>
                  <a:gd name="connsiteY7" fmla="*/ 6763 h 56197"/>
                  <a:gd name="connsiteX8" fmla="*/ 17145 w 101917"/>
                  <a:gd name="connsiteY8" fmla="*/ 14288 h 56197"/>
                  <a:gd name="connsiteX9" fmla="*/ 10478 w 101917"/>
                  <a:gd name="connsiteY9" fmla="*/ 24860 h 56197"/>
                  <a:gd name="connsiteX10" fmla="*/ 0 w 101917"/>
                  <a:gd name="connsiteY10" fmla="*/ 35338 h 56197"/>
                  <a:gd name="connsiteX11" fmla="*/ 6668 w 101917"/>
                  <a:gd name="connsiteY11" fmla="*/ 49625 h 56197"/>
                  <a:gd name="connsiteX12" fmla="*/ 17145 w 101917"/>
                  <a:gd name="connsiteY12" fmla="*/ 39148 h 56197"/>
                  <a:gd name="connsiteX13" fmla="*/ 31432 w 101917"/>
                  <a:gd name="connsiteY13" fmla="*/ 35338 h 56197"/>
                  <a:gd name="connsiteX14" fmla="*/ 45720 w 101917"/>
                  <a:gd name="connsiteY14" fmla="*/ 35338 h 56197"/>
                  <a:gd name="connsiteX15" fmla="*/ 45720 w 101917"/>
                  <a:gd name="connsiteY15" fmla="*/ 56197 h 56197"/>
                  <a:gd name="connsiteX16" fmla="*/ 66675 w 101917"/>
                  <a:gd name="connsiteY16" fmla="*/ 49625 h 56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1917" h="56197">
                    <a:moveTo>
                      <a:pt x="66675" y="49625"/>
                    </a:moveTo>
                    <a:lnTo>
                      <a:pt x="91440" y="35338"/>
                    </a:lnTo>
                    <a:lnTo>
                      <a:pt x="101918" y="21050"/>
                    </a:lnTo>
                    <a:lnTo>
                      <a:pt x="83820" y="21050"/>
                    </a:lnTo>
                    <a:lnTo>
                      <a:pt x="73343" y="14288"/>
                    </a:lnTo>
                    <a:lnTo>
                      <a:pt x="66675" y="0"/>
                    </a:lnTo>
                    <a:lnTo>
                      <a:pt x="52388" y="0"/>
                    </a:lnTo>
                    <a:lnTo>
                      <a:pt x="24765" y="6763"/>
                    </a:lnTo>
                    <a:lnTo>
                      <a:pt x="17145" y="14288"/>
                    </a:lnTo>
                    <a:lnTo>
                      <a:pt x="10478" y="24860"/>
                    </a:lnTo>
                    <a:lnTo>
                      <a:pt x="0" y="35338"/>
                    </a:lnTo>
                    <a:lnTo>
                      <a:pt x="6668" y="49625"/>
                    </a:lnTo>
                    <a:lnTo>
                      <a:pt x="17145" y="39148"/>
                    </a:lnTo>
                    <a:lnTo>
                      <a:pt x="31432" y="35338"/>
                    </a:lnTo>
                    <a:lnTo>
                      <a:pt x="45720" y="35338"/>
                    </a:lnTo>
                    <a:lnTo>
                      <a:pt x="45720" y="56197"/>
                    </a:lnTo>
                    <a:lnTo>
                      <a:pt x="66675" y="496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0" name="Freeform: Shape 359">
                <a:extLst>
                  <a:ext uri="{FF2B5EF4-FFF2-40B4-BE49-F238E27FC236}">
                    <a16:creationId xmlns:a16="http://schemas.microsoft.com/office/drawing/2014/main" id="{E47DFFC0-B81B-5090-8D7E-54402C3B0691}"/>
                  </a:ext>
                </a:extLst>
              </p:cNvPr>
              <p:cNvSpPr/>
              <p:nvPr/>
            </p:nvSpPr>
            <p:spPr>
              <a:xfrm>
                <a:off x="8604545" y="4398916"/>
                <a:ext cx="296923" cy="304397"/>
              </a:xfrm>
              <a:custGeom>
                <a:avLst/>
                <a:gdLst>
                  <a:gd name="connsiteX0" fmla="*/ 302895 w 302894"/>
                  <a:gd name="connsiteY0" fmla="*/ 275368 h 310515"/>
                  <a:gd name="connsiteX1" fmla="*/ 302895 w 302894"/>
                  <a:gd name="connsiteY1" fmla="*/ 229553 h 310515"/>
                  <a:gd name="connsiteX2" fmla="*/ 281940 w 302894"/>
                  <a:gd name="connsiteY2" fmla="*/ 219075 h 310515"/>
                  <a:gd name="connsiteX3" fmla="*/ 263842 w 302894"/>
                  <a:gd name="connsiteY3" fmla="*/ 229553 h 310515"/>
                  <a:gd name="connsiteX4" fmla="*/ 267652 w 302894"/>
                  <a:gd name="connsiteY4" fmla="*/ 219075 h 310515"/>
                  <a:gd name="connsiteX5" fmla="*/ 267652 w 302894"/>
                  <a:gd name="connsiteY5" fmla="*/ 204788 h 310515"/>
                  <a:gd name="connsiteX6" fmla="*/ 253365 w 302894"/>
                  <a:gd name="connsiteY6" fmla="*/ 183928 h 310515"/>
                  <a:gd name="connsiteX7" fmla="*/ 240030 w 302894"/>
                  <a:gd name="connsiteY7" fmla="*/ 180118 h 310515"/>
                  <a:gd name="connsiteX8" fmla="*/ 236220 w 302894"/>
                  <a:gd name="connsiteY8" fmla="*/ 169640 h 310515"/>
                  <a:gd name="connsiteX9" fmla="*/ 236220 w 302894"/>
                  <a:gd name="connsiteY9" fmla="*/ 148590 h 310515"/>
                  <a:gd name="connsiteX10" fmla="*/ 215265 w 302894"/>
                  <a:gd name="connsiteY10" fmla="*/ 137255 h 310515"/>
                  <a:gd name="connsiteX11" fmla="*/ 190500 w 302894"/>
                  <a:gd name="connsiteY11" fmla="*/ 113443 h 310515"/>
                  <a:gd name="connsiteX12" fmla="*/ 169545 w 302894"/>
                  <a:gd name="connsiteY12" fmla="*/ 95250 h 310515"/>
                  <a:gd name="connsiteX13" fmla="*/ 147638 w 302894"/>
                  <a:gd name="connsiteY13" fmla="*/ 88678 h 310515"/>
                  <a:gd name="connsiteX14" fmla="*/ 126682 w 302894"/>
                  <a:gd name="connsiteY14" fmla="*/ 63913 h 310515"/>
                  <a:gd name="connsiteX15" fmla="*/ 105727 w 302894"/>
                  <a:gd name="connsiteY15" fmla="*/ 49625 h 310515"/>
                  <a:gd name="connsiteX16" fmla="*/ 84772 w 302894"/>
                  <a:gd name="connsiteY16" fmla="*/ 31528 h 310515"/>
                  <a:gd name="connsiteX17" fmla="*/ 66675 w 302894"/>
                  <a:gd name="connsiteY17" fmla="*/ 7715 h 310515"/>
                  <a:gd name="connsiteX18" fmla="*/ 35242 w 302894"/>
                  <a:gd name="connsiteY18" fmla="*/ 3905 h 310515"/>
                  <a:gd name="connsiteX19" fmla="*/ 0 w 302894"/>
                  <a:gd name="connsiteY19" fmla="*/ 0 h 310515"/>
                  <a:gd name="connsiteX20" fmla="*/ 7620 w 302894"/>
                  <a:gd name="connsiteY20" fmla="*/ 18193 h 310515"/>
                  <a:gd name="connsiteX21" fmla="*/ 35242 w 302894"/>
                  <a:gd name="connsiteY21" fmla="*/ 39053 h 310515"/>
                  <a:gd name="connsiteX22" fmla="*/ 66675 w 302894"/>
                  <a:gd name="connsiteY22" fmla="*/ 74390 h 310515"/>
                  <a:gd name="connsiteX23" fmla="*/ 66675 w 302894"/>
                  <a:gd name="connsiteY23" fmla="*/ 88678 h 310515"/>
                  <a:gd name="connsiteX24" fmla="*/ 80963 w 302894"/>
                  <a:gd name="connsiteY24" fmla="*/ 88678 h 310515"/>
                  <a:gd name="connsiteX25" fmla="*/ 105727 w 302894"/>
                  <a:gd name="connsiteY25" fmla="*/ 109538 h 310515"/>
                  <a:gd name="connsiteX26" fmla="*/ 105727 w 302894"/>
                  <a:gd name="connsiteY26" fmla="*/ 123825 h 310515"/>
                  <a:gd name="connsiteX27" fmla="*/ 112395 w 302894"/>
                  <a:gd name="connsiteY27" fmla="*/ 141065 h 310515"/>
                  <a:gd name="connsiteX28" fmla="*/ 151447 w 302894"/>
                  <a:gd name="connsiteY28" fmla="*/ 186690 h 310515"/>
                  <a:gd name="connsiteX29" fmla="*/ 159067 w 302894"/>
                  <a:gd name="connsiteY29" fmla="*/ 211550 h 310515"/>
                  <a:gd name="connsiteX30" fmla="*/ 169545 w 302894"/>
                  <a:gd name="connsiteY30" fmla="*/ 225838 h 310515"/>
                  <a:gd name="connsiteX31" fmla="*/ 250507 w 302894"/>
                  <a:gd name="connsiteY31" fmla="*/ 306800 h 310515"/>
                  <a:gd name="connsiteX32" fmla="*/ 267652 w 302894"/>
                  <a:gd name="connsiteY32" fmla="*/ 310515 h 310515"/>
                  <a:gd name="connsiteX33" fmla="*/ 281940 w 302894"/>
                  <a:gd name="connsiteY33" fmla="*/ 306800 h 310515"/>
                  <a:gd name="connsiteX34" fmla="*/ 299085 w 302894"/>
                  <a:gd name="connsiteY34" fmla="*/ 310515 h 310515"/>
                  <a:gd name="connsiteX35" fmla="*/ 302895 w 302894"/>
                  <a:gd name="connsiteY35" fmla="*/ 275368 h 310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02894" h="310515">
                    <a:moveTo>
                      <a:pt x="302895" y="275368"/>
                    </a:moveTo>
                    <a:lnTo>
                      <a:pt x="302895" y="229553"/>
                    </a:lnTo>
                    <a:lnTo>
                      <a:pt x="281940" y="219075"/>
                    </a:lnTo>
                    <a:lnTo>
                      <a:pt x="263842" y="229553"/>
                    </a:lnTo>
                    <a:lnTo>
                      <a:pt x="267652" y="219075"/>
                    </a:lnTo>
                    <a:lnTo>
                      <a:pt x="267652" y="204788"/>
                    </a:lnTo>
                    <a:lnTo>
                      <a:pt x="253365" y="183928"/>
                    </a:lnTo>
                    <a:lnTo>
                      <a:pt x="240030" y="180118"/>
                    </a:lnTo>
                    <a:lnTo>
                      <a:pt x="236220" y="169640"/>
                    </a:lnTo>
                    <a:lnTo>
                      <a:pt x="236220" y="148590"/>
                    </a:lnTo>
                    <a:lnTo>
                      <a:pt x="215265" y="137255"/>
                    </a:lnTo>
                    <a:lnTo>
                      <a:pt x="190500" y="113443"/>
                    </a:lnTo>
                    <a:lnTo>
                      <a:pt x="169545" y="95250"/>
                    </a:lnTo>
                    <a:lnTo>
                      <a:pt x="147638" y="88678"/>
                    </a:lnTo>
                    <a:lnTo>
                      <a:pt x="126682" y="63913"/>
                    </a:lnTo>
                    <a:lnTo>
                      <a:pt x="105727" y="49625"/>
                    </a:lnTo>
                    <a:lnTo>
                      <a:pt x="84772" y="31528"/>
                    </a:lnTo>
                    <a:lnTo>
                      <a:pt x="66675" y="7715"/>
                    </a:lnTo>
                    <a:lnTo>
                      <a:pt x="35242" y="3905"/>
                    </a:lnTo>
                    <a:lnTo>
                      <a:pt x="0" y="0"/>
                    </a:lnTo>
                    <a:lnTo>
                      <a:pt x="7620" y="18193"/>
                    </a:lnTo>
                    <a:lnTo>
                      <a:pt x="35242" y="39053"/>
                    </a:lnTo>
                    <a:lnTo>
                      <a:pt x="66675" y="74390"/>
                    </a:lnTo>
                    <a:lnTo>
                      <a:pt x="66675" y="88678"/>
                    </a:lnTo>
                    <a:lnTo>
                      <a:pt x="80963" y="88678"/>
                    </a:lnTo>
                    <a:lnTo>
                      <a:pt x="105727" y="109538"/>
                    </a:lnTo>
                    <a:lnTo>
                      <a:pt x="105727" y="123825"/>
                    </a:lnTo>
                    <a:lnTo>
                      <a:pt x="112395" y="141065"/>
                    </a:lnTo>
                    <a:lnTo>
                      <a:pt x="151447" y="186690"/>
                    </a:lnTo>
                    <a:lnTo>
                      <a:pt x="159067" y="211550"/>
                    </a:lnTo>
                    <a:lnTo>
                      <a:pt x="169545" y="225838"/>
                    </a:lnTo>
                    <a:lnTo>
                      <a:pt x="250507" y="306800"/>
                    </a:lnTo>
                    <a:lnTo>
                      <a:pt x="267652" y="310515"/>
                    </a:lnTo>
                    <a:lnTo>
                      <a:pt x="281940" y="306800"/>
                    </a:lnTo>
                    <a:lnTo>
                      <a:pt x="299085" y="310515"/>
                    </a:lnTo>
                    <a:lnTo>
                      <a:pt x="302895" y="27536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1" name="Freeform: Shape 360">
                <a:extLst>
                  <a:ext uri="{FF2B5EF4-FFF2-40B4-BE49-F238E27FC236}">
                    <a16:creationId xmlns:a16="http://schemas.microsoft.com/office/drawing/2014/main" id="{BC985EC6-48E5-D7AC-4124-BE01D1DB8092}"/>
                  </a:ext>
                </a:extLst>
              </p:cNvPr>
              <p:cNvSpPr/>
              <p:nvPr/>
            </p:nvSpPr>
            <p:spPr>
              <a:xfrm>
                <a:off x="8891198" y="4713677"/>
                <a:ext cx="272648" cy="75632"/>
              </a:xfrm>
              <a:custGeom>
                <a:avLst/>
                <a:gdLst>
                  <a:gd name="connsiteX0" fmla="*/ 253365 w 278130"/>
                  <a:gd name="connsiteY0" fmla="*/ 77153 h 77152"/>
                  <a:gd name="connsiteX1" fmla="*/ 278130 w 278130"/>
                  <a:gd name="connsiteY1" fmla="*/ 74200 h 77152"/>
                  <a:gd name="connsiteX2" fmla="*/ 271463 w 278130"/>
                  <a:gd name="connsiteY2" fmla="*/ 63818 h 77152"/>
                  <a:gd name="connsiteX3" fmla="*/ 253365 w 278130"/>
                  <a:gd name="connsiteY3" fmla="*/ 56102 h 77152"/>
                  <a:gd name="connsiteX4" fmla="*/ 250508 w 278130"/>
                  <a:gd name="connsiteY4" fmla="*/ 45625 h 77152"/>
                  <a:gd name="connsiteX5" fmla="*/ 236220 w 278130"/>
                  <a:gd name="connsiteY5" fmla="*/ 45625 h 77152"/>
                  <a:gd name="connsiteX6" fmla="*/ 200978 w 278130"/>
                  <a:gd name="connsiteY6" fmla="*/ 41815 h 77152"/>
                  <a:gd name="connsiteX7" fmla="*/ 197168 w 278130"/>
                  <a:gd name="connsiteY7" fmla="*/ 31337 h 77152"/>
                  <a:gd name="connsiteX8" fmla="*/ 176213 w 278130"/>
                  <a:gd name="connsiteY8" fmla="*/ 17050 h 77152"/>
                  <a:gd name="connsiteX9" fmla="*/ 147638 w 278130"/>
                  <a:gd name="connsiteY9" fmla="*/ 17050 h 77152"/>
                  <a:gd name="connsiteX10" fmla="*/ 130493 w 278130"/>
                  <a:gd name="connsiteY10" fmla="*/ 24765 h 77152"/>
                  <a:gd name="connsiteX11" fmla="*/ 99060 w 278130"/>
                  <a:gd name="connsiteY11" fmla="*/ 24765 h 77152"/>
                  <a:gd name="connsiteX12" fmla="*/ 80963 w 278130"/>
                  <a:gd name="connsiteY12" fmla="*/ 17050 h 77152"/>
                  <a:gd name="connsiteX13" fmla="*/ 49530 w 278130"/>
                  <a:gd name="connsiteY13" fmla="*/ 0 h 77152"/>
                  <a:gd name="connsiteX14" fmla="*/ 14288 w 278130"/>
                  <a:gd name="connsiteY14" fmla="*/ 3715 h 77152"/>
                  <a:gd name="connsiteX15" fmla="*/ 0 w 278130"/>
                  <a:gd name="connsiteY15" fmla="*/ 17050 h 77152"/>
                  <a:gd name="connsiteX16" fmla="*/ 18098 w 278130"/>
                  <a:gd name="connsiteY16" fmla="*/ 28575 h 77152"/>
                  <a:gd name="connsiteX17" fmla="*/ 24765 w 278130"/>
                  <a:gd name="connsiteY17" fmla="*/ 35243 h 77152"/>
                  <a:gd name="connsiteX18" fmla="*/ 45720 w 278130"/>
                  <a:gd name="connsiteY18" fmla="*/ 41815 h 77152"/>
                  <a:gd name="connsiteX19" fmla="*/ 63818 w 278130"/>
                  <a:gd name="connsiteY19" fmla="*/ 49530 h 77152"/>
                  <a:gd name="connsiteX20" fmla="*/ 120015 w 278130"/>
                  <a:gd name="connsiteY20" fmla="*/ 49530 h 77152"/>
                  <a:gd name="connsiteX21" fmla="*/ 137160 w 278130"/>
                  <a:gd name="connsiteY21" fmla="*/ 63818 h 77152"/>
                  <a:gd name="connsiteX22" fmla="*/ 190500 w 278130"/>
                  <a:gd name="connsiteY22" fmla="*/ 66675 h 77152"/>
                  <a:gd name="connsiteX23" fmla="*/ 203835 w 278130"/>
                  <a:gd name="connsiteY23" fmla="*/ 66675 h 77152"/>
                  <a:gd name="connsiteX24" fmla="*/ 221933 w 278130"/>
                  <a:gd name="connsiteY24" fmla="*/ 70390 h 77152"/>
                  <a:gd name="connsiteX25" fmla="*/ 253365 w 278130"/>
                  <a:gd name="connsiteY25" fmla="*/ 77153 h 77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8130" h="77152">
                    <a:moveTo>
                      <a:pt x="253365" y="77153"/>
                    </a:moveTo>
                    <a:lnTo>
                      <a:pt x="278130" y="74200"/>
                    </a:lnTo>
                    <a:lnTo>
                      <a:pt x="271463" y="63818"/>
                    </a:lnTo>
                    <a:lnTo>
                      <a:pt x="253365" y="56102"/>
                    </a:lnTo>
                    <a:lnTo>
                      <a:pt x="250508" y="45625"/>
                    </a:lnTo>
                    <a:lnTo>
                      <a:pt x="236220" y="45625"/>
                    </a:lnTo>
                    <a:lnTo>
                      <a:pt x="200978" y="41815"/>
                    </a:lnTo>
                    <a:lnTo>
                      <a:pt x="197168" y="31337"/>
                    </a:lnTo>
                    <a:lnTo>
                      <a:pt x="176213" y="17050"/>
                    </a:lnTo>
                    <a:lnTo>
                      <a:pt x="147638" y="17050"/>
                    </a:lnTo>
                    <a:lnTo>
                      <a:pt x="130493" y="24765"/>
                    </a:lnTo>
                    <a:lnTo>
                      <a:pt x="99060" y="24765"/>
                    </a:lnTo>
                    <a:lnTo>
                      <a:pt x="80963" y="17050"/>
                    </a:lnTo>
                    <a:lnTo>
                      <a:pt x="49530" y="0"/>
                    </a:lnTo>
                    <a:lnTo>
                      <a:pt x="14288" y="3715"/>
                    </a:lnTo>
                    <a:lnTo>
                      <a:pt x="0" y="17050"/>
                    </a:lnTo>
                    <a:lnTo>
                      <a:pt x="18098" y="28575"/>
                    </a:lnTo>
                    <a:lnTo>
                      <a:pt x="24765" y="35243"/>
                    </a:lnTo>
                    <a:lnTo>
                      <a:pt x="45720" y="41815"/>
                    </a:lnTo>
                    <a:lnTo>
                      <a:pt x="63818" y="49530"/>
                    </a:lnTo>
                    <a:lnTo>
                      <a:pt x="120015" y="49530"/>
                    </a:lnTo>
                    <a:lnTo>
                      <a:pt x="137160" y="63818"/>
                    </a:lnTo>
                    <a:lnTo>
                      <a:pt x="190500" y="66675"/>
                    </a:lnTo>
                    <a:lnTo>
                      <a:pt x="203835" y="66675"/>
                    </a:lnTo>
                    <a:lnTo>
                      <a:pt x="221933" y="70390"/>
                    </a:lnTo>
                    <a:lnTo>
                      <a:pt x="253365" y="7715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2" name="Freeform: Shape 361">
                <a:extLst>
                  <a:ext uri="{FF2B5EF4-FFF2-40B4-BE49-F238E27FC236}">
                    <a16:creationId xmlns:a16="http://schemas.microsoft.com/office/drawing/2014/main" id="{8F87929A-4BB4-4AB2-6CD4-C508090FEEC7}"/>
                  </a:ext>
                </a:extLst>
              </p:cNvPr>
              <p:cNvSpPr/>
              <p:nvPr/>
            </p:nvSpPr>
            <p:spPr>
              <a:xfrm>
                <a:off x="9387940" y="4772408"/>
                <a:ext cx="97107" cy="62653"/>
              </a:xfrm>
              <a:custGeom>
                <a:avLst/>
                <a:gdLst>
                  <a:gd name="connsiteX0" fmla="*/ 53340 w 99060"/>
                  <a:gd name="connsiteY0" fmla="*/ 31528 h 63912"/>
                  <a:gd name="connsiteX1" fmla="*/ 95250 w 99060"/>
                  <a:gd name="connsiteY1" fmla="*/ 14288 h 63912"/>
                  <a:gd name="connsiteX2" fmla="*/ 99060 w 99060"/>
                  <a:gd name="connsiteY2" fmla="*/ 3905 h 63912"/>
                  <a:gd name="connsiteX3" fmla="*/ 67628 w 99060"/>
                  <a:gd name="connsiteY3" fmla="*/ 0 h 63912"/>
                  <a:gd name="connsiteX4" fmla="*/ 42863 w 99060"/>
                  <a:gd name="connsiteY4" fmla="*/ 14288 h 63912"/>
                  <a:gd name="connsiteX5" fmla="*/ 24765 w 99060"/>
                  <a:gd name="connsiteY5" fmla="*/ 28575 h 63912"/>
                  <a:gd name="connsiteX6" fmla="*/ 14288 w 99060"/>
                  <a:gd name="connsiteY6" fmla="*/ 31528 h 63912"/>
                  <a:gd name="connsiteX7" fmla="*/ 3810 w 99060"/>
                  <a:gd name="connsiteY7" fmla="*/ 39053 h 63912"/>
                  <a:gd name="connsiteX8" fmla="*/ 0 w 99060"/>
                  <a:gd name="connsiteY8" fmla="*/ 63913 h 63912"/>
                  <a:gd name="connsiteX9" fmla="*/ 32385 w 99060"/>
                  <a:gd name="connsiteY9" fmla="*/ 49625 h 63912"/>
                  <a:gd name="connsiteX10" fmla="*/ 53340 w 99060"/>
                  <a:gd name="connsiteY10" fmla="*/ 31528 h 6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9060" h="63912">
                    <a:moveTo>
                      <a:pt x="53340" y="31528"/>
                    </a:moveTo>
                    <a:lnTo>
                      <a:pt x="95250" y="14288"/>
                    </a:lnTo>
                    <a:lnTo>
                      <a:pt x="99060" y="3905"/>
                    </a:lnTo>
                    <a:lnTo>
                      <a:pt x="67628" y="0"/>
                    </a:lnTo>
                    <a:lnTo>
                      <a:pt x="42863" y="14288"/>
                    </a:lnTo>
                    <a:lnTo>
                      <a:pt x="24765" y="28575"/>
                    </a:lnTo>
                    <a:lnTo>
                      <a:pt x="14288" y="31528"/>
                    </a:lnTo>
                    <a:lnTo>
                      <a:pt x="3810" y="39053"/>
                    </a:lnTo>
                    <a:lnTo>
                      <a:pt x="0" y="63913"/>
                    </a:lnTo>
                    <a:lnTo>
                      <a:pt x="32385" y="49625"/>
                    </a:lnTo>
                    <a:lnTo>
                      <a:pt x="53340" y="3152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3" name="Freeform: Shape 362">
                <a:extLst>
                  <a:ext uri="{FF2B5EF4-FFF2-40B4-BE49-F238E27FC236}">
                    <a16:creationId xmlns:a16="http://schemas.microsoft.com/office/drawing/2014/main" id="{1B06B8CF-7FB6-7742-E1FA-195D8E745300}"/>
                  </a:ext>
                </a:extLst>
              </p:cNvPr>
              <p:cNvSpPr/>
              <p:nvPr/>
            </p:nvSpPr>
            <p:spPr>
              <a:xfrm>
                <a:off x="9260954" y="4803315"/>
                <a:ext cx="51354" cy="28012"/>
              </a:xfrm>
              <a:custGeom>
                <a:avLst/>
                <a:gdLst>
                  <a:gd name="connsiteX0" fmla="*/ 2857 w 52387"/>
                  <a:gd name="connsiteY0" fmla="*/ 0 h 28575"/>
                  <a:gd name="connsiteX1" fmla="*/ 0 w 52387"/>
                  <a:gd name="connsiteY1" fmla="*/ 7525 h 28575"/>
                  <a:gd name="connsiteX2" fmla="*/ 6668 w 52387"/>
                  <a:gd name="connsiteY2" fmla="*/ 14288 h 28575"/>
                  <a:gd name="connsiteX3" fmla="*/ 24765 w 52387"/>
                  <a:gd name="connsiteY3" fmla="*/ 24765 h 28575"/>
                  <a:gd name="connsiteX4" fmla="*/ 45720 w 52387"/>
                  <a:gd name="connsiteY4" fmla="*/ 28575 h 28575"/>
                  <a:gd name="connsiteX5" fmla="*/ 52388 w 52387"/>
                  <a:gd name="connsiteY5" fmla="*/ 20860 h 28575"/>
                  <a:gd name="connsiteX6" fmla="*/ 41910 w 52387"/>
                  <a:gd name="connsiteY6" fmla="*/ 10478 h 28575"/>
                  <a:gd name="connsiteX7" fmla="*/ 24765 w 52387"/>
                  <a:gd name="connsiteY7" fmla="*/ 0 h 28575"/>
                  <a:gd name="connsiteX8" fmla="*/ 2857 w 52387"/>
                  <a:gd name="connsiteY8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387" h="28575">
                    <a:moveTo>
                      <a:pt x="2857" y="0"/>
                    </a:moveTo>
                    <a:lnTo>
                      <a:pt x="0" y="7525"/>
                    </a:lnTo>
                    <a:lnTo>
                      <a:pt x="6668" y="14288"/>
                    </a:lnTo>
                    <a:lnTo>
                      <a:pt x="24765" y="24765"/>
                    </a:lnTo>
                    <a:lnTo>
                      <a:pt x="45720" y="28575"/>
                    </a:lnTo>
                    <a:lnTo>
                      <a:pt x="52388" y="20860"/>
                    </a:lnTo>
                    <a:lnTo>
                      <a:pt x="41910" y="10478"/>
                    </a:lnTo>
                    <a:lnTo>
                      <a:pt x="24765" y="0"/>
                    </a:lnTo>
                    <a:lnTo>
                      <a:pt x="2857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4" name="Freeform: Shape 363">
                <a:extLst>
                  <a:ext uri="{FF2B5EF4-FFF2-40B4-BE49-F238E27FC236}">
                    <a16:creationId xmlns:a16="http://schemas.microsoft.com/office/drawing/2014/main" id="{3C778FA3-7C35-0F0F-5BCE-1E3B64159CA9}"/>
                  </a:ext>
                </a:extLst>
              </p:cNvPr>
              <p:cNvSpPr/>
              <p:nvPr/>
            </p:nvSpPr>
            <p:spPr>
              <a:xfrm>
                <a:off x="9285230" y="4772408"/>
                <a:ext cx="65361" cy="16900"/>
              </a:xfrm>
              <a:custGeom>
                <a:avLst/>
                <a:gdLst>
                  <a:gd name="connsiteX0" fmla="*/ 66675 w 66675"/>
                  <a:gd name="connsiteY0" fmla="*/ 17240 h 17240"/>
                  <a:gd name="connsiteX1" fmla="*/ 66675 w 66675"/>
                  <a:gd name="connsiteY1" fmla="*/ 6763 h 17240"/>
                  <a:gd name="connsiteX2" fmla="*/ 41910 w 66675"/>
                  <a:gd name="connsiteY2" fmla="*/ 6763 h 17240"/>
                  <a:gd name="connsiteX3" fmla="*/ 31432 w 66675"/>
                  <a:gd name="connsiteY3" fmla="*/ 3905 h 17240"/>
                  <a:gd name="connsiteX4" fmla="*/ 13335 w 66675"/>
                  <a:gd name="connsiteY4" fmla="*/ 0 h 17240"/>
                  <a:gd name="connsiteX5" fmla="*/ 6668 w 66675"/>
                  <a:gd name="connsiteY5" fmla="*/ 3905 h 17240"/>
                  <a:gd name="connsiteX6" fmla="*/ 0 w 66675"/>
                  <a:gd name="connsiteY6" fmla="*/ 17240 h 17240"/>
                  <a:gd name="connsiteX7" fmla="*/ 31432 w 66675"/>
                  <a:gd name="connsiteY7" fmla="*/ 17240 h 17240"/>
                  <a:gd name="connsiteX8" fmla="*/ 66675 w 66675"/>
                  <a:gd name="connsiteY8" fmla="*/ 17240 h 1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675" h="17240">
                    <a:moveTo>
                      <a:pt x="66675" y="17240"/>
                    </a:moveTo>
                    <a:lnTo>
                      <a:pt x="66675" y="6763"/>
                    </a:lnTo>
                    <a:lnTo>
                      <a:pt x="41910" y="6763"/>
                    </a:lnTo>
                    <a:lnTo>
                      <a:pt x="31432" y="3905"/>
                    </a:lnTo>
                    <a:lnTo>
                      <a:pt x="13335" y="0"/>
                    </a:lnTo>
                    <a:lnTo>
                      <a:pt x="6668" y="3905"/>
                    </a:lnTo>
                    <a:lnTo>
                      <a:pt x="0" y="17240"/>
                    </a:lnTo>
                    <a:lnTo>
                      <a:pt x="31432" y="17240"/>
                    </a:lnTo>
                    <a:lnTo>
                      <a:pt x="66675" y="1724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5" name="Freeform: Shape 364">
                <a:extLst>
                  <a:ext uri="{FF2B5EF4-FFF2-40B4-BE49-F238E27FC236}">
                    <a16:creationId xmlns:a16="http://schemas.microsoft.com/office/drawing/2014/main" id="{E01D6489-1FCD-6E9C-81B2-92772EECB27B}"/>
                  </a:ext>
                </a:extLst>
              </p:cNvPr>
              <p:cNvSpPr/>
              <p:nvPr/>
            </p:nvSpPr>
            <p:spPr>
              <a:xfrm>
                <a:off x="9232942" y="4772408"/>
                <a:ext cx="34547" cy="16900"/>
              </a:xfrm>
              <a:custGeom>
                <a:avLst/>
                <a:gdLst>
                  <a:gd name="connsiteX0" fmla="*/ 31432 w 35242"/>
                  <a:gd name="connsiteY0" fmla="*/ 3905 h 17240"/>
                  <a:gd name="connsiteX1" fmla="*/ 14288 w 35242"/>
                  <a:gd name="connsiteY1" fmla="*/ 0 h 17240"/>
                  <a:gd name="connsiteX2" fmla="*/ 0 w 35242"/>
                  <a:gd name="connsiteY2" fmla="*/ 3905 h 17240"/>
                  <a:gd name="connsiteX3" fmla="*/ 0 w 35242"/>
                  <a:gd name="connsiteY3" fmla="*/ 17240 h 17240"/>
                  <a:gd name="connsiteX4" fmla="*/ 35243 w 35242"/>
                  <a:gd name="connsiteY4" fmla="*/ 17240 h 17240"/>
                  <a:gd name="connsiteX5" fmla="*/ 31432 w 35242"/>
                  <a:gd name="connsiteY5" fmla="*/ 3905 h 1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242" h="17240">
                    <a:moveTo>
                      <a:pt x="31432" y="3905"/>
                    </a:moveTo>
                    <a:lnTo>
                      <a:pt x="14288" y="0"/>
                    </a:lnTo>
                    <a:lnTo>
                      <a:pt x="0" y="3905"/>
                    </a:lnTo>
                    <a:lnTo>
                      <a:pt x="0" y="17240"/>
                    </a:lnTo>
                    <a:lnTo>
                      <a:pt x="35243" y="17240"/>
                    </a:lnTo>
                    <a:lnTo>
                      <a:pt x="31432" y="39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6" name="Freeform: Shape 365">
                <a:extLst>
                  <a:ext uri="{FF2B5EF4-FFF2-40B4-BE49-F238E27FC236}">
                    <a16:creationId xmlns:a16="http://schemas.microsoft.com/office/drawing/2014/main" id="{F7353BDB-2EC2-CBEA-412D-85F6F400C6D4}"/>
                  </a:ext>
                </a:extLst>
              </p:cNvPr>
              <p:cNvSpPr/>
              <p:nvPr/>
            </p:nvSpPr>
            <p:spPr>
              <a:xfrm>
                <a:off x="9177852" y="4772408"/>
                <a:ext cx="44818" cy="30906"/>
              </a:xfrm>
              <a:custGeom>
                <a:avLst/>
                <a:gdLst>
                  <a:gd name="connsiteX0" fmla="*/ 3810 w 45719"/>
                  <a:gd name="connsiteY0" fmla="*/ 0 h 31527"/>
                  <a:gd name="connsiteX1" fmla="*/ 0 w 45719"/>
                  <a:gd name="connsiteY1" fmla="*/ 17240 h 31527"/>
                  <a:gd name="connsiteX2" fmla="*/ 20955 w 45719"/>
                  <a:gd name="connsiteY2" fmla="*/ 24765 h 31527"/>
                  <a:gd name="connsiteX3" fmla="*/ 41910 w 45719"/>
                  <a:gd name="connsiteY3" fmla="*/ 31528 h 31527"/>
                  <a:gd name="connsiteX4" fmla="*/ 45720 w 45719"/>
                  <a:gd name="connsiteY4" fmla="*/ 17240 h 31527"/>
                  <a:gd name="connsiteX5" fmla="*/ 45720 w 45719"/>
                  <a:gd name="connsiteY5" fmla="*/ 6763 h 31527"/>
                  <a:gd name="connsiteX6" fmla="*/ 24765 w 45719"/>
                  <a:gd name="connsiteY6" fmla="*/ 3905 h 31527"/>
                  <a:gd name="connsiteX7" fmla="*/ 3810 w 45719"/>
                  <a:gd name="connsiteY7" fmla="*/ 0 h 31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719" h="31527">
                    <a:moveTo>
                      <a:pt x="3810" y="0"/>
                    </a:moveTo>
                    <a:lnTo>
                      <a:pt x="0" y="17240"/>
                    </a:lnTo>
                    <a:lnTo>
                      <a:pt x="20955" y="24765"/>
                    </a:lnTo>
                    <a:lnTo>
                      <a:pt x="41910" y="31528"/>
                    </a:lnTo>
                    <a:lnTo>
                      <a:pt x="45720" y="17240"/>
                    </a:lnTo>
                    <a:lnTo>
                      <a:pt x="45720" y="6763"/>
                    </a:lnTo>
                    <a:lnTo>
                      <a:pt x="24765" y="3905"/>
                    </a:lnTo>
                    <a:lnTo>
                      <a:pt x="381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7" name="Freeform: Shape 366">
                <a:extLst>
                  <a:ext uri="{FF2B5EF4-FFF2-40B4-BE49-F238E27FC236}">
                    <a16:creationId xmlns:a16="http://schemas.microsoft.com/office/drawing/2014/main" id="{2AA120B1-AE0E-D2D8-552E-0C4F6FD232D1}"/>
                  </a:ext>
                </a:extLst>
              </p:cNvPr>
              <p:cNvSpPr/>
              <p:nvPr/>
            </p:nvSpPr>
            <p:spPr>
              <a:xfrm>
                <a:off x="9198394" y="3050608"/>
                <a:ext cx="48554" cy="17834"/>
              </a:xfrm>
              <a:custGeom>
                <a:avLst/>
                <a:gdLst>
                  <a:gd name="connsiteX0" fmla="*/ 49530 w 49530"/>
                  <a:gd name="connsiteY0" fmla="*/ 0 h 18192"/>
                  <a:gd name="connsiteX1" fmla="*/ 31432 w 49530"/>
                  <a:gd name="connsiteY1" fmla="*/ 18193 h 18192"/>
                  <a:gd name="connsiteX2" fmla="*/ 0 w 49530"/>
                  <a:gd name="connsiteY2" fmla="*/ 0 h 18192"/>
                  <a:gd name="connsiteX3" fmla="*/ 31432 w 49530"/>
                  <a:gd name="connsiteY3" fmla="*/ 18193 h 18192"/>
                  <a:gd name="connsiteX4" fmla="*/ 49530 w 49530"/>
                  <a:gd name="connsiteY4" fmla="*/ 0 h 18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30" h="18192">
                    <a:moveTo>
                      <a:pt x="49530" y="0"/>
                    </a:moveTo>
                    <a:lnTo>
                      <a:pt x="31432" y="18193"/>
                    </a:lnTo>
                    <a:lnTo>
                      <a:pt x="0" y="0"/>
                    </a:lnTo>
                    <a:lnTo>
                      <a:pt x="31432" y="18193"/>
                    </a:lnTo>
                    <a:lnTo>
                      <a:pt x="4953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8" name="Freeform: Shape 367">
                <a:extLst>
                  <a:ext uri="{FF2B5EF4-FFF2-40B4-BE49-F238E27FC236}">
                    <a16:creationId xmlns:a16="http://schemas.microsoft.com/office/drawing/2014/main" id="{864BAC79-43F7-5C5F-FAC6-3A028FF2423E}"/>
                  </a:ext>
                </a:extLst>
              </p:cNvPr>
              <p:cNvSpPr/>
              <p:nvPr/>
            </p:nvSpPr>
            <p:spPr>
              <a:xfrm>
                <a:off x="9483179" y="3019887"/>
                <a:ext cx="18674" cy="44725"/>
              </a:xfrm>
              <a:custGeom>
                <a:avLst/>
                <a:gdLst>
                  <a:gd name="connsiteX0" fmla="*/ 8573 w 19050"/>
                  <a:gd name="connsiteY0" fmla="*/ 17050 h 45624"/>
                  <a:gd name="connsiteX1" fmla="*/ 0 w 19050"/>
                  <a:gd name="connsiteY1" fmla="*/ 0 h 45624"/>
                  <a:gd name="connsiteX2" fmla="*/ 19050 w 19050"/>
                  <a:gd name="connsiteY2" fmla="*/ 45625 h 45624"/>
                  <a:gd name="connsiteX3" fmla="*/ 8573 w 19050"/>
                  <a:gd name="connsiteY3" fmla="*/ 17050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5624">
                    <a:moveTo>
                      <a:pt x="8573" y="17050"/>
                    </a:moveTo>
                    <a:lnTo>
                      <a:pt x="0" y="0"/>
                    </a:lnTo>
                    <a:lnTo>
                      <a:pt x="19050" y="45625"/>
                    </a:lnTo>
                    <a:lnTo>
                      <a:pt x="8573" y="170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9" name="Freeform: Shape 368">
                <a:extLst>
                  <a:ext uri="{FF2B5EF4-FFF2-40B4-BE49-F238E27FC236}">
                    <a16:creationId xmlns:a16="http://schemas.microsoft.com/office/drawing/2014/main" id="{14AC962E-6499-8D7B-F0A3-592458868FEC}"/>
                  </a:ext>
                </a:extLst>
              </p:cNvPr>
              <p:cNvSpPr/>
              <p:nvPr/>
            </p:nvSpPr>
            <p:spPr>
              <a:xfrm>
                <a:off x="9391675" y="2919885"/>
                <a:ext cx="52288" cy="20635"/>
              </a:xfrm>
              <a:custGeom>
                <a:avLst/>
                <a:gdLst>
                  <a:gd name="connsiteX0" fmla="*/ 28575 w 53339"/>
                  <a:gd name="connsiteY0" fmla="*/ 10573 h 21050"/>
                  <a:gd name="connsiteX1" fmla="*/ 0 w 53339"/>
                  <a:gd name="connsiteY1" fmla="*/ 0 h 21050"/>
                  <a:gd name="connsiteX2" fmla="*/ 53340 w 53339"/>
                  <a:gd name="connsiteY2" fmla="*/ 21050 h 21050"/>
                  <a:gd name="connsiteX3" fmla="*/ 28575 w 53339"/>
                  <a:gd name="connsiteY3" fmla="*/ 10573 h 2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339" h="21050">
                    <a:moveTo>
                      <a:pt x="28575" y="10573"/>
                    </a:moveTo>
                    <a:lnTo>
                      <a:pt x="0" y="0"/>
                    </a:lnTo>
                    <a:lnTo>
                      <a:pt x="53340" y="21050"/>
                    </a:lnTo>
                    <a:lnTo>
                      <a:pt x="28575" y="1057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0" name="Freeform: Shape 369">
                <a:extLst>
                  <a:ext uri="{FF2B5EF4-FFF2-40B4-BE49-F238E27FC236}">
                    <a16:creationId xmlns:a16="http://schemas.microsoft.com/office/drawing/2014/main" id="{D07A081F-7664-E5ED-FC09-66920E188EDE}"/>
                  </a:ext>
                </a:extLst>
              </p:cNvPr>
              <p:cNvSpPr/>
              <p:nvPr/>
            </p:nvSpPr>
            <p:spPr>
              <a:xfrm>
                <a:off x="6165657" y="2867689"/>
                <a:ext cx="246502" cy="273583"/>
              </a:xfrm>
              <a:custGeom>
                <a:avLst/>
                <a:gdLst>
                  <a:gd name="connsiteX0" fmla="*/ 20955 w 251459"/>
                  <a:gd name="connsiteY0" fmla="*/ 88582 h 279082"/>
                  <a:gd name="connsiteX1" fmla="*/ 20955 w 251459"/>
                  <a:gd name="connsiteY1" fmla="*/ 105632 h 279082"/>
                  <a:gd name="connsiteX2" fmla="*/ 20955 w 251459"/>
                  <a:gd name="connsiteY2" fmla="*/ 105632 h 279082"/>
                  <a:gd name="connsiteX3" fmla="*/ 10477 w 251459"/>
                  <a:gd name="connsiteY3" fmla="*/ 113252 h 279082"/>
                  <a:gd name="connsiteX4" fmla="*/ 0 w 251459"/>
                  <a:gd name="connsiteY4" fmla="*/ 119920 h 279082"/>
                  <a:gd name="connsiteX5" fmla="*/ 0 w 251459"/>
                  <a:gd name="connsiteY5" fmla="*/ 134207 h 279082"/>
                  <a:gd name="connsiteX6" fmla="*/ 0 w 251459"/>
                  <a:gd name="connsiteY6" fmla="*/ 151352 h 279082"/>
                  <a:gd name="connsiteX7" fmla="*/ 6667 w 251459"/>
                  <a:gd name="connsiteY7" fmla="*/ 169545 h 279082"/>
                  <a:gd name="connsiteX8" fmla="*/ 3810 w 251459"/>
                  <a:gd name="connsiteY8" fmla="*/ 179927 h 279082"/>
                  <a:gd name="connsiteX9" fmla="*/ 6667 w 251459"/>
                  <a:gd name="connsiteY9" fmla="*/ 186595 h 279082"/>
                  <a:gd name="connsiteX10" fmla="*/ 3810 w 251459"/>
                  <a:gd name="connsiteY10" fmla="*/ 200882 h 279082"/>
                  <a:gd name="connsiteX11" fmla="*/ 14288 w 251459"/>
                  <a:gd name="connsiteY11" fmla="*/ 207645 h 279082"/>
                  <a:gd name="connsiteX12" fmla="*/ 20955 w 251459"/>
                  <a:gd name="connsiteY12" fmla="*/ 215170 h 279082"/>
                  <a:gd name="connsiteX13" fmla="*/ 52388 w 251459"/>
                  <a:gd name="connsiteY13" fmla="*/ 215170 h 279082"/>
                  <a:gd name="connsiteX14" fmla="*/ 56197 w 251459"/>
                  <a:gd name="connsiteY14" fmla="*/ 221932 h 279082"/>
                  <a:gd name="connsiteX15" fmla="*/ 39052 w 251459"/>
                  <a:gd name="connsiteY15" fmla="*/ 257175 h 279082"/>
                  <a:gd name="connsiteX16" fmla="*/ 39052 w 251459"/>
                  <a:gd name="connsiteY16" fmla="*/ 267557 h 279082"/>
                  <a:gd name="connsiteX17" fmla="*/ 49530 w 251459"/>
                  <a:gd name="connsiteY17" fmla="*/ 267557 h 279082"/>
                  <a:gd name="connsiteX18" fmla="*/ 66675 w 251459"/>
                  <a:gd name="connsiteY18" fmla="*/ 267557 h 279082"/>
                  <a:gd name="connsiteX19" fmla="*/ 84772 w 251459"/>
                  <a:gd name="connsiteY19" fmla="*/ 264795 h 279082"/>
                  <a:gd name="connsiteX20" fmla="*/ 98107 w 251459"/>
                  <a:gd name="connsiteY20" fmla="*/ 267557 h 279082"/>
                  <a:gd name="connsiteX21" fmla="*/ 101918 w 251459"/>
                  <a:gd name="connsiteY21" fmla="*/ 271463 h 279082"/>
                  <a:gd name="connsiteX22" fmla="*/ 98107 w 251459"/>
                  <a:gd name="connsiteY22" fmla="*/ 279082 h 279082"/>
                  <a:gd name="connsiteX23" fmla="*/ 149543 w 251459"/>
                  <a:gd name="connsiteY23" fmla="*/ 275177 h 279082"/>
                  <a:gd name="connsiteX24" fmla="*/ 167640 w 251459"/>
                  <a:gd name="connsiteY24" fmla="*/ 264795 h 279082"/>
                  <a:gd name="connsiteX25" fmla="*/ 188595 w 251459"/>
                  <a:gd name="connsiteY25" fmla="*/ 264795 h 279082"/>
                  <a:gd name="connsiteX26" fmla="*/ 188595 w 251459"/>
                  <a:gd name="connsiteY26" fmla="*/ 250507 h 279082"/>
                  <a:gd name="connsiteX27" fmla="*/ 202882 w 251459"/>
                  <a:gd name="connsiteY27" fmla="*/ 242888 h 279082"/>
                  <a:gd name="connsiteX28" fmla="*/ 216218 w 251459"/>
                  <a:gd name="connsiteY28" fmla="*/ 236220 h 279082"/>
                  <a:gd name="connsiteX29" fmla="*/ 216218 w 251459"/>
                  <a:gd name="connsiteY29" fmla="*/ 225742 h 279082"/>
                  <a:gd name="connsiteX30" fmla="*/ 195263 w 251459"/>
                  <a:gd name="connsiteY30" fmla="*/ 211455 h 279082"/>
                  <a:gd name="connsiteX31" fmla="*/ 180975 w 251459"/>
                  <a:gd name="connsiteY31" fmla="*/ 194215 h 279082"/>
                  <a:gd name="connsiteX32" fmla="*/ 167640 w 251459"/>
                  <a:gd name="connsiteY32" fmla="*/ 176213 h 279082"/>
                  <a:gd name="connsiteX33" fmla="*/ 188595 w 251459"/>
                  <a:gd name="connsiteY33" fmla="*/ 165640 h 279082"/>
                  <a:gd name="connsiteX34" fmla="*/ 209550 w 251459"/>
                  <a:gd name="connsiteY34" fmla="*/ 159067 h 279082"/>
                  <a:gd name="connsiteX35" fmla="*/ 226695 w 251459"/>
                  <a:gd name="connsiteY35" fmla="*/ 151352 h 279082"/>
                  <a:gd name="connsiteX36" fmla="*/ 240982 w 251459"/>
                  <a:gd name="connsiteY36" fmla="*/ 148495 h 279082"/>
                  <a:gd name="connsiteX37" fmla="*/ 251460 w 251459"/>
                  <a:gd name="connsiteY37" fmla="*/ 144780 h 279082"/>
                  <a:gd name="connsiteX38" fmla="*/ 244793 w 251459"/>
                  <a:gd name="connsiteY38" fmla="*/ 130492 h 279082"/>
                  <a:gd name="connsiteX39" fmla="*/ 240982 w 251459"/>
                  <a:gd name="connsiteY39" fmla="*/ 105632 h 279082"/>
                  <a:gd name="connsiteX40" fmla="*/ 244793 w 251459"/>
                  <a:gd name="connsiteY40" fmla="*/ 88582 h 279082"/>
                  <a:gd name="connsiteX41" fmla="*/ 230505 w 251459"/>
                  <a:gd name="connsiteY41" fmla="*/ 80963 h 279082"/>
                  <a:gd name="connsiteX42" fmla="*/ 237172 w 251459"/>
                  <a:gd name="connsiteY42" fmla="*/ 60007 h 279082"/>
                  <a:gd name="connsiteX43" fmla="*/ 230505 w 251459"/>
                  <a:gd name="connsiteY43" fmla="*/ 41815 h 279082"/>
                  <a:gd name="connsiteX44" fmla="*/ 209550 w 251459"/>
                  <a:gd name="connsiteY44" fmla="*/ 28575 h 279082"/>
                  <a:gd name="connsiteX45" fmla="*/ 205740 w 251459"/>
                  <a:gd name="connsiteY45" fmla="*/ 18002 h 279082"/>
                  <a:gd name="connsiteX46" fmla="*/ 191452 w 251459"/>
                  <a:gd name="connsiteY46" fmla="*/ 20955 h 279082"/>
                  <a:gd name="connsiteX47" fmla="*/ 167640 w 251459"/>
                  <a:gd name="connsiteY47" fmla="*/ 28575 h 279082"/>
                  <a:gd name="connsiteX48" fmla="*/ 156210 w 251459"/>
                  <a:gd name="connsiteY48" fmla="*/ 38957 h 279082"/>
                  <a:gd name="connsiteX49" fmla="*/ 140970 w 251459"/>
                  <a:gd name="connsiteY49" fmla="*/ 35242 h 279082"/>
                  <a:gd name="connsiteX50" fmla="*/ 130493 w 251459"/>
                  <a:gd name="connsiteY50" fmla="*/ 28575 h 279082"/>
                  <a:gd name="connsiteX51" fmla="*/ 112395 w 251459"/>
                  <a:gd name="connsiteY51" fmla="*/ 20955 h 279082"/>
                  <a:gd name="connsiteX52" fmla="*/ 109538 w 251459"/>
                  <a:gd name="connsiteY52" fmla="*/ 10382 h 279082"/>
                  <a:gd name="connsiteX53" fmla="*/ 98107 w 251459"/>
                  <a:gd name="connsiteY53" fmla="*/ 0 h 279082"/>
                  <a:gd name="connsiteX54" fmla="*/ 80963 w 251459"/>
                  <a:gd name="connsiteY54" fmla="*/ 3715 h 279082"/>
                  <a:gd name="connsiteX55" fmla="*/ 77152 w 251459"/>
                  <a:gd name="connsiteY55" fmla="*/ 14288 h 279082"/>
                  <a:gd name="connsiteX56" fmla="*/ 80963 w 251459"/>
                  <a:gd name="connsiteY56" fmla="*/ 28575 h 279082"/>
                  <a:gd name="connsiteX57" fmla="*/ 84772 w 251459"/>
                  <a:gd name="connsiteY57" fmla="*/ 38957 h 279082"/>
                  <a:gd name="connsiteX58" fmla="*/ 70485 w 251459"/>
                  <a:gd name="connsiteY58" fmla="*/ 45720 h 279082"/>
                  <a:gd name="connsiteX59" fmla="*/ 62865 w 251459"/>
                  <a:gd name="connsiteY59" fmla="*/ 56102 h 279082"/>
                  <a:gd name="connsiteX60" fmla="*/ 45720 w 251459"/>
                  <a:gd name="connsiteY60" fmla="*/ 49530 h 279082"/>
                  <a:gd name="connsiteX61" fmla="*/ 31432 w 251459"/>
                  <a:gd name="connsiteY61" fmla="*/ 49530 h 279082"/>
                  <a:gd name="connsiteX62" fmla="*/ 17145 w 251459"/>
                  <a:gd name="connsiteY62" fmla="*/ 53245 h 279082"/>
                  <a:gd name="connsiteX63" fmla="*/ 27622 w 251459"/>
                  <a:gd name="connsiteY63" fmla="*/ 77057 h 279082"/>
                  <a:gd name="connsiteX64" fmla="*/ 20955 w 251459"/>
                  <a:gd name="connsiteY64" fmla="*/ 88582 h 27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251459" h="279082">
                    <a:moveTo>
                      <a:pt x="20955" y="88582"/>
                    </a:moveTo>
                    <a:lnTo>
                      <a:pt x="20955" y="105632"/>
                    </a:lnTo>
                    <a:lnTo>
                      <a:pt x="20955" y="105632"/>
                    </a:lnTo>
                    <a:lnTo>
                      <a:pt x="10477" y="113252"/>
                    </a:lnTo>
                    <a:lnTo>
                      <a:pt x="0" y="119920"/>
                    </a:lnTo>
                    <a:lnTo>
                      <a:pt x="0" y="134207"/>
                    </a:lnTo>
                    <a:lnTo>
                      <a:pt x="0" y="151352"/>
                    </a:lnTo>
                    <a:lnTo>
                      <a:pt x="6667" y="169545"/>
                    </a:lnTo>
                    <a:lnTo>
                      <a:pt x="3810" y="179927"/>
                    </a:lnTo>
                    <a:lnTo>
                      <a:pt x="6667" y="186595"/>
                    </a:lnTo>
                    <a:lnTo>
                      <a:pt x="3810" y="200882"/>
                    </a:lnTo>
                    <a:lnTo>
                      <a:pt x="14288" y="207645"/>
                    </a:lnTo>
                    <a:lnTo>
                      <a:pt x="20955" y="215170"/>
                    </a:lnTo>
                    <a:lnTo>
                      <a:pt x="52388" y="215170"/>
                    </a:lnTo>
                    <a:lnTo>
                      <a:pt x="56197" y="221932"/>
                    </a:lnTo>
                    <a:lnTo>
                      <a:pt x="39052" y="257175"/>
                    </a:lnTo>
                    <a:lnTo>
                      <a:pt x="39052" y="267557"/>
                    </a:lnTo>
                    <a:lnTo>
                      <a:pt x="49530" y="267557"/>
                    </a:lnTo>
                    <a:lnTo>
                      <a:pt x="66675" y="267557"/>
                    </a:lnTo>
                    <a:lnTo>
                      <a:pt x="84772" y="264795"/>
                    </a:lnTo>
                    <a:lnTo>
                      <a:pt x="98107" y="267557"/>
                    </a:lnTo>
                    <a:lnTo>
                      <a:pt x="101918" y="271463"/>
                    </a:lnTo>
                    <a:lnTo>
                      <a:pt x="98107" y="279082"/>
                    </a:lnTo>
                    <a:lnTo>
                      <a:pt x="149543" y="275177"/>
                    </a:lnTo>
                    <a:lnTo>
                      <a:pt x="167640" y="264795"/>
                    </a:lnTo>
                    <a:lnTo>
                      <a:pt x="188595" y="264795"/>
                    </a:lnTo>
                    <a:lnTo>
                      <a:pt x="188595" y="250507"/>
                    </a:lnTo>
                    <a:lnTo>
                      <a:pt x="202882" y="242888"/>
                    </a:lnTo>
                    <a:lnTo>
                      <a:pt x="216218" y="236220"/>
                    </a:lnTo>
                    <a:lnTo>
                      <a:pt x="216218" y="225742"/>
                    </a:lnTo>
                    <a:lnTo>
                      <a:pt x="195263" y="211455"/>
                    </a:lnTo>
                    <a:lnTo>
                      <a:pt x="180975" y="194215"/>
                    </a:lnTo>
                    <a:lnTo>
                      <a:pt x="167640" y="176213"/>
                    </a:lnTo>
                    <a:lnTo>
                      <a:pt x="188595" y="165640"/>
                    </a:lnTo>
                    <a:lnTo>
                      <a:pt x="209550" y="159067"/>
                    </a:lnTo>
                    <a:lnTo>
                      <a:pt x="226695" y="151352"/>
                    </a:lnTo>
                    <a:lnTo>
                      <a:pt x="240982" y="148495"/>
                    </a:lnTo>
                    <a:lnTo>
                      <a:pt x="251460" y="144780"/>
                    </a:lnTo>
                    <a:lnTo>
                      <a:pt x="244793" y="130492"/>
                    </a:lnTo>
                    <a:lnTo>
                      <a:pt x="240982" y="105632"/>
                    </a:lnTo>
                    <a:lnTo>
                      <a:pt x="244793" y="88582"/>
                    </a:lnTo>
                    <a:lnTo>
                      <a:pt x="230505" y="80963"/>
                    </a:lnTo>
                    <a:lnTo>
                      <a:pt x="237172" y="60007"/>
                    </a:lnTo>
                    <a:lnTo>
                      <a:pt x="230505" y="41815"/>
                    </a:lnTo>
                    <a:lnTo>
                      <a:pt x="209550" y="28575"/>
                    </a:lnTo>
                    <a:lnTo>
                      <a:pt x="205740" y="18002"/>
                    </a:lnTo>
                    <a:lnTo>
                      <a:pt x="191452" y="20955"/>
                    </a:lnTo>
                    <a:lnTo>
                      <a:pt x="167640" y="28575"/>
                    </a:lnTo>
                    <a:lnTo>
                      <a:pt x="156210" y="38957"/>
                    </a:lnTo>
                    <a:lnTo>
                      <a:pt x="140970" y="35242"/>
                    </a:lnTo>
                    <a:lnTo>
                      <a:pt x="130493" y="28575"/>
                    </a:lnTo>
                    <a:lnTo>
                      <a:pt x="112395" y="20955"/>
                    </a:lnTo>
                    <a:lnTo>
                      <a:pt x="109538" y="10382"/>
                    </a:lnTo>
                    <a:lnTo>
                      <a:pt x="98107" y="0"/>
                    </a:lnTo>
                    <a:lnTo>
                      <a:pt x="80963" y="3715"/>
                    </a:lnTo>
                    <a:lnTo>
                      <a:pt x="77152" y="14288"/>
                    </a:lnTo>
                    <a:lnTo>
                      <a:pt x="80963" y="28575"/>
                    </a:lnTo>
                    <a:lnTo>
                      <a:pt x="84772" y="38957"/>
                    </a:lnTo>
                    <a:lnTo>
                      <a:pt x="70485" y="45720"/>
                    </a:lnTo>
                    <a:lnTo>
                      <a:pt x="62865" y="56102"/>
                    </a:lnTo>
                    <a:lnTo>
                      <a:pt x="45720" y="49530"/>
                    </a:lnTo>
                    <a:lnTo>
                      <a:pt x="31432" y="49530"/>
                    </a:lnTo>
                    <a:lnTo>
                      <a:pt x="17145" y="53245"/>
                    </a:lnTo>
                    <a:lnTo>
                      <a:pt x="27622" y="77057"/>
                    </a:lnTo>
                    <a:lnTo>
                      <a:pt x="20955" y="885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1" name="Freeform: Shape 370">
                <a:extLst>
                  <a:ext uri="{FF2B5EF4-FFF2-40B4-BE49-F238E27FC236}">
                    <a16:creationId xmlns:a16="http://schemas.microsoft.com/office/drawing/2014/main" id="{D0A28757-EEC6-2630-814D-E6C5D7D62A21}"/>
                  </a:ext>
                </a:extLst>
              </p:cNvPr>
              <p:cNvSpPr/>
              <p:nvPr/>
            </p:nvSpPr>
            <p:spPr>
              <a:xfrm>
                <a:off x="6391619" y="2874225"/>
                <a:ext cx="266111" cy="208222"/>
              </a:xfrm>
              <a:custGeom>
                <a:avLst/>
                <a:gdLst>
                  <a:gd name="connsiteX0" fmla="*/ 0 w 271462"/>
                  <a:gd name="connsiteY0" fmla="*/ 74295 h 212407"/>
                  <a:gd name="connsiteX1" fmla="*/ 14288 w 271462"/>
                  <a:gd name="connsiteY1" fmla="*/ 81915 h 212407"/>
                  <a:gd name="connsiteX2" fmla="*/ 14288 w 271462"/>
                  <a:gd name="connsiteY2" fmla="*/ 123825 h 212407"/>
                  <a:gd name="connsiteX3" fmla="*/ 20955 w 271462"/>
                  <a:gd name="connsiteY3" fmla="*/ 138113 h 212407"/>
                  <a:gd name="connsiteX4" fmla="*/ 41910 w 271462"/>
                  <a:gd name="connsiteY4" fmla="*/ 148590 h 212407"/>
                  <a:gd name="connsiteX5" fmla="*/ 56197 w 271462"/>
                  <a:gd name="connsiteY5" fmla="*/ 152400 h 212407"/>
                  <a:gd name="connsiteX6" fmla="*/ 60007 w 271462"/>
                  <a:gd name="connsiteY6" fmla="*/ 165640 h 212407"/>
                  <a:gd name="connsiteX7" fmla="*/ 74295 w 271462"/>
                  <a:gd name="connsiteY7" fmla="*/ 169545 h 212407"/>
                  <a:gd name="connsiteX8" fmla="*/ 77152 w 271462"/>
                  <a:gd name="connsiteY8" fmla="*/ 162877 h 212407"/>
                  <a:gd name="connsiteX9" fmla="*/ 91440 w 271462"/>
                  <a:gd name="connsiteY9" fmla="*/ 165640 h 212407"/>
                  <a:gd name="connsiteX10" fmla="*/ 101917 w 271462"/>
                  <a:gd name="connsiteY10" fmla="*/ 173260 h 212407"/>
                  <a:gd name="connsiteX11" fmla="*/ 116205 w 271462"/>
                  <a:gd name="connsiteY11" fmla="*/ 179927 h 212407"/>
                  <a:gd name="connsiteX12" fmla="*/ 130492 w 271462"/>
                  <a:gd name="connsiteY12" fmla="*/ 190500 h 212407"/>
                  <a:gd name="connsiteX13" fmla="*/ 147638 w 271462"/>
                  <a:gd name="connsiteY13" fmla="*/ 194215 h 212407"/>
                  <a:gd name="connsiteX14" fmla="*/ 155257 w 271462"/>
                  <a:gd name="connsiteY14" fmla="*/ 208502 h 212407"/>
                  <a:gd name="connsiteX15" fmla="*/ 172402 w 271462"/>
                  <a:gd name="connsiteY15" fmla="*/ 204788 h 212407"/>
                  <a:gd name="connsiteX16" fmla="*/ 190500 w 271462"/>
                  <a:gd name="connsiteY16" fmla="*/ 198120 h 212407"/>
                  <a:gd name="connsiteX17" fmla="*/ 204788 w 271462"/>
                  <a:gd name="connsiteY17" fmla="*/ 198120 h 212407"/>
                  <a:gd name="connsiteX18" fmla="*/ 221932 w 271462"/>
                  <a:gd name="connsiteY18" fmla="*/ 204788 h 212407"/>
                  <a:gd name="connsiteX19" fmla="*/ 228600 w 271462"/>
                  <a:gd name="connsiteY19" fmla="*/ 212408 h 212407"/>
                  <a:gd name="connsiteX20" fmla="*/ 232410 w 271462"/>
                  <a:gd name="connsiteY20" fmla="*/ 194215 h 212407"/>
                  <a:gd name="connsiteX21" fmla="*/ 240030 w 271462"/>
                  <a:gd name="connsiteY21" fmla="*/ 179927 h 212407"/>
                  <a:gd name="connsiteX22" fmla="*/ 253365 w 271462"/>
                  <a:gd name="connsiteY22" fmla="*/ 165640 h 212407"/>
                  <a:gd name="connsiteX23" fmla="*/ 271463 w 271462"/>
                  <a:gd name="connsiteY23" fmla="*/ 155258 h 212407"/>
                  <a:gd name="connsiteX24" fmla="*/ 267652 w 271462"/>
                  <a:gd name="connsiteY24" fmla="*/ 148590 h 212407"/>
                  <a:gd name="connsiteX25" fmla="*/ 263842 w 271462"/>
                  <a:gd name="connsiteY25" fmla="*/ 134302 h 212407"/>
                  <a:gd name="connsiteX26" fmla="*/ 260985 w 271462"/>
                  <a:gd name="connsiteY26" fmla="*/ 123825 h 212407"/>
                  <a:gd name="connsiteX27" fmla="*/ 260985 w 271462"/>
                  <a:gd name="connsiteY27" fmla="*/ 98965 h 212407"/>
                  <a:gd name="connsiteX28" fmla="*/ 250507 w 271462"/>
                  <a:gd name="connsiteY28" fmla="*/ 92297 h 212407"/>
                  <a:gd name="connsiteX29" fmla="*/ 253365 w 271462"/>
                  <a:gd name="connsiteY29" fmla="*/ 81915 h 212407"/>
                  <a:gd name="connsiteX30" fmla="*/ 267652 w 271462"/>
                  <a:gd name="connsiteY30" fmla="*/ 81915 h 212407"/>
                  <a:gd name="connsiteX31" fmla="*/ 267652 w 271462"/>
                  <a:gd name="connsiteY31" fmla="*/ 57150 h 212407"/>
                  <a:gd name="connsiteX32" fmla="*/ 260985 w 271462"/>
                  <a:gd name="connsiteY32" fmla="*/ 49435 h 212407"/>
                  <a:gd name="connsiteX33" fmla="*/ 253365 w 271462"/>
                  <a:gd name="connsiteY33" fmla="*/ 28575 h 212407"/>
                  <a:gd name="connsiteX34" fmla="*/ 246697 w 271462"/>
                  <a:gd name="connsiteY34" fmla="*/ 21908 h 212407"/>
                  <a:gd name="connsiteX35" fmla="*/ 236220 w 271462"/>
                  <a:gd name="connsiteY35" fmla="*/ 11335 h 212407"/>
                  <a:gd name="connsiteX36" fmla="*/ 190500 w 271462"/>
                  <a:gd name="connsiteY36" fmla="*/ 14288 h 212407"/>
                  <a:gd name="connsiteX37" fmla="*/ 155257 w 271462"/>
                  <a:gd name="connsiteY37" fmla="*/ 14288 h 212407"/>
                  <a:gd name="connsiteX38" fmla="*/ 123825 w 271462"/>
                  <a:gd name="connsiteY38" fmla="*/ 14288 h 212407"/>
                  <a:gd name="connsiteX39" fmla="*/ 116205 w 271462"/>
                  <a:gd name="connsiteY39" fmla="*/ 0 h 212407"/>
                  <a:gd name="connsiteX40" fmla="*/ 84772 w 271462"/>
                  <a:gd name="connsiteY40" fmla="*/ 0 h 212407"/>
                  <a:gd name="connsiteX41" fmla="*/ 56197 w 271462"/>
                  <a:gd name="connsiteY41" fmla="*/ 18002 h 212407"/>
                  <a:gd name="connsiteX42" fmla="*/ 28575 w 271462"/>
                  <a:gd name="connsiteY42" fmla="*/ 28575 h 212407"/>
                  <a:gd name="connsiteX43" fmla="*/ 0 w 271462"/>
                  <a:gd name="connsiteY43" fmla="*/ 35147 h 212407"/>
                  <a:gd name="connsiteX44" fmla="*/ 6667 w 271462"/>
                  <a:gd name="connsiteY44" fmla="*/ 53340 h 212407"/>
                  <a:gd name="connsiteX45" fmla="*/ 0 w 271462"/>
                  <a:gd name="connsiteY45" fmla="*/ 74295 h 212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271462" h="212407">
                    <a:moveTo>
                      <a:pt x="0" y="74295"/>
                    </a:moveTo>
                    <a:lnTo>
                      <a:pt x="14288" y="81915"/>
                    </a:lnTo>
                    <a:lnTo>
                      <a:pt x="14288" y="123825"/>
                    </a:lnTo>
                    <a:lnTo>
                      <a:pt x="20955" y="138113"/>
                    </a:lnTo>
                    <a:lnTo>
                      <a:pt x="41910" y="148590"/>
                    </a:lnTo>
                    <a:lnTo>
                      <a:pt x="56197" y="152400"/>
                    </a:lnTo>
                    <a:lnTo>
                      <a:pt x="60007" y="165640"/>
                    </a:lnTo>
                    <a:lnTo>
                      <a:pt x="74295" y="169545"/>
                    </a:lnTo>
                    <a:lnTo>
                      <a:pt x="77152" y="162877"/>
                    </a:lnTo>
                    <a:lnTo>
                      <a:pt x="91440" y="165640"/>
                    </a:lnTo>
                    <a:lnTo>
                      <a:pt x="101917" y="173260"/>
                    </a:lnTo>
                    <a:lnTo>
                      <a:pt x="116205" y="179927"/>
                    </a:lnTo>
                    <a:lnTo>
                      <a:pt x="130492" y="190500"/>
                    </a:lnTo>
                    <a:lnTo>
                      <a:pt x="147638" y="194215"/>
                    </a:lnTo>
                    <a:lnTo>
                      <a:pt x="155257" y="208502"/>
                    </a:lnTo>
                    <a:lnTo>
                      <a:pt x="172402" y="204788"/>
                    </a:lnTo>
                    <a:lnTo>
                      <a:pt x="190500" y="198120"/>
                    </a:lnTo>
                    <a:lnTo>
                      <a:pt x="204788" y="198120"/>
                    </a:lnTo>
                    <a:lnTo>
                      <a:pt x="221932" y="204788"/>
                    </a:lnTo>
                    <a:lnTo>
                      <a:pt x="228600" y="212408"/>
                    </a:lnTo>
                    <a:lnTo>
                      <a:pt x="232410" y="194215"/>
                    </a:lnTo>
                    <a:lnTo>
                      <a:pt x="240030" y="179927"/>
                    </a:lnTo>
                    <a:lnTo>
                      <a:pt x="253365" y="165640"/>
                    </a:lnTo>
                    <a:lnTo>
                      <a:pt x="271463" y="155258"/>
                    </a:lnTo>
                    <a:lnTo>
                      <a:pt x="267652" y="148590"/>
                    </a:lnTo>
                    <a:lnTo>
                      <a:pt x="263842" y="134302"/>
                    </a:lnTo>
                    <a:lnTo>
                      <a:pt x="260985" y="123825"/>
                    </a:lnTo>
                    <a:lnTo>
                      <a:pt x="260985" y="98965"/>
                    </a:lnTo>
                    <a:lnTo>
                      <a:pt x="250507" y="92297"/>
                    </a:lnTo>
                    <a:lnTo>
                      <a:pt x="253365" y="81915"/>
                    </a:lnTo>
                    <a:lnTo>
                      <a:pt x="267652" y="81915"/>
                    </a:lnTo>
                    <a:lnTo>
                      <a:pt x="267652" y="57150"/>
                    </a:lnTo>
                    <a:lnTo>
                      <a:pt x="260985" y="49435"/>
                    </a:lnTo>
                    <a:lnTo>
                      <a:pt x="253365" y="28575"/>
                    </a:lnTo>
                    <a:lnTo>
                      <a:pt x="246697" y="21908"/>
                    </a:lnTo>
                    <a:lnTo>
                      <a:pt x="236220" y="11335"/>
                    </a:lnTo>
                    <a:lnTo>
                      <a:pt x="190500" y="14288"/>
                    </a:lnTo>
                    <a:lnTo>
                      <a:pt x="155257" y="14288"/>
                    </a:lnTo>
                    <a:lnTo>
                      <a:pt x="123825" y="14288"/>
                    </a:lnTo>
                    <a:lnTo>
                      <a:pt x="116205" y="0"/>
                    </a:lnTo>
                    <a:lnTo>
                      <a:pt x="84772" y="0"/>
                    </a:lnTo>
                    <a:lnTo>
                      <a:pt x="56197" y="18002"/>
                    </a:lnTo>
                    <a:lnTo>
                      <a:pt x="28575" y="28575"/>
                    </a:lnTo>
                    <a:lnTo>
                      <a:pt x="0" y="35147"/>
                    </a:lnTo>
                    <a:lnTo>
                      <a:pt x="6667" y="53340"/>
                    </a:lnTo>
                    <a:lnTo>
                      <a:pt x="0" y="7429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2" name="Freeform: Shape 371">
                <a:extLst>
                  <a:ext uri="{FF2B5EF4-FFF2-40B4-BE49-F238E27FC236}">
                    <a16:creationId xmlns:a16="http://schemas.microsoft.com/office/drawing/2014/main" id="{9CA818AB-38B5-C83C-7B19-94302B41C43C}"/>
                  </a:ext>
                </a:extLst>
              </p:cNvPr>
              <p:cNvSpPr/>
              <p:nvPr/>
            </p:nvSpPr>
            <p:spPr>
              <a:xfrm>
                <a:off x="4004086" y="1429648"/>
                <a:ext cx="1661095" cy="1237287"/>
              </a:xfrm>
              <a:custGeom>
                <a:avLst/>
                <a:gdLst>
                  <a:gd name="connsiteX0" fmla="*/ 1609725 w 1694497"/>
                  <a:gd name="connsiteY0" fmla="*/ 116300 h 1262157"/>
                  <a:gd name="connsiteX1" fmla="*/ 1557338 w 1694497"/>
                  <a:gd name="connsiteY1" fmla="*/ 120110 h 1262157"/>
                  <a:gd name="connsiteX2" fmla="*/ 1528763 w 1694497"/>
                  <a:gd name="connsiteY2" fmla="*/ 147638 h 1262157"/>
                  <a:gd name="connsiteX3" fmla="*/ 1472565 w 1694497"/>
                  <a:gd name="connsiteY3" fmla="*/ 130588 h 1262157"/>
                  <a:gd name="connsiteX4" fmla="*/ 1443990 w 1694497"/>
                  <a:gd name="connsiteY4" fmla="*/ 151543 h 1262157"/>
                  <a:gd name="connsiteX5" fmla="*/ 1395413 w 1694497"/>
                  <a:gd name="connsiteY5" fmla="*/ 180118 h 1262157"/>
                  <a:gd name="connsiteX6" fmla="*/ 1356360 w 1694497"/>
                  <a:gd name="connsiteY6" fmla="*/ 201073 h 1262157"/>
                  <a:gd name="connsiteX7" fmla="*/ 1363027 w 1694497"/>
                  <a:gd name="connsiteY7" fmla="*/ 182975 h 1262157"/>
                  <a:gd name="connsiteX8" fmla="*/ 1419225 w 1694497"/>
                  <a:gd name="connsiteY8" fmla="*/ 144875 h 1262157"/>
                  <a:gd name="connsiteX9" fmla="*/ 1419225 w 1694497"/>
                  <a:gd name="connsiteY9" fmla="*/ 116300 h 1262157"/>
                  <a:gd name="connsiteX10" fmla="*/ 1408748 w 1694497"/>
                  <a:gd name="connsiteY10" fmla="*/ 102013 h 1262157"/>
                  <a:gd name="connsiteX11" fmla="*/ 1377315 w 1694497"/>
                  <a:gd name="connsiteY11" fmla="*/ 102013 h 1262157"/>
                  <a:gd name="connsiteX12" fmla="*/ 1363027 w 1694497"/>
                  <a:gd name="connsiteY12" fmla="*/ 120110 h 1262157"/>
                  <a:gd name="connsiteX13" fmla="*/ 1338263 w 1694497"/>
                  <a:gd name="connsiteY13" fmla="*/ 134398 h 1262157"/>
                  <a:gd name="connsiteX14" fmla="*/ 1292542 w 1694497"/>
                  <a:gd name="connsiteY14" fmla="*/ 144875 h 1262157"/>
                  <a:gd name="connsiteX15" fmla="*/ 1278255 w 1694497"/>
                  <a:gd name="connsiteY15" fmla="*/ 140970 h 1262157"/>
                  <a:gd name="connsiteX16" fmla="*/ 1303020 w 1694497"/>
                  <a:gd name="connsiteY16" fmla="*/ 134398 h 1262157"/>
                  <a:gd name="connsiteX17" fmla="*/ 1327785 w 1694497"/>
                  <a:gd name="connsiteY17" fmla="*/ 116300 h 1262157"/>
                  <a:gd name="connsiteX18" fmla="*/ 1222057 w 1694497"/>
                  <a:gd name="connsiteY18" fmla="*/ 112395 h 1262157"/>
                  <a:gd name="connsiteX19" fmla="*/ 1176338 w 1694497"/>
                  <a:gd name="connsiteY19" fmla="*/ 123825 h 1262157"/>
                  <a:gd name="connsiteX20" fmla="*/ 1190625 w 1694497"/>
                  <a:gd name="connsiteY20" fmla="*/ 102013 h 1262157"/>
                  <a:gd name="connsiteX21" fmla="*/ 1300163 w 1694497"/>
                  <a:gd name="connsiteY21" fmla="*/ 99155 h 1262157"/>
                  <a:gd name="connsiteX22" fmla="*/ 1408748 w 1694497"/>
                  <a:gd name="connsiteY22" fmla="*/ 84868 h 1262157"/>
                  <a:gd name="connsiteX23" fmla="*/ 1433513 w 1694497"/>
                  <a:gd name="connsiteY23" fmla="*/ 66675 h 1262157"/>
                  <a:gd name="connsiteX24" fmla="*/ 1338263 w 1694497"/>
                  <a:gd name="connsiteY24" fmla="*/ 42005 h 1262157"/>
                  <a:gd name="connsiteX25" fmla="*/ 1331595 w 1694497"/>
                  <a:gd name="connsiteY25" fmla="*/ 31433 h 1262157"/>
                  <a:gd name="connsiteX26" fmla="*/ 1313498 w 1694497"/>
                  <a:gd name="connsiteY26" fmla="*/ 21050 h 1262157"/>
                  <a:gd name="connsiteX27" fmla="*/ 1261110 w 1694497"/>
                  <a:gd name="connsiteY27" fmla="*/ 6763 h 1262157"/>
                  <a:gd name="connsiteX28" fmla="*/ 1197292 w 1694497"/>
                  <a:gd name="connsiteY28" fmla="*/ 0 h 1262157"/>
                  <a:gd name="connsiteX29" fmla="*/ 1088707 w 1694497"/>
                  <a:gd name="connsiteY29" fmla="*/ 0 h 1262157"/>
                  <a:gd name="connsiteX30" fmla="*/ 989647 w 1694497"/>
                  <a:gd name="connsiteY30" fmla="*/ 6763 h 1262157"/>
                  <a:gd name="connsiteX31" fmla="*/ 941070 w 1694497"/>
                  <a:gd name="connsiteY31" fmla="*/ 28575 h 1262157"/>
                  <a:gd name="connsiteX32" fmla="*/ 898207 w 1694497"/>
                  <a:gd name="connsiteY32" fmla="*/ 31433 h 1262157"/>
                  <a:gd name="connsiteX33" fmla="*/ 842010 w 1694497"/>
                  <a:gd name="connsiteY33" fmla="*/ 24860 h 1262157"/>
                  <a:gd name="connsiteX34" fmla="*/ 792480 w 1694497"/>
                  <a:gd name="connsiteY34" fmla="*/ 28575 h 1262157"/>
                  <a:gd name="connsiteX35" fmla="*/ 746760 w 1694497"/>
                  <a:gd name="connsiteY35" fmla="*/ 42005 h 1262157"/>
                  <a:gd name="connsiteX36" fmla="*/ 742950 w 1694497"/>
                  <a:gd name="connsiteY36" fmla="*/ 60008 h 1262157"/>
                  <a:gd name="connsiteX37" fmla="*/ 704850 w 1694497"/>
                  <a:gd name="connsiteY37" fmla="*/ 70580 h 1262157"/>
                  <a:gd name="connsiteX38" fmla="*/ 792480 w 1694497"/>
                  <a:gd name="connsiteY38" fmla="*/ 120110 h 1262157"/>
                  <a:gd name="connsiteX39" fmla="*/ 778192 w 1694497"/>
                  <a:gd name="connsiteY39" fmla="*/ 130588 h 1262157"/>
                  <a:gd name="connsiteX40" fmla="*/ 711517 w 1694497"/>
                  <a:gd name="connsiteY40" fmla="*/ 99155 h 1262157"/>
                  <a:gd name="connsiteX41" fmla="*/ 659130 w 1694497"/>
                  <a:gd name="connsiteY41" fmla="*/ 77248 h 1262157"/>
                  <a:gd name="connsiteX42" fmla="*/ 630555 w 1694497"/>
                  <a:gd name="connsiteY42" fmla="*/ 77248 h 1262157"/>
                  <a:gd name="connsiteX43" fmla="*/ 616267 w 1694497"/>
                  <a:gd name="connsiteY43" fmla="*/ 99155 h 1262157"/>
                  <a:gd name="connsiteX44" fmla="*/ 644842 w 1694497"/>
                  <a:gd name="connsiteY44" fmla="*/ 116300 h 1262157"/>
                  <a:gd name="connsiteX45" fmla="*/ 605790 w 1694497"/>
                  <a:gd name="connsiteY45" fmla="*/ 116300 h 1262157"/>
                  <a:gd name="connsiteX46" fmla="*/ 549592 w 1694497"/>
                  <a:gd name="connsiteY46" fmla="*/ 84868 h 1262157"/>
                  <a:gd name="connsiteX47" fmla="*/ 557213 w 1694497"/>
                  <a:gd name="connsiteY47" fmla="*/ 116300 h 1262157"/>
                  <a:gd name="connsiteX48" fmla="*/ 535305 w 1694497"/>
                  <a:gd name="connsiteY48" fmla="*/ 123825 h 1262157"/>
                  <a:gd name="connsiteX49" fmla="*/ 521970 w 1694497"/>
                  <a:gd name="connsiteY49" fmla="*/ 88583 h 1262157"/>
                  <a:gd name="connsiteX50" fmla="*/ 394335 w 1694497"/>
                  <a:gd name="connsiteY50" fmla="*/ 102013 h 1262157"/>
                  <a:gd name="connsiteX51" fmla="*/ 394335 w 1694497"/>
                  <a:gd name="connsiteY51" fmla="*/ 105823 h 1262157"/>
                  <a:gd name="connsiteX52" fmla="*/ 398145 w 1694497"/>
                  <a:gd name="connsiteY52" fmla="*/ 109538 h 1262157"/>
                  <a:gd name="connsiteX53" fmla="*/ 405765 w 1694497"/>
                  <a:gd name="connsiteY53" fmla="*/ 120110 h 1262157"/>
                  <a:gd name="connsiteX54" fmla="*/ 419100 w 1694497"/>
                  <a:gd name="connsiteY54" fmla="*/ 140970 h 1262157"/>
                  <a:gd name="connsiteX55" fmla="*/ 391477 w 1694497"/>
                  <a:gd name="connsiteY55" fmla="*/ 134398 h 1262157"/>
                  <a:gd name="connsiteX56" fmla="*/ 373380 w 1694497"/>
                  <a:gd name="connsiteY56" fmla="*/ 116300 h 1262157"/>
                  <a:gd name="connsiteX57" fmla="*/ 320992 w 1694497"/>
                  <a:gd name="connsiteY57" fmla="*/ 123825 h 1262157"/>
                  <a:gd name="connsiteX58" fmla="*/ 335280 w 1694497"/>
                  <a:gd name="connsiteY58" fmla="*/ 140970 h 1262157"/>
                  <a:gd name="connsiteX59" fmla="*/ 324802 w 1694497"/>
                  <a:gd name="connsiteY59" fmla="*/ 176213 h 1262157"/>
                  <a:gd name="connsiteX60" fmla="*/ 281940 w 1694497"/>
                  <a:gd name="connsiteY60" fmla="*/ 161925 h 1262157"/>
                  <a:gd name="connsiteX61" fmla="*/ 225742 w 1694497"/>
                  <a:gd name="connsiteY61" fmla="*/ 180118 h 1262157"/>
                  <a:gd name="connsiteX62" fmla="*/ 180022 w 1694497"/>
                  <a:gd name="connsiteY62" fmla="*/ 201073 h 1262157"/>
                  <a:gd name="connsiteX63" fmla="*/ 144780 w 1694497"/>
                  <a:gd name="connsiteY63" fmla="*/ 225838 h 1262157"/>
                  <a:gd name="connsiteX64" fmla="*/ 197167 w 1694497"/>
                  <a:gd name="connsiteY64" fmla="*/ 246793 h 1262157"/>
                  <a:gd name="connsiteX65" fmla="*/ 219075 w 1694497"/>
                  <a:gd name="connsiteY65" fmla="*/ 236220 h 1262157"/>
                  <a:gd name="connsiteX66" fmla="*/ 215265 w 1694497"/>
                  <a:gd name="connsiteY66" fmla="*/ 275368 h 1262157"/>
                  <a:gd name="connsiteX67" fmla="*/ 186690 w 1694497"/>
                  <a:gd name="connsiteY67" fmla="*/ 300038 h 1262157"/>
                  <a:gd name="connsiteX68" fmla="*/ 134302 w 1694497"/>
                  <a:gd name="connsiteY68" fmla="*/ 300038 h 1262157"/>
                  <a:gd name="connsiteX69" fmla="*/ 102870 w 1694497"/>
                  <a:gd name="connsiteY69" fmla="*/ 317182 h 1262157"/>
                  <a:gd name="connsiteX70" fmla="*/ 56197 w 1694497"/>
                  <a:gd name="connsiteY70" fmla="*/ 324898 h 1262157"/>
                  <a:gd name="connsiteX71" fmla="*/ 14288 w 1694497"/>
                  <a:gd name="connsiteY71" fmla="*/ 331470 h 1262157"/>
                  <a:gd name="connsiteX72" fmla="*/ 0 w 1694497"/>
                  <a:gd name="connsiteY72" fmla="*/ 345757 h 1262157"/>
                  <a:gd name="connsiteX73" fmla="*/ 14288 w 1694497"/>
                  <a:gd name="connsiteY73" fmla="*/ 362998 h 1262157"/>
                  <a:gd name="connsiteX74" fmla="*/ 70485 w 1694497"/>
                  <a:gd name="connsiteY74" fmla="*/ 387763 h 1262157"/>
                  <a:gd name="connsiteX75" fmla="*/ 109538 w 1694497"/>
                  <a:gd name="connsiteY75" fmla="*/ 395383 h 1262157"/>
                  <a:gd name="connsiteX76" fmla="*/ 148590 w 1694497"/>
                  <a:gd name="connsiteY76" fmla="*/ 391573 h 1262157"/>
                  <a:gd name="connsiteX77" fmla="*/ 180022 w 1694497"/>
                  <a:gd name="connsiteY77" fmla="*/ 391573 h 1262157"/>
                  <a:gd name="connsiteX78" fmla="*/ 176213 w 1694497"/>
                  <a:gd name="connsiteY78" fmla="*/ 405860 h 1262157"/>
                  <a:gd name="connsiteX79" fmla="*/ 105727 w 1694497"/>
                  <a:gd name="connsiteY79" fmla="*/ 412432 h 1262157"/>
                  <a:gd name="connsiteX80" fmla="*/ 53340 w 1694497"/>
                  <a:gd name="connsiteY80" fmla="*/ 412432 h 1262157"/>
                  <a:gd name="connsiteX81" fmla="*/ 42863 w 1694497"/>
                  <a:gd name="connsiteY81" fmla="*/ 422910 h 1262157"/>
                  <a:gd name="connsiteX82" fmla="*/ 74295 w 1694497"/>
                  <a:gd name="connsiteY82" fmla="*/ 441007 h 1262157"/>
                  <a:gd name="connsiteX83" fmla="*/ 109538 w 1694497"/>
                  <a:gd name="connsiteY83" fmla="*/ 441007 h 1262157"/>
                  <a:gd name="connsiteX84" fmla="*/ 134302 w 1694497"/>
                  <a:gd name="connsiteY84" fmla="*/ 443960 h 1262157"/>
                  <a:gd name="connsiteX85" fmla="*/ 120015 w 1694497"/>
                  <a:gd name="connsiteY85" fmla="*/ 451485 h 1262157"/>
                  <a:gd name="connsiteX86" fmla="*/ 91440 w 1694497"/>
                  <a:gd name="connsiteY86" fmla="*/ 462058 h 1262157"/>
                  <a:gd name="connsiteX87" fmla="*/ 134302 w 1694497"/>
                  <a:gd name="connsiteY87" fmla="*/ 479107 h 1262157"/>
                  <a:gd name="connsiteX88" fmla="*/ 165735 w 1694497"/>
                  <a:gd name="connsiteY88" fmla="*/ 486823 h 1262157"/>
                  <a:gd name="connsiteX89" fmla="*/ 176213 w 1694497"/>
                  <a:gd name="connsiteY89" fmla="*/ 479107 h 1262157"/>
                  <a:gd name="connsiteX90" fmla="*/ 186690 w 1694497"/>
                  <a:gd name="connsiteY90" fmla="*/ 465773 h 1262157"/>
                  <a:gd name="connsiteX91" fmla="*/ 207645 w 1694497"/>
                  <a:gd name="connsiteY91" fmla="*/ 483013 h 1262157"/>
                  <a:gd name="connsiteX92" fmla="*/ 242888 w 1694497"/>
                  <a:gd name="connsiteY92" fmla="*/ 468725 h 1262157"/>
                  <a:gd name="connsiteX93" fmla="*/ 260985 w 1694497"/>
                  <a:gd name="connsiteY93" fmla="*/ 462058 h 1262157"/>
                  <a:gd name="connsiteX94" fmla="*/ 345757 w 1694497"/>
                  <a:gd name="connsiteY94" fmla="*/ 483013 h 1262157"/>
                  <a:gd name="connsiteX95" fmla="*/ 398145 w 1694497"/>
                  <a:gd name="connsiteY95" fmla="*/ 501110 h 1262157"/>
                  <a:gd name="connsiteX96" fmla="*/ 401955 w 1694497"/>
                  <a:gd name="connsiteY96" fmla="*/ 518160 h 1262157"/>
                  <a:gd name="connsiteX97" fmla="*/ 419100 w 1694497"/>
                  <a:gd name="connsiteY97" fmla="*/ 539210 h 1262157"/>
                  <a:gd name="connsiteX98" fmla="*/ 464820 w 1694497"/>
                  <a:gd name="connsiteY98" fmla="*/ 585883 h 1262157"/>
                  <a:gd name="connsiteX99" fmla="*/ 507682 w 1694497"/>
                  <a:gd name="connsiteY99" fmla="*/ 666845 h 1262157"/>
                  <a:gd name="connsiteX100" fmla="*/ 482917 w 1694497"/>
                  <a:gd name="connsiteY100" fmla="*/ 702088 h 1262157"/>
                  <a:gd name="connsiteX101" fmla="*/ 482917 w 1694497"/>
                  <a:gd name="connsiteY101" fmla="*/ 729710 h 1262157"/>
                  <a:gd name="connsiteX102" fmla="*/ 521970 w 1694497"/>
                  <a:gd name="connsiteY102" fmla="*/ 726758 h 1262157"/>
                  <a:gd name="connsiteX103" fmla="*/ 535305 w 1694497"/>
                  <a:gd name="connsiteY103" fmla="*/ 704945 h 1262157"/>
                  <a:gd name="connsiteX104" fmla="*/ 563880 w 1694497"/>
                  <a:gd name="connsiteY104" fmla="*/ 722947 h 1262157"/>
                  <a:gd name="connsiteX105" fmla="*/ 581025 w 1694497"/>
                  <a:gd name="connsiteY105" fmla="*/ 729710 h 1262157"/>
                  <a:gd name="connsiteX106" fmla="*/ 605790 w 1694497"/>
                  <a:gd name="connsiteY106" fmla="*/ 758285 h 1262157"/>
                  <a:gd name="connsiteX107" fmla="*/ 602932 w 1694497"/>
                  <a:gd name="connsiteY107" fmla="*/ 779145 h 1262157"/>
                  <a:gd name="connsiteX108" fmla="*/ 560070 w 1694497"/>
                  <a:gd name="connsiteY108" fmla="*/ 764858 h 1262157"/>
                  <a:gd name="connsiteX109" fmla="*/ 521970 w 1694497"/>
                  <a:gd name="connsiteY109" fmla="*/ 768763 h 1262157"/>
                  <a:gd name="connsiteX110" fmla="*/ 545782 w 1694497"/>
                  <a:gd name="connsiteY110" fmla="*/ 783050 h 1262157"/>
                  <a:gd name="connsiteX111" fmla="*/ 581025 w 1694497"/>
                  <a:gd name="connsiteY111" fmla="*/ 803910 h 1262157"/>
                  <a:gd name="connsiteX112" fmla="*/ 620077 w 1694497"/>
                  <a:gd name="connsiteY112" fmla="*/ 803910 h 1262157"/>
                  <a:gd name="connsiteX113" fmla="*/ 626745 w 1694497"/>
                  <a:gd name="connsiteY113" fmla="*/ 822008 h 1262157"/>
                  <a:gd name="connsiteX114" fmla="*/ 605790 w 1694497"/>
                  <a:gd name="connsiteY114" fmla="*/ 843058 h 1262157"/>
                  <a:gd name="connsiteX115" fmla="*/ 605790 w 1694497"/>
                  <a:gd name="connsiteY115" fmla="*/ 881158 h 1262157"/>
                  <a:gd name="connsiteX116" fmla="*/ 613410 w 1694497"/>
                  <a:gd name="connsiteY116" fmla="*/ 917258 h 1262157"/>
                  <a:gd name="connsiteX117" fmla="*/ 609600 w 1694497"/>
                  <a:gd name="connsiteY117" fmla="*/ 920210 h 1262157"/>
                  <a:gd name="connsiteX118" fmla="*/ 602932 w 1694497"/>
                  <a:gd name="connsiteY118" fmla="*/ 920210 h 1262157"/>
                  <a:gd name="connsiteX119" fmla="*/ 591502 w 1694497"/>
                  <a:gd name="connsiteY119" fmla="*/ 917258 h 1262157"/>
                  <a:gd name="connsiteX120" fmla="*/ 560070 w 1694497"/>
                  <a:gd name="connsiteY120" fmla="*/ 909733 h 1262157"/>
                  <a:gd name="connsiteX121" fmla="*/ 549592 w 1694497"/>
                  <a:gd name="connsiteY121" fmla="*/ 909733 h 1262157"/>
                  <a:gd name="connsiteX122" fmla="*/ 532447 w 1694497"/>
                  <a:gd name="connsiteY122" fmla="*/ 930688 h 1262157"/>
                  <a:gd name="connsiteX123" fmla="*/ 535305 w 1694497"/>
                  <a:gd name="connsiteY123" fmla="*/ 952595 h 1262157"/>
                  <a:gd name="connsiteX124" fmla="*/ 557213 w 1694497"/>
                  <a:gd name="connsiteY124" fmla="*/ 952595 h 1262157"/>
                  <a:gd name="connsiteX125" fmla="*/ 549592 w 1694497"/>
                  <a:gd name="connsiteY125" fmla="*/ 962978 h 1262157"/>
                  <a:gd name="connsiteX126" fmla="*/ 535305 w 1694497"/>
                  <a:gd name="connsiteY126" fmla="*/ 987838 h 1262157"/>
                  <a:gd name="connsiteX127" fmla="*/ 549592 w 1694497"/>
                  <a:gd name="connsiteY127" fmla="*/ 1008697 h 1262157"/>
                  <a:gd name="connsiteX128" fmla="*/ 570547 w 1694497"/>
                  <a:gd name="connsiteY128" fmla="*/ 1036415 h 1262157"/>
                  <a:gd name="connsiteX129" fmla="*/ 599122 w 1694497"/>
                  <a:gd name="connsiteY129" fmla="*/ 1058228 h 1262157"/>
                  <a:gd name="connsiteX130" fmla="*/ 623888 w 1694497"/>
                  <a:gd name="connsiteY130" fmla="*/ 1046797 h 1262157"/>
                  <a:gd name="connsiteX131" fmla="*/ 634365 w 1694497"/>
                  <a:gd name="connsiteY131" fmla="*/ 1064990 h 1262157"/>
                  <a:gd name="connsiteX132" fmla="*/ 613410 w 1694497"/>
                  <a:gd name="connsiteY132" fmla="*/ 1089660 h 1262157"/>
                  <a:gd name="connsiteX133" fmla="*/ 613410 w 1694497"/>
                  <a:gd name="connsiteY133" fmla="*/ 1118235 h 1262157"/>
                  <a:gd name="connsiteX134" fmla="*/ 638175 w 1694497"/>
                  <a:gd name="connsiteY134" fmla="*/ 1135475 h 1262157"/>
                  <a:gd name="connsiteX135" fmla="*/ 626745 w 1694497"/>
                  <a:gd name="connsiteY135" fmla="*/ 1153478 h 1262157"/>
                  <a:gd name="connsiteX136" fmla="*/ 659130 w 1694497"/>
                  <a:gd name="connsiteY136" fmla="*/ 1184910 h 1262157"/>
                  <a:gd name="connsiteX137" fmla="*/ 686752 w 1694497"/>
                  <a:gd name="connsiteY137" fmla="*/ 1234440 h 1262157"/>
                  <a:gd name="connsiteX138" fmla="*/ 715327 w 1694497"/>
                  <a:gd name="connsiteY138" fmla="*/ 1224058 h 1262157"/>
                  <a:gd name="connsiteX139" fmla="*/ 732472 w 1694497"/>
                  <a:gd name="connsiteY139" fmla="*/ 1224058 h 1262157"/>
                  <a:gd name="connsiteX140" fmla="*/ 750570 w 1694497"/>
                  <a:gd name="connsiteY140" fmla="*/ 1216438 h 1262157"/>
                  <a:gd name="connsiteX141" fmla="*/ 754380 w 1694497"/>
                  <a:gd name="connsiteY141" fmla="*/ 1237298 h 1262157"/>
                  <a:gd name="connsiteX142" fmla="*/ 782002 w 1694497"/>
                  <a:gd name="connsiteY142" fmla="*/ 1259300 h 1262157"/>
                  <a:gd name="connsiteX143" fmla="*/ 813435 w 1694497"/>
                  <a:gd name="connsiteY143" fmla="*/ 1262158 h 1262157"/>
                  <a:gd name="connsiteX144" fmla="*/ 838200 w 1694497"/>
                  <a:gd name="connsiteY144" fmla="*/ 1209770 h 1262157"/>
                  <a:gd name="connsiteX145" fmla="*/ 848677 w 1694497"/>
                  <a:gd name="connsiteY145" fmla="*/ 1170623 h 1262157"/>
                  <a:gd name="connsiteX146" fmla="*/ 845820 w 1694497"/>
                  <a:gd name="connsiteY146" fmla="*/ 1160240 h 1262157"/>
                  <a:gd name="connsiteX147" fmla="*/ 835342 w 1694497"/>
                  <a:gd name="connsiteY147" fmla="*/ 1145953 h 1262157"/>
                  <a:gd name="connsiteX148" fmla="*/ 856297 w 1694497"/>
                  <a:gd name="connsiteY148" fmla="*/ 1142048 h 1262157"/>
                  <a:gd name="connsiteX149" fmla="*/ 883920 w 1694497"/>
                  <a:gd name="connsiteY149" fmla="*/ 1121188 h 1262157"/>
                  <a:gd name="connsiteX150" fmla="*/ 894397 w 1694497"/>
                  <a:gd name="connsiteY150" fmla="*/ 1093565 h 1262157"/>
                  <a:gd name="connsiteX151" fmla="*/ 887730 w 1694497"/>
                  <a:gd name="connsiteY151" fmla="*/ 1079278 h 1262157"/>
                  <a:gd name="connsiteX152" fmla="*/ 902017 w 1694497"/>
                  <a:gd name="connsiteY152" fmla="*/ 1068800 h 1262157"/>
                  <a:gd name="connsiteX153" fmla="*/ 898207 w 1694497"/>
                  <a:gd name="connsiteY153" fmla="*/ 1043940 h 1262157"/>
                  <a:gd name="connsiteX154" fmla="*/ 912495 w 1694497"/>
                  <a:gd name="connsiteY154" fmla="*/ 1036415 h 1262157"/>
                  <a:gd name="connsiteX155" fmla="*/ 912495 w 1694497"/>
                  <a:gd name="connsiteY155" fmla="*/ 1025938 h 1262157"/>
                  <a:gd name="connsiteX156" fmla="*/ 922972 w 1694497"/>
                  <a:gd name="connsiteY156" fmla="*/ 1015365 h 1262157"/>
                  <a:gd name="connsiteX157" fmla="*/ 962025 w 1694497"/>
                  <a:gd name="connsiteY157" fmla="*/ 1008697 h 1262157"/>
                  <a:gd name="connsiteX158" fmla="*/ 986790 w 1694497"/>
                  <a:gd name="connsiteY158" fmla="*/ 1008697 h 1262157"/>
                  <a:gd name="connsiteX159" fmla="*/ 1024890 w 1694497"/>
                  <a:gd name="connsiteY159" fmla="*/ 994410 h 1262157"/>
                  <a:gd name="connsiteX160" fmla="*/ 1070610 w 1694497"/>
                  <a:gd name="connsiteY160" fmla="*/ 973550 h 1262157"/>
                  <a:gd name="connsiteX161" fmla="*/ 1105852 w 1694497"/>
                  <a:gd name="connsiteY161" fmla="*/ 927735 h 1262157"/>
                  <a:gd name="connsiteX162" fmla="*/ 1130617 w 1694497"/>
                  <a:gd name="connsiteY162" fmla="*/ 905923 h 1262157"/>
                  <a:gd name="connsiteX163" fmla="*/ 1138238 w 1694497"/>
                  <a:gd name="connsiteY163" fmla="*/ 892588 h 1262157"/>
                  <a:gd name="connsiteX164" fmla="*/ 1159192 w 1694497"/>
                  <a:gd name="connsiteY164" fmla="*/ 902970 h 1262157"/>
                  <a:gd name="connsiteX165" fmla="*/ 1190625 w 1694497"/>
                  <a:gd name="connsiteY165" fmla="*/ 895445 h 1262157"/>
                  <a:gd name="connsiteX166" fmla="*/ 1296352 w 1694497"/>
                  <a:gd name="connsiteY166" fmla="*/ 874395 h 1262157"/>
                  <a:gd name="connsiteX167" fmla="*/ 1324927 w 1694497"/>
                  <a:gd name="connsiteY167" fmla="*/ 853535 h 1262157"/>
                  <a:gd name="connsiteX168" fmla="*/ 1391602 w 1694497"/>
                  <a:gd name="connsiteY168" fmla="*/ 814483 h 1262157"/>
                  <a:gd name="connsiteX169" fmla="*/ 1416367 w 1694497"/>
                  <a:gd name="connsiteY169" fmla="*/ 800195 h 1262157"/>
                  <a:gd name="connsiteX170" fmla="*/ 1370648 w 1694497"/>
                  <a:gd name="connsiteY170" fmla="*/ 797338 h 1262157"/>
                  <a:gd name="connsiteX171" fmla="*/ 1331595 w 1694497"/>
                  <a:gd name="connsiteY171" fmla="*/ 786860 h 1262157"/>
                  <a:gd name="connsiteX172" fmla="*/ 1321117 w 1694497"/>
                  <a:gd name="connsiteY172" fmla="*/ 762095 h 1262157"/>
                  <a:gd name="connsiteX173" fmla="*/ 1321117 w 1694497"/>
                  <a:gd name="connsiteY173" fmla="*/ 729710 h 1262157"/>
                  <a:gd name="connsiteX174" fmla="*/ 1331595 w 1694497"/>
                  <a:gd name="connsiteY174" fmla="*/ 733520 h 1262157"/>
                  <a:gd name="connsiteX175" fmla="*/ 1356360 w 1694497"/>
                  <a:gd name="connsiteY175" fmla="*/ 758285 h 1262157"/>
                  <a:gd name="connsiteX176" fmla="*/ 1391602 w 1694497"/>
                  <a:gd name="connsiteY176" fmla="*/ 783050 h 1262157"/>
                  <a:gd name="connsiteX177" fmla="*/ 1426845 w 1694497"/>
                  <a:gd name="connsiteY177" fmla="*/ 786860 h 1262157"/>
                  <a:gd name="connsiteX178" fmla="*/ 1416367 w 1694497"/>
                  <a:gd name="connsiteY178" fmla="*/ 722947 h 1262157"/>
                  <a:gd name="connsiteX179" fmla="*/ 1366838 w 1694497"/>
                  <a:gd name="connsiteY179" fmla="*/ 691610 h 1262157"/>
                  <a:gd name="connsiteX180" fmla="*/ 1363027 w 1694497"/>
                  <a:gd name="connsiteY180" fmla="*/ 680085 h 1262157"/>
                  <a:gd name="connsiteX181" fmla="*/ 1377315 w 1694497"/>
                  <a:gd name="connsiteY181" fmla="*/ 680085 h 1262157"/>
                  <a:gd name="connsiteX182" fmla="*/ 1408748 w 1694497"/>
                  <a:gd name="connsiteY182" fmla="*/ 704945 h 1262157"/>
                  <a:gd name="connsiteX183" fmla="*/ 1416367 w 1694497"/>
                  <a:gd name="connsiteY183" fmla="*/ 673513 h 1262157"/>
                  <a:gd name="connsiteX184" fmla="*/ 1408748 w 1694497"/>
                  <a:gd name="connsiteY184" fmla="*/ 656272 h 1262157"/>
                  <a:gd name="connsiteX185" fmla="*/ 1352550 w 1694497"/>
                  <a:gd name="connsiteY185" fmla="*/ 656272 h 1262157"/>
                  <a:gd name="connsiteX186" fmla="*/ 1331595 w 1694497"/>
                  <a:gd name="connsiteY186" fmla="*/ 634460 h 1262157"/>
                  <a:gd name="connsiteX187" fmla="*/ 1352550 w 1694497"/>
                  <a:gd name="connsiteY187" fmla="*/ 623983 h 1262157"/>
                  <a:gd name="connsiteX188" fmla="*/ 1391602 w 1694497"/>
                  <a:gd name="connsiteY188" fmla="*/ 627697 h 1262157"/>
                  <a:gd name="connsiteX189" fmla="*/ 1429702 w 1694497"/>
                  <a:gd name="connsiteY189" fmla="*/ 627697 h 1262157"/>
                  <a:gd name="connsiteX190" fmla="*/ 1462088 w 1694497"/>
                  <a:gd name="connsiteY190" fmla="*/ 617220 h 1262157"/>
                  <a:gd name="connsiteX191" fmla="*/ 1454467 w 1694497"/>
                  <a:gd name="connsiteY191" fmla="*/ 592550 h 1262157"/>
                  <a:gd name="connsiteX192" fmla="*/ 1476375 w 1694497"/>
                  <a:gd name="connsiteY192" fmla="*/ 588645 h 1262157"/>
                  <a:gd name="connsiteX193" fmla="*/ 1497330 w 1694497"/>
                  <a:gd name="connsiteY193" fmla="*/ 578263 h 1262157"/>
                  <a:gd name="connsiteX194" fmla="*/ 1497330 w 1694497"/>
                  <a:gd name="connsiteY194" fmla="*/ 571595 h 1262157"/>
                  <a:gd name="connsiteX195" fmla="*/ 1489710 w 1694497"/>
                  <a:gd name="connsiteY195" fmla="*/ 563975 h 1262157"/>
                  <a:gd name="connsiteX196" fmla="*/ 1479232 w 1694497"/>
                  <a:gd name="connsiteY196" fmla="*/ 549688 h 1262157"/>
                  <a:gd name="connsiteX197" fmla="*/ 1458277 w 1694497"/>
                  <a:gd name="connsiteY197" fmla="*/ 525875 h 1262157"/>
                  <a:gd name="connsiteX198" fmla="*/ 1493520 w 1694497"/>
                  <a:gd name="connsiteY198" fmla="*/ 521970 h 1262157"/>
                  <a:gd name="connsiteX199" fmla="*/ 1497330 w 1694497"/>
                  <a:gd name="connsiteY199" fmla="*/ 493395 h 1262157"/>
                  <a:gd name="connsiteX200" fmla="*/ 1468755 w 1694497"/>
                  <a:gd name="connsiteY200" fmla="*/ 472535 h 1262157"/>
                  <a:gd name="connsiteX201" fmla="*/ 1433513 w 1694497"/>
                  <a:gd name="connsiteY201" fmla="*/ 462058 h 1262157"/>
                  <a:gd name="connsiteX202" fmla="*/ 1433513 w 1694497"/>
                  <a:gd name="connsiteY202" fmla="*/ 437198 h 1262157"/>
                  <a:gd name="connsiteX203" fmla="*/ 1472565 w 1694497"/>
                  <a:gd name="connsiteY203" fmla="*/ 430625 h 1262157"/>
                  <a:gd name="connsiteX204" fmla="*/ 1489710 w 1694497"/>
                  <a:gd name="connsiteY204" fmla="*/ 443960 h 1262157"/>
                  <a:gd name="connsiteX205" fmla="*/ 1511617 w 1694497"/>
                  <a:gd name="connsiteY205" fmla="*/ 458248 h 1262157"/>
                  <a:gd name="connsiteX206" fmla="*/ 1514475 w 1694497"/>
                  <a:gd name="connsiteY206" fmla="*/ 455295 h 1262157"/>
                  <a:gd name="connsiteX207" fmla="*/ 1522095 w 1694497"/>
                  <a:gd name="connsiteY207" fmla="*/ 441007 h 1262157"/>
                  <a:gd name="connsiteX208" fmla="*/ 1528763 w 1694497"/>
                  <a:gd name="connsiteY208" fmla="*/ 420148 h 1262157"/>
                  <a:gd name="connsiteX209" fmla="*/ 1503998 w 1694497"/>
                  <a:gd name="connsiteY209" fmla="*/ 412432 h 1262157"/>
                  <a:gd name="connsiteX210" fmla="*/ 1479232 w 1694497"/>
                  <a:gd name="connsiteY210" fmla="*/ 402050 h 1262157"/>
                  <a:gd name="connsiteX211" fmla="*/ 1476375 w 1694497"/>
                  <a:gd name="connsiteY211" fmla="*/ 398145 h 1262157"/>
                  <a:gd name="connsiteX212" fmla="*/ 1472565 w 1694497"/>
                  <a:gd name="connsiteY212" fmla="*/ 395383 h 1262157"/>
                  <a:gd name="connsiteX213" fmla="*/ 1472565 w 1694497"/>
                  <a:gd name="connsiteY213" fmla="*/ 387763 h 1262157"/>
                  <a:gd name="connsiteX214" fmla="*/ 1493520 w 1694497"/>
                  <a:gd name="connsiteY214" fmla="*/ 373475 h 1262157"/>
                  <a:gd name="connsiteX215" fmla="*/ 1447800 w 1694497"/>
                  <a:gd name="connsiteY215" fmla="*/ 370523 h 1262157"/>
                  <a:gd name="connsiteX216" fmla="*/ 1429702 w 1694497"/>
                  <a:gd name="connsiteY216" fmla="*/ 366808 h 1262157"/>
                  <a:gd name="connsiteX217" fmla="*/ 1447800 w 1694497"/>
                  <a:gd name="connsiteY217" fmla="*/ 317182 h 1262157"/>
                  <a:gd name="connsiteX218" fmla="*/ 1483042 w 1694497"/>
                  <a:gd name="connsiteY218" fmla="*/ 300038 h 1262157"/>
                  <a:gd name="connsiteX219" fmla="*/ 1486852 w 1694497"/>
                  <a:gd name="connsiteY219" fmla="*/ 267748 h 1262157"/>
                  <a:gd name="connsiteX220" fmla="*/ 1528763 w 1694497"/>
                  <a:gd name="connsiteY220" fmla="*/ 257175 h 1262157"/>
                  <a:gd name="connsiteX221" fmla="*/ 1543050 w 1694497"/>
                  <a:gd name="connsiteY221" fmla="*/ 242888 h 1262157"/>
                  <a:gd name="connsiteX222" fmla="*/ 1524952 w 1694497"/>
                  <a:gd name="connsiteY222" fmla="*/ 242888 h 1262157"/>
                  <a:gd name="connsiteX223" fmla="*/ 1479232 w 1694497"/>
                  <a:gd name="connsiteY223" fmla="*/ 246793 h 1262157"/>
                  <a:gd name="connsiteX224" fmla="*/ 1464945 w 1694497"/>
                  <a:gd name="connsiteY224" fmla="*/ 232505 h 1262157"/>
                  <a:gd name="connsiteX225" fmla="*/ 1497330 w 1694497"/>
                  <a:gd name="connsiteY225" fmla="*/ 225838 h 1262157"/>
                  <a:gd name="connsiteX226" fmla="*/ 1564005 w 1694497"/>
                  <a:gd name="connsiteY226" fmla="*/ 229648 h 1262157"/>
                  <a:gd name="connsiteX227" fmla="*/ 1578292 w 1694497"/>
                  <a:gd name="connsiteY227" fmla="*/ 215360 h 1262157"/>
                  <a:gd name="connsiteX228" fmla="*/ 1532573 w 1694497"/>
                  <a:gd name="connsiteY228" fmla="*/ 211550 h 1262157"/>
                  <a:gd name="connsiteX229" fmla="*/ 1500188 w 1694497"/>
                  <a:gd name="connsiteY229" fmla="*/ 204788 h 1262157"/>
                  <a:gd name="connsiteX230" fmla="*/ 1535430 w 1694497"/>
                  <a:gd name="connsiteY230" fmla="*/ 194405 h 1262157"/>
                  <a:gd name="connsiteX231" fmla="*/ 1595438 w 1694497"/>
                  <a:gd name="connsiteY231" fmla="*/ 194405 h 1262157"/>
                  <a:gd name="connsiteX232" fmla="*/ 1613535 w 1694497"/>
                  <a:gd name="connsiteY232" fmla="*/ 186785 h 1262157"/>
                  <a:gd name="connsiteX233" fmla="*/ 1624013 w 1694497"/>
                  <a:gd name="connsiteY233" fmla="*/ 172498 h 1262157"/>
                  <a:gd name="connsiteX234" fmla="*/ 1669732 w 1694497"/>
                  <a:gd name="connsiteY234" fmla="*/ 159163 h 1262157"/>
                  <a:gd name="connsiteX235" fmla="*/ 1694498 w 1694497"/>
                  <a:gd name="connsiteY235" fmla="*/ 140970 h 1262157"/>
                  <a:gd name="connsiteX236" fmla="*/ 1665923 w 1694497"/>
                  <a:gd name="connsiteY236" fmla="*/ 123825 h 1262157"/>
                  <a:gd name="connsiteX237" fmla="*/ 1609725 w 1694497"/>
                  <a:gd name="connsiteY237" fmla="*/ 116300 h 1262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</a:cxnLst>
                <a:rect l="l" t="t" r="r" b="b"/>
                <a:pathLst>
                  <a:path w="1694497" h="1262157">
                    <a:moveTo>
                      <a:pt x="1609725" y="116300"/>
                    </a:moveTo>
                    <a:lnTo>
                      <a:pt x="1557338" y="120110"/>
                    </a:lnTo>
                    <a:lnTo>
                      <a:pt x="1528763" y="147638"/>
                    </a:lnTo>
                    <a:lnTo>
                      <a:pt x="1472565" y="130588"/>
                    </a:lnTo>
                    <a:lnTo>
                      <a:pt x="1443990" y="151543"/>
                    </a:lnTo>
                    <a:lnTo>
                      <a:pt x="1395413" y="180118"/>
                    </a:lnTo>
                    <a:lnTo>
                      <a:pt x="1356360" y="201073"/>
                    </a:lnTo>
                    <a:lnTo>
                      <a:pt x="1363027" y="182975"/>
                    </a:lnTo>
                    <a:lnTo>
                      <a:pt x="1419225" y="144875"/>
                    </a:lnTo>
                    <a:lnTo>
                      <a:pt x="1419225" y="116300"/>
                    </a:lnTo>
                    <a:lnTo>
                      <a:pt x="1408748" y="102013"/>
                    </a:lnTo>
                    <a:lnTo>
                      <a:pt x="1377315" y="102013"/>
                    </a:lnTo>
                    <a:lnTo>
                      <a:pt x="1363027" y="120110"/>
                    </a:lnTo>
                    <a:lnTo>
                      <a:pt x="1338263" y="134398"/>
                    </a:lnTo>
                    <a:lnTo>
                      <a:pt x="1292542" y="144875"/>
                    </a:lnTo>
                    <a:lnTo>
                      <a:pt x="1278255" y="140970"/>
                    </a:lnTo>
                    <a:lnTo>
                      <a:pt x="1303020" y="134398"/>
                    </a:lnTo>
                    <a:lnTo>
                      <a:pt x="1327785" y="116300"/>
                    </a:lnTo>
                    <a:lnTo>
                      <a:pt x="1222057" y="112395"/>
                    </a:lnTo>
                    <a:lnTo>
                      <a:pt x="1176338" y="123825"/>
                    </a:lnTo>
                    <a:lnTo>
                      <a:pt x="1190625" y="102013"/>
                    </a:lnTo>
                    <a:lnTo>
                      <a:pt x="1300163" y="99155"/>
                    </a:lnTo>
                    <a:lnTo>
                      <a:pt x="1408748" y="84868"/>
                    </a:lnTo>
                    <a:lnTo>
                      <a:pt x="1433513" y="66675"/>
                    </a:lnTo>
                    <a:lnTo>
                      <a:pt x="1338263" y="42005"/>
                    </a:lnTo>
                    <a:lnTo>
                      <a:pt x="1331595" y="31433"/>
                    </a:lnTo>
                    <a:lnTo>
                      <a:pt x="1313498" y="21050"/>
                    </a:lnTo>
                    <a:lnTo>
                      <a:pt x="1261110" y="6763"/>
                    </a:lnTo>
                    <a:lnTo>
                      <a:pt x="1197292" y="0"/>
                    </a:lnTo>
                    <a:lnTo>
                      <a:pt x="1088707" y="0"/>
                    </a:lnTo>
                    <a:lnTo>
                      <a:pt x="989647" y="6763"/>
                    </a:lnTo>
                    <a:lnTo>
                      <a:pt x="941070" y="28575"/>
                    </a:lnTo>
                    <a:lnTo>
                      <a:pt x="898207" y="31433"/>
                    </a:lnTo>
                    <a:lnTo>
                      <a:pt x="842010" y="24860"/>
                    </a:lnTo>
                    <a:lnTo>
                      <a:pt x="792480" y="28575"/>
                    </a:lnTo>
                    <a:lnTo>
                      <a:pt x="746760" y="42005"/>
                    </a:lnTo>
                    <a:lnTo>
                      <a:pt x="742950" y="60008"/>
                    </a:lnTo>
                    <a:lnTo>
                      <a:pt x="704850" y="70580"/>
                    </a:lnTo>
                    <a:lnTo>
                      <a:pt x="792480" y="120110"/>
                    </a:lnTo>
                    <a:lnTo>
                      <a:pt x="778192" y="130588"/>
                    </a:lnTo>
                    <a:lnTo>
                      <a:pt x="711517" y="99155"/>
                    </a:lnTo>
                    <a:lnTo>
                      <a:pt x="659130" y="77248"/>
                    </a:lnTo>
                    <a:lnTo>
                      <a:pt x="630555" y="77248"/>
                    </a:lnTo>
                    <a:lnTo>
                      <a:pt x="616267" y="99155"/>
                    </a:lnTo>
                    <a:lnTo>
                      <a:pt x="644842" y="116300"/>
                    </a:lnTo>
                    <a:lnTo>
                      <a:pt x="605790" y="116300"/>
                    </a:lnTo>
                    <a:lnTo>
                      <a:pt x="549592" y="84868"/>
                    </a:lnTo>
                    <a:lnTo>
                      <a:pt x="557213" y="116300"/>
                    </a:lnTo>
                    <a:lnTo>
                      <a:pt x="535305" y="123825"/>
                    </a:lnTo>
                    <a:lnTo>
                      <a:pt x="521970" y="88583"/>
                    </a:lnTo>
                    <a:lnTo>
                      <a:pt x="394335" y="102013"/>
                    </a:lnTo>
                    <a:lnTo>
                      <a:pt x="394335" y="105823"/>
                    </a:lnTo>
                    <a:lnTo>
                      <a:pt x="398145" y="109538"/>
                    </a:lnTo>
                    <a:lnTo>
                      <a:pt x="405765" y="120110"/>
                    </a:lnTo>
                    <a:lnTo>
                      <a:pt x="419100" y="140970"/>
                    </a:lnTo>
                    <a:lnTo>
                      <a:pt x="391477" y="134398"/>
                    </a:lnTo>
                    <a:lnTo>
                      <a:pt x="373380" y="116300"/>
                    </a:lnTo>
                    <a:lnTo>
                      <a:pt x="320992" y="123825"/>
                    </a:lnTo>
                    <a:lnTo>
                      <a:pt x="335280" y="140970"/>
                    </a:lnTo>
                    <a:lnTo>
                      <a:pt x="324802" y="176213"/>
                    </a:lnTo>
                    <a:lnTo>
                      <a:pt x="281940" y="161925"/>
                    </a:lnTo>
                    <a:lnTo>
                      <a:pt x="225742" y="180118"/>
                    </a:lnTo>
                    <a:lnTo>
                      <a:pt x="180022" y="201073"/>
                    </a:lnTo>
                    <a:lnTo>
                      <a:pt x="144780" y="225838"/>
                    </a:lnTo>
                    <a:lnTo>
                      <a:pt x="197167" y="246793"/>
                    </a:lnTo>
                    <a:lnTo>
                      <a:pt x="219075" y="236220"/>
                    </a:lnTo>
                    <a:lnTo>
                      <a:pt x="215265" y="275368"/>
                    </a:lnTo>
                    <a:lnTo>
                      <a:pt x="186690" y="300038"/>
                    </a:lnTo>
                    <a:lnTo>
                      <a:pt x="134302" y="300038"/>
                    </a:lnTo>
                    <a:lnTo>
                      <a:pt x="102870" y="317182"/>
                    </a:lnTo>
                    <a:lnTo>
                      <a:pt x="56197" y="324898"/>
                    </a:lnTo>
                    <a:lnTo>
                      <a:pt x="14288" y="331470"/>
                    </a:lnTo>
                    <a:lnTo>
                      <a:pt x="0" y="345757"/>
                    </a:lnTo>
                    <a:lnTo>
                      <a:pt x="14288" y="362998"/>
                    </a:lnTo>
                    <a:lnTo>
                      <a:pt x="70485" y="387763"/>
                    </a:lnTo>
                    <a:lnTo>
                      <a:pt x="109538" y="395383"/>
                    </a:lnTo>
                    <a:lnTo>
                      <a:pt x="148590" y="391573"/>
                    </a:lnTo>
                    <a:lnTo>
                      <a:pt x="180022" y="391573"/>
                    </a:lnTo>
                    <a:lnTo>
                      <a:pt x="176213" y="405860"/>
                    </a:lnTo>
                    <a:lnTo>
                      <a:pt x="105727" y="412432"/>
                    </a:lnTo>
                    <a:lnTo>
                      <a:pt x="53340" y="412432"/>
                    </a:lnTo>
                    <a:lnTo>
                      <a:pt x="42863" y="422910"/>
                    </a:lnTo>
                    <a:lnTo>
                      <a:pt x="74295" y="441007"/>
                    </a:lnTo>
                    <a:lnTo>
                      <a:pt x="109538" y="441007"/>
                    </a:lnTo>
                    <a:lnTo>
                      <a:pt x="134302" y="443960"/>
                    </a:lnTo>
                    <a:lnTo>
                      <a:pt x="120015" y="451485"/>
                    </a:lnTo>
                    <a:lnTo>
                      <a:pt x="91440" y="462058"/>
                    </a:lnTo>
                    <a:lnTo>
                      <a:pt x="134302" y="479107"/>
                    </a:lnTo>
                    <a:lnTo>
                      <a:pt x="165735" y="486823"/>
                    </a:lnTo>
                    <a:lnTo>
                      <a:pt x="176213" y="479107"/>
                    </a:lnTo>
                    <a:lnTo>
                      <a:pt x="186690" y="465773"/>
                    </a:lnTo>
                    <a:lnTo>
                      <a:pt x="207645" y="483013"/>
                    </a:lnTo>
                    <a:lnTo>
                      <a:pt x="242888" y="468725"/>
                    </a:lnTo>
                    <a:lnTo>
                      <a:pt x="260985" y="462058"/>
                    </a:lnTo>
                    <a:lnTo>
                      <a:pt x="345757" y="483013"/>
                    </a:lnTo>
                    <a:lnTo>
                      <a:pt x="398145" y="501110"/>
                    </a:lnTo>
                    <a:lnTo>
                      <a:pt x="401955" y="518160"/>
                    </a:lnTo>
                    <a:lnTo>
                      <a:pt x="419100" y="539210"/>
                    </a:lnTo>
                    <a:lnTo>
                      <a:pt x="464820" y="585883"/>
                    </a:lnTo>
                    <a:lnTo>
                      <a:pt x="507682" y="666845"/>
                    </a:lnTo>
                    <a:lnTo>
                      <a:pt x="482917" y="702088"/>
                    </a:lnTo>
                    <a:lnTo>
                      <a:pt x="482917" y="729710"/>
                    </a:lnTo>
                    <a:lnTo>
                      <a:pt x="521970" y="726758"/>
                    </a:lnTo>
                    <a:lnTo>
                      <a:pt x="535305" y="704945"/>
                    </a:lnTo>
                    <a:lnTo>
                      <a:pt x="563880" y="722947"/>
                    </a:lnTo>
                    <a:lnTo>
                      <a:pt x="581025" y="729710"/>
                    </a:lnTo>
                    <a:lnTo>
                      <a:pt x="605790" y="758285"/>
                    </a:lnTo>
                    <a:lnTo>
                      <a:pt x="602932" y="779145"/>
                    </a:lnTo>
                    <a:lnTo>
                      <a:pt x="560070" y="764858"/>
                    </a:lnTo>
                    <a:lnTo>
                      <a:pt x="521970" y="768763"/>
                    </a:lnTo>
                    <a:lnTo>
                      <a:pt x="545782" y="783050"/>
                    </a:lnTo>
                    <a:lnTo>
                      <a:pt x="581025" y="803910"/>
                    </a:lnTo>
                    <a:lnTo>
                      <a:pt x="620077" y="803910"/>
                    </a:lnTo>
                    <a:lnTo>
                      <a:pt x="626745" y="822008"/>
                    </a:lnTo>
                    <a:lnTo>
                      <a:pt x="605790" y="843058"/>
                    </a:lnTo>
                    <a:lnTo>
                      <a:pt x="605790" y="881158"/>
                    </a:lnTo>
                    <a:lnTo>
                      <a:pt x="613410" y="917258"/>
                    </a:lnTo>
                    <a:lnTo>
                      <a:pt x="609600" y="920210"/>
                    </a:lnTo>
                    <a:lnTo>
                      <a:pt x="602932" y="920210"/>
                    </a:lnTo>
                    <a:lnTo>
                      <a:pt x="591502" y="917258"/>
                    </a:lnTo>
                    <a:lnTo>
                      <a:pt x="560070" y="909733"/>
                    </a:lnTo>
                    <a:lnTo>
                      <a:pt x="549592" y="909733"/>
                    </a:lnTo>
                    <a:lnTo>
                      <a:pt x="532447" y="930688"/>
                    </a:lnTo>
                    <a:lnTo>
                      <a:pt x="535305" y="952595"/>
                    </a:lnTo>
                    <a:lnTo>
                      <a:pt x="557213" y="952595"/>
                    </a:lnTo>
                    <a:lnTo>
                      <a:pt x="549592" y="962978"/>
                    </a:lnTo>
                    <a:lnTo>
                      <a:pt x="535305" y="987838"/>
                    </a:lnTo>
                    <a:lnTo>
                      <a:pt x="549592" y="1008697"/>
                    </a:lnTo>
                    <a:lnTo>
                      <a:pt x="570547" y="1036415"/>
                    </a:lnTo>
                    <a:lnTo>
                      <a:pt x="599122" y="1058228"/>
                    </a:lnTo>
                    <a:lnTo>
                      <a:pt x="623888" y="1046797"/>
                    </a:lnTo>
                    <a:lnTo>
                      <a:pt x="634365" y="1064990"/>
                    </a:lnTo>
                    <a:lnTo>
                      <a:pt x="613410" y="1089660"/>
                    </a:lnTo>
                    <a:lnTo>
                      <a:pt x="613410" y="1118235"/>
                    </a:lnTo>
                    <a:lnTo>
                      <a:pt x="638175" y="1135475"/>
                    </a:lnTo>
                    <a:lnTo>
                      <a:pt x="626745" y="1153478"/>
                    </a:lnTo>
                    <a:lnTo>
                      <a:pt x="659130" y="1184910"/>
                    </a:lnTo>
                    <a:lnTo>
                      <a:pt x="686752" y="1234440"/>
                    </a:lnTo>
                    <a:lnTo>
                      <a:pt x="715327" y="1224058"/>
                    </a:lnTo>
                    <a:lnTo>
                      <a:pt x="732472" y="1224058"/>
                    </a:lnTo>
                    <a:lnTo>
                      <a:pt x="750570" y="1216438"/>
                    </a:lnTo>
                    <a:lnTo>
                      <a:pt x="754380" y="1237298"/>
                    </a:lnTo>
                    <a:lnTo>
                      <a:pt x="782002" y="1259300"/>
                    </a:lnTo>
                    <a:lnTo>
                      <a:pt x="813435" y="1262158"/>
                    </a:lnTo>
                    <a:lnTo>
                      <a:pt x="838200" y="1209770"/>
                    </a:lnTo>
                    <a:lnTo>
                      <a:pt x="848677" y="1170623"/>
                    </a:lnTo>
                    <a:lnTo>
                      <a:pt x="845820" y="1160240"/>
                    </a:lnTo>
                    <a:lnTo>
                      <a:pt x="835342" y="1145953"/>
                    </a:lnTo>
                    <a:lnTo>
                      <a:pt x="856297" y="1142048"/>
                    </a:lnTo>
                    <a:lnTo>
                      <a:pt x="883920" y="1121188"/>
                    </a:lnTo>
                    <a:lnTo>
                      <a:pt x="894397" y="1093565"/>
                    </a:lnTo>
                    <a:lnTo>
                      <a:pt x="887730" y="1079278"/>
                    </a:lnTo>
                    <a:lnTo>
                      <a:pt x="902017" y="1068800"/>
                    </a:lnTo>
                    <a:lnTo>
                      <a:pt x="898207" y="1043940"/>
                    </a:lnTo>
                    <a:lnTo>
                      <a:pt x="912495" y="1036415"/>
                    </a:lnTo>
                    <a:lnTo>
                      <a:pt x="912495" y="1025938"/>
                    </a:lnTo>
                    <a:lnTo>
                      <a:pt x="922972" y="1015365"/>
                    </a:lnTo>
                    <a:lnTo>
                      <a:pt x="962025" y="1008697"/>
                    </a:lnTo>
                    <a:lnTo>
                      <a:pt x="986790" y="1008697"/>
                    </a:lnTo>
                    <a:lnTo>
                      <a:pt x="1024890" y="994410"/>
                    </a:lnTo>
                    <a:lnTo>
                      <a:pt x="1070610" y="973550"/>
                    </a:lnTo>
                    <a:lnTo>
                      <a:pt x="1105852" y="927735"/>
                    </a:lnTo>
                    <a:lnTo>
                      <a:pt x="1130617" y="905923"/>
                    </a:lnTo>
                    <a:lnTo>
                      <a:pt x="1138238" y="892588"/>
                    </a:lnTo>
                    <a:lnTo>
                      <a:pt x="1159192" y="902970"/>
                    </a:lnTo>
                    <a:lnTo>
                      <a:pt x="1190625" y="895445"/>
                    </a:lnTo>
                    <a:lnTo>
                      <a:pt x="1296352" y="874395"/>
                    </a:lnTo>
                    <a:lnTo>
                      <a:pt x="1324927" y="853535"/>
                    </a:lnTo>
                    <a:lnTo>
                      <a:pt x="1391602" y="814483"/>
                    </a:lnTo>
                    <a:lnTo>
                      <a:pt x="1416367" y="800195"/>
                    </a:lnTo>
                    <a:lnTo>
                      <a:pt x="1370648" y="797338"/>
                    </a:lnTo>
                    <a:lnTo>
                      <a:pt x="1331595" y="786860"/>
                    </a:lnTo>
                    <a:lnTo>
                      <a:pt x="1321117" y="762095"/>
                    </a:lnTo>
                    <a:lnTo>
                      <a:pt x="1321117" y="729710"/>
                    </a:lnTo>
                    <a:lnTo>
                      <a:pt x="1331595" y="733520"/>
                    </a:lnTo>
                    <a:lnTo>
                      <a:pt x="1356360" y="758285"/>
                    </a:lnTo>
                    <a:lnTo>
                      <a:pt x="1391602" y="783050"/>
                    </a:lnTo>
                    <a:lnTo>
                      <a:pt x="1426845" y="786860"/>
                    </a:lnTo>
                    <a:lnTo>
                      <a:pt x="1416367" y="722947"/>
                    </a:lnTo>
                    <a:lnTo>
                      <a:pt x="1366838" y="691610"/>
                    </a:lnTo>
                    <a:lnTo>
                      <a:pt x="1363027" y="680085"/>
                    </a:lnTo>
                    <a:lnTo>
                      <a:pt x="1377315" y="680085"/>
                    </a:lnTo>
                    <a:lnTo>
                      <a:pt x="1408748" y="704945"/>
                    </a:lnTo>
                    <a:lnTo>
                      <a:pt x="1416367" y="673513"/>
                    </a:lnTo>
                    <a:lnTo>
                      <a:pt x="1408748" y="656272"/>
                    </a:lnTo>
                    <a:lnTo>
                      <a:pt x="1352550" y="656272"/>
                    </a:lnTo>
                    <a:lnTo>
                      <a:pt x="1331595" y="634460"/>
                    </a:lnTo>
                    <a:lnTo>
                      <a:pt x="1352550" y="623983"/>
                    </a:lnTo>
                    <a:lnTo>
                      <a:pt x="1391602" y="627697"/>
                    </a:lnTo>
                    <a:lnTo>
                      <a:pt x="1429702" y="627697"/>
                    </a:lnTo>
                    <a:lnTo>
                      <a:pt x="1462088" y="617220"/>
                    </a:lnTo>
                    <a:lnTo>
                      <a:pt x="1454467" y="592550"/>
                    </a:lnTo>
                    <a:lnTo>
                      <a:pt x="1476375" y="588645"/>
                    </a:lnTo>
                    <a:lnTo>
                      <a:pt x="1497330" y="578263"/>
                    </a:lnTo>
                    <a:lnTo>
                      <a:pt x="1497330" y="571595"/>
                    </a:lnTo>
                    <a:lnTo>
                      <a:pt x="1489710" y="563975"/>
                    </a:lnTo>
                    <a:lnTo>
                      <a:pt x="1479232" y="549688"/>
                    </a:lnTo>
                    <a:lnTo>
                      <a:pt x="1458277" y="525875"/>
                    </a:lnTo>
                    <a:lnTo>
                      <a:pt x="1493520" y="521970"/>
                    </a:lnTo>
                    <a:lnTo>
                      <a:pt x="1497330" y="493395"/>
                    </a:lnTo>
                    <a:lnTo>
                      <a:pt x="1468755" y="472535"/>
                    </a:lnTo>
                    <a:lnTo>
                      <a:pt x="1433513" y="462058"/>
                    </a:lnTo>
                    <a:lnTo>
                      <a:pt x="1433513" y="437198"/>
                    </a:lnTo>
                    <a:lnTo>
                      <a:pt x="1472565" y="430625"/>
                    </a:lnTo>
                    <a:lnTo>
                      <a:pt x="1489710" y="443960"/>
                    </a:lnTo>
                    <a:lnTo>
                      <a:pt x="1511617" y="458248"/>
                    </a:lnTo>
                    <a:lnTo>
                      <a:pt x="1514475" y="455295"/>
                    </a:lnTo>
                    <a:lnTo>
                      <a:pt x="1522095" y="441007"/>
                    </a:lnTo>
                    <a:lnTo>
                      <a:pt x="1528763" y="420148"/>
                    </a:lnTo>
                    <a:lnTo>
                      <a:pt x="1503998" y="412432"/>
                    </a:lnTo>
                    <a:lnTo>
                      <a:pt x="1479232" y="402050"/>
                    </a:lnTo>
                    <a:lnTo>
                      <a:pt x="1476375" y="398145"/>
                    </a:lnTo>
                    <a:lnTo>
                      <a:pt x="1472565" y="395383"/>
                    </a:lnTo>
                    <a:lnTo>
                      <a:pt x="1472565" y="387763"/>
                    </a:lnTo>
                    <a:lnTo>
                      <a:pt x="1493520" y="373475"/>
                    </a:lnTo>
                    <a:lnTo>
                      <a:pt x="1447800" y="370523"/>
                    </a:lnTo>
                    <a:lnTo>
                      <a:pt x="1429702" y="366808"/>
                    </a:lnTo>
                    <a:lnTo>
                      <a:pt x="1447800" y="317182"/>
                    </a:lnTo>
                    <a:lnTo>
                      <a:pt x="1483042" y="300038"/>
                    </a:lnTo>
                    <a:lnTo>
                      <a:pt x="1486852" y="267748"/>
                    </a:lnTo>
                    <a:lnTo>
                      <a:pt x="1528763" y="257175"/>
                    </a:lnTo>
                    <a:lnTo>
                      <a:pt x="1543050" y="242888"/>
                    </a:lnTo>
                    <a:lnTo>
                      <a:pt x="1524952" y="242888"/>
                    </a:lnTo>
                    <a:lnTo>
                      <a:pt x="1479232" y="246793"/>
                    </a:lnTo>
                    <a:lnTo>
                      <a:pt x="1464945" y="232505"/>
                    </a:lnTo>
                    <a:lnTo>
                      <a:pt x="1497330" y="225838"/>
                    </a:lnTo>
                    <a:lnTo>
                      <a:pt x="1564005" y="229648"/>
                    </a:lnTo>
                    <a:lnTo>
                      <a:pt x="1578292" y="215360"/>
                    </a:lnTo>
                    <a:lnTo>
                      <a:pt x="1532573" y="211550"/>
                    </a:lnTo>
                    <a:lnTo>
                      <a:pt x="1500188" y="204788"/>
                    </a:lnTo>
                    <a:lnTo>
                      <a:pt x="1535430" y="194405"/>
                    </a:lnTo>
                    <a:lnTo>
                      <a:pt x="1595438" y="194405"/>
                    </a:lnTo>
                    <a:lnTo>
                      <a:pt x="1613535" y="186785"/>
                    </a:lnTo>
                    <a:lnTo>
                      <a:pt x="1624013" y="172498"/>
                    </a:lnTo>
                    <a:lnTo>
                      <a:pt x="1669732" y="159163"/>
                    </a:lnTo>
                    <a:lnTo>
                      <a:pt x="1694498" y="140970"/>
                    </a:lnTo>
                    <a:lnTo>
                      <a:pt x="1665923" y="123825"/>
                    </a:lnTo>
                    <a:lnTo>
                      <a:pt x="1609725" y="11630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3" name="Freeform: Shape 372">
                <a:extLst>
                  <a:ext uri="{FF2B5EF4-FFF2-40B4-BE49-F238E27FC236}">
                    <a16:creationId xmlns:a16="http://schemas.microsoft.com/office/drawing/2014/main" id="{77A854EF-545B-D74E-24C3-A010E6083EA4}"/>
                  </a:ext>
                </a:extLst>
              </p:cNvPr>
              <p:cNvSpPr/>
              <p:nvPr/>
            </p:nvSpPr>
            <p:spPr>
              <a:xfrm>
                <a:off x="6568092" y="2214077"/>
                <a:ext cx="293189" cy="452860"/>
              </a:xfrm>
              <a:custGeom>
                <a:avLst/>
                <a:gdLst>
                  <a:gd name="connsiteX0" fmla="*/ 284798 w 299085"/>
                  <a:gd name="connsiteY0" fmla="*/ 360045 h 461962"/>
                  <a:gd name="connsiteX1" fmla="*/ 299085 w 299085"/>
                  <a:gd name="connsiteY1" fmla="*/ 335280 h 461962"/>
                  <a:gd name="connsiteX2" fmla="*/ 257175 w 299085"/>
                  <a:gd name="connsiteY2" fmla="*/ 303752 h 461962"/>
                  <a:gd name="connsiteX3" fmla="*/ 274320 w 299085"/>
                  <a:gd name="connsiteY3" fmla="*/ 285750 h 461962"/>
                  <a:gd name="connsiteX4" fmla="*/ 260032 w 299085"/>
                  <a:gd name="connsiteY4" fmla="*/ 260890 h 461962"/>
                  <a:gd name="connsiteX5" fmla="*/ 242888 w 299085"/>
                  <a:gd name="connsiteY5" fmla="*/ 243745 h 461962"/>
                  <a:gd name="connsiteX6" fmla="*/ 257175 w 299085"/>
                  <a:gd name="connsiteY6" fmla="*/ 208502 h 461962"/>
                  <a:gd name="connsiteX7" fmla="*/ 245745 w 299085"/>
                  <a:gd name="connsiteY7" fmla="*/ 179927 h 461962"/>
                  <a:gd name="connsiteX8" fmla="*/ 228600 w 299085"/>
                  <a:gd name="connsiteY8" fmla="*/ 148495 h 461962"/>
                  <a:gd name="connsiteX9" fmla="*/ 257175 w 299085"/>
                  <a:gd name="connsiteY9" fmla="*/ 120015 h 461962"/>
                  <a:gd name="connsiteX10" fmla="*/ 214313 w 299085"/>
                  <a:gd name="connsiteY10" fmla="*/ 95250 h 461962"/>
                  <a:gd name="connsiteX11" fmla="*/ 221932 w 299085"/>
                  <a:gd name="connsiteY11" fmla="*/ 57150 h 461962"/>
                  <a:gd name="connsiteX12" fmla="*/ 239078 w 299085"/>
                  <a:gd name="connsiteY12" fmla="*/ 39053 h 461962"/>
                  <a:gd name="connsiteX13" fmla="*/ 221932 w 299085"/>
                  <a:gd name="connsiteY13" fmla="*/ 14288 h 461962"/>
                  <a:gd name="connsiteX14" fmla="*/ 182880 w 299085"/>
                  <a:gd name="connsiteY14" fmla="*/ 0 h 461962"/>
                  <a:gd name="connsiteX15" fmla="*/ 147638 w 299085"/>
                  <a:gd name="connsiteY15" fmla="*/ 21812 h 461962"/>
                  <a:gd name="connsiteX16" fmla="*/ 140970 w 299085"/>
                  <a:gd name="connsiteY16" fmla="*/ 39053 h 461962"/>
                  <a:gd name="connsiteX17" fmla="*/ 137160 w 299085"/>
                  <a:gd name="connsiteY17" fmla="*/ 53340 h 461962"/>
                  <a:gd name="connsiteX18" fmla="*/ 116205 w 299085"/>
                  <a:gd name="connsiteY18" fmla="*/ 74200 h 461962"/>
                  <a:gd name="connsiteX19" fmla="*/ 41910 w 299085"/>
                  <a:gd name="connsiteY19" fmla="*/ 67628 h 461962"/>
                  <a:gd name="connsiteX20" fmla="*/ 17145 w 299085"/>
                  <a:gd name="connsiteY20" fmla="*/ 39053 h 461962"/>
                  <a:gd name="connsiteX21" fmla="*/ 17145 w 299085"/>
                  <a:gd name="connsiteY21" fmla="*/ 39053 h 461962"/>
                  <a:gd name="connsiteX22" fmla="*/ 6668 w 299085"/>
                  <a:gd name="connsiteY22" fmla="*/ 47625 h 461962"/>
                  <a:gd name="connsiteX23" fmla="*/ 0 w 299085"/>
                  <a:gd name="connsiteY23" fmla="*/ 53340 h 461962"/>
                  <a:gd name="connsiteX24" fmla="*/ 20955 w 299085"/>
                  <a:gd name="connsiteY24" fmla="*/ 70390 h 461962"/>
                  <a:gd name="connsiteX25" fmla="*/ 35243 w 299085"/>
                  <a:gd name="connsiteY25" fmla="*/ 84677 h 461962"/>
                  <a:gd name="connsiteX26" fmla="*/ 60007 w 299085"/>
                  <a:gd name="connsiteY26" fmla="*/ 84677 h 461962"/>
                  <a:gd name="connsiteX27" fmla="*/ 77153 w 299085"/>
                  <a:gd name="connsiteY27" fmla="*/ 109538 h 461962"/>
                  <a:gd name="connsiteX28" fmla="*/ 77153 w 299085"/>
                  <a:gd name="connsiteY28" fmla="*/ 109538 h 461962"/>
                  <a:gd name="connsiteX29" fmla="*/ 77153 w 299085"/>
                  <a:gd name="connsiteY29" fmla="*/ 123825 h 461962"/>
                  <a:gd name="connsiteX30" fmla="*/ 73343 w 299085"/>
                  <a:gd name="connsiteY30" fmla="*/ 144780 h 461962"/>
                  <a:gd name="connsiteX31" fmla="*/ 87630 w 299085"/>
                  <a:gd name="connsiteY31" fmla="*/ 152400 h 461962"/>
                  <a:gd name="connsiteX32" fmla="*/ 77153 w 299085"/>
                  <a:gd name="connsiteY32" fmla="*/ 179927 h 461962"/>
                  <a:gd name="connsiteX33" fmla="*/ 94298 w 299085"/>
                  <a:gd name="connsiteY33" fmla="*/ 204788 h 461962"/>
                  <a:gd name="connsiteX34" fmla="*/ 122873 w 299085"/>
                  <a:gd name="connsiteY34" fmla="*/ 219075 h 461962"/>
                  <a:gd name="connsiteX35" fmla="*/ 126682 w 299085"/>
                  <a:gd name="connsiteY35" fmla="*/ 246602 h 461962"/>
                  <a:gd name="connsiteX36" fmla="*/ 112395 w 299085"/>
                  <a:gd name="connsiteY36" fmla="*/ 250508 h 461962"/>
                  <a:gd name="connsiteX37" fmla="*/ 48578 w 299085"/>
                  <a:gd name="connsiteY37" fmla="*/ 300038 h 461962"/>
                  <a:gd name="connsiteX38" fmla="*/ 38100 w 299085"/>
                  <a:gd name="connsiteY38" fmla="*/ 320993 h 461962"/>
                  <a:gd name="connsiteX39" fmla="*/ 17145 w 299085"/>
                  <a:gd name="connsiteY39" fmla="*/ 331470 h 461962"/>
                  <a:gd name="connsiteX40" fmla="*/ 10478 w 299085"/>
                  <a:gd name="connsiteY40" fmla="*/ 360045 h 461962"/>
                  <a:gd name="connsiteX41" fmla="*/ 20955 w 299085"/>
                  <a:gd name="connsiteY41" fmla="*/ 399002 h 461962"/>
                  <a:gd name="connsiteX42" fmla="*/ 17145 w 299085"/>
                  <a:gd name="connsiteY42" fmla="*/ 434245 h 461962"/>
                  <a:gd name="connsiteX43" fmla="*/ 70485 w 299085"/>
                  <a:gd name="connsiteY43" fmla="*/ 461963 h 461962"/>
                  <a:gd name="connsiteX44" fmla="*/ 112395 w 299085"/>
                  <a:gd name="connsiteY44" fmla="*/ 455295 h 461962"/>
                  <a:gd name="connsiteX45" fmla="*/ 154305 w 299085"/>
                  <a:gd name="connsiteY45" fmla="*/ 441007 h 461962"/>
                  <a:gd name="connsiteX46" fmla="*/ 186690 w 299085"/>
                  <a:gd name="connsiteY46" fmla="*/ 441007 h 461962"/>
                  <a:gd name="connsiteX47" fmla="*/ 208598 w 299085"/>
                  <a:gd name="connsiteY47" fmla="*/ 424720 h 461962"/>
                  <a:gd name="connsiteX48" fmla="*/ 207645 w 299085"/>
                  <a:gd name="connsiteY48" fmla="*/ 423863 h 461962"/>
                  <a:gd name="connsiteX49" fmla="*/ 284798 w 299085"/>
                  <a:gd name="connsiteY49" fmla="*/ 360045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299085" h="461962">
                    <a:moveTo>
                      <a:pt x="284798" y="360045"/>
                    </a:moveTo>
                    <a:lnTo>
                      <a:pt x="299085" y="335280"/>
                    </a:lnTo>
                    <a:lnTo>
                      <a:pt x="257175" y="303752"/>
                    </a:lnTo>
                    <a:lnTo>
                      <a:pt x="274320" y="285750"/>
                    </a:lnTo>
                    <a:lnTo>
                      <a:pt x="260032" y="260890"/>
                    </a:lnTo>
                    <a:lnTo>
                      <a:pt x="242888" y="243745"/>
                    </a:lnTo>
                    <a:lnTo>
                      <a:pt x="257175" y="208502"/>
                    </a:lnTo>
                    <a:lnTo>
                      <a:pt x="245745" y="179927"/>
                    </a:lnTo>
                    <a:lnTo>
                      <a:pt x="228600" y="148495"/>
                    </a:lnTo>
                    <a:lnTo>
                      <a:pt x="257175" y="120015"/>
                    </a:lnTo>
                    <a:lnTo>
                      <a:pt x="214313" y="95250"/>
                    </a:lnTo>
                    <a:lnTo>
                      <a:pt x="221932" y="57150"/>
                    </a:lnTo>
                    <a:lnTo>
                      <a:pt x="239078" y="39053"/>
                    </a:lnTo>
                    <a:lnTo>
                      <a:pt x="221932" y="14288"/>
                    </a:lnTo>
                    <a:lnTo>
                      <a:pt x="182880" y="0"/>
                    </a:lnTo>
                    <a:lnTo>
                      <a:pt x="147638" y="21812"/>
                    </a:lnTo>
                    <a:lnTo>
                      <a:pt x="140970" y="39053"/>
                    </a:lnTo>
                    <a:lnTo>
                      <a:pt x="137160" y="53340"/>
                    </a:lnTo>
                    <a:lnTo>
                      <a:pt x="116205" y="74200"/>
                    </a:lnTo>
                    <a:lnTo>
                      <a:pt x="41910" y="67628"/>
                    </a:lnTo>
                    <a:lnTo>
                      <a:pt x="17145" y="39053"/>
                    </a:lnTo>
                    <a:lnTo>
                      <a:pt x="17145" y="39053"/>
                    </a:lnTo>
                    <a:lnTo>
                      <a:pt x="6668" y="47625"/>
                    </a:lnTo>
                    <a:lnTo>
                      <a:pt x="0" y="53340"/>
                    </a:lnTo>
                    <a:lnTo>
                      <a:pt x="20955" y="70390"/>
                    </a:lnTo>
                    <a:lnTo>
                      <a:pt x="35243" y="84677"/>
                    </a:lnTo>
                    <a:lnTo>
                      <a:pt x="60007" y="84677"/>
                    </a:lnTo>
                    <a:lnTo>
                      <a:pt x="77153" y="109538"/>
                    </a:lnTo>
                    <a:lnTo>
                      <a:pt x="77153" y="109538"/>
                    </a:lnTo>
                    <a:lnTo>
                      <a:pt x="77153" y="123825"/>
                    </a:lnTo>
                    <a:lnTo>
                      <a:pt x="73343" y="144780"/>
                    </a:lnTo>
                    <a:lnTo>
                      <a:pt x="87630" y="152400"/>
                    </a:lnTo>
                    <a:lnTo>
                      <a:pt x="77153" y="179927"/>
                    </a:lnTo>
                    <a:lnTo>
                      <a:pt x="94298" y="204788"/>
                    </a:lnTo>
                    <a:lnTo>
                      <a:pt x="122873" y="219075"/>
                    </a:lnTo>
                    <a:lnTo>
                      <a:pt x="126682" y="246602"/>
                    </a:lnTo>
                    <a:lnTo>
                      <a:pt x="112395" y="250508"/>
                    </a:lnTo>
                    <a:lnTo>
                      <a:pt x="48578" y="300038"/>
                    </a:lnTo>
                    <a:lnTo>
                      <a:pt x="38100" y="320993"/>
                    </a:lnTo>
                    <a:lnTo>
                      <a:pt x="17145" y="331470"/>
                    </a:lnTo>
                    <a:lnTo>
                      <a:pt x="10478" y="360045"/>
                    </a:lnTo>
                    <a:lnTo>
                      <a:pt x="20955" y="399002"/>
                    </a:lnTo>
                    <a:lnTo>
                      <a:pt x="17145" y="434245"/>
                    </a:lnTo>
                    <a:lnTo>
                      <a:pt x="70485" y="461963"/>
                    </a:lnTo>
                    <a:lnTo>
                      <a:pt x="112395" y="455295"/>
                    </a:lnTo>
                    <a:lnTo>
                      <a:pt x="154305" y="441007"/>
                    </a:lnTo>
                    <a:lnTo>
                      <a:pt x="186690" y="441007"/>
                    </a:lnTo>
                    <a:lnTo>
                      <a:pt x="208598" y="424720"/>
                    </a:lnTo>
                    <a:lnTo>
                      <a:pt x="207645" y="423863"/>
                    </a:lnTo>
                    <a:lnTo>
                      <a:pt x="284798" y="36004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4" name="Freeform: Shape 373">
                <a:extLst>
                  <a:ext uri="{FF2B5EF4-FFF2-40B4-BE49-F238E27FC236}">
                    <a16:creationId xmlns:a16="http://schemas.microsoft.com/office/drawing/2014/main" id="{EE46EB5F-628E-9D9D-864E-040CADDF03CA}"/>
                  </a:ext>
                </a:extLst>
              </p:cNvPr>
              <p:cNvSpPr/>
              <p:nvPr/>
            </p:nvSpPr>
            <p:spPr>
              <a:xfrm>
                <a:off x="6771644" y="2567028"/>
                <a:ext cx="75631" cy="63400"/>
              </a:xfrm>
              <a:custGeom>
                <a:avLst/>
                <a:gdLst>
                  <a:gd name="connsiteX0" fmla="*/ 77153 w 77152"/>
                  <a:gd name="connsiteY0" fmla="*/ 0 h 64674"/>
                  <a:gd name="connsiteX1" fmla="*/ 0 w 77152"/>
                  <a:gd name="connsiteY1" fmla="*/ 63818 h 64674"/>
                  <a:gd name="connsiteX2" fmla="*/ 953 w 77152"/>
                  <a:gd name="connsiteY2" fmla="*/ 64675 h 64674"/>
                  <a:gd name="connsiteX3" fmla="*/ 31433 w 77152"/>
                  <a:gd name="connsiteY3" fmla="*/ 41910 h 64674"/>
                  <a:gd name="connsiteX4" fmla="*/ 77153 w 77152"/>
                  <a:gd name="connsiteY4" fmla="*/ 0 h 64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152" h="64674">
                    <a:moveTo>
                      <a:pt x="77153" y="0"/>
                    </a:moveTo>
                    <a:lnTo>
                      <a:pt x="0" y="63818"/>
                    </a:lnTo>
                    <a:lnTo>
                      <a:pt x="953" y="64675"/>
                    </a:lnTo>
                    <a:lnTo>
                      <a:pt x="31433" y="41910"/>
                    </a:lnTo>
                    <a:lnTo>
                      <a:pt x="7715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5" name="Freeform: Shape 374">
                <a:extLst>
                  <a:ext uri="{FF2B5EF4-FFF2-40B4-BE49-F238E27FC236}">
                    <a16:creationId xmlns:a16="http://schemas.microsoft.com/office/drawing/2014/main" id="{205211A5-A4B9-514D-0B5D-D421D072456D}"/>
                  </a:ext>
                </a:extLst>
              </p:cNvPr>
              <p:cNvSpPr/>
              <p:nvPr/>
            </p:nvSpPr>
            <p:spPr>
              <a:xfrm>
                <a:off x="6808993" y="2390459"/>
                <a:ext cx="11205" cy="28012"/>
              </a:xfrm>
              <a:custGeom>
                <a:avLst/>
                <a:gdLst>
                  <a:gd name="connsiteX0" fmla="*/ 11430 w 11430"/>
                  <a:gd name="connsiteY0" fmla="*/ 28575 h 28575"/>
                  <a:gd name="connsiteX1" fmla="*/ 0 w 11430"/>
                  <a:gd name="connsiteY1" fmla="*/ 0 h 28575"/>
                  <a:gd name="connsiteX2" fmla="*/ 11430 w 11430"/>
                  <a:gd name="connsiteY2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30" h="28575">
                    <a:moveTo>
                      <a:pt x="11430" y="28575"/>
                    </a:moveTo>
                    <a:lnTo>
                      <a:pt x="0" y="0"/>
                    </a:lnTo>
                    <a:lnTo>
                      <a:pt x="11430" y="2857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6" name="Freeform: Shape 375">
                <a:extLst>
                  <a:ext uri="{FF2B5EF4-FFF2-40B4-BE49-F238E27FC236}">
                    <a16:creationId xmlns:a16="http://schemas.microsoft.com/office/drawing/2014/main" id="{EC9D9537-A145-1F7B-4C10-CE06D94813FF}"/>
                  </a:ext>
                </a:extLst>
              </p:cNvPr>
              <p:cNvSpPr/>
              <p:nvPr/>
            </p:nvSpPr>
            <p:spPr>
              <a:xfrm>
                <a:off x="6300114" y="2266366"/>
                <a:ext cx="360418" cy="584515"/>
              </a:xfrm>
              <a:custGeom>
                <a:avLst/>
                <a:gdLst>
                  <a:gd name="connsiteX0" fmla="*/ 360998 w 367665"/>
                  <a:gd name="connsiteY0" fmla="*/ 99060 h 596264"/>
                  <a:gd name="connsiteX1" fmla="*/ 346710 w 367665"/>
                  <a:gd name="connsiteY1" fmla="*/ 91440 h 596264"/>
                  <a:gd name="connsiteX2" fmla="*/ 350520 w 367665"/>
                  <a:gd name="connsiteY2" fmla="*/ 56197 h 596264"/>
                  <a:gd name="connsiteX3" fmla="*/ 350520 w 367665"/>
                  <a:gd name="connsiteY3" fmla="*/ 56197 h 596264"/>
                  <a:gd name="connsiteX4" fmla="*/ 333375 w 367665"/>
                  <a:gd name="connsiteY4" fmla="*/ 31337 h 596264"/>
                  <a:gd name="connsiteX5" fmla="*/ 308610 w 367665"/>
                  <a:gd name="connsiteY5" fmla="*/ 31337 h 596264"/>
                  <a:gd name="connsiteX6" fmla="*/ 273368 w 367665"/>
                  <a:gd name="connsiteY6" fmla="*/ 0 h 596264"/>
                  <a:gd name="connsiteX7" fmla="*/ 273368 w 367665"/>
                  <a:gd name="connsiteY7" fmla="*/ 0 h 596264"/>
                  <a:gd name="connsiteX8" fmla="*/ 255270 w 367665"/>
                  <a:gd name="connsiteY8" fmla="*/ 3810 h 596264"/>
                  <a:gd name="connsiteX9" fmla="*/ 255270 w 367665"/>
                  <a:gd name="connsiteY9" fmla="*/ 31337 h 596264"/>
                  <a:gd name="connsiteX10" fmla="*/ 230505 w 367665"/>
                  <a:gd name="connsiteY10" fmla="*/ 31337 h 596264"/>
                  <a:gd name="connsiteX11" fmla="*/ 230505 w 367665"/>
                  <a:gd name="connsiteY11" fmla="*/ 17050 h 596264"/>
                  <a:gd name="connsiteX12" fmla="*/ 205740 w 367665"/>
                  <a:gd name="connsiteY12" fmla="*/ 20860 h 596264"/>
                  <a:gd name="connsiteX13" fmla="*/ 205740 w 367665"/>
                  <a:gd name="connsiteY13" fmla="*/ 41910 h 596264"/>
                  <a:gd name="connsiteX14" fmla="*/ 174308 w 367665"/>
                  <a:gd name="connsiteY14" fmla="*/ 45625 h 596264"/>
                  <a:gd name="connsiteX15" fmla="*/ 153353 w 367665"/>
                  <a:gd name="connsiteY15" fmla="*/ 74200 h 596264"/>
                  <a:gd name="connsiteX16" fmla="*/ 153353 w 367665"/>
                  <a:gd name="connsiteY16" fmla="*/ 95155 h 596264"/>
                  <a:gd name="connsiteX17" fmla="*/ 132398 w 367665"/>
                  <a:gd name="connsiteY17" fmla="*/ 112300 h 596264"/>
                  <a:gd name="connsiteX18" fmla="*/ 128588 w 367665"/>
                  <a:gd name="connsiteY18" fmla="*/ 134302 h 596264"/>
                  <a:gd name="connsiteX19" fmla="*/ 103823 w 367665"/>
                  <a:gd name="connsiteY19" fmla="*/ 140875 h 596264"/>
                  <a:gd name="connsiteX20" fmla="*/ 100013 w 367665"/>
                  <a:gd name="connsiteY20" fmla="*/ 165735 h 596264"/>
                  <a:gd name="connsiteX21" fmla="*/ 82868 w 367665"/>
                  <a:gd name="connsiteY21" fmla="*/ 193262 h 596264"/>
                  <a:gd name="connsiteX22" fmla="*/ 93345 w 367665"/>
                  <a:gd name="connsiteY22" fmla="*/ 218122 h 596264"/>
                  <a:gd name="connsiteX23" fmla="*/ 86678 w 367665"/>
                  <a:gd name="connsiteY23" fmla="*/ 225742 h 596264"/>
                  <a:gd name="connsiteX24" fmla="*/ 58103 w 367665"/>
                  <a:gd name="connsiteY24" fmla="*/ 236125 h 596264"/>
                  <a:gd name="connsiteX25" fmla="*/ 30480 w 367665"/>
                  <a:gd name="connsiteY25" fmla="*/ 242792 h 596264"/>
                  <a:gd name="connsiteX26" fmla="*/ 30480 w 367665"/>
                  <a:gd name="connsiteY26" fmla="*/ 296228 h 596264"/>
                  <a:gd name="connsiteX27" fmla="*/ 30480 w 367665"/>
                  <a:gd name="connsiteY27" fmla="*/ 331375 h 596264"/>
                  <a:gd name="connsiteX28" fmla="*/ 51435 w 367665"/>
                  <a:gd name="connsiteY28" fmla="*/ 341947 h 596264"/>
                  <a:gd name="connsiteX29" fmla="*/ 54293 w 367665"/>
                  <a:gd name="connsiteY29" fmla="*/ 362903 h 596264"/>
                  <a:gd name="connsiteX30" fmla="*/ 30480 w 367665"/>
                  <a:gd name="connsiteY30" fmla="*/ 366617 h 596264"/>
                  <a:gd name="connsiteX31" fmla="*/ 51435 w 367665"/>
                  <a:gd name="connsiteY31" fmla="*/ 380905 h 596264"/>
                  <a:gd name="connsiteX32" fmla="*/ 43815 w 367665"/>
                  <a:gd name="connsiteY32" fmla="*/ 401955 h 596264"/>
                  <a:gd name="connsiteX33" fmla="*/ 30480 w 367665"/>
                  <a:gd name="connsiteY33" fmla="*/ 416242 h 596264"/>
                  <a:gd name="connsiteX34" fmla="*/ 30480 w 367665"/>
                  <a:gd name="connsiteY34" fmla="*/ 443865 h 596264"/>
                  <a:gd name="connsiteX35" fmla="*/ 0 w 367665"/>
                  <a:gd name="connsiteY35" fmla="*/ 447580 h 596264"/>
                  <a:gd name="connsiteX36" fmla="*/ 19050 w 367665"/>
                  <a:gd name="connsiteY36" fmla="*/ 482917 h 596264"/>
                  <a:gd name="connsiteX37" fmla="*/ 30480 w 367665"/>
                  <a:gd name="connsiteY37" fmla="*/ 511492 h 596264"/>
                  <a:gd name="connsiteX38" fmla="*/ 51435 w 367665"/>
                  <a:gd name="connsiteY38" fmla="*/ 542830 h 596264"/>
                  <a:gd name="connsiteX39" fmla="*/ 51435 w 367665"/>
                  <a:gd name="connsiteY39" fmla="*/ 557117 h 596264"/>
                  <a:gd name="connsiteX40" fmla="*/ 58103 w 367665"/>
                  <a:gd name="connsiteY40" fmla="*/ 571405 h 596264"/>
                  <a:gd name="connsiteX41" fmla="*/ 65723 w 367665"/>
                  <a:gd name="connsiteY41" fmla="*/ 596265 h 596264"/>
                  <a:gd name="connsiteX42" fmla="*/ 89535 w 367665"/>
                  <a:gd name="connsiteY42" fmla="*/ 592455 h 596264"/>
                  <a:gd name="connsiteX43" fmla="*/ 97155 w 367665"/>
                  <a:gd name="connsiteY43" fmla="*/ 571405 h 596264"/>
                  <a:gd name="connsiteX44" fmla="*/ 121920 w 367665"/>
                  <a:gd name="connsiteY44" fmla="*/ 567690 h 596264"/>
                  <a:gd name="connsiteX45" fmla="*/ 142875 w 367665"/>
                  <a:gd name="connsiteY45" fmla="*/ 557117 h 596264"/>
                  <a:gd name="connsiteX46" fmla="*/ 153353 w 367665"/>
                  <a:gd name="connsiteY46" fmla="*/ 536162 h 596264"/>
                  <a:gd name="connsiteX47" fmla="*/ 160020 w 367665"/>
                  <a:gd name="connsiteY47" fmla="*/ 514255 h 596264"/>
                  <a:gd name="connsiteX48" fmla="*/ 160020 w 367665"/>
                  <a:gd name="connsiteY48" fmla="*/ 489585 h 596264"/>
                  <a:gd name="connsiteX49" fmla="*/ 163830 w 367665"/>
                  <a:gd name="connsiteY49" fmla="*/ 468630 h 596264"/>
                  <a:gd name="connsiteX50" fmla="*/ 195263 w 367665"/>
                  <a:gd name="connsiteY50" fmla="*/ 451485 h 596264"/>
                  <a:gd name="connsiteX51" fmla="*/ 217170 w 367665"/>
                  <a:gd name="connsiteY51" fmla="*/ 437198 h 596264"/>
                  <a:gd name="connsiteX52" fmla="*/ 220028 w 367665"/>
                  <a:gd name="connsiteY52" fmla="*/ 416242 h 596264"/>
                  <a:gd name="connsiteX53" fmla="*/ 202883 w 367665"/>
                  <a:gd name="connsiteY53" fmla="*/ 391478 h 596264"/>
                  <a:gd name="connsiteX54" fmla="*/ 178118 w 367665"/>
                  <a:gd name="connsiteY54" fmla="*/ 380905 h 596264"/>
                  <a:gd name="connsiteX55" fmla="*/ 174308 w 367665"/>
                  <a:gd name="connsiteY55" fmla="*/ 341947 h 596264"/>
                  <a:gd name="connsiteX56" fmla="*/ 181928 w 367665"/>
                  <a:gd name="connsiteY56" fmla="*/ 313372 h 596264"/>
                  <a:gd name="connsiteX57" fmla="*/ 195263 w 367665"/>
                  <a:gd name="connsiteY57" fmla="*/ 292417 h 596264"/>
                  <a:gd name="connsiteX58" fmla="*/ 213360 w 367665"/>
                  <a:gd name="connsiteY58" fmla="*/ 267653 h 596264"/>
                  <a:gd name="connsiteX59" fmla="*/ 240983 w 367665"/>
                  <a:gd name="connsiteY59" fmla="*/ 264700 h 596264"/>
                  <a:gd name="connsiteX60" fmla="*/ 269558 w 367665"/>
                  <a:gd name="connsiteY60" fmla="*/ 242792 h 596264"/>
                  <a:gd name="connsiteX61" fmla="*/ 290513 w 367665"/>
                  <a:gd name="connsiteY61" fmla="*/ 218122 h 596264"/>
                  <a:gd name="connsiteX62" fmla="*/ 283845 w 367665"/>
                  <a:gd name="connsiteY62" fmla="*/ 200977 h 596264"/>
                  <a:gd name="connsiteX63" fmla="*/ 294323 w 367665"/>
                  <a:gd name="connsiteY63" fmla="*/ 176117 h 596264"/>
                  <a:gd name="connsiteX64" fmla="*/ 319088 w 367665"/>
                  <a:gd name="connsiteY64" fmla="*/ 158115 h 596264"/>
                  <a:gd name="connsiteX65" fmla="*/ 336233 w 367665"/>
                  <a:gd name="connsiteY65" fmla="*/ 155162 h 596264"/>
                  <a:gd name="connsiteX66" fmla="*/ 367665 w 367665"/>
                  <a:gd name="connsiteY66" fmla="*/ 151447 h 596264"/>
                  <a:gd name="connsiteX67" fmla="*/ 350520 w 367665"/>
                  <a:gd name="connsiteY67" fmla="*/ 126587 h 596264"/>
                  <a:gd name="connsiteX68" fmla="*/ 360998 w 367665"/>
                  <a:gd name="connsiteY68" fmla="*/ 99060 h 596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367665" h="596264">
                    <a:moveTo>
                      <a:pt x="360998" y="99060"/>
                    </a:moveTo>
                    <a:lnTo>
                      <a:pt x="346710" y="91440"/>
                    </a:lnTo>
                    <a:lnTo>
                      <a:pt x="350520" y="56197"/>
                    </a:lnTo>
                    <a:lnTo>
                      <a:pt x="350520" y="56197"/>
                    </a:lnTo>
                    <a:lnTo>
                      <a:pt x="333375" y="31337"/>
                    </a:lnTo>
                    <a:lnTo>
                      <a:pt x="308610" y="31337"/>
                    </a:lnTo>
                    <a:lnTo>
                      <a:pt x="273368" y="0"/>
                    </a:lnTo>
                    <a:lnTo>
                      <a:pt x="273368" y="0"/>
                    </a:lnTo>
                    <a:lnTo>
                      <a:pt x="255270" y="3810"/>
                    </a:lnTo>
                    <a:lnTo>
                      <a:pt x="255270" y="31337"/>
                    </a:lnTo>
                    <a:lnTo>
                      <a:pt x="230505" y="31337"/>
                    </a:lnTo>
                    <a:lnTo>
                      <a:pt x="230505" y="17050"/>
                    </a:lnTo>
                    <a:lnTo>
                      <a:pt x="205740" y="20860"/>
                    </a:lnTo>
                    <a:lnTo>
                      <a:pt x="205740" y="41910"/>
                    </a:lnTo>
                    <a:lnTo>
                      <a:pt x="174308" y="45625"/>
                    </a:lnTo>
                    <a:lnTo>
                      <a:pt x="153353" y="74200"/>
                    </a:lnTo>
                    <a:lnTo>
                      <a:pt x="153353" y="95155"/>
                    </a:lnTo>
                    <a:lnTo>
                      <a:pt x="132398" y="112300"/>
                    </a:lnTo>
                    <a:lnTo>
                      <a:pt x="128588" y="134302"/>
                    </a:lnTo>
                    <a:lnTo>
                      <a:pt x="103823" y="140875"/>
                    </a:lnTo>
                    <a:lnTo>
                      <a:pt x="100013" y="165735"/>
                    </a:lnTo>
                    <a:lnTo>
                      <a:pt x="82868" y="193262"/>
                    </a:lnTo>
                    <a:lnTo>
                      <a:pt x="93345" y="218122"/>
                    </a:lnTo>
                    <a:lnTo>
                      <a:pt x="86678" y="225742"/>
                    </a:lnTo>
                    <a:lnTo>
                      <a:pt x="58103" y="236125"/>
                    </a:lnTo>
                    <a:lnTo>
                      <a:pt x="30480" y="242792"/>
                    </a:lnTo>
                    <a:lnTo>
                      <a:pt x="30480" y="296228"/>
                    </a:lnTo>
                    <a:lnTo>
                      <a:pt x="30480" y="331375"/>
                    </a:lnTo>
                    <a:lnTo>
                      <a:pt x="51435" y="341947"/>
                    </a:lnTo>
                    <a:lnTo>
                      <a:pt x="54293" y="362903"/>
                    </a:lnTo>
                    <a:lnTo>
                      <a:pt x="30480" y="366617"/>
                    </a:lnTo>
                    <a:lnTo>
                      <a:pt x="51435" y="380905"/>
                    </a:lnTo>
                    <a:lnTo>
                      <a:pt x="43815" y="401955"/>
                    </a:lnTo>
                    <a:lnTo>
                      <a:pt x="30480" y="416242"/>
                    </a:lnTo>
                    <a:lnTo>
                      <a:pt x="30480" y="443865"/>
                    </a:lnTo>
                    <a:lnTo>
                      <a:pt x="0" y="447580"/>
                    </a:lnTo>
                    <a:lnTo>
                      <a:pt x="19050" y="482917"/>
                    </a:lnTo>
                    <a:lnTo>
                      <a:pt x="30480" y="511492"/>
                    </a:lnTo>
                    <a:lnTo>
                      <a:pt x="51435" y="542830"/>
                    </a:lnTo>
                    <a:lnTo>
                      <a:pt x="51435" y="557117"/>
                    </a:lnTo>
                    <a:lnTo>
                      <a:pt x="58103" y="571405"/>
                    </a:lnTo>
                    <a:lnTo>
                      <a:pt x="65723" y="596265"/>
                    </a:lnTo>
                    <a:lnTo>
                      <a:pt x="89535" y="592455"/>
                    </a:lnTo>
                    <a:lnTo>
                      <a:pt x="97155" y="571405"/>
                    </a:lnTo>
                    <a:lnTo>
                      <a:pt x="121920" y="567690"/>
                    </a:lnTo>
                    <a:lnTo>
                      <a:pt x="142875" y="557117"/>
                    </a:lnTo>
                    <a:lnTo>
                      <a:pt x="153353" y="536162"/>
                    </a:lnTo>
                    <a:lnTo>
                      <a:pt x="160020" y="514255"/>
                    </a:lnTo>
                    <a:lnTo>
                      <a:pt x="160020" y="489585"/>
                    </a:lnTo>
                    <a:lnTo>
                      <a:pt x="163830" y="468630"/>
                    </a:lnTo>
                    <a:lnTo>
                      <a:pt x="195263" y="451485"/>
                    </a:lnTo>
                    <a:lnTo>
                      <a:pt x="217170" y="437198"/>
                    </a:lnTo>
                    <a:lnTo>
                      <a:pt x="220028" y="416242"/>
                    </a:lnTo>
                    <a:lnTo>
                      <a:pt x="202883" y="391478"/>
                    </a:lnTo>
                    <a:lnTo>
                      <a:pt x="178118" y="380905"/>
                    </a:lnTo>
                    <a:lnTo>
                      <a:pt x="174308" y="341947"/>
                    </a:lnTo>
                    <a:lnTo>
                      <a:pt x="181928" y="313372"/>
                    </a:lnTo>
                    <a:lnTo>
                      <a:pt x="195263" y="292417"/>
                    </a:lnTo>
                    <a:lnTo>
                      <a:pt x="213360" y="267653"/>
                    </a:lnTo>
                    <a:lnTo>
                      <a:pt x="240983" y="264700"/>
                    </a:lnTo>
                    <a:lnTo>
                      <a:pt x="269558" y="242792"/>
                    </a:lnTo>
                    <a:lnTo>
                      <a:pt x="290513" y="218122"/>
                    </a:lnTo>
                    <a:lnTo>
                      <a:pt x="283845" y="200977"/>
                    </a:lnTo>
                    <a:lnTo>
                      <a:pt x="294323" y="176117"/>
                    </a:lnTo>
                    <a:lnTo>
                      <a:pt x="319088" y="158115"/>
                    </a:lnTo>
                    <a:lnTo>
                      <a:pt x="336233" y="155162"/>
                    </a:lnTo>
                    <a:lnTo>
                      <a:pt x="367665" y="151447"/>
                    </a:lnTo>
                    <a:lnTo>
                      <a:pt x="350520" y="126587"/>
                    </a:lnTo>
                    <a:lnTo>
                      <a:pt x="360998" y="9906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7" name="Freeform: Shape 376">
                <a:extLst>
                  <a:ext uri="{FF2B5EF4-FFF2-40B4-BE49-F238E27FC236}">
                    <a16:creationId xmlns:a16="http://schemas.microsoft.com/office/drawing/2014/main" id="{70B3A43C-9765-9FBA-2E52-B85705DA0010}"/>
                  </a:ext>
                </a:extLst>
              </p:cNvPr>
              <p:cNvSpPr/>
              <p:nvPr/>
            </p:nvSpPr>
            <p:spPr>
              <a:xfrm>
                <a:off x="6568092" y="2266366"/>
                <a:ext cx="34547" cy="30720"/>
              </a:xfrm>
              <a:custGeom>
                <a:avLst/>
                <a:gdLst>
                  <a:gd name="connsiteX0" fmla="*/ 35243 w 35242"/>
                  <a:gd name="connsiteY0" fmla="*/ 31337 h 31337"/>
                  <a:gd name="connsiteX1" fmla="*/ 20955 w 35242"/>
                  <a:gd name="connsiteY1" fmla="*/ 17050 h 31337"/>
                  <a:gd name="connsiteX2" fmla="*/ 0 w 35242"/>
                  <a:gd name="connsiteY2" fmla="*/ 0 h 31337"/>
                  <a:gd name="connsiteX3" fmla="*/ 0 w 35242"/>
                  <a:gd name="connsiteY3" fmla="*/ 0 h 31337"/>
                  <a:gd name="connsiteX4" fmla="*/ 35243 w 35242"/>
                  <a:gd name="connsiteY4" fmla="*/ 31337 h 31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42" h="31337">
                    <a:moveTo>
                      <a:pt x="35243" y="31337"/>
                    </a:moveTo>
                    <a:lnTo>
                      <a:pt x="20955" y="1705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5243" y="3133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8" name="Freeform: Shape 377">
                <a:extLst>
                  <a:ext uri="{FF2B5EF4-FFF2-40B4-BE49-F238E27FC236}">
                    <a16:creationId xmlns:a16="http://schemas.microsoft.com/office/drawing/2014/main" id="{F27D6FF4-74E9-C13C-5610-FB522FF9F2D5}"/>
                  </a:ext>
                </a:extLst>
              </p:cNvPr>
              <p:cNvSpPr/>
              <p:nvPr/>
            </p:nvSpPr>
            <p:spPr>
              <a:xfrm>
                <a:off x="6639989" y="2321456"/>
                <a:ext cx="3735" cy="34548"/>
              </a:xfrm>
              <a:custGeom>
                <a:avLst/>
                <a:gdLst>
                  <a:gd name="connsiteX0" fmla="*/ 3810 w 3810"/>
                  <a:gd name="connsiteY0" fmla="*/ 14288 h 35242"/>
                  <a:gd name="connsiteX1" fmla="*/ 3810 w 3810"/>
                  <a:gd name="connsiteY1" fmla="*/ 0 h 35242"/>
                  <a:gd name="connsiteX2" fmla="*/ 0 w 3810"/>
                  <a:gd name="connsiteY2" fmla="*/ 35243 h 35242"/>
                  <a:gd name="connsiteX3" fmla="*/ 3810 w 3810"/>
                  <a:gd name="connsiteY3" fmla="*/ 14288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" h="35242">
                    <a:moveTo>
                      <a:pt x="3810" y="14288"/>
                    </a:moveTo>
                    <a:lnTo>
                      <a:pt x="3810" y="0"/>
                    </a:lnTo>
                    <a:lnTo>
                      <a:pt x="0" y="35243"/>
                    </a:lnTo>
                    <a:lnTo>
                      <a:pt x="3810" y="1428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9" name="Freeform: Shape 378">
                <a:extLst>
                  <a:ext uri="{FF2B5EF4-FFF2-40B4-BE49-F238E27FC236}">
                    <a16:creationId xmlns:a16="http://schemas.microsoft.com/office/drawing/2014/main" id="{23E43DF7-5D30-518B-4F9A-FCC4460DEF37}"/>
                  </a:ext>
                </a:extLst>
              </p:cNvPr>
              <p:cNvSpPr/>
              <p:nvPr/>
            </p:nvSpPr>
            <p:spPr>
              <a:xfrm>
                <a:off x="6134844" y="2162721"/>
                <a:ext cx="708696" cy="583582"/>
              </a:xfrm>
              <a:custGeom>
                <a:avLst/>
                <a:gdLst>
                  <a:gd name="connsiteX0" fmla="*/ 199072 w 722947"/>
                  <a:gd name="connsiteY0" fmla="*/ 521970 h 595312"/>
                  <a:gd name="connsiteX1" fmla="*/ 212408 w 722947"/>
                  <a:gd name="connsiteY1" fmla="*/ 507682 h 595312"/>
                  <a:gd name="connsiteX2" fmla="*/ 220028 w 722947"/>
                  <a:gd name="connsiteY2" fmla="*/ 486632 h 595312"/>
                  <a:gd name="connsiteX3" fmla="*/ 199072 w 722947"/>
                  <a:gd name="connsiteY3" fmla="*/ 472345 h 595312"/>
                  <a:gd name="connsiteX4" fmla="*/ 222885 w 722947"/>
                  <a:gd name="connsiteY4" fmla="*/ 468630 h 595312"/>
                  <a:gd name="connsiteX5" fmla="*/ 220028 w 722947"/>
                  <a:gd name="connsiteY5" fmla="*/ 447675 h 595312"/>
                  <a:gd name="connsiteX6" fmla="*/ 199072 w 722947"/>
                  <a:gd name="connsiteY6" fmla="*/ 437102 h 595312"/>
                  <a:gd name="connsiteX7" fmla="*/ 199072 w 722947"/>
                  <a:gd name="connsiteY7" fmla="*/ 401955 h 595312"/>
                  <a:gd name="connsiteX8" fmla="*/ 199072 w 722947"/>
                  <a:gd name="connsiteY8" fmla="*/ 348520 h 595312"/>
                  <a:gd name="connsiteX9" fmla="*/ 255270 w 722947"/>
                  <a:gd name="connsiteY9" fmla="*/ 331470 h 595312"/>
                  <a:gd name="connsiteX10" fmla="*/ 261938 w 722947"/>
                  <a:gd name="connsiteY10" fmla="*/ 323850 h 595312"/>
                  <a:gd name="connsiteX11" fmla="*/ 251460 w 722947"/>
                  <a:gd name="connsiteY11" fmla="*/ 298990 h 595312"/>
                  <a:gd name="connsiteX12" fmla="*/ 268605 w 722947"/>
                  <a:gd name="connsiteY12" fmla="*/ 271463 h 595312"/>
                  <a:gd name="connsiteX13" fmla="*/ 272415 w 722947"/>
                  <a:gd name="connsiteY13" fmla="*/ 246602 h 595312"/>
                  <a:gd name="connsiteX14" fmla="*/ 297180 w 722947"/>
                  <a:gd name="connsiteY14" fmla="*/ 240030 h 595312"/>
                  <a:gd name="connsiteX15" fmla="*/ 300990 w 722947"/>
                  <a:gd name="connsiteY15" fmla="*/ 218027 h 595312"/>
                  <a:gd name="connsiteX16" fmla="*/ 321945 w 722947"/>
                  <a:gd name="connsiteY16" fmla="*/ 200882 h 595312"/>
                  <a:gd name="connsiteX17" fmla="*/ 321945 w 722947"/>
                  <a:gd name="connsiteY17" fmla="*/ 179927 h 595312"/>
                  <a:gd name="connsiteX18" fmla="*/ 342900 w 722947"/>
                  <a:gd name="connsiteY18" fmla="*/ 151352 h 595312"/>
                  <a:gd name="connsiteX19" fmla="*/ 374333 w 722947"/>
                  <a:gd name="connsiteY19" fmla="*/ 147638 h 595312"/>
                  <a:gd name="connsiteX20" fmla="*/ 374333 w 722947"/>
                  <a:gd name="connsiteY20" fmla="*/ 126587 h 595312"/>
                  <a:gd name="connsiteX21" fmla="*/ 399097 w 722947"/>
                  <a:gd name="connsiteY21" fmla="*/ 122777 h 595312"/>
                  <a:gd name="connsiteX22" fmla="*/ 399097 w 722947"/>
                  <a:gd name="connsiteY22" fmla="*/ 137065 h 595312"/>
                  <a:gd name="connsiteX23" fmla="*/ 423863 w 722947"/>
                  <a:gd name="connsiteY23" fmla="*/ 137065 h 595312"/>
                  <a:gd name="connsiteX24" fmla="*/ 423863 w 722947"/>
                  <a:gd name="connsiteY24" fmla="*/ 109538 h 595312"/>
                  <a:gd name="connsiteX25" fmla="*/ 441960 w 722947"/>
                  <a:gd name="connsiteY25" fmla="*/ 105728 h 595312"/>
                  <a:gd name="connsiteX26" fmla="*/ 448628 w 722947"/>
                  <a:gd name="connsiteY26" fmla="*/ 100013 h 595312"/>
                  <a:gd name="connsiteX27" fmla="*/ 459105 w 722947"/>
                  <a:gd name="connsiteY27" fmla="*/ 91440 h 595312"/>
                  <a:gd name="connsiteX28" fmla="*/ 459105 w 722947"/>
                  <a:gd name="connsiteY28" fmla="*/ 91440 h 595312"/>
                  <a:gd name="connsiteX29" fmla="*/ 459105 w 722947"/>
                  <a:gd name="connsiteY29" fmla="*/ 91440 h 595312"/>
                  <a:gd name="connsiteX30" fmla="*/ 459105 w 722947"/>
                  <a:gd name="connsiteY30" fmla="*/ 91440 h 595312"/>
                  <a:gd name="connsiteX31" fmla="*/ 469583 w 722947"/>
                  <a:gd name="connsiteY31" fmla="*/ 101918 h 595312"/>
                  <a:gd name="connsiteX32" fmla="*/ 483870 w 722947"/>
                  <a:gd name="connsiteY32" fmla="*/ 120015 h 595312"/>
                  <a:gd name="connsiteX33" fmla="*/ 533400 w 722947"/>
                  <a:gd name="connsiteY33" fmla="*/ 122777 h 595312"/>
                  <a:gd name="connsiteX34" fmla="*/ 558165 w 722947"/>
                  <a:gd name="connsiteY34" fmla="*/ 126587 h 595312"/>
                  <a:gd name="connsiteX35" fmla="*/ 575310 w 722947"/>
                  <a:gd name="connsiteY35" fmla="*/ 109538 h 595312"/>
                  <a:gd name="connsiteX36" fmla="*/ 582930 w 722947"/>
                  <a:gd name="connsiteY36" fmla="*/ 91440 h 595312"/>
                  <a:gd name="connsiteX37" fmla="*/ 585788 w 722947"/>
                  <a:gd name="connsiteY37" fmla="*/ 77153 h 595312"/>
                  <a:gd name="connsiteX38" fmla="*/ 589597 w 722947"/>
                  <a:gd name="connsiteY38" fmla="*/ 74200 h 595312"/>
                  <a:gd name="connsiteX39" fmla="*/ 624840 w 722947"/>
                  <a:gd name="connsiteY39" fmla="*/ 52388 h 595312"/>
                  <a:gd name="connsiteX40" fmla="*/ 663892 w 722947"/>
                  <a:gd name="connsiteY40" fmla="*/ 66675 h 595312"/>
                  <a:gd name="connsiteX41" fmla="*/ 681038 w 722947"/>
                  <a:gd name="connsiteY41" fmla="*/ 91440 h 595312"/>
                  <a:gd name="connsiteX42" fmla="*/ 699135 w 722947"/>
                  <a:gd name="connsiteY42" fmla="*/ 87630 h 595312"/>
                  <a:gd name="connsiteX43" fmla="*/ 699135 w 722947"/>
                  <a:gd name="connsiteY43" fmla="*/ 77153 h 595312"/>
                  <a:gd name="connsiteX44" fmla="*/ 670560 w 722947"/>
                  <a:gd name="connsiteY44" fmla="*/ 52388 h 595312"/>
                  <a:gd name="connsiteX45" fmla="*/ 705803 w 722947"/>
                  <a:gd name="connsiteY45" fmla="*/ 56102 h 595312"/>
                  <a:gd name="connsiteX46" fmla="*/ 722947 w 722947"/>
                  <a:gd name="connsiteY46" fmla="*/ 35243 h 595312"/>
                  <a:gd name="connsiteX47" fmla="*/ 681038 w 722947"/>
                  <a:gd name="connsiteY47" fmla="*/ 17050 h 595312"/>
                  <a:gd name="connsiteX48" fmla="*/ 649605 w 722947"/>
                  <a:gd name="connsiteY48" fmla="*/ 35243 h 595312"/>
                  <a:gd name="connsiteX49" fmla="*/ 656272 w 722947"/>
                  <a:gd name="connsiteY49" fmla="*/ 10478 h 595312"/>
                  <a:gd name="connsiteX50" fmla="*/ 631508 w 722947"/>
                  <a:gd name="connsiteY50" fmla="*/ 6668 h 595312"/>
                  <a:gd name="connsiteX51" fmla="*/ 603885 w 722947"/>
                  <a:gd name="connsiteY51" fmla="*/ 39053 h 595312"/>
                  <a:gd name="connsiteX52" fmla="*/ 603885 w 722947"/>
                  <a:gd name="connsiteY52" fmla="*/ 17050 h 595312"/>
                  <a:gd name="connsiteX53" fmla="*/ 561022 w 722947"/>
                  <a:gd name="connsiteY53" fmla="*/ 56102 h 595312"/>
                  <a:gd name="connsiteX54" fmla="*/ 561022 w 722947"/>
                  <a:gd name="connsiteY54" fmla="*/ 39053 h 595312"/>
                  <a:gd name="connsiteX55" fmla="*/ 593408 w 722947"/>
                  <a:gd name="connsiteY55" fmla="*/ 6668 h 595312"/>
                  <a:gd name="connsiteX56" fmla="*/ 579120 w 722947"/>
                  <a:gd name="connsiteY56" fmla="*/ 0 h 595312"/>
                  <a:gd name="connsiteX57" fmla="*/ 543878 w 722947"/>
                  <a:gd name="connsiteY57" fmla="*/ 27527 h 595312"/>
                  <a:gd name="connsiteX58" fmla="*/ 519113 w 722947"/>
                  <a:gd name="connsiteY58" fmla="*/ 27527 h 595312"/>
                  <a:gd name="connsiteX59" fmla="*/ 512445 w 722947"/>
                  <a:gd name="connsiteY59" fmla="*/ 62865 h 595312"/>
                  <a:gd name="connsiteX60" fmla="*/ 501967 w 722947"/>
                  <a:gd name="connsiteY60" fmla="*/ 59912 h 595312"/>
                  <a:gd name="connsiteX61" fmla="*/ 501967 w 722947"/>
                  <a:gd name="connsiteY61" fmla="*/ 41815 h 595312"/>
                  <a:gd name="connsiteX62" fmla="*/ 480060 w 722947"/>
                  <a:gd name="connsiteY62" fmla="*/ 45625 h 595312"/>
                  <a:gd name="connsiteX63" fmla="*/ 469583 w 722947"/>
                  <a:gd name="connsiteY63" fmla="*/ 66675 h 595312"/>
                  <a:gd name="connsiteX64" fmla="*/ 452438 w 722947"/>
                  <a:gd name="connsiteY64" fmla="*/ 56102 h 595312"/>
                  <a:gd name="connsiteX65" fmla="*/ 427672 w 722947"/>
                  <a:gd name="connsiteY65" fmla="*/ 70390 h 595312"/>
                  <a:gd name="connsiteX66" fmla="*/ 417195 w 722947"/>
                  <a:gd name="connsiteY66" fmla="*/ 52388 h 595312"/>
                  <a:gd name="connsiteX67" fmla="*/ 396240 w 722947"/>
                  <a:gd name="connsiteY67" fmla="*/ 52388 h 595312"/>
                  <a:gd name="connsiteX68" fmla="*/ 381953 w 722947"/>
                  <a:gd name="connsiteY68" fmla="*/ 84677 h 595312"/>
                  <a:gd name="connsiteX69" fmla="*/ 350520 w 722947"/>
                  <a:gd name="connsiteY69" fmla="*/ 77153 h 595312"/>
                  <a:gd name="connsiteX70" fmla="*/ 339090 w 722947"/>
                  <a:gd name="connsiteY70" fmla="*/ 95250 h 595312"/>
                  <a:gd name="connsiteX71" fmla="*/ 357188 w 722947"/>
                  <a:gd name="connsiteY71" fmla="*/ 105728 h 595312"/>
                  <a:gd name="connsiteX72" fmla="*/ 353378 w 722947"/>
                  <a:gd name="connsiteY72" fmla="*/ 120015 h 595312"/>
                  <a:gd name="connsiteX73" fmla="*/ 321945 w 722947"/>
                  <a:gd name="connsiteY73" fmla="*/ 112300 h 595312"/>
                  <a:gd name="connsiteX74" fmla="*/ 307658 w 722947"/>
                  <a:gd name="connsiteY74" fmla="*/ 98012 h 595312"/>
                  <a:gd name="connsiteX75" fmla="*/ 290513 w 722947"/>
                  <a:gd name="connsiteY75" fmla="*/ 109538 h 595312"/>
                  <a:gd name="connsiteX76" fmla="*/ 282892 w 722947"/>
                  <a:gd name="connsiteY76" fmla="*/ 126587 h 595312"/>
                  <a:gd name="connsiteX77" fmla="*/ 286703 w 722947"/>
                  <a:gd name="connsiteY77" fmla="*/ 137065 h 595312"/>
                  <a:gd name="connsiteX78" fmla="*/ 307658 w 722947"/>
                  <a:gd name="connsiteY78" fmla="*/ 137065 h 595312"/>
                  <a:gd name="connsiteX79" fmla="*/ 325755 w 722947"/>
                  <a:gd name="connsiteY79" fmla="*/ 126587 h 595312"/>
                  <a:gd name="connsiteX80" fmla="*/ 321945 w 722947"/>
                  <a:gd name="connsiteY80" fmla="*/ 151352 h 595312"/>
                  <a:gd name="connsiteX81" fmla="*/ 307658 w 722947"/>
                  <a:gd name="connsiteY81" fmla="*/ 151352 h 595312"/>
                  <a:gd name="connsiteX82" fmla="*/ 293370 w 722947"/>
                  <a:gd name="connsiteY82" fmla="*/ 176213 h 595312"/>
                  <a:gd name="connsiteX83" fmla="*/ 276225 w 722947"/>
                  <a:gd name="connsiteY83" fmla="*/ 186690 h 595312"/>
                  <a:gd name="connsiteX84" fmla="*/ 240983 w 722947"/>
                  <a:gd name="connsiteY84" fmla="*/ 215170 h 595312"/>
                  <a:gd name="connsiteX85" fmla="*/ 240983 w 722947"/>
                  <a:gd name="connsiteY85" fmla="*/ 236220 h 595312"/>
                  <a:gd name="connsiteX86" fmla="*/ 222885 w 722947"/>
                  <a:gd name="connsiteY86" fmla="*/ 246602 h 595312"/>
                  <a:gd name="connsiteX87" fmla="*/ 199072 w 722947"/>
                  <a:gd name="connsiteY87" fmla="*/ 288608 h 595312"/>
                  <a:gd name="connsiteX88" fmla="*/ 180975 w 722947"/>
                  <a:gd name="connsiteY88" fmla="*/ 313277 h 595312"/>
                  <a:gd name="connsiteX89" fmla="*/ 161925 w 722947"/>
                  <a:gd name="connsiteY89" fmla="*/ 323850 h 595312"/>
                  <a:gd name="connsiteX90" fmla="*/ 129540 w 722947"/>
                  <a:gd name="connsiteY90" fmla="*/ 356140 h 595312"/>
                  <a:gd name="connsiteX91" fmla="*/ 147638 w 722947"/>
                  <a:gd name="connsiteY91" fmla="*/ 359093 h 595312"/>
                  <a:gd name="connsiteX92" fmla="*/ 164783 w 722947"/>
                  <a:gd name="connsiteY92" fmla="*/ 341852 h 595312"/>
                  <a:gd name="connsiteX93" fmla="*/ 172403 w 722947"/>
                  <a:gd name="connsiteY93" fmla="*/ 356140 h 595312"/>
                  <a:gd name="connsiteX94" fmla="*/ 147638 w 722947"/>
                  <a:gd name="connsiteY94" fmla="*/ 370427 h 595312"/>
                  <a:gd name="connsiteX95" fmla="*/ 122872 w 722947"/>
                  <a:gd name="connsiteY95" fmla="*/ 366713 h 595312"/>
                  <a:gd name="connsiteX96" fmla="*/ 108585 w 722947"/>
                  <a:gd name="connsiteY96" fmla="*/ 366713 h 595312"/>
                  <a:gd name="connsiteX97" fmla="*/ 98108 w 722947"/>
                  <a:gd name="connsiteY97" fmla="*/ 387668 h 595312"/>
                  <a:gd name="connsiteX98" fmla="*/ 73342 w 722947"/>
                  <a:gd name="connsiteY98" fmla="*/ 398145 h 595312"/>
                  <a:gd name="connsiteX99" fmla="*/ 45720 w 722947"/>
                  <a:gd name="connsiteY99" fmla="*/ 405670 h 595312"/>
                  <a:gd name="connsiteX100" fmla="*/ 6668 w 722947"/>
                  <a:gd name="connsiteY100" fmla="*/ 422815 h 595312"/>
                  <a:gd name="connsiteX101" fmla="*/ 0 w 722947"/>
                  <a:gd name="connsiteY101" fmla="*/ 441008 h 595312"/>
                  <a:gd name="connsiteX102" fmla="*/ 6668 w 722947"/>
                  <a:gd name="connsiteY102" fmla="*/ 479107 h 595312"/>
                  <a:gd name="connsiteX103" fmla="*/ 13335 w 722947"/>
                  <a:gd name="connsiteY103" fmla="*/ 493395 h 595312"/>
                  <a:gd name="connsiteX104" fmla="*/ 31433 w 722947"/>
                  <a:gd name="connsiteY104" fmla="*/ 503777 h 595312"/>
                  <a:gd name="connsiteX105" fmla="*/ 6668 w 722947"/>
                  <a:gd name="connsiteY105" fmla="*/ 521970 h 595312"/>
                  <a:gd name="connsiteX106" fmla="*/ 10478 w 722947"/>
                  <a:gd name="connsiteY106" fmla="*/ 536257 h 595312"/>
                  <a:gd name="connsiteX107" fmla="*/ 27622 w 722947"/>
                  <a:gd name="connsiteY107" fmla="*/ 532352 h 595312"/>
                  <a:gd name="connsiteX108" fmla="*/ 31433 w 722947"/>
                  <a:gd name="connsiteY108" fmla="*/ 539020 h 595312"/>
                  <a:gd name="connsiteX109" fmla="*/ 17145 w 722947"/>
                  <a:gd name="connsiteY109" fmla="*/ 557213 h 595312"/>
                  <a:gd name="connsiteX110" fmla="*/ 20955 w 722947"/>
                  <a:gd name="connsiteY110" fmla="*/ 571500 h 595312"/>
                  <a:gd name="connsiteX111" fmla="*/ 41910 w 722947"/>
                  <a:gd name="connsiteY111" fmla="*/ 588645 h 595312"/>
                  <a:gd name="connsiteX112" fmla="*/ 73342 w 722947"/>
                  <a:gd name="connsiteY112" fmla="*/ 595313 h 595312"/>
                  <a:gd name="connsiteX113" fmla="*/ 108585 w 722947"/>
                  <a:gd name="connsiteY113" fmla="*/ 578168 h 595312"/>
                  <a:gd name="connsiteX114" fmla="*/ 129540 w 722947"/>
                  <a:gd name="connsiteY114" fmla="*/ 557213 h 595312"/>
                  <a:gd name="connsiteX115" fmla="*/ 143828 w 722947"/>
                  <a:gd name="connsiteY115" fmla="*/ 549593 h 595312"/>
                  <a:gd name="connsiteX116" fmla="*/ 154305 w 722947"/>
                  <a:gd name="connsiteY116" fmla="*/ 528638 h 595312"/>
                  <a:gd name="connsiteX117" fmla="*/ 161925 w 722947"/>
                  <a:gd name="connsiteY117" fmla="*/ 546640 h 595312"/>
                  <a:gd name="connsiteX118" fmla="*/ 168592 w 722947"/>
                  <a:gd name="connsiteY118" fmla="*/ 553307 h 595312"/>
                  <a:gd name="connsiteX119" fmla="*/ 199072 w 722947"/>
                  <a:gd name="connsiteY119" fmla="*/ 549593 h 595312"/>
                  <a:gd name="connsiteX120" fmla="*/ 199072 w 722947"/>
                  <a:gd name="connsiteY120" fmla="*/ 521970 h 595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722947" h="595312">
                    <a:moveTo>
                      <a:pt x="199072" y="521970"/>
                    </a:moveTo>
                    <a:lnTo>
                      <a:pt x="212408" y="507682"/>
                    </a:lnTo>
                    <a:lnTo>
                      <a:pt x="220028" y="486632"/>
                    </a:lnTo>
                    <a:lnTo>
                      <a:pt x="199072" y="472345"/>
                    </a:lnTo>
                    <a:lnTo>
                      <a:pt x="222885" y="468630"/>
                    </a:lnTo>
                    <a:lnTo>
                      <a:pt x="220028" y="447675"/>
                    </a:lnTo>
                    <a:lnTo>
                      <a:pt x="199072" y="437102"/>
                    </a:lnTo>
                    <a:lnTo>
                      <a:pt x="199072" y="401955"/>
                    </a:lnTo>
                    <a:lnTo>
                      <a:pt x="199072" y="348520"/>
                    </a:lnTo>
                    <a:lnTo>
                      <a:pt x="255270" y="331470"/>
                    </a:lnTo>
                    <a:lnTo>
                      <a:pt x="261938" y="323850"/>
                    </a:lnTo>
                    <a:lnTo>
                      <a:pt x="251460" y="298990"/>
                    </a:lnTo>
                    <a:lnTo>
                      <a:pt x="268605" y="271463"/>
                    </a:lnTo>
                    <a:lnTo>
                      <a:pt x="272415" y="246602"/>
                    </a:lnTo>
                    <a:lnTo>
                      <a:pt x="297180" y="240030"/>
                    </a:lnTo>
                    <a:lnTo>
                      <a:pt x="300990" y="218027"/>
                    </a:lnTo>
                    <a:lnTo>
                      <a:pt x="321945" y="200882"/>
                    </a:lnTo>
                    <a:lnTo>
                      <a:pt x="321945" y="179927"/>
                    </a:lnTo>
                    <a:lnTo>
                      <a:pt x="342900" y="151352"/>
                    </a:lnTo>
                    <a:lnTo>
                      <a:pt x="374333" y="147638"/>
                    </a:lnTo>
                    <a:lnTo>
                      <a:pt x="374333" y="126587"/>
                    </a:lnTo>
                    <a:lnTo>
                      <a:pt x="399097" y="122777"/>
                    </a:lnTo>
                    <a:lnTo>
                      <a:pt x="399097" y="137065"/>
                    </a:lnTo>
                    <a:lnTo>
                      <a:pt x="423863" y="137065"/>
                    </a:lnTo>
                    <a:lnTo>
                      <a:pt x="423863" y="109538"/>
                    </a:lnTo>
                    <a:lnTo>
                      <a:pt x="441960" y="105728"/>
                    </a:lnTo>
                    <a:lnTo>
                      <a:pt x="448628" y="100013"/>
                    </a:lnTo>
                    <a:lnTo>
                      <a:pt x="459105" y="91440"/>
                    </a:lnTo>
                    <a:lnTo>
                      <a:pt x="459105" y="91440"/>
                    </a:lnTo>
                    <a:lnTo>
                      <a:pt x="459105" y="91440"/>
                    </a:lnTo>
                    <a:lnTo>
                      <a:pt x="459105" y="91440"/>
                    </a:lnTo>
                    <a:lnTo>
                      <a:pt x="469583" y="101918"/>
                    </a:lnTo>
                    <a:lnTo>
                      <a:pt x="483870" y="120015"/>
                    </a:lnTo>
                    <a:lnTo>
                      <a:pt x="533400" y="122777"/>
                    </a:lnTo>
                    <a:lnTo>
                      <a:pt x="558165" y="126587"/>
                    </a:lnTo>
                    <a:lnTo>
                      <a:pt x="575310" y="109538"/>
                    </a:lnTo>
                    <a:lnTo>
                      <a:pt x="582930" y="91440"/>
                    </a:lnTo>
                    <a:lnTo>
                      <a:pt x="585788" y="77153"/>
                    </a:lnTo>
                    <a:lnTo>
                      <a:pt x="589597" y="74200"/>
                    </a:lnTo>
                    <a:lnTo>
                      <a:pt x="624840" y="52388"/>
                    </a:lnTo>
                    <a:lnTo>
                      <a:pt x="663892" y="66675"/>
                    </a:lnTo>
                    <a:lnTo>
                      <a:pt x="681038" y="91440"/>
                    </a:lnTo>
                    <a:lnTo>
                      <a:pt x="699135" y="87630"/>
                    </a:lnTo>
                    <a:lnTo>
                      <a:pt x="699135" y="77153"/>
                    </a:lnTo>
                    <a:lnTo>
                      <a:pt x="670560" y="52388"/>
                    </a:lnTo>
                    <a:lnTo>
                      <a:pt x="705803" y="56102"/>
                    </a:lnTo>
                    <a:lnTo>
                      <a:pt x="722947" y="35243"/>
                    </a:lnTo>
                    <a:lnTo>
                      <a:pt x="681038" y="17050"/>
                    </a:lnTo>
                    <a:lnTo>
                      <a:pt x="649605" y="35243"/>
                    </a:lnTo>
                    <a:lnTo>
                      <a:pt x="656272" y="10478"/>
                    </a:lnTo>
                    <a:lnTo>
                      <a:pt x="631508" y="6668"/>
                    </a:lnTo>
                    <a:lnTo>
                      <a:pt x="603885" y="39053"/>
                    </a:lnTo>
                    <a:lnTo>
                      <a:pt x="603885" y="17050"/>
                    </a:lnTo>
                    <a:lnTo>
                      <a:pt x="561022" y="56102"/>
                    </a:lnTo>
                    <a:lnTo>
                      <a:pt x="561022" y="39053"/>
                    </a:lnTo>
                    <a:lnTo>
                      <a:pt x="593408" y="6668"/>
                    </a:lnTo>
                    <a:lnTo>
                      <a:pt x="579120" y="0"/>
                    </a:lnTo>
                    <a:lnTo>
                      <a:pt x="543878" y="27527"/>
                    </a:lnTo>
                    <a:lnTo>
                      <a:pt x="519113" y="27527"/>
                    </a:lnTo>
                    <a:lnTo>
                      <a:pt x="512445" y="62865"/>
                    </a:lnTo>
                    <a:lnTo>
                      <a:pt x="501967" y="59912"/>
                    </a:lnTo>
                    <a:lnTo>
                      <a:pt x="501967" y="41815"/>
                    </a:lnTo>
                    <a:lnTo>
                      <a:pt x="480060" y="45625"/>
                    </a:lnTo>
                    <a:lnTo>
                      <a:pt x="469583" y="66675"/>
                    </a:lnTo>
                    <a:lnTo>
                      <a:pt x="452438" y="56102"/>
                    </a:lnTo>
                    <a:lnTo>
                      <a:pt x="427672" y="70390"/>
                    </a:lnTo>
                    <a:lnTo>
                      <a:pt x="417195" y="52388"/>
                    </a:lnTo>
                    <a:lnTo>
                      <a:pt x="396240" y="52388"/>
                    </a:lnTo>
                    <a:lnTo>
                      <a:pt x="381953" y="84677"/>
                    </a:lnTo>
                    <a:lnTo>
                      <a:pt x="350520" y="77153"/>
                    </a:lnTo>
                    <a:lnTo>
                      <a:pt x="339090" y="95250"/>
                    </a:lnTo>
                    <a:lnTo>
                      <a:pt x="357188" y="105728"/>
                    </a:lnTo>
                    <a:lnTo>
                      <a:pt x="353378" y="120015"/>
                    </a:lnTo>
                    <a:lnTo>
                      <a:pt x="321945" y="112300"/>
                    </a:lnTo>
                    <a:lnTo>
                      <a:pt x="307658" y="98012"/>
                    </a:lnTo>
                    <a:lnTo>
                      <a:pt x="290513" y="109538"/>
                    </a:lnTo>
                    <a:lnTo>
                      <a:pt x="282892" y="126587"/>
                    </a:lnTo>
                    <a:lnTo>
                      <a:pt x="286703" y="137065"/>
                    </a:lnTo>
                    <a:lnTo>
                      <a:pt x="307658" y="137065"/>
                    </a:lnTo>
                    <a:lnTo>
                      <a:pt x="325755" y="126587"/>
                    </a:lnTo>
                    <a:lnTo>
                      <a:pt x="321945" y="151352"/>
                    </a:lnTo>
                    <a:lnTo>
                      <a:pt x="307658" y="151352"/>
                    </a:lnTo>
                    <a:lnTo>
                      <a:pt x="293370" y="176213"/>
                    </a:lnTo>
                    <a:lnTo>
                      <a:pt x="276225" y="186690"/>
                    </a:lnTo>
                    <a:lnTo>
                      <a:pt x="240983" y="215170"/>
                    </a:lnTo>
                    <a:lnTo>
                      <a:pt x="240983" y="236220"/>
                    </a:lnTo>
                    <a:lnTo>
                      <a:pt x="222885" y="246602"/>
                    </a:lnTo>
                    <a:lnTo>
                      <a:pt x="199072" y="288608"/>
                    </a:lnTo>
                    <a:lnTo>
                      <a:pt x="180975" y="313277"/>
                    </a:lnTo>
                    <a:lnTo>
                      <a:pt x="161925" y="323850"/>
                    </a:lnTo>
                    <a:lnTo>
                      <a:pt x="129540" y="356140"/>
                    </a:lnTo>
                    <a:lnTo>
                      <a:pt x="147638" y="359093"/>
                    </a:lnTo>
                    <a:lnTo>
                      <a:pt x="164783" y="341852"/>
                    </a:lnTo>
                    <a:lnTo>
                      <a:pt x="172403" y="356140"/>
                    </a:lnTo>
                    <a:lnTo>
                      <a:pt x="147638" y="370427"/>
                    </a:lnTo>
                    <a:lnTo>
                      <a:pt x="122872" y="366713"/>
                    </a:lnTo>
                    <a:lnTo>
                      <a:pt x="108585" y="366713"/>
                    </a:lnTo>
                    <a:lnTo>
                      <a:pt x="98108" y="387668"/>
                    </a:lnTo>
                    <a:lnTo>
                      <a:pt x="73342" y="398145"/>
                    </a:lnTo>
                    <a:lnTo>
                      <a:pt x="45720" y="405670"/>
                    </a:lnTo>
                    <a:lnTo>
                      <a:pt x="6668" y="422815"/>
                    </a:lnTo>
                    <a:lnTo>
                      <a:pt x="0" y="441008"/>
                    </a:lnTo>
                    <a:lnTo>
                      <a:pt x="6668" y="479107"/>
                    </a:lnTo>
                    <a:lnTo>
                      <a:pt x="13335" y="493395"/>
                    </a:lnTo>
                    <a:lnTo>
                      <a:pt x="31433" y="503777"/>
                    </a:lnTo>
                    <a:lnTo>
                      <a:pt x="6668" y="521970"/>
                    </a:lnTo>
                    <a:lnTo>
                      <a:pt x="10478" y="536257"/>
                    </a:lnTo>
                    <a:lnTo>
                      <a:pt x="27622" y="532352"/>
                    </a:lnTo>
                    <a:lnTo>
                      <a:pt x="31433" y="539020"/>
                    </a:lnTo>
                    <a:lnTo>
                      <a:pt x="17145" y="557213"/>
                    </a:lnTo>
                    <a:lnTo>
                      <a:pt x="20955" y="571500"/>
                    </a:lnTo>
                    <a:lnTo>
                      <a:pt x="41910" y="588645"/>
                    </a:lnTo>
                    <a:lnTo>
                      <a:pt x="73342" y="595313"/>
                    </a:lnTo>
                    <a:lnTo>
                      <a:pt x="108585" y="578168"/>
                    </a:lnTo>
                    <a:lnTo>
                      <a:pt x="129540" y="557213"/>
                    </a:lnTo>
                    <a:lnTo>
                      <a:pt x="143828" y="549593"/>
                    </a:lnTo>
                    <a:lnTo>
                      <a:pt x="154305" y="528638"/>
                    </a:lnTo>
                    <a:lnTo>
                      <a:pt x="161925" y="546640"/>
                    </a:lnTo>
                    <a:lnTo>
                      <a:pt x="168592" y="553307"/>
                    </a:lnTo>
                    <a:lnTo>
                      <a:pt x="199072" y="549593"/>
                    </a:lnTo>
                    <a:lnTo>
                      <a:pt x="199072" y="52197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0" name="Freeform: Shape 379">
                <a:extLst>
                  <a:ext uri="{FF2B5EF4-FFF2-40B4-BE49-F238E27FC236}">
                    <a16:creationId xmlns:a16="http://schemas.microsoft.com/office/drawing/2014/main" id="{114B6BC8-4BF0-FD31-C858-FAB18D2C5EC0}"/>
                  </a:ext>
                </a:extLst>
              </p:cNvPr>
              <p:cNvSpPr/>
              <p:nvPr/>
            </p:nvSpPr>
            <p:spPr>
              <a:xfrm>
                <a:off x="6682006" y="2252359"/>
                <a:ext cx="24276" cy="34454"/>
              </a:xfrm>
              <a:custGeom>
                <a:avLst/>
                <a:gdLst>
                  <a:gd name="connsiteX0" fmla="*/ 0 w 24764"/>
                  <a:gd name="connsiteY0" fmla="*/ 35147 h 35147"/>
                  <a:gd name="connsiteX1" fmla="*/ 20955 w 24764"/>
                  <a:gd name="connsiteY1" fmla="*/ 14288 h 35147"/>
                  <a:gd name="connsiteX2" fmla="*/ 24765 w 24764"/>
                  <a:gd name="connsiteY2" fmla="*/ 0 h 35147"/>
                  <a:gd name="connsiteX3" fmla="*/ 17145 w 24764"/>
                  <a:gd name="connsiteY3" fmla="*/ 18097 h 35147"/>
                  <a:gd name="connsiteX4" fmla="*/ 0 w 24764"/>
                  <a:gd name="connsiteY4" fmla="*/ 35147 h 35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64" h="35147">
                    <a:moveTo>
                      <a:pt x="0" y="35147"/>
                    </a:moveTo>
                    <a:lnTo>
                      <a:pt x="20955" y="14288"/>
                    </a:lnTo>
                    <a:lnTo>
                      <a:pt x="24765" y="0"/>
                    </a:lnTo>
                    <a:lnTo>
                      <a:pt x="17145" y="18097"/>
                    </a:lnTo>
                    <a:lnTo>
                      <a:pt x="0" y="3514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1" name="Freeform: Shape 380">
                <a:extLst>
                  <a:ext uri="{FF2B5EF4-FFF2-40B4-BE49-F238E27FC236}">
                    <a16:creationId xmlns:a16="http://schemas.microsoft.com/office/drawing/2014/main" id="{9DA4DBF7-09B8-899F-5D44-9FA92B0E5E70}"/>
                  </a:ext>
                </a:extLst>
              </p:cNvPr>
              <p:cNvSpPr/>
              <p:nvPr/>
            </p:nvSpPr>
            <p:spPr>
              <a:xfrm>
                <a:off x="6568092" y="2260764"/>
                <a:ext cx="6536" cy="5602"/>
              </a:xfrm>
              <a:custGeom>
                <a:avLst/>
                <a:gdLst>
                  <a:gd name="connsiteX0" fmla="*/ 0 w 6667"/>
                  <a:gd name="connsiteY0" fmla="*/ 5715 h 5715"/>
                  <a:gd name="connsiteX1" fmla="*/ 6668 w 6667"/>
                  <a:gd name="connsiteY1" fmla="*/ 0 h 5715"/>
                  <a:gd name="connsiteX2" fmla="*/ 0 w 6667"/>
                  <a:gd name="connsiteY2" fmla="*/ 5715 h 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667" h="5715">
                    <a:moveTo>
                      <a:pt x="0" y="5715"/>
                    </a:moveTo>
                    <a:lnTo>
                      <a:pt x="6668" y="0"/>
                    </a:lnTo>
                    <a:lnTo>
                      <a:pt x="0" y="5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2" name="Freeform: Shape 381">
                <a:extLst>
                  <a:ext uri="{FF2B5EF4-FFF2-40B4-BE49-F238E27FC236}">
                    <a16:creationId xmlns:a16="http://schemas.microsoft.com/office/drawing/2014/main" id="{235157F0-F56F-069A-D87B-D40B1034DD1A}"/>
                  </a:ext>
                </a:extLst>
              </p:cNvPr>
              <p:cNvSpPr/>
              <p:nvPr/>
            </p:nvSpPr>
            <p:spPr>
              <a:xfrm>
                <a:off x="6381347" y="2404464"/>
                <a:ext cx="20542" cy="51355"/>
              </a:xfrm>
              <a:custGeom>
                <a:avLst/>
                <a:gdLst>
                  <a:gd name="connsiteX0" fmla="*/ 0 w 20955"/>
                  <a:gd name="connsiteY0" fmla="*/ 52388 h 52387"/>
                  <a:gd name="connsiteX1" fmla="*/ 17145 w 20955"/>
                  <a:gd name="connsiteY1" fmla="*/ 24860 h 52387"/>
                  <a:gd name="connsiteX2" fmla="*/ 20955 w 20955"/>
                  <a:gd name="connsiteY2" fmla="*/ 0 h 52387"/>
                  <a:gd name="connsiteX3" fmla="*/ 17145 w 20955"/>
                  <a:gd name="connsiteY3" fmla="*/ 24860 h 52387"/>
                  <a:gd name="connsiteX4" fmla="*/ 0 w 20955"/>
                  <a:gd name="connsiteY4" fmla="*/ 52388 h 5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55" h="52387">
                    <a:moveTo>
                      <a:pt x="0" y="52388"/>
                    </a:moveTo>
                    <a:lnTo>
                      <a:pt x="17145" y="24860"/>
                    </a:lnTo>
                    <a:lnTo>
                      <a:pt x="20955" y="0"/>
                    </a:lnTo>
                    <a:lnTo>
                      <a:pt x="17145" y="24860"/>
                    </a:lnTo>
                    <a:lnTo>
                      <a:pt x="0" y="5238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3" name="Freeform: Shape 382">
                <a:extLst>
                  <a:ext uri="{FF2B5EF4-FFF2-40B4-BE49-F238E27FC236}">
                    <a16:creationId xmlns:a16="http://schemas.microsoft.com/office/drawing/2014/main" id="{45E8DE49-D665-0435-8659-F6080953A1D8}"/>
                  </a:ext>
                </a:extLst>
              </p:cNvPr>
              <p:cNvSpPr/>
              <p:nvPr/>
            </p:nvSpPr>
            <p:spPr>
              <a:xfrm>
                <a:off x="6450444" y="2307450"/>
                <a:ext cx="51354" cy="31653"/>
              </a:xfrm>
              <a:custGeom>
                <a:avLst/>
                <a:gdLst>
                  <a:gd name="connsiteX0" fmla="*/ 0 w 52387"/>
                  <a:gd name="connsiteY0" fmla="*/ 32290 h 32289"/>
                  <a:gd name="connsiteX1" fmla="*/ 20955 w 52387"/>
                  <a:gd name="connsiteY1" fmla="*/ 3715 h 32289"/>
                  <a:gd name="connsiteX2" fmla="*/ 52388 w 52387"/>
                  <a:gd name="connsiteY2" fmla="*/ 0 h 32289"/>
                  <a:gd name="connsiteX3" fmla="*/ 20955 w 52387"/>
                  <a:gd name="connsiteY3" fmla="*/ 3715 h 32289"/>
                  <a:gd name="connsiteX4" fmla="*/ 0 w 52387"/>
                  <a:gd name="connsiteY4" fmla="*/ 32290 h 32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87" h="32289">
                    <a:moveTo>
                      <a:pt x="0" y="32290"/>
                    </a:moveTo>
                    <a:lnTo>
                      <a:pt x="20955" y="3715"/>
                    </a:lnTo>
                    <a:lnTo>
                      <a:pt x="52388" y="0"/>
                    </a:lnTo>
                    <a:lnTo>
                      <a:pt x="20955" y="3715"/>
                    </a:lnTo>
                    <a:lnTo>
                      <a:pt x="0" y="3229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E8A68488-6DBF-0290-1884-67EABFC8EC89}"/>
                  </a:ext>
                </a:extLst>
              </p:cNvPr>
              <p:cNvSpPr/>
              <p:nvPr/>
            </p:nvSpPr>
            <p:spPr>
              <a:xfrm>
                <a:off x="6550352" y="2266366"/>
                <a:ext cx="17740" cy="3734"/>
              </a:xfrm>
              <a:custGeom>
                <a:avLst/>
                <a:gdLst>
                  <a:gd name="connsiteX0" fmla="*/ 0 w 18097"/>
                  <a:gd name="connsiteY0" fmla="*/ 3810 h 3809"/>
                  <a:gd name="connsiteX1" fmla="*/ 18097 w 18097"/>
                  <a:gd name="connsiteY1" fmla="*/ 0 h 3809"/>
                  <a:gd name="connsiteX2" fmla="*/ 18097 w 18097"/>
                  <a:gd name="connsiteY2" fmla="*/ 0 h 3809"/>
                  <a:gd name="connsiteX3" fmla="*/ 18097 w 18097"/>
                  <a:gd name="connsiteY3" fmla="*/ 0 h 3809"/>
                  <a:gd name="connsiteX4" fmla="*/ 0 w 18097"/>
                  <a:gd name="connsiteY4" fmla="*/ 3810 h 3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97" h="3809">
                    <a:moveTo>
                      <a:pt x="0" y="3810"/>
                    </a:moveTo>
                    <a:lnTo>
                      <a:pt x="18097" y="0"/>
                    </a:lnTo>
                    <a:lnTo>
                      <a:pt x="18097" y="0"/>
                    </a:lnTo>
                    <a:lnTo>
                      <a:pt x="18097" y="0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5" name="Freeform: Shape 384">
                <a:extLst>
                  <a:ext uri="{FF2B5EF4-FFF2-40B4-BE49-F238E27FC236}">
                    <a16:creationId xmlns:a16="http://schemas.microsoft.com/office/drawing/2014/main" id="{D3426735-38CB-FDFC-FAD9-20AA0FF80A87}"/>
                  </a:ext>
                </a:extLst>
              </p:cNvPr>
              <p:cNvSpPr/>
              <p:nvPr/>
            </p:nvSpPr>
            <p:spPr>
              <a:xfrm>
                <a:off x="5834186" y="2719132"/>
                <a:ext cx="217557" cy="331474"/>
              </a:xfrm>
              <a:custGeom>
                <a:avLst/>
                <a:gdLst>
                  <a:gd name="connsiteX0" fmla="*/ 10477 w 221932"/>
                  <a:gd name="connsiteY0" fmla="*/ 112395 h 338137"/>
                  <a:gd name="connsiteX1" fmla="*/ 24765 w 221932"/>
                  <a:gd name="connsiteY1" fmla="*/ 105823 h 338137"/>
                  <a:gd name="connsiteX2" fmla="*/ 31432 w 221932"/>
                  <a:gd name="connsiteY2" fmla="*/ 109538 h 338137"/>
                  <a:gd name="connsiteX3" fmla="*/ 35242 w 221932"/>
                  <a:gd name="connsiteY3" fmla="*/ 134398 h 338137"/>
                  <a:gd name="connsiteX4" fmla="*/ 24765 w 221932"/>
                  <a:gd name="connsiteY4" fmla="*/ 144875 h 338137"/>
                  <a:gd name="connsiteX5" fmla="*/ 28575 w 221932"/>
                  <a:gd name="connsiteY5" fmla="*/ 158210 h 338137"/>
                  <a:gd name="connsiteX6" fmla="*/ 56197 w 221932"/>
                  <a:gd name="connsiteY6" fmla="*/ 161925 h 338137"/>
                  <a:gd name="connsiteX7" fmla="*/ 66675 w 221932"/>
                  <a:gd name="connsiteY7" fmla="*/ 147638 h 338137"/>
                  <a:gd name="connsiteX8" fmla="*/ 77152 w 221932"/>
                  <a:gd name="connsiteY8" fmla="*/ 151543 h 338137"/>
                  <a:gd name="connsiteX9" fmla="*/ 66675 w 221932"/>
                  <a:gd name="connsiteY9" fmla="*/ 165830 h 338137"/>
                  <a:gd name="connsiteX10" fmla="*/ 91440 w 221932"/>
                  <a:gd name="connsiteY10" fmla="*/ 180118 h 338137"/>
                  <a:gd name="connsiteX11" fmla="*/ 84772 w 221932"/>
                  <a:gd name="connsiteY11" fmla="*/ 197263 h 338137"/>
                  <a:gd name="connsiteX12" fmla="*/ 84772 w 221932"/>
                  <a:gd name="connsiteY12" fmla="*/ 215360 h 338137"/>
                  <a:gd name="connsiteX13" fmla="*/ 41910 w 221932"/>
                  <a:gd name="connsiteY13" fmla="*/ 211550 h 338137"/>
                  <a:gd name="connsiteX14" fmla="*/ 41910 w 221932"/>
                  <a:gd name="connsiteY14" fmla="*/ 225838 h 338137"/>
                  <a:gd name="connsiteX15" fmla="*/ 60007 w 221932"/>
                  <a:gd name="connsiteY15" fmla="*/ 228600 h 338137"/>
                  <a:gd name="connsiteX16" fmla="*/ 60007 w 221932"/>
                  <a:gd name="connsiteY16" fmla="*/ 240125 h 338137"/>
                  <a:gd name="connsiteX17" fmla="*/ 45720 w 221932"/>
                  <a:gd name="connsiteY17" fmla="*/ 250508 h 338137"/>
                  <a:gd name="connsiteX18" fmla="*/ 31432 w 221932"/>
                  <a:gd name="connsiteY18" fmla="*/ 261080 h 338137"/>
                  <a:gd name="connsiteX19" fmla="*/ 17145 w 221932"/>
                  <a:gd name="connsiteY19" fmla="*/ 271463 h 338137"/>
                  <a:gd name="connsiteX20" fmla="*/ 24765 w 221932"/>
                  <a:gd name="connsiteY20" fmla="*/ 278225 h 338137"/>
                  <a:gd name="connsiteX21" fmla="*/ 41910 w 221932"/>
                  <a:gd name="connsiteY21" fmla="*/ 271463 h 338137"/>
                  <a:gd name="connsiteX22" fmla="*/ 52388 w 221932"/>
                  <a:gd name="connsiteY22" fmla="*/ 278225 h 338137"/>
                  <a:gd name="connsiteX23" fmla="*/ 66675 w 221932"/>
                  <a:gd name="connsiteY23" fmla="*/ 278225 h 338137"/>
                  <a:gd name="connsiteX24" fmla="*/ 84772 w 221932"/>
                  <a:gd name="connsiteY24" fmla="*/ 282035 h 338137"/>
                  <a:gd name="connsiteX25" fmla="*/ 98107 w 221932"/>
                  <a:gd name="connsiteY25" fmla="*/ 271463 h 338137"/>
                  <a:gd name="connsiteX26" fmla="*/ 95250 w 221932"/>
                  <a:gd name="connsiteY26" fmla="*/ 285750 h 338137"/>
                  <a:gd name="connsiteX27" fmla="*/ 80963 w 221932"/>
                  <a:gd name="connsiteY27" fmla="*/ 288608 h 338137"/>
                  <a:gd name="connsiteX28" fmla="*/ 60007 w 221932"/>
                  <a:gd name="connsiteY28" fmla="*/ 288608 h 338137"/>
                  <a:gd name="connsiteX29" fmla="*/ 41910 w 221932"/>
                  <a:gd name="connsiteY29" fmla="*/ 302895 h 338137"/>
                  <a:gd name="connsiteX30" fmla="*/ 10477 w 221932"/>
                  <a:gd name="connsiteY30" fmla="*/ 331470 h 338137"/>
                  <a:gd name="connsiteX31" fmla="*/ 17145 w 221932"/>
                  <a:gd name="connsiteY31" fmla="*/ 338138 h 338137"/>
                  <a:gd name="connsiteX32" fmla="*/ 39052 w 221932"/>
                  <a:gd name="connsiteY32" fmla="*/ 323850 h 338137"/>
                  <a:gd name="connsiteX33" fmla="*/ 66675 w 221932"/>
                  <a:gd name="connsiteY33" fmla="*/ 323850 h 338137"/>
                  <a:gd name="connsiteX34" fmla="*/ 66675 w 221932"/>
                  <a:gd name="connsiteY34" fmla="*/ 310610 h 338137"/>
                  <a:gd name="connsiteX35" fmla="*/ 80963 w 221932"/>
                  <a:gd name="connsiteY35" fmla="*/ 310610 h 338137"/>
                  <a:gd name="connsiteX36" fmla="*/ 168592 w 221932"/>
                  <a:gd name="connsiteY36" fmla="*/ 310610 h 338137"/>
                  <a:gd name="connsiteX37" fmla="*/ 190500 w 221932"/>
                  <a:gd name="connsiteY37" fmla="*/ 302895 h 338137"/>
                  <a:gd name="connsiteX38" fmla="*/ 203835 w 221932"/>
                  <a:gd name="connsiteY38" fmla="*/ 292513 h 338137"/>
                  <a:gd name="connsiteX39" fmla="*/ 190500 w 221932"/>
                  <a:gd name="connsiteY39" fmla="*/ 285750 h 338137"/>
                  <a:gd name="connsiteX40" fmla="*/ 180022 w 221932"/>
                  <a:gd name="connsiteY40" fmla="*/ 282035 h 338137"/>
                  <a:gd name="connsiteX41" fmla="*/ 193357 w 221932"/>
                  <a:gd name="connsiteY41" fmla="*/ 271463 h 338137"/>
                  <a:gd name="connsiteX42" fmla="*/ 211455 w 221932"/>
                  <a:gd name="connsiteY42" fmla="*/ 261080 h 338137"/>
                  <a:gd name="connsiteX43" fmla="*/ 221932 w 221932"/>
                  <a:gd name="connsiteY43" fmla="*/ 242888 h 338137"/>
                  <a:gd name="connsiteX44" fmla="*/ 203835 w 221932"/>
                  <a:gd name="connsiteY44" fmla="*/ 228600 h 338137"/>
                  <a:gd name="connsiteX45" fmla="*/ 186690 w 221932"/>
                  <a:gd name="connsiteY45" fmla="*/ 232505 h 338137"/>
                  <a:gd name="connsiteX46" fmla="*/ 172402 w 221932"/>
                  <a:gd name="connsiteY46" fmla="*/ 228600 h 338137"/>
                  <a:gd name="connsiteX47" fmla="*/ 165735 w 221932"/>
                  <a:gd name="connsiteY47" fmla="*/ 207645 h 338137"/>
                  <a:gd name="connsiteX48" fmla="*/ 161925 w 221932"/>
                  <a:gd name="connsiteY48" fmla="*/ 193358 h 338137"/>
                  <a:gd name="connsiteX49" fmla="*/ 147638 w 221932"/>
                  <a:gd name="connsiteY49" fmla="*/ 172498 h 338137"/>
                  <a:gd name="connsiteX50" fmla="*/ 126682 w 221932"/>
                  <a:gd name="connsiteY50" fmla="*/ 158210 h 338137"/>
                  <a:gd name="connsiteX51" fmla="*/ 122872 w 221932"/>
                  <a:gd name="connsiteY51" fmla="*/ 137255 h 338137"/>
                  <a:gd name="connsiteX52" fmla="*/ 116205 w 221932"/>
                  <a:gd name="connsiteY52" fmla="*/ 120110 h 338137"/>
                  <a:gd name="connsiteX53" fmla="*/ 91440 w 221932"/>
                  <a:gd name="connsiteY53" fmla="*/ 116300 h 338137"/>
                  <a:gd name="connsiteX54" fmla="*/ 74295 w 221932"/>
                  <a:gd name="connsiteY54" fmla="*/ 122968 h 338137"/>
                  <a:gd name="connsiteX55" fmla="*/ 63817 w 221932"/>
                  <a:gd name="connsiteY55" fmla="*/ 116300 h 338137"/>
                  <a:gd name="connsiteX56" fmla="*/ 70485 w 221932"/>
                  <a:gd name="connsiteY56" fmla="*/ 102013 h 338137"/>
                  <a:gd name="connsiteX57" fmla="*/ 84772 w 221932"/>
                  <a:gd name="connsiteY57" fmla="*/ 87725 h 338137"/>
                  <a:gd name="connsiteX58" fmla="*/ 105727 w 221932"/>
                  <a:gd name="connsiteY58" fmla="*/ 66675 h 338137"/>
                  <a:gd name="connsiteX59" fmla="*/ 112395 w 221932"/>
                  <a:gd name="connsiteY59" fmla="*/ 45720 h 338137"/>
                  <a:gd name="connsiteX60" fmla="*/ 49530 w 221932"/>
                  <a:gd name="connsiteY60" fmla="*/ 45720 h 338137"/>
                  <a:gd name="connsiteX61" fmla="*/ 77152 w 221932"/>
                  <a:gd name="connsiteY61" fmla="*/ 3905 h 338137"/>
                  <a:gd name="connsiteX62" fmla="*/ 28575 w 221932"/>
                  <a:gd name="connsiteY62" fmla="*/ 0 h 338137"/>
                  <a:gd name="connsiteX63" fmla="*/ 20955 w 221932"/>
                  <a:gd name="connsiteY63" fmla="*/ 35338 h 338137"/>
                  <a:gd name="connsiteX64" fmla="*/ 3810 w 221932"/>
                  <a:gd name="connsiteY64" fmla="*/ 35338 h 338137"/>
                  <a:gd name="connsiteX65" fmla="*/ 0 w 221932"/>
                  <a:gd name="connsiteY65" fmla="*/ 62960 h 338137"/>
                  <a:gd name="connsiteX66" fmla="*/ 6667 w 221932"/>
                  <a:gd name="connsiteY66" fmla="*/ 77248 h 338137"/>
                  <a:gd name="connsiteX67" fmla="*/ 17145 w 221932"/>
                  <a:gd name="connsiteY67" fmla="*/ 84868 h 338137"/>
                  <a:gd name="connsiteX68" fmla="*/ 0 w 221932"/>
                  <a:gd name="connsiteY68" fmla="*/ 105823 h 338137"/>
                  <a:gd name="connsiteX69" fmla="*/ 10477 w 221932"/>
                  <a:gd name="connsiteY69" fmla="*/ 112395 h 338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221932" h="338137">
                    <a:moveTo>
                      <a:pt x="10477" y="112395"/>
                    </a:moveTo>
                    <a:lnTo>
                      <a:pt x="24765" y="105823"/>
                    </a:lnTo>
                    <a:lnTo>
                      <a:pt x="31432" y="109538"/>
                    </a:lnTo>
                    <a:lnTo>
                      <a:pt x="35242" y="134398"/>
                    </a:lnTo>
                    <a:lnTo>
                      <a:pt x="24765" y="144875"/>
                    </a:lnTo>
                    <a:lnTo>
                      <a:pt x="28575" y="158210"/>
                    </a:lnTo>
                    <a:lnTo>
                      <a:pt x="56197" y="161925"/>
                    </a:lnTo>
                    <a:lnTo>
                      <a:pt x="66675" y="147638"/>
                    </a:lnTo>
                    <a:lnTo>
                      <a:pt x="77152" y="151543"/>
                    </a:lnTo>
                    <a:lnTo>
                      <a:pt x="66675" y="165830"/>
                    </a:lnTo>
                    <a:lnTo>
                      <a:pt x="91440" y="180118"/>
                    </a:lnTo>
                    <a:lnTo>
                      <a:pt x="84772" y="197263"/>
                    </a:lnTo>
                    <a:lnTo>
                      <a:pt x="84772" y="215360"/>
                    </a:lnTo>
                    <a:lnTo>
                      <a:pt x="41910" y="211550"/>
                    </a:lnTo>
                    <a:lnTo>
                      <a:pt x="41910" y="225838"/>
                    </a:lnTo>
                    <a:lnTo>
                      <a:pt x="60007" y="228600"/>
                    </a:lnTo>
                    <a:lnTo>
                      <a:pt x="60007" y="240125"/>
                    </a:lnTo>
                    <a:lnTo>
                      <a:pt x="45720" y="250508"/>
                    </a:lnTo>
                    <a:lnTo>
                      <a:pt x="31432" y="261080"/>
                    </a:lnTo>
                    <a:lnTo>
                      <a:pt x="17145" y="271463"/>
                    </a:lnTo>
                    <a:lnTo>
                      <a:pt x="24765" y="278225"/>
                    </a:lnTo>
                    <a:lnTo>
                      <a:pt x="41910" y="271463"/>
                    </a:lnTo>
                    <a:lnTo>
                      <a:pt x="52388" y="278225"/>
                    </a:lnTo>
                    <a:lnTo>
                      <a:pt x="66675" y="278225"/>
                    </a:lnTo>
                    <a:lnTo>
                      <a:pt x="84772" y="282035"/>
                    </a:lnTo>
                    <a:lnTo>
                      <a:pt x="98107" y="271463"/>
                    </a:lnTo>
                    <a:lnTo>
                      <a:pt x="95250" y="285750"/>
                    </a:lnTo>
                    <a:lnTo>
                      <a:pt x="80963" y="288608"/>
                    </a:lnTo>
                    <a:lnTo>
                      <a:pt x="60007" y="288608"/>
                    </a:lnTo>
                    <a:lnTo>
                      <a:pt x="41910" y="302895"/>
                    </a:lnTo>
                    <a:lnTo>
                      <a:pt x="10477" y="331470"/>
                    </a:lnTo>
                    <a:lnTo>
                      <a:pt x="17145" y="338138"/>
                    </a:lnTo>
                    <a:lnTo>
                      <a:pt x="39052" y="323850"/>
                    </a:lnTo>
                    <a:lnTo>
                      <a:pt x="66675" y="323850"/>
                    </a:lnTo>
                    <a:lnTo>
                      <a:pt x="66675" y="310610"/>
                    </a:lnTo>
                    <a:lnTo>
                      <a:pt x="80963" y="310610"/>
                    </a:lnTo>
                    <a:lnTo>
                      <a:pt x="168592" y="310610"/>
                    </a:lnTo>
                    <a:lnTo>
                      <a:pt x="190500" y="302895"/>
                    </a:lnTo>
                    <a:lnTo>
                      <a:pt x="203835" y="292513"/>
                    </a:lnTo>
                    <a:lnTo>
                      <a:pt x="190500" y="285750"/>
                    </a:lnTo>
                    <a:lnTo>
                      <a:pt x="180022" y="282035"/>
                    </a:lnTo>
                    <a:lnTo>
                      <a:pt x="193357" y="271463"/>
                    </a:lnTo>
                    <a:lnTo>
                      <a:pt x="211455" y="261080"/>
                    </a:lnTo>
                    <a:lnTo>
                      <a:pt x="221932" y="242888"/>
                    </a:lnTo>
                    <a:lnTo>
                      <a:pt x="203835" y="228600"/>
                    </a:lnTo>
                    <a:lnTo>
                      <a:pt x="186690" y="232505"/>
                    </a:lnTo>
                    <a:lnTo>
                      <a:pt x="172402" y="228600"/>
                    </a:lnTo>
                    <a:lnTo>
                      <a:pt x="165735" y="207645"/>
                    </a:lnTo>
                    <a:lnTo>
                      <a:pt x="161925" y="193358"/>
                    </a:lnTo>
                    <a:lnTo>
                      <a:pt x="147638" y="172498"/>
                    </a:lnTo>
                    <a:lnTo>
                      <a:pt x="126682" y="158210"/>
                    </a:lnTo>
                    <a:lnTo>
                      <a:pt x="122872" y="137255"/>
                    </a:lnTo>
                    <a:lnTo>
                      <a:pt x="116205" y="120110"/>
                    </a:lnTo>
                    <a:lnTo>
                      <a:pt x="91440" y="116300"/>
                    </a:lnTo>
                    <a:lnTo>
                      <a:pt x="74295" y="122968"/>
                    </a:lnTo>
                    <a:lnTo>
                      <a:pt x="63817" y="116300"/>
                    </a:lnTo>
                    <a:lnTo>
                      <a:pt x="70485" y="102013"/>
                    </a:lnTo>
                    <a:lnTo>
                      <a:pt x="84772" y="87725"/>
                    </a:lnTo>
                    <a:lnTo>
                      <a:pt x="105727" y="66675"/>
                    </a:lnTo>
                    <a:lnTo>
                      <a:pt x="112395" y="45720"/>
                    </a:lnTo>
                    <a:lnTo>
                      <a:pt x="49530" y="45720"/>
                    </a:lnTo>
                    <a:lnTo>
                      <a:pt x="77152" y="3905"/>
                    </a:lnTo>
                    <a:lnTo>
                      <a:pt x="28575" y="0"/>
                    </a:lnTo>
                    <a:lnTo>
                      <a:pt x="20955" y="35338"/>
                    </a:lnTo>
                    <a:lnTo>
                      <a:pt x="3810" y="35338"/>
                    </a:lnTo>
                    <a:lnTo>
                      <a:pt x="0" y="62960"/>
                    </a:lnTo>
                    <a:lnTo>
                      <a:pt x="6667" y="77248"/>
                    </a:lnTo>
                    <a:lnTo>
                      <a:pt x="17145" y="84868"/>
                    </a:lnTo>
                    <a:lnTo>
                      <a:pt x="0" y="105823"/>
                    </a:lnTo>
                    <a:lnTo>
                      <a:pt x="10477" y="11239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6" name="Freeform: Shape 385">
                <a:extLst>
                  <a:ext uri="{FF2B5EF4-FFF2-40B4-BE49-F238E27FC236}">
                    <a16:creationId xmlns:a16="http://schemas.microsoft.com/office/drawing/2014/main" id="{4C63B790-4BF8-1907-66C7-BB2B23026834}"/>
                  </a:ext>
                </a:extLst>
              </p:cNvPr>
              <p:cNvSpPr/>
              <p:nvPr/>
            </p:nvSpPr>
            <p:spPr>
              <a:xfrm>
                <a:off x="6950919" y="3635217"/>
                <a:ext cx="569572" cy="463130"/>
              </a:xfrm>
              <a:custGeom>
                <a:avLst/>
                <a:gdLst>
                  <a:gd name="connsiteX0" fmla="*/ 531495 w 581025"/>
                  <a:gd name="connsiteY0" fmla="*/ 288512 h 472439"/>
                  <a:gd name="connsiteX1" fmla="*/ 510540 w 581025"/>
                  <a:gd name="connsiteY1" fmla="*/ 281940 h 472439"/>
                  <a:gd name="connsiteX2" fmla="*/ 496253 w 581025"/>
                  <a:gd name="connsiteY2" fmla="*/ 278130 h 472439"/>
                  <a:gd name="connsiteX3" fmla="*/ 472440 w 581025"/>
                  <a:gd name="connsiteY3" fmla="*/ 250412 h 472439"/>
                  <a:gd name="connsiteX4" fmla="*/ 458153 w 581025"/>
                  <a:gd name="connsiteY4" fmla="*/ 232315 h 472439"/>
                  <a:gd name="connsiteX5" fmla="*/ 450532 w 581025"/>
                  <a:gd name="connsiteY5" fmla="*/ 225742 h 472439"/>
                  <a:gd name="connsiteX6" fmla="*/ 437198 w 581025"/>
                  <a:gd name="connsiteY6" fmla="*/ 207550 h 472439"/>
                  <a:gd name="connsiteX7" fmla="*/ 429578 w 581025"/>
                  <a:gd name="connsiteY7" fmla="*/ 194215 h 472439"/>
                  <a:gd name="connsiteX8" fmla="*/ 425768 w 581025"/>
                  <a:gd name="connsiteY8" fmla="*/ 169450 h 472439"/>
                  <a:gd name="connsiteX9" fmla="*/ 412432 w 581025"/>
                  <a:gd name="connsiteY9" fmla="*/ 155162 h 472439"/>
                  <a:gd name="connsiteX10" fmla="*/ 398145 w 581025"/>
                  <a:gd name="connsiteY10" fmla="*/ 144780 h 472439"/>
                  <a:gd name="connsiteX11" fmla="*/ 380048 w 581025"/>
                  <a:gd name="connsiteY11" fmla="*/ 109538 h 472439"/>
                  <a:gd name="connsiteX12" fmla="*/ 366713 w 581025"/>
                  <a:gd name="connsiteY12" fmla="*/ 109538 h 472439"/>
                  <a:gd name="connsiteX13" fmla="*/ 352425 w 581025"/>
                  <a:gd name="connsiteY13" fmla="*/ 95250 h 472439"/>
                  <a:gd name="connsiteX14" fmla="*/ 334328 w 581025"/>
                  <a:gd name="connsiteY14" fmla="*/ 91440 h 472439"/>
                  <a:gd name="connsiteX15" fmla="*/ 306705 w 581025"/>
                  <a:gd name="connsiteY15" fmla="*/ 91440 h 472439"/>
                  <a:gd name="connsiteX16" fmla="*/ 278130 w 581025"/>
                  <a:gd name="connsiteY16" fmla="*/ 91440 h 472439"/>
                  <a:gd name="connsiteX17" fmla="*/ 253365 w 581025"/>
                  <a:gd name="connsiteY17" fmla="*/ 74200 h 472439"/>
                  <a:gd name="connsiteX18" fmla="*/ 240030 w 581025"/>
                  <a:gd name="connsiteY18" fmla="*/ 70390 h 472439"/>
                  <a:gd name="connsiteX19" fmla="*/ 236220 w 581025"/>
                  <a:gd name="connsiteY19" fmla="*/ 63817 h 472439"/>
                  <a:gd name="connsiteX20" fmla="*/ 221932 w 581025"/>
                  <a:gd name="connsiteY20" fmla="*/ 41815 h 472439"/>
                  <a:gd name="connsiteX21" fmla="*/ 158115 w 581025"/>
                  <a:gd name="connsiteY21" fmla="*/ 6667 h 472439"/>
                  <a:gd name="connsiteX22" fmla="*/ 122873 w 581025"/>
                  <a:gd name="connsiteY22" fmla="*/ 0 h 472439"/>
                  <a:gd name="connsiteX23" fmla="*/ 120015 w 581025"/>
                  <a:gd name="connsiteY23" fmla="*/ 10477 h 472439"/>
                  <a:gd name="connsiteX24" fmla="*/ 70485 w 581025"/>
                  <a:gd name="connsiteY24" fmla="*/ 17050 h 472439"/>
                  <a:gd name="connsiteX25" fmla="*/ 91440 w 581025"/>
                  <a:gd name="connsiteY25" fmla="*/ 45625 h 472439"/>
                  <a:gd name="connsiteX26" fmla="*/ 80963 w 581025"/>
                  <a:gd name="connsiteY26" fmla="*/ 56102 h 472439"/>
                  <a:gd name="connsiteX27" fmla="*/ 77153 w 581025"/>
                  <a:gd name="connsiteY27" fmla="*/ 66675 h 472439"/>
                  <a:gd name="connsiteX28" fmla="*/ 56198 w 581025"/>
                  <a:gd name="connsiteY28" fmla="*/ 70390 h 472439"/>
                  <a:gd name="connsiteX29" fmla="*/ 45720 w 581025"/>
                  <a:gd name="connsiteY29" fmla="*/ 84677 h 472439"/>
                  <a:gd name="connsiteX30" fmla="*/ 39053 w 581025"/>
                  <a:gd name="connsiteY30" fmla="*/ 91440 h 472439"/>
                  <a:gd name="connsiteX31" fmla="*/ 6668 w 581025"/>
                  <a:gd name="connsiteY31" fmla="*/ 80963 h 472439"/>
                  <a:gd name="connsiteX32" fmla="*/ 0 w 581025"/>
                  <a:gd name="connsiteY32" fmla="*/ 120015 h 472439"/>
                  <a:gd name="connsiteX33" fmla="*/ 14288 w 581025"/>
                  <a:gd name="connsiteY33" fmla="*/ 122777 h 472439"/>
                  <a:gd name="connsiteX34" fmla="*/ 31432 w 581025"/>
                  <a:gd name="connsiteY34" fmla="*/ 159067 h 472439"/>
                  <a:gd name="connsiteX35" fmla="*/ 66675 w 581025"/>
                  <a:gd name="connsiteY35" fmla="*/ 200977 h 472439"/>
                  <a:gd name="connsiteX36" fmla="*/ 66675 w 581025"/>
                  <a:gd name="connsiteY36" fmla="*/ 221837 h 472439"/>
                  <a:gd name="connsiteX37" fmla="*/ 74295 w 581025"/>
                  <a:gd name="connsiteY37" fmla="*/ 240030 h 472439"/>
                  <a:gd name="connsiteX38" fmla="*/ 99060 w 581025"/>
                  <a:gd name="connsiteY38" fmla="*/ 250412 h 472439"/>
                  <a:gd name="connsiteX39" fmla="*/ 120015 w 581025"/>
                  <a:gd name="connsiteY39" fmla="*/ 281940 h 472439"/>
                  <a:gd name="connsiteX40" fmla="*/ 120015 w 581025"/>
                  <a:gd name="connsiteY40" fmla="*/ 324802 h 472439"/>
                  <a:gd name="connsiteX41" fmla="*/ 134303 w 581025"/>
                  <a:gd name="connsiteY41" fmla="*/ 352425 h 472439"/>
                  <a:gd name="connsiteX42" fmla="*/ 155257 w 581025"/>
                  <a:gd name="connsiteY42" fmla="*/ 356140 h 472439"/>
                  <a:gd name="connsiteX43" fmla="*/ 169545 w 581025"/>
                  <a:gd name="connsiteY43" fmla="*/ 373380 h 472439"/>
                  <a:gd name="connsiteX44" fmla="*/ 186690 w 581025"/>
                  <a:gd name="connsiteY44" fmla="*/ 408527 h 472439"/>
                  <a:gd name="connsiteX45" fmla="*/ 211455 w 581025"/>
                  <a:gd name="connsiteY45" fmla="*/ 440912 h 472439"/>
                  <a:gd name="connsiteX46" fmla="*/ 225743 w 581025"/>
                  <a:gd name="connsiteY46" fmla="*/ 472440 h 472439"/>
                  <a:gd name="connsiteX47" fmla="*/ 240030 w 581025"/>
                  <a:gd name="connsiteY47" fmla="*/ 440912 h 472439"/>
                  <a:gd name="connsiteX48" fmla="*/ 299085 w 581025"/>
                  <a:gd name="connsiteY48" fmla="*/ 437102 h 472439"/>
                  <a:gd name="connsiteX49" fmla="*/ 352425 w 581025"/>
                  <a:gd name="connsiteY49" fmla="*/ 447675 h 472439"/>
                  <a:gd name="connsiteX50" fmla="*/ 398145 w 581025"/>
                  <a:gd name="connsiteY50" fmla="*/ 405765 h 472439"/>
                  <a:gd name="connsiteX51" fmla="*/ 454343 w 581025"/>
                  <a:gd name="connsiteY51" fmla="*/ 395287 h 472439"/>
                  <a:gd name="connsiteX52" fmla="*/ 482918 w 581025"/>
                  <a:gd name="connsiteY52" fmla="*/ 398050 h 472439"/>
                  <a:gd name="connsiteX53" fmla="*/ 510540 w 581025"/>
                  <a:gd name="connsiteY53" fmla="*/ 381000 h 472439"/>
                  <a:gd name="connsiteX54" fmla="*/ 539115 w 581025"/>
                  <a:gd name="connsiteY54" fmla="*/ 366712 h 472439"/>
                  <a:gd name="connsiteX55" fmla="*/ 566738 w 581025"/>
                  <a:gd name="connsiteY55" fmla="*/ 359950 h 472439"/>
                  <a:gd name="connsiteX56" fmla="*/ 581025 w 581025"/>
                  <a:gd name="connsiteY56" fmla="*/ 327565 h 472439"/>
                  <a:gd name="connsiteX57" fmla="*/ 581025 w 581025"/>
                  <a:gd name="connsiteY57" fmla="*/ 302800 h 472439"/>
                  <a:gd name="connsiteX58" fmla="*/ 574357 w 581025"/>
                  <a:gd name="connsiteY58" fmla="*/ 288512 h 472439"/>
                  <a:gd name="connsiteX59" fmla="*/ 541973 w 581025"/>
                  <a:gd name="connsiteY59" fmla="*/ 292417 h 472439"/>
                  <a:gd name="connsiteX60" fmla="*/ 531495 w 581025"/>
                  <a:gd name="connsiteY60" fmla="*/ 288512 h 472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81025" h="472439">
                    <a:moveTo>
                      <a:pt x="531495" y="288512"/>
                    </a:moveTo>
                    <a:lnTo>
                      <a:pt x="510540" y="281940"/>
                    </a:lnTo>
                    <a:lnTo>
                      <a:pt x="496253" y="278130"/>
                    </a:lnTo>
                    <a:lnTo>
                      <a:pt x="472440" y="250412"/>
                    </a:lnTo>
                    <a:lnTo>
                      <a:pt x="458153" y="232315"/>
                    </a:lnTo>
                    <a:lnTo>
                      <a:pt x="450532" y="225742"/>
                    </a:lnTo>
                    <a:lnTo>
                      <a:pt x="437198" y="207550"/>
                    </a:lnTo>
                    <a:lnTo>
                      <a:pt x="429578" y="194215"/>
                    </a:lnTo>
                    <a:lnTo>
                      <a:pt x="425768" y="169450"/>
                    </a:lnTo>
                    <a:lnTo>
                      <a:pt x="412432" y="155162"/>
                    </a:lnTo>
                    <a:lnTo>
                      <a:pt x="398145" y="144780"/>
                    </a:lnTo>
                    <a:lnTo>
                      <a:pt x="380048" y="109538"/>
                    </a:lnTo>
                    <a:lnTo>
                      <a:pt x="366713" y="109538"/>
                    </a:lnTo>
                    <a:lnTo>
                      <a:pt x="352425" y="95250"/>
                    </a:lnTo>
                    <a:lnTo>
                      <a:pt x="334328" y="91440"/>
                    </a:lnTo>
                    <a:lnTo>
                      <a:pt x="306705" y="91440"/>
                    </a:lnTo>
                    <a:lnTo>
                      <a:pt x="278130" y="91440"/>
                    </a:lnTo>
                    <a:lnTo>
                      <a:pt x="253365" y="74200"/>
                    </a:lnTo>
                    <a:lnTo>
                      <a:pt x="240030" y="70390"/>
                    </a:lnTo>
                    <a:lnTo>
                      <a:pt x="236220" y="63817"/>
                    </a:lnTo>
                    <a:lnTo>
                      <a:pt x="221932" y="41815"/>
                    </a:lnTo>
                    <a:lnTo>
                      <a:pt x="158115" y="6667"/>
                    </a:lnTo>
                    <a:lnTo>
                      <a:pt x="122873" y="0"/>
                    </a:lnTo>
                    <a:lnTo>
                      <a:pt x="120015" y="10477"/>
                    </a:lnTo>
                    <a:lnTo>
                      <a:pt x="70485" y="17050"/>
                    </a:lnTo>
                    <a:lnTo>
                      <a:pt x="91440" y="45625"/>
                    </a:lnTo>
                    <a:lnTo>
                      <a:pt x="80963" y="56102"/>
                    </a:lnTo>
                    <a:lnTo>
                      <a:pt x="77153" y="66675"/>
                    </a:lnTo>
                    <a:lnTo>
                      <a:pt x="56198" y="70390"/>
                    </a:lnTo>
                    <a:lnTo>
                      <a:pt x="45720" y="84677"/>
                    </a:lnTo>
                    <a:lnTo>
                      <a:pt x="39053" y="91440"/>
                    </a:lnTo>
                    <a:lnTo>
                      <a:pt x="6668" y="80963"/>
                    </a:lnTo>
                    <a:lnTo>
                      <a:pt x="0" y="120015"/>
                    </a:lnTo>
                    <a:lnTo>
                      <a:pt x="14288" y="122777"/>
                    </a:lnTo>
                    <a:lnTo>
                      <a:pt x="31432" y="159067"/>
                    </a:lnTo>
                    <a:lnTo>
                      <a:pt x="66675" y="200977"/>
                    </a:lnTo>
                    <a:lnTo>
                      <a:pt x="66675" y="221837"/>
                    </a:lnTo>
                    <a:lnTo>
                      <a:pt x="74295" y="240030"/>
                    </a:lnTo>
                    <a:lnTo>
                      <a:pt x="99060" y="250412"/>
                    </a:lnTo>
                    <a:lnTo>
                      <a:pt x="120015" y="281940"/>
                    </a:lnTo>
                    <a:lnTo>
                      <a:pt x="120015" y="324802"/>
                    </a:lnTo>
                    <a:lnTo>
                      <a:pt x="134303" y="352425"/>
                    </a:lnTo>
                    <a:lnTo>
                      <a:pt x="155257" y="356140"/>
                    </a:lnTo>
                    <a:lnTo>
                      <a:pt x="169545" y="373380"/>
                    </a:lnTo>
                    <a:lnTo>
                      <a:pt x="186690" y="408527"/>
                    </a:lnTo>
                    <a:lnTo>
                      <a:pt x="211455" y="440912"/>
                    </a:lnTo>
                    <a:lnTo>
                      <a:pt x="225743" y="472440"/>
                    </a:lnTo>
                    <a:lnTo>
                      <a:pt x="240030" y="440912"/>
                    </a:lnTo>
                    <a:lnTo>
                      <a:pt x="299085" y="437102"/>
                    </a:lnTo>
                    <a:lnTo>
                      <a:pt x="352425" y="447675"/>
                    </a:lnTo>
                    <a:lnTo>
                      <a:pt x="398145" y="405765"/>
                    </a:lnTo>
                    <a:lnTo>
                      <a:pt x="454343" y="395287"/>
                    </a:lnTo>
                    <a:lnTo>
                      <a:pt x="482918" y="398050"/>
                    </a:lnTo>
                    <a:lnTo>
                      <a:pt x="510540" y="381000"/>
                    </a:lnTo>
                    <a:lnTo>
                      <a:pt x="539115" y="366712"/>
                    </a:lnTo>
                    <a:lnTo>
                      <a:pt x="566738" y="359950"/>
                    </a:lnTo>
                    <a:lnTo>
                      <a:pt x="581025" y="327565"/>
                    </a:lnTo>
                    <a:lnTo>
                      <a:pt x="581025" y="302800"/>
                    </a:lnTo>
                    <a:lnTo>
                      <a:pt x="574357" y="288512"/>
                    </a:lnTo>
                    <a:lnTo>
                      <a:pt x="541973" y="292417"/>
                    </a:lnTo>
                    <a:lnTo>
                      <a:pt x="531495" y="28851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7" name="Freeform: Shape 386">
                <a:extLst>
                  <a:ext uri="{FF2B5EF4-FFF2-40B4-BE49-F238E27FC236}">
                    <a16:creationId xmlns:a16="http://schemas.microsoft.com/office/drawing/2014/main" id="{3AA6F806-0961-86EA-9F28-BC251EE65CF0}"/>
                  </a:ext>
                </a:extLst>
              </p:cNvPr>
              <p:cNvSpPr/>
              <p:nvPr/>
            </p:nvSpPr>
            <p:spPr>
              <a:xfrm>
                <a:off x="6267433" y="2838650"/>
                <a:ext cx="29879" cy="22503"/>
              </a:xfrm>
              <a:custGeom>
                <a:avLst/>
                <a:gdLst>
                  <a:gd name="connsiteX0" fmla="*/ 13335 w 30480"/>
                  <a:gd name="connsiteY0" fmla="*/ 0 h 22955"/>
                  <a:gd name="connsiteX1" fmla="*/ 0 w 30480"/>
                  <a:gd name="connsiteY1" fmla="*/ 5810 h 22955"/>
                  <a:gd name="connsiteX2" fmla="*/ 9525 w 30480"/>
                  <a:gd name="connsiteY2" fmla="*/ 20098 h 22955"/>
                  <a:gd name="connsiteX3" fmla="*/ 20955 w 30480"/>
                  <a:gd name="connsiteY3" fmla="*/ 22955 h 22955"/>
                  <a:gd name="connsiteX4" fmla="*/ 30480 w 30480"/>
                  <a:gd name="connsiteY4" fmla="*/ 15335 h 22955"/>
                  <a:gd name="connsiteX5" fmla="*/ 13335 w 30480"/>
                  <a:gd name="connsiteY5" fmla="*/ 0 h 22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480" h="22955">
                    <a:moveTo>
                      <a:pt x="13335" y="0"/>
                    </a:moveTo>
                    <a:lnTo>
                      <a:pt x="0" y="5810"/>
                    </a:lnTo>
                    <a:lnTo>
                      <a:pt x="9525" y="20098"/>
                    </a:lnTo>
                    <a:lnTo>
                      <a:pt x="20955" y="22955"/>
                    </a:lnTo>
                    <a:lnTo>
                      <a:pt x="30480" y="15335"/>
                    </a:lnTo>
                    <a:lnTo>
                      <a:pt x="1333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8" name="Freeform: Shape 387">
                <a:extLst>
                  <a:ext uri="{FF2B5EF4-FFF2-40B4-BE49-F238E27FC236}">
                    <a16:creationId xmlns:a16="http://schemas.microsoft.com/office/drawing/2014/main" id="{AD62DF4E-850A-7746-6D78-FE1B6125A41F}"/>
                  </a:ext>
                </a:extLst>
              </p:cNvPr>
              <p:cNvSpPr/>
              <p:nvPr/>
            </p:nvSpPr>
            <p:spPr>
              <a:xfrm>
                <a:off x="6290776" y="2857325"/>
                <a:ext cx="8403" cy="15033"/>
              </a:xfrm>
              <a:custGeom>
                <a:avLst/>
                <a:gdLst>
                  <a:gd name="connsiteX0" fmla="*/ 8573 w 8572"/>
                  <a:gd name="connsiteY0" fmla="*/ 0 h 15335"/>
                  <a:gd name="connsiteX1" fmla="*/ 0 w 8572"/>
                  <a:gd name="connsiteY1" fmla="*/ 6667 h 15335"/>
                  <a:gd name="connsiteX2" fmla="*/ 0 w 8572"/>
                  <a:gd name="connsiteY2" fmla="*/ 15335 h 15335"/>
                  <a:gd name="connsiteX3" fmla="*/ 5715 w 8572"/>
                  <a:gd name="connsiteY3" fmla="*/ 11430 h 15335"/>
                  <a:gd name="connsiteX4" fmla="*/ 8573 w 8572"/>
                  <a:gd name="connsiteY4" fmla="*/ 0 h 15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72" h="15335">
                    <a:moveTo>
                      <a:pt x="8573" y="0"/>
                    </a:moveTo>
                    <a:lnTo>
                      <a:pt x="0" y="6667"/>
                    </a:lnTo>
                    <a:lnTo>
                      <a:pt x="0" y="15335"/>
                    </a:lnTo>
                    <a:lnTo>
                      <a:pt x="5715" y="11430"/>
                    </a:lnTo>
                    <a:lnTo>
                      <a:pt x="857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9" name="Freeform: Shape 388">
                <a:extLst>
                  <a:ext uri="{FF2B5EF4-FFF2-40B4-BE49-F238E27FC236}">
                    <a16:creationId xmlns:a16="http://schemas.microsoft.com/office/drawing/2014/main" id="{BF8CD76E-80F1-C4C8-ACB0-01C5A968D20F}"/>
                  </a:ext>
                </a:extLst>
              </p:cNvPr>
              <p:cNvSpPr/>
              <p:nvPr/>
            </p:nvSpPr>
            <p:spPr>
              <a:xfrm>
                <a:off x="6303848" y="2866662"/>
                <a:ext cx="16806" cy="7563"/>
              </a:xfrm>
              <a:custGeom>
                <a:avLst/>
                <a:gdLst>
                  <a:gd name="connsiteX0" fmla="*/ 1905 w 17144"/>
                  <a:gd name="connsiteY0" fmla="*/ 5810 h 7715"/>
                  <a:gd name="connsiteX1" fmla="*/ 17145 w 17144"/>
                  <a:gd name="connsiteY1" fmla="*/ 7715 h 7715"/>
                  <a:gd name="connsiteX2" fmla="*/ 13335 w 17144"/>
                  <a:gd name="connsiteY2" fmla="*/ 1048 h 7715"/>
                  <a:gd name="connsiteX3" fmla="*/ 0 w 17144"/>
                  <a:gd name="connsiteY3" fmla="*/ 0 h 7715"/>
                  <a:gd name="connsiteX4" fmla="*/ 1905 w 17144"/>
                  <a:gd name="connsiteY4" fmla="*/ 5810 h 7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7715">
                    <a:moveTo>
                      <a:pt x="1905" y="5810"/>
                    </a:moveTo>
                    <a:lnTo>
                      <a:pt x="17145" y="7715"/>
                    </a:lnTo>
                    <a:lnTo>
                      <a:pt x="13335" y="1048"/>
                    </a:lnTo>
                    <a:lnTo>
                      <a:pt x="0" y="0"/>
                    </a:lnTo>
                    <a:lnTo>
                      <a:pt x="1905" y="581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0" name="Freeform: Shape 389">
                <a:extLst>
                  <a:ext uri="{FF2B5EF4-FFF2-40B4-BE49-F238E27FC236}">
                    <a16:creationId xmlns:a16="http://schemas.microsoft.com/office/drawing/2014/main" id="{289DC278-E00D-E4FE-4792-CE06D07D92AF}"/>
                  </a:ext>
                </a:extLst>
              </p:cNvPr>
              <p:cNvSpPr/>
              <p:nvPr/>
            </p:nvSpPr>
            <p:spPr>
              <a:xfrm>
                <a:off x="6321590" y="2866662"/>
                <a:ext cx="8403" cy="6536"/>
              </a:xfrm>
              <a:custGeom>
                <a:avLst/>
                <a:gdLst>
                  <a:gd name="connsiteX0" fmla="*/ 0 w 8572"/>
                  <a:gd name="connsiteY0" fmla="*/ 1048 h 6667"/>
                  <a:gd name="connsiteX1" fmla="*/ 3810 w 8572"/>
                  <a:gd name="connsiteY1" fmla="*/ 6667 h 6667"/>
                  <a:gd name="connsiteX2" fmla="*/ 8572 w 8572"/>
                  <a:gd name="connsiteY2" fmla="*/ 2953 h 6667"/>
                  <a:gd name="connsiteX3" fmla="*/ 8572 w 8572"/>
                  <a:gd name="connsiteY3" fmla="*/ 0 h 6667"/>
                  <a:gd name="connsiteX4" fmla="*/ 1905 w 8572"/>
                  <a:gd name="connsiteY4" fmla="*/ 0 h 6667"/>
                  <a:gd name="connsiteX5" fmla="*/ 0 w 8572"/>
                  <a:gd name="connsiteY5" fmla="*/ 1048 h 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72" h="6667">
                    <a:moveTo>
                      <a:pt x="0" y="1048"/>
                    </a:moveTo>
                    <a:lnTo>
                      <a:pt x="3810" y="6667"/>
                    </a:lnTo>
                    <a:lnTo>
                      <a:pt x="8572" y="2953"/>
                    </a:lnTo>
                    <a:lnTo>
                      <a:pt x="8572" y="0"/>
                    </a:lnTo>
                    <a:lnTo>
                      <a:pt x="1905" y="0"/>
                    </a:lnTo>
                    <a:lnTo>
                      <a:pt x="0" y="104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1" name="Freeform: Shape 390">
                <a:extLst>
                  <a:ext uri="{FF2B5EF4-FFF2-40B4-BE49-F238E27FC236}">
                    <a16:creationId xmlns:a16="http://schemas.microsoft.com/office/drawing/2014/main" id="{4C0218F7-1869-79F8-4884-2DD4674828D6}"/>
                  </a:ext>
                </a:extLst>
              </p:cNvPr>
              <p:cNvSpPr/>
              <p:nvPr/>
            </p:nvSpPr>
            <p:spPr>
              <a:xfrm>
                <a:off x="6332793" y="2861153"/>
                <a:ext cx="12138" cy="5508"/>
              </a:xfrm>
              <a:custGeom>
                <a:avLst/>
                <a:gdLst>
                  <a:gd name="connsiteX0" fmla="*/ 0 w 12382"/>
                  <a:gd name="connsiteY0" fmla="*/ 2762 h 5619"/>
                  <a:gd name="connsiteX1" fmla="*/ 953 w 12382"/>
                  <a:gd name="connsiteY1" fmla="*/ 5620 h 5619"/>
                  <a:gd name="connsiteX2" fmla="*/ 12383 w 12382"/>
                  <a:gd name="connsiteY2" fmla="*/ 3810 h 5619"/>
                  <a:gd name="connsiteX3" fmla="*/ 8573 w 12382"/>
                  <a:gd name="connsiteY3" fmla="*/ 0 h 5619"/>
                  <a:gd name="connsiteX4" fmla="*/ 0 w 12382"/>
                  <a:gd name="connsiteY4" fmla="*/ 2762 h 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82" h="5619">
                    <a:moveTo>
                      <a:pt x="0" y="2762"/>
                    </a:moveTo>
                    <a:lnTo>
                      <a:pt x="953" y="5620"/>
                    </a:lnTo>
                    <a:lnTo>
                      <a:pt x="12383" y="3810"/>
                    </a:lnTo>
                    <a:lnTo>
                      <a:pt x="8573" y="0"/>
                    </a:lnTo>
                    <a:lnTo>
                      <a:pt x="0" y="276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2" name="Freeform: Shape 391">
                <a:extLst>
                  <a:ext uri="{FF2B5EF4-FFF2-40B4-BE49-F238E27FC236}">
                    <a16:creationId xmlns:a16="http://schemas.microsoft.com/office/drawing/2014/main" id="{E09A5191-E351-0C94-A92C-2374891642A3}"/>
                  </a:ext>
                </a:extLst>
              </p:cNvPr>
              <p:cNvSpPr/>
              <p:nvPr/>
            </p:nvSpPr>
            <p:spPr>
              <a:xfrm>
                <a:off x="6301048" y="2817175"/>
                <a:ext cx="42950" cy="43045"/>
              </a:xfrm>
              <a:custGeom>
                <a:avLst/>
                <a:gdLst>
                  <a:gd name="connsiteX0" fmla="*/ 12382 w 43814"/>
                  <a:gd name="connsiteY0" fmla="*/ 9525 h 43910"/>
                  <a:gd name="connsiteX1" fmla="*/ 9525 w 43814"/>
                  <a:gd name="connsiteY1" fmla="*/ 14288 h 43910"/>
                  <a:gd name="connsiteX2" fmla="*/ 0 w 43814"/>
                  <a:gd name="connsiteY2" fmla="*/ 15335 h 43910"/>
                  <a:gd name="connsiteX3" fmla="*/ 2857 w 43814"/>
                  <a:gd name="connsiteY3" fmla="*/ 20098 h 43910"/>
                  <a:gd name="connsiteX4" fmla="*/ 6668 w 43814"/>
                  <a:gd name="connsiteY4" fmla="*/ 35338 h 43910"/>
                  <a:gd name="connsiteX5" fmla="*/ 21907 w 43814"/>
                  <a:gd name="connsiteY5" fmla="*/ 38100 h 43910"/>
                  <a:gd name="connsiteX6" fmla="*/ 25718 w 43814"/>
                  <a:gd name="connsiteY6" fmla="*/ 43910 h 43910"/>
                  <a:gd name="connsiteX7" fmla="*/ 29527 w 43814"/>
                  <a:gd name="connsiteY7" fmla="*/ 38100 h 43910"/>
                  <a:gd name="connsiteX8" fmla="*/ 36195 w 43814"/>
                  <a:gd name="connsiteY8" fmla="*/ 36195 h 43910"/>
                  <a:gd name="connsiteX9" fmla="*/ 41910 w 43814"/>
                  <a:gd name="connsiteY9" fmla="*/ 31433 h 43910"/>
                  <a:gd name="connsiteX10" fmla="*/ 36195 w 43814"/>
                  <a:gd name="connsiteY10" fmla="*/ 27718 h 43910"/>
                  <a:gd name="connsiteX11" fmla="*/ 36195 w 43814"/>
                  <a:gd name="connsiteY11" fmla="*/ 21050 h 43910"/>
                  <a:gd name="connsiteX12" fmla="*/ 43815 w 43814"/>
                  <a:gd name="connsiteY12" fmla="*/ 16288 h 43910"/>
                  <a:gd name="connsiteX13" fmla="*/ 43815 w 43814"/>
                  <a:gd name="connsiteY13" fmla="*/ 10573 h 43910"/>
                  <a:gd name="connsiteX14" fmla="*/ 38100 w 43814"/>
                  <a:gd name="connsiteY14" fmla="*/ 0 h 43910"/>
                  <a:gd name="connsiteX15" fmla="*/ 28575 w 43814"/>
                  <a:gd name="connsiteY15" fmla="*/ 5810 h 43910"/>
                  <a:gd name="connsiteX16" fmla="*/ 23813 w 43814"/>
                  <a:gd name="connsiteY16" fmla="*/ 14288 h 43910"/>
                  <a:gd name="connsiteX17" fmla="*/ 20002 w 43814"/>
                  <a:gd name="connsiteY17" fmla="*/ 13430 h 43910"/>
                  <a:gd name="connsiteX18" fmla="*/ 21907 w 43814"/>
                  <a:gd name="connsiteY18" fmla="*/ 8668 h 43910"/>
                  <a:gd name="connsiteX19" fmla="*/ 12382 w 43814"/>
                  <a:gd name="connsiteY19" fmla="*/ 9525 h 4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3814" h="43910">
                    <a:moveTo>
                      <a:pt x="12382" y="9525"/>
                    </a:moveTo>
                    <a:lnTo>
                      <a:pt x="9525" y="14288"/>
                    </a:lnTo>
                    <a:lnTo>
                      <a:pt x="0" y="15335"/>
                    </a:lnTo>
                    <a:lnTo>
                      <a:pt x="2857" y="20098"/>
                    </a:lnTo>
                    <a:lnTo>
                      <a:pt x="6668" y="35338"/>
                    </a:lnTo>
                    <a:lnTo>
                      <a:pt x="21907" y="38100"/>
                    </a:lnTo>
                    <a:lnTo>
                      <a:pt x="25718" y="43910"/>
                    </a:lnTo>
                    <a:lnTo>
                      <a:pt x="29527" y="38100"/>
                    </a:lnTo>
                    <a:lnTo>
                      <a:pt x="36195" y="36195"/>
                    </a:lnTo>
                    <a:lnTo>
                      <a:pt x="41910" y="31433"/>
                    </a:lnTo>
                    <a:lnTo>
                      <a:pt x="36195" y="27718"/>
                    </a:lnTo>
                    <a:lnTo>
                      <a:pt x="36195" y="21050"/>
                    </a:lnTo>
                    <a:lnTo>
                      <a:pt x="43815" y="16288"/>
                    </a:lnTo>
                    <a:lnTo>
                      <a:pt x="43815" y="10573"/>
                    </a:lnTo>
                    <a:lnTo>
                      <a:pt x="38100" y="0"/>
                    </a:lnTo>
                    <a:lnTo>
                      <a:pt x="28575" y="5810"/>
                    </a:lnTo>
                    <a:lnTo>
                      <a:pt x="23813" y="14288"/>
                    </a:lnTo>
                    <a:lnTo>
                      <a:pt x="20002" y="13430"/>
                    </a:lnTo>
                    <a:lnTo>
                      <a:pt x="21907" y="8668"/>
                    </a:lnTo>
                    <a:lnTo>
                      <a:pt x="12382" y="9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3" name="Freeform: Shape 392">
                <a:extLst>
                  <a:ext uri="{FF2B5EF4-FFF2-40B4-BE49-F238E27FC236}">
                    <a16:creationId xmlns:a16="http://schemas.microsoft.com/office/drawing/2014/main" id="{B1F79F41-B99B-27F6-9899-FAC792FFCA7E}"/>
                  </a:ext>
                </a:extLst>
              </p:cNvPr>
              <p:cNvSpPr/>
              <p:nvPr/>
            </p:nvSpPr>
            <p:spPr>
              <a:xfrm>
                <a:off x="6394420" y="2853683"/>
                <a:ext cx="14005" cy="12978"/>
              </a:xfrm>
              <a:custGeom>
                <a:avLst/>
                <a:gdLst>
                  <a:gd name="connsiteX0" fmla="*/ 3810 w 14287"/>
                  <a:gd name="connsiteY0" fmla="*/ 0 h 13239"/>
                  <a:gd name="connsiteX1" fmla="*/ 0 w 14287"/>
                  <a:gd name="connsiteY1" fmla="*/ 7620 h 13239"/>
                  <a:gd name="connsiteX2" fmla="*/ 12382 w 14287"/>
                  <a:gd name="connsiteY2" fmla="*/ 13240 h 13239"/>
                  <a:gd name="connsiteX3" fmla="*/ 14288 w 14287"/>
                  <a:gd name="connsiteY3" fmla="*/ 7620 h 13239"/>
                  <a:gd name="connsiteX4" fmla="*/ 3810 w 14287"/>
                  <a:gd name="connsiteY4" fmla="*/ 0 h 13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7" h="13239">
                    <a:moveTo>
                      <a:pt x="3810" y="0"/>
                    </a:moveTo>
                    <a:lnTo>
                      <a:pt x="0" y="7620"/>
                    </a:lnTo>
                    <a:lnTo>
                      <a:pt x="12382" y="13240"/>
                    </a:lnTo>
                    <a:lnTo>
                      <a:pt x="14288" y="7620"/>
                    </a:lnTo>
                    <a:lnTo>
                      <a:pt x="381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4" name="Freeform: Shape 393">
                <a:extLst>
                  <a:ext uri="{FF2B5EF4-FFF2-40B4-BE49-F238E27FC236}">
                    <a16:creationId xmlns:a16="http://schemas.microsoft.com/office/drawing/2014/main" id="{E6D7521B-5071-306A-38F5-9BDCE0FCE7FF}"/>
                  </a:ext>
                </a:extLst>
              </p:cNvPr>
              <p:cNvSpPr/>
              <p:nvPr/>
            </p:nvSpPr>
            <p:spPr>
              <a:xfrm>
                <a:off x="6224481" y="2751813"/>
                <a:ext cx="63492" cy="42017"/>
              </a:xfrm>
              <a:custGeom>
                <a:avLst/>
                <a:gdLst>
                  <a:gd name="connsiteX0" fmla="*/ 55245 w 64769"/>
                  <a:gd name="connsiteY0" fmla="*/ 4763 h 42862"/>
                  <a:gd name="connsiteX1" fmla="*/ 46673 w 64769"/>
                  <a:gd name="connsiteY1" fmla="*/ 6763 h 42862"/>
                  <a:gd name="connsiteX2" fmla="*/ 31432 w 64769"/>
                  <a:gd name="connsiteY2" fmla="*/ 21908 h 42862"/>
                  <a:gd name="connsiteX3" fmla="*/ 20955 w 64769"/>
                  <a:gd name="connsiteY3" fmla="*/ 21908 h 42862"/>
                  <a:gd name="connsiteX4" fmla="*/ 3810 w 64769"/>
                  <a:gd name="connsiteY4" fmla="*/ 29623 h 42862"/>
                  <a:gd name="connsiteX5" fmla="*/ 0 w 64769"/>
                  <a:gd name="connsiteY5" fmla="*/ 40100 h 42862"/>
                  <a:gd name="connsiteX6" fmla="*/ 4763 w 64769"/>
                  <a:gd name="connsiteY6" fmla="*/ 42863 h 42862"/>
                  <a:gd name="connsiteX7" fmla="*/ 5715 w 64769"/>
                  <a:gd name="connsiteY7" fmla="*/ 36195 h 42862"/>
                  <a:gd name="connsiteX8" fmla="*/ 22860 w 64769"/>
                  <a:gd name="connsiteY8" fmla="*/ 27718 h 42862"/>
                  <a:gd name="connsiteX9" fmla="*/ 28575 w 64769"/>
                  <a:gd name="connsiteY9" fmla="*/ 30575 h 42862"/>
                  <a:gd name="connsiteX10" fmla="*/ 41910 w 64769"/>
                  <a:gd name="connsiteY10" fmla="*/ 27718 h 42862"/>
                  <a:gd name="connsiteX11" fmla="*/ 55245 w 64769"/>
                  <a:gd name="connsiteY11" fmla="*/ 29623 h 42862"/>
                  <a:gd name="connsiteX12" fmla="*/ 64770 w 64769"/>
                  <a:gd name="connsiteY12" fmla="*/ 17145 h 42862"/>
                  <a:gd name="connsiteX13" fmla="*/ 61913 w 64769"/>
                  <a:gd name="connsiteY13" fmla="*/ 6763 h 42862"/>
                  <a:gd name="connsiteX14" fmla="*/ 63818 w 64769"/>
                  <a:gd name="connsiteY14" fmla="*/ 0 h 42862"/>
                  <a:gd name="connsiteX15" fmla="*/ 55245 w 64769"/>
                  <a:gd name="connsiteY15" fmla="*/ 4763 h 4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4769" h="42862">
                    <a:moveTo>
                      <a:pt x="55245" y="4763"/>
                    </a:moveTo>
                    <a:lnTo>
                      <a:pt x="46673" y="6763"/>
                    </a:lnTo>
                    <a:lnTo>
                      <a:pt x="31432" y="21908"/>
                    </a:lnTo>
                    <a:lnTo>
                      <a:pt x="20955" y="21908"/>
                    </a:lnTo>
                    <a:lnTo>
                      <a:pt x="3810" y="29623"/>
                    </a:lnTo>
                    <a:lnTo>
                      <a:pt x="0" y="40100"/>
                    </a:lnTo>
                    <a:lnTo>
                      <a:pt x="4763" y="42863"/>
                    </a:lnTo>
                    <a:lnTo>
                      <a:pt x="5715" y="36195"/>
                    </a:lnTo>
                    <a:lnTo>
                      <a:pt x="22860" y="27718"/>
                    </a:lnTo>
                    <a:lnTo>
                      <a:pt x="28575" y="30575"/>
                    </a:lnTo>
                    <a:lnTo>
                      <a:pt x="41910" y="27718"/>
                    </a:lnTo>
                    <a:lnTo>
                      <a:pt x="55245" y="29623"/>
                    </a:lnTo>
                    <a:lnTo>
                      <a:pt x="64770" y="17145"/>
                    </a:lnTo>
                    <a:lnTo>
                      <a:pt x="61913" y="6763"/>
                    </a:lnTo>
                    <a:lnTo>
                      <a:pt x="63818" y="0"/>
                    </a:lnTo>
                    <a:lnTo>
                      <a:pt x="55245" y="47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5" name="Freeform: Shape 394">
                <a:extLst>
                  <a:ext uri="{FF2B5EF4-FFF2-40B4-BE49-F238E27FC236}">
                    <a16:creationId xmlns:a16="http://schemas.microsoft.com/office/drawing/2014/main" id="{49AE2848-07B6-1EED-F7AD-D31938061DD9}"/>
                  </a:ext>
                </a:extLst>
              </p:cNvPr>
              <p:cNvSpPr/>
              <p:nvPr/>
            </p:nvSpPr>
            <p:spPr>
              <a:xfrm>
                <a:off x="6220747" y="2780852"/>
                <a:ext cx="78433" cy="89637"/>
              </a:xfrm>
              <a:custGeom>
                <a:avLst/>
                <a:gdLst>
                  <a:gd name="connsiteX0" fmla="*/ 39053 w 80010"/>
                  <a:gd name="connsiteY0" fmla="*/ 81915 h 91439"/>
                  <a:gd name="connsiteX1" fmla="*/ 44768 w 80010"/>
                  <a:gd name="connsiteY1" fmla="*/ 64770 h 91439"/>
                  <a:gd name="connsiteX2" fmla="*/ 45720 w 80010"/>
                  <a:gd name="connsiteY2" fmla="*/ 56102 h 91439"/>
                  <a:gd name="connsiteX3" fmla="*/ 53340 w 80010"/>
                  <a:gd name="connsiteY3" fmla="*/ 52388 h 91439"/>
                  <a:gd name="connsiteX4" fmla="*/ 59055 w 80010"/>
                  <a:gd name="connsiteY4" fmla="*/ 47625 h 91439"/>
                  <a:gd name="connsiteX5" fmla="*/ 61913 w 80010"/>
                  <a:gd name="connsiteY5" fmla="*/ 43815 h 91439"/>
                  <a:gd name="connsiteX6" fmla="*/ 60008 w 80010"/>
                  <a:gd name="connsiteY6" fmla="*/ 39910 h 91439"/>
                  <a:gd name="connsiteX7" fmla="*/ 61913 w 80010"/>
                  <a:gd name="connsiteY7" fmla="*/ 35147 h 91439"/>
                  <a:gd name="connsiteX8" fmla="*/ 75248 w 80010"/>
                  <a:gd name="connsiteY8" fmla="*/ 35147 h 91439"/>
                  <a:gd name="connsiteX9" fmla="*/ 80010 w 80010"/>
                  <a:gd name="connsiteY9" fmla="*/ 28575 h 91439"/>
                  <a:gd name="connsiteX10" fmla="*/ 79058 w 80010"/>
                  <a:gd name="connsiteY10" fmla="*/ 21908 h 91439"/>
                  <a:gd name="connsiteX11" fmla="*/ 64770 w 80010"/>
                  <a:gd name="connsiteY11" fmla="*/ 21908 h 91439"/>
                  <a:gd name="connsiteX12" fmla="*/ 59055 w 80010"/>
                  <a:gd name="connsiteY12" fmla="*/ 22765 h 91439"/>
                  <a:gd name="connsiteX13" fmla="*/ 61913 w 80010"/>
                  <a:gd name="connsiteY13" fmla="*/ 16097 h 91439"/>
                  <a:gd name="connsiteX14" fmla="*/ 60960 w 80010"/>
                  <a:gd name="connsiteY14" fmla="*/ 3715 h 91439"/>
                  <a:gd name="connsiteX15" fmla="*/ 49530 w 80010"/>
                  <a:gd name="connsiteY15" fmla="*/ 0 h 91439"/>
                  <a:gd name="connsiteX16" fmla="*/ 47625 w 80010"/>
                  <a:gd name="connsiteY16" fmla="*/ 2858 h 91439"/>
                  <a:gd name="connsiteX17" fmla="*/ 32385 w 80010"/>
                  <a:gd name="connsiteY17" fmla="*/ 4763 h 91439"/>
                  <a:gd name="connsiteX18" fmla="*/ 32385 w 80010"/>
                  <a:gd name="connsiteY18" fmla="*/ 15240 h 91439"/>
                  <a:gd name="connsiteX19" fmla="*/ 24765 w 80010"/>
                  <a:gd name="connsiteY19" fmla="*/ 12383 h 91439"/>
                  <a:gd name="connsiteX20" fmla="*/ 17145 w 80010"/>
                  <a:gd name="connsiteY20" fmla="*/ 16097 h 91439"/>
                  <a:gd name="connsiteX21" fmla="*/ 17145 w 80010"/>
                  <a:gd name="connsiteY21" fmla="*/ 21908 h 91439"/>
                  <a:gd name="connsiteX22" fmla="*/ 9525 w 80010"/>
                  <a:gd name="connsiteY22" fmla="*/ 19050 h 91439"/>
                  <a:gd name="connsiteX23" fmla="*/ 2858 w 80010"/>
                  <a:gd name="connsiteY23" fmla="*/ 14288 h 91439"/>
                  <a:gd name="connsiteX24" fmla="*/ 0 w 80010"/>
                  <a:gd name="connsiteY24" fmla="*/ 19050 h 91439"/>
                  <a:gd name="connsiteX25" fmla="*/ 953 w 80010"/>
                  <a:gd name="connsiteY25" fmla="*/ 40958 h 91439"/>
                  <a:gd name="connsiteX26" fmla="*/ 2858 w 80010"/>
                  <a:gd name="connsiteY26" fmla="*/ 42863 h 91439"/>
                  <a:gd name="connsiteX27" fmla="*/ 0 w 80010"/>
                  <a:gd name="connsiteY27" fmla="*/ 44672 h 91439"/>
                  <a:gd name="connsiteX28" fmla="*/ 953 w 80010"/>
                  <a:gd name="connsiteY28" fmla="*/ 60008 h 91439"/>
                  <a:gd name="connsiteX29" fmla="*/ 8573 w 80010"/>
                  <a:gd name="connsiteY29" fmla="*/ 63722 h 91439"/>
                  <a:gd name="connsiteX30" fmla="*/ 16193 w 80010"/>
                  <a:gd name="connsiteY30" fmla="*/ 69533 h 91439"/>
                  <a:gd name="connsiteX31" fmla="*/ 19050 w 80010"/>
                  <a:gd name="connsiteY31" fmla="*/ 89440 h 91439"/>
                  <a:gd name="connsiteX32" fmla="*/ 26670 w 80010"/>
                  <a:gd name="connsiteY32" fmla="*/ 91440 h 91439"/>
                  <a:gd name="connsiteX33" fmla="*/ 41910 w 80010"/>
                  <a:gd name="connsiteY33" fmla="*/ 88583 h 91439"/>
                  <a:gd name="connsiteX34" fmla="*/ 43815 w 80010"/>
                  <a:gd name="connsiteY34" fmla="*/ 84677 h 91439"/>
                  <a:gd name="connsiteX35" fmla="*/ 39053 w 80010"/>
                  <a:gd name="connsiteY35" fmla="*/ 81915 h 91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80010" h="91439">
                    <a:moveTo>
                      <a:pt x="39053" y="81915"/>
                    </a:moveTo>
                    <a:lnTo>
                      <a:pt x="44768" y="64770"/>
                    </a:lnTo>
                    <a:lnTo>
                      <a:pt x="45720" y="56102"/>
                    </a:lnTo>
                    <a:lnTo>
                      <a:pt x="53340" y="52388"/>
                    </a:lnTo>
                    <a:lnTo>
                      <a:pt x="59055" y="47625"/>
                    </a:lnTo>
                    <a:lnTo>
                      <a:pt x="61913" y="43815"/>
                    </a:lnTo>
                    <a:lnTo>
                      <a:pt x="60008" y="39910"/>
                    </a:lnTo>
                    <a:lnTo>
                      <a:pt x="61913" y="35147"/>
                    </a:lnTo>
                    <a:lnTo>
                      <a:pt x="75248" y="35147"/>
                    </a:lnTo>
                    <a:lnTo>
                      <a:pt x="80010" y="28575"/>
                    </a:lnTo>
                    <a:lnTo>
                      <a:pt x="79058" y="21908"/>
                    </a:lnTo>
                    <a:lnTo>
                      <a:pt x="64770" y="21908"/>
                    </a:lnTo>
                    <a:lnTo>
                      <a:pt x="59055" y="22765"/>
                    </a:lnTo>
                    <a:lnTo>
                      <a:pt x="61913" y="16097"/>
                    </a:lnTo>
                    <a:lnTo>
                      <a:pt x="60960" y="3715"/>
                    </a:lnTo>
                    <a:lnTo>
                      <a:pt x="49530" y="0"/>
                    </a:lnTo>
                    <a:lnTo>
                      <a:pt x="47625" y="2858"/>
                    </a:lnTo>
                    <a:lnTo>
                      <a:pt x="32385" y="4763"/>
                    </a:lnTo>
                    <a:lnTo>
                      <a:pt x="32385" y="15240"/>
                    </a:lnTo>
                    <a:lnTo>
                      <a:pt x="24765" y="12383"/>
                    </a:lnTo>
                    <a:lnTo>
                      <a:pt x="17145" y="16097"/>
                    </a:lnTo>
                    <a:lnTo>
                      <a:pt x="17145" y="21908"/>
                    </a:lnTo>
                    <a:lnTo>
                      <a:pt x="9525" y="19050"/>
                    </a:lnTo>
                    <a:lnTo>
                      <a:pt x="2858" y="14288"/>
                    </a:lnTo>
                    <a:lnTo>
                      <a:pt x="0" y="19050"/>
                    </a:lnTo>
                    <a:lnTo>
                      <a:pt x="953" y="40958"/>
                    </a:lnTo>
                    <a:lnTo>
                      <a:pt x="2858" y="42863"/>
                    </a:lnTo>
                    <a:lnTo>
                      <a:pt x="0" y="44672"/>
                    </a:lnTo>
                    <a:lnTo>
                      <a:pt x="953" y="60008"/>
                    </a:lnTo>
                    <a:lnTo>
                      <a:pt x="8573" y="63722"/>
                    </a:lnTo>
                    <a:lnTo>
                      <a:pt x="16193" y="69533"/>
                    </a:lnTo>
                    <a:lnTo>
                      <a:pt x="19050" y="89440"/>
                    </a:lnTo>
                    <a:lnTo>
                      <a:pt x="26670" y="91440"/>
                    </a:lnTo>
                    <a:lnTo>
                      <a:pt x="41910" y="88583"/>
                    </a:lnTo>
                    <a:lnTo>
                      <a:pt x="43815" y="84677"/>
                    </a:lnTo>
                    <a:lnTo>
                      <a:pt x="39053" y="819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6" name="Freeform: Shape 395">
                <a:extLst>
                  <a:ext uri="{FF2B5EF4-FFF2-40B4-BE49-F238E27FC236}">
                    <a16:creationId xmlns:a16="http://schemas.microsoft.com/office/drawing/2014/main" id="{AEC0D5D6-E37B-72A9-DA9D-547E26E232F0}"/>
                  </a:ext>
                </a:extLst>
              </p:cNvPr>
              <p:cNvSpPr/>
              <p:nvPr/>
            </p:nvSpPr>
            <p:spPr>
              <a:xfrm>
                <a:off x="7400041" y="3821963"/>
                <a:ext cx="144727" cy="96081"/>
              </a:xfrm>
              <a:custGeom>
                <a:avLst/>
                <a:gdLst>
                  <a:gd name="connsiteX0" fmla="*/ 143827 w 147637"/>
                  <a:gd name="connsiteY0" fmla="*/ 17050 h 98012"/>
                  <a:gd name="connsiteX1" fmla="*/ 140970 w 147637"/>
                  <a:gd name="connsiteY1" fmla="*/ 3715 h 98012"/>
                  <a:gd name="connsiteX2" fmla="*/ 133350 w 147637"/>
                  <a:gd name="connsiteY2" fmla="*/ 0 h 98012"/>
                  <a:gd name="connsiteX3" fmla="*/ 119063 w 147637"/>
                  <a:gd name="connsiteY3" fmla="*/ 17050 h 98012"/>
                  <a:gd name="connsiteX4" fmla="*/ 101917 w 147637"/>
                  <a:gd name="connsiteY4" fmla="*/ 31337 h 98012"/>
                  <a:gd name="connsiteX5" fmla="*/ 87630 w 147637"/>
                  <a:gd name="connsiteY5" fmla="*/ 49530 h 98012"/>
                  <a:gd name="connsiteX6" fmla="*/ 73342 w 147637"/>
                  <a:gd name="connsiteY6" fmla="*/ 52388 h 98012"/>
                  <a:gd name="connsiteX7" fmla="*/ 56197 w 147637"/>
                  <a:gd name="connsiteY7" fmla="*/ 45625 h 98012"/>
                  <a:gd name="connsiteX8" fmla="*/ 45720 w 147637"/>
                  <a:gd name="connsiteY8" fmla="*/ 52388 h 98012"/>
                  <a:gd name="connsiteX9" fmla="*/ 38100 w 147637"/>
                  <a:gd name="connsiteY9" fmla="*/ 56102 h 98012"/>
                  <a:gd name="connsiteX10" fmla="*/ 24765 w 147637"/>
                  <a:gd name="connsiteY10" fmla="*/ 52388 h 98012"/>
                  <a:gd name="connsiteX11" fmla="*/ 14288 w 147637"/>
                  <a:gd name="connsiteY11" fmla="*/ 41815 h 98012"/>
                  <a:gd name="connsiteX12" fmla="*/ 6667 w 147637"/>
                  <a:gd name="connsiteY12" fmla="*/ 35243 h 98012"/>
                  <a:gd name="connsiteX13" fmla="*/ 0 w 147637"/>
                  <a:gd name="connsiteY13" fmla="*/ 41815 h 98012"/>
                  <a:gd name="connsiteX14" fmla="*/ 38100 w 147637"/>
                  <a:gd name="connsiteY14" fmla="*/ 87630 h 98012"/>
                  <a:gd name="connsiteX15" fmla="*/ 83820 w 147637"/>
                  <a:gd name="connsiteY15" fmla="*/ 98012 h 98012"/>
                  <a:gd name="connsiteX16" fmla="*/ 116205 w 147637"/>
                  <a:gd name="connsiteY16" fmla="*/ 98012 h 98012"/>
                  <a:gd name="connsiteX17" fmla="*/ 147638 w 147637"/>
                  <a:gd name="connsiteY17" fmla="*/ 41815 h 98012"/>
                  <a:gd name="connsiteX18" fmla="*/ 143827 w 147637"/>
                  <a:gd name="connsiteY18" fmla="*/ 17050 h 98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7637" h="98012">
                    <a:moveTo>
                      <a:pt x="143827" y="17050"/>
                    </a:moveTo>
                    <a:lnTo>
                      <a:pt x="140970" y="3715"/>
                    </a:lnTo>
                    <a:lnTo>
                      <a:pt x="133350" y="0"/>
                    </a:lnTo>
                    <a:lnTo>
                      <a:pt x="119063" y="17050"/>
                    </a:lnTo>
                    <a:lnTo>
                      <a:pt x="101917" y="31337"/>
                    </a:lnTo>
                    <a:lnTo>
                      <a:pt x="87630" y="49530"/>
                    </a:lnTo>
                    <a:lnTo>
                      <a:pt x="73342" y="52388"/>
                    </a:lnTo>
                    <a:lnTo>
                      <a:pt x="56197" y="45625"/>
                    </a:lnTo>
                    <a:lnTo>
                      <a:pt x="45720" y="52388"/>
                    </a:lnTo>
                    <a:lnTo>
                      <a:pt x="38100" y="56102"/>
                    </a:lnTo>
                    <a:lnTo>
                      <a:pt x="24765" y="52388"/>
                    </a:lnTo>
                    <a:lnTo>
                      <a:pt x="14288" y="41815"/>
                    </a:lnTo>
                    <a:lnTo>
                      <a:pt x="6667" y="35243"/>
                    </a:lnTo>
                    <a:lnTo>
                      <a:pt x="0" y="41815"/>
                    </a:lnTo>
                    <a:lnTo>
                      <a:pt x="38100" y="87630"/>
                    </a:lnTo>
                    <a:lnTo>
                      <a:pt x="83820" y="98012"/>
                    </a:lnTo>
                    <a:lnTo>
                      <a:pt x="116205" y="98012"/>
                    </a:lnTo>
                    <a:lnTo>
                      <a:pt x="147638" y="41815"/>
                    </a:lnTo>
                    <a:lnTo>
                      <a:pt x="143827" y="170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7" name="Freeform: Shape 396">
                <a:extLst>
                  <a:ext uri="{FF2B5EF4-FFF2-40B4-BE49-F238E27FC236}">
                    <a16:creationId xmlns:a16="http://schemas.microsoft.com/office/drawing/2014/main" id="{79EDDFD4-4A88-0518-52E8-C3502C76BB7C}"/>
                  </a:ext>
                </a:extLst>
              </p:cNvPr>
              <p:cNvSpPr/>
              <p:nvPr/>
            </p:nvSpPr>
            <p:spPr>
              <a:xfrm>
                <a:off x="7400041" y="3862954"/>
                <a:ext cx="37349" cy="44912"/>
              </a:xfrm>
              <a:custGeom>
                <a:avLst/>
                <a:gdLst>
                  <a:gd name="connsiteX0" fmla="*/ 38100 w 38100"/>
                  <a:gd name="connsiteY0" fmla="*/ 45815 h 45815"/>
                  <a:gd name="connsiteX1" fmla="*/ 0 w 38100"/>
                  <a:gd name="connsiteY1" fmla="*/ 0 h 45815"/>
                  <a:gd name="connsiteX2" fmla="*/ 14288 w 38100"/>
                  <a:gd name="connsiteY2" fmla="*/ 18097 h 45815"/>
                  <a:gd name="connsiteX3" fmla="*/ 38100 w 38100"/>
                  <a:gd name="connsiteY3" fmla="*/ 45815 h 4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0" h="45815">
                    <a:moveTo>
                      <a:pt x="38100" y="45815"/>
                    </a:moveTo>
                    <a:lnTo>
                      <a:pt x="0" y="0"/>
                    </a:lnTo>
                    <a:lnTo>
                      <a:pt x="14288" y="18097"/>
                    </a:lnTo>
                    <a:lnTo>
                      <a:pt x="38100" y="458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259B3D97-19B3-5C22-E779-C37F851DC8CC}"/>
                  </a:ext>
                </a:extLst>
              </p:cNvPr>
              <p:cNvSpPr/>
              <p:nvPr/>
            </p:nvSpPr>
            <p:spPr>
              <a:xfrm>
                <a:off x="3969538" y="4402745"/>
                <a:ext cx="1070981" cy="1102644"/>
              </a:xfrm>
              <a:custGeom>
                <a:avLst/>
                <a:gdLst>
                  <a:gd name="connsiteX0" fmla="*/ 1074420 w 1092517"/>
                  <a:gd name="connsiteY0" fmla="*/ 288607 h 1124807"/>
                  <a:gd name="connsiteX1" fmla="*/ 1060132 w 1092517"/>
                  <a:gd name="connsiteY1" fmla="*/ 288607 h 1124807"/>
                  <a:gd name="connsiteX2" fmla="*/ 1042988 w 1092517"/>
                  <a:gd name="connsiteY2" fmla="*/ 292322 h 1124807"/>
                  <a:gd name="connsiteX3" fmla="*/ 1024890 w 1092517"/>
                  <a:gd name="connsiteY3" fmla="*/ 281845 h 1124807"/>
                  <a:gd name="connsiteX4" fmla="*/ 1007745 w 1092517"/>
                  <a:gd name="connsiteY4" fmla="*/ 267557 h 1124807"/>
                  <a:gd name="connsiteX5" fmla="*/ 986790 w 1092517"/>
                  <a:gd name="connsiteY5" fmla="*/ 250507 h 1124807"/>
                  <a:gd name="connsiteX6" fmla="*/ 964882 w 1092517"/>
                  <a:gd name="connsiteY6" fmla="*/ 236220 h 1124807"/>
                  <a:gd name="connsiteX7" fmla="*/ 947738 w 1092517"/>
                  <a:gd name="connsiteY7" fmla="*/ 232410 h 1124807"/>
                  <a:gd name="connsiteX8" fmla="*/ 929640 w 1092517"/>
                  <a:gd name="connsiteY8" fmla="*/ 228600 h 1124807"/>
                  <a:gd name="connsiteX9" fmla="*/ 908685 w 1092517"/>
                  <a:gd name="connsiteY9" fmla="*/ 228600 h 1124807"/>
                  <a:gd name="connsiteX10" fmla="*/ 891540 w 1092517"/>
                  <a:gd name="connsiteY10" fmla="*/ 225647 h 1124807"/>
                  <a:gd name="connsiteX11" fmla="*/ 873443 w 1092517"/>
                  <a:gd name="connsiteY11" fmla="*/ 218122 h 1124807"/>
                  <a:gd name="connsiteX12" fmla="*/ 860107 w 1092517"/>
                  <a:gd name="connsiteY12" fmla="*/ 215170 h 1124807"/>
                  <a:gd name="connsiteX13" fmla="*/ 848678 w 1092517"/>
                  <a:gd name="connsiteY13" fmla="*/ 218122 h 1124807"/>
                  <a:gd name="connsiteX14" fmla="*/ 838200 w 1092517"/>
                  <a:gd name="connsiteY14" fmla="*/ 221932 h 1124807"/>
                  <a:gd name="connsiteX15" fmla="*/ 824865 w 1092517"/>
                  <a:gd name="connsiteY15" fmla="*/ 236220 h 1124807"/>
                  <a:gd name="connsiteX16" fmla="*/ 821055 w 1092517"/>
                  <a:gd name="connsiteY16" fmla="*/ 236220 h 1124807"/>
                  <a:gd name="connsiteX17" fmla="*/ 824865 w 1092517"/>
                  <a:gd name="connsiteY17" fmla="*/ 221932 h 1124807"/>
                  <a:gd name="connsiteX18" fmla="*/ 831532 w 1092517"/>
                  <a:gd name="connsiteY18" fmla="*/ 211360 h 1124807"/>
                  <a:gd name="connsiteX19" fmla="*/ 831532 w 1092517"/>
                  <a:gd name="connsiteY19" fmla="*/ 200882 h 1124807"/>
                  <a:gd name="connsiteX20" fmla="*/ 813435 w 1092517"/>
                  <a:gd name="connsiteY20" fmla="*/ 193357 h 1124807"/>
                  <a:gd name="connsiteX21" fmla="*/ 789622 w 1092517"/>
                  <a:gd name="connsiteY21" fmla="*/ 182785 h 1124807"/>
                  <a:gd name="connsiteX22" fmla="*/ 775335 w 1092517"/>
                  <a:gd name="connsiteY22" fmla="*/ 172307 h 1124807"/>
                  <a:gd name="connsiteX23" fmla="*/ 750570 w 1092517"/>
                  <a:gd name="connsiteY23" fmla="*/ 165735 h 1124807"/>
                  <a:gd name="connsiteX24" fmla="*/ 740093 w 1092517"/>
                  <a:gd name="connsiteY24" fmla="*/ 161925 h 1124807"/>
                  <a:gd name="connsiteX25" fmla="*/ 729615 w 1092517"/>
                  <a:gd name="connsiteY25" fmla="*/ 165735 h 1124807"/>
                  <a:gd name="connsiteX26" fmla="*/ 721995 w 1092517"/>
                  <a:gd name="connsiteY26" fmla="*/ 172307 h 1124807"/>
                  <a:gd name="connsiteX27" fmla="*/ 719138 w 1092517"/>
                  <a:gd name="connsiteY27" fmla="*/ 182785 h 1124807"/>
                  <a:gd name="connsiteX28" fmla="*/ 715328 w 1092517"/>
                  <a:gd name="connsiteY28" fmla="*/ 190500 h 1124807"/>
                  <a:gd name="connsiteX29" fmla="*/ 711518 w 1092517"/>
                  <a:gd name="connsiteY29" fmla="*/ 190500 h 1124807"/>
                  <a:gd name="connsiteX30" fmla="*/ 697230 w 1092517"/>
                  <a:gd name="connsiteY30" fmla="*/ 204788 h 1124807"/>
                  <a:gd name="connsiteX31" fmla="*/ 690563 w 1092517"/>
                  <a:gd name="connsiteY31" fmla="*/ 204788 h 1124807"/>
                  <a:gd name="connsiteX32" fmla="*/ 690563 w 1092517"/>
                  <a:gd name="connsiteY32" fmla="*/ 190500 h 1124807"/>
                  <a:gd name="connsiteX33" fmla="*/ 701040 w 1092517"/>
                  <a:gd name="connsiteY33" fmla="*/ 180022 h 1124807"/>
                  <a:gd name="connsiteX34" fmla="*/ 708660 w 1092517"/>
                  <a:gd name="connsiteY34" fmla="*/ 172307 h 1124807"/>
                  <a:gd name="connsiteX35" fmla="*/ 711518 w 1092517"/>
                  <a:gd name="connsiteY35" fmla="*/ 161925 h 1124807"/>
                  <a:gd name="connsiteX36" fmla="*/ 711518 w 1092517"/>
                  <a:gd name="connsiteY36" fmla="*/ 155257 h 1124807"/>
                  <a:gd name="connsiteX37" fmla="*/ 704850 w 1092517"/>
                  <a:gd name="connsiteY37" fmla="*/ 147638 h 1124807"/>
                  <a:gd name="connsiteX38" fmla="*/ 690563 w 1092517"/>
                  <a:gd name="connsiteY38" fmla="*/ 144685 h 1124807"/>
                  <a:gd name="connsiteX39" fmla="*/ 683895 w 1092517"/>
                  <a:gd name="connsiteY39" fmla="*/ 137160 h 1124807"/>
                  <a:gd name="connsiteX40" fmla="*/ 669607 w 1092517"/>
                  <a:gd name="connsiteY40" fmla="*/ 137160 h 1124807"/>
                  <a:gd name="connsiteX41" fmla="*/ 655320 w 1092517"/>
                  <a:gd name="connsiteY41" fmla="*/ 144685 h 1124807"/>
                  <a:gd name="connsiteX42" fmla="*/ 655320 w 1092517"/>
                  <a:gd name="connsiteY42" fmla="*/ 161925 h 1124807"/>
                  <a:gd name="connsiteX43" fmla="*/ 648653 w 1092517"/>
                  <a:gd name="connsiteY43" fmla="*/ 172307 h 1124807"/>
                  <a:gd name="connsiteX44" fmla="*/ 638175 w 1092517"/>
                  <a:gd name="connsiteY44" fmla="*/ 176213 h 1124807"/>
                  <a:gd name="connsiteX45" fmla="*/ 634365 w 1092517"/>
                  <a:gd name="connsiteY45" fmla="*/ 169545 h 1124807"/>
                  <a:gd name="connsiteX46" fmla="*/ 634365 w 1092517"/>
                  <a:gd name="connsiteY46" fmla="*/ 155257 h 1124807"/>
                  <a:gd name="connsiteX47" fmla="*/ 638175 w 1092517"/>
                  <a:gd name="connsiteY47" fmla="*/ 147638 h 1124807"/>
                  <a:gd name="connsiteX48" fmla="*/ 651510 w 1092517"/>
                  <a:gd name="connsiteY48" fmla="*/ 133350 h 1124807"/>
                  <a:gd name="connsiteX49" fmla="*/ 665797 w 1092517"/>
                  <a:gd name="connsiteY49" fmla="*/ 122872 h 1124807"/>
                  <a:gd name="connsiteX50" fmla="*/ 673418 w 1092517"/>
                  <a:gd name="connsiteY50" fmla="*/ 119920 h 1124807"/>
                  <a:gd name="connsiteX51" fmla="*/ 673418 w 1092517"/>
                  <a:gd name="connsiteY51" fmla="*/ 105632 h 1124807"/>
                  <a:gd name="connsiteX52" fmla="*/ 661988 w 1092517"/>
                  <a:gd name="connsiteY52" fmla="*/ 95250 h 1124807"/>
                  <a:gd name="connsiteX53" fmla="*/ 648653 w 1092517"/>
                  <a:gd name="connsiteY53" fmla="*/ 77057 h 1124807"/>
                  <a:gd name="connsiteX54" fmla="*/ 644843 w 1092517"/>
                  <a:gd name="connsiteY54" fmla="*/ 62770 h 1124807"/>
                  <a:gd name="connsiteX55" fmla="*/ 641032 w 1092517"/>
                  <a:gd name="connsiteY55" fmla="*/ 49435 h 1124807"/>
                  <a:gd name="connsiteX56" fmla="*/ 644843 w 1092517"/>
                  <a:gd name="connsiteY56" fmla="*/ 41910 h 1124807"/>
                  <a:gd name="connsiteX57" fmla="*/ 638175 w 1092517"/>
                  <a:gd name="connsiteY57" fmla="*/ 35147 h 1124807"/>
                  <a:gd name="connsiteX58" fmla="*/ 626745 w 1092517"/>
                  <a:gd name="connsiteY58" fmla="*/ 31432 h 1124807"/>
                  <a:gd name="connsiteX59" fmla="*/ 616268 w 1092517"/>
                  <a:gd name="connsiteY59" fmla="*/ 41910 h 1124807"/>
                  <a:gd name="connsiteX60" fmla="*/ 595313 w 1092517"/>
                  <a:gd name="connsiteY60" fmla="*/ 91345 h 1124807"/>
                  <a:gd name="connsiteX61" fmla="*/ 584835 w 1092517"/>
                  <a:gd name="connsiteY61" fmla="*/ 84772 h 1124807"/>
                  <a:gd name="connsiteX62" fmla="*/ 567690 w 1092517"/>
                  <a:gd name="connsiteY62" fmla="*/ 80963 h 1124807"/>
                  <a:gd name="connsiteX63" fmla="*/ 557213 w 1092517"/>
                  <a:gd name="connsiteY63" fmla="*/ 87535 h 1124807"/>
                  <a:gd name="connsiteX64" fmla="*/ 545782 w 1092517"/>
                  <a:gd name="connsiteY64" fmla="*/ 87535 h 1124807"/>
                  <a:gd name="connsiteX65" fmla="*/ 528638 w 1092517"/>
                  <a:gd name="connsiteY65" fmla="*/ 80963 h 1124807"/>
                  <a:gd name="connsiteX66" fmla="*/ 510540 w 1092517"/>
                  <a:gd name="connsiteY66" fmla="*/ 77057 h 1124807"/>
                  <a:gd name="connsiteX67" fmla="*/ 503872 w 1092517"/>
                  <a:gd name="connsiteY67" fmla="*/ 77057 h 1124807"/>
                  <a:gd name="connsiteX68" fmla="*/ 503872 w 1092517"/>
                  <a:gd name="connsiteY68" fmla="*/ 84772 h 1124807"/>
                  <a:gd name="connsiteX69" fmla="*/ 500063 w 1092517"/>
                  <a:gd name="connsiteY69" fmla="*/ 95250 h 1124807"/>
                  <a:gd name="connsiteX70" fmla="*/ 497205 w 1092517"/>
                  <a:gd name="connsiteY70" fmla="*/ 95250 h 1124807"/>
                  <a:gd name="connsiteX71" fmla="*/ 486728 w 1092517"/>
                  <a:gd name="connsiteY71" fmla="*/ 95250 h 1124807"/>
                  <a:gd name="connsiteX72" fmla="*/ 479107 w 1092517"/>
                  <a:gd name="connsiteY72" fmla="*/ 87535 h 1124807"/>
                  <a:gd name="connsiteX73" fmla="*/ 472440 w 1092517"/>
                  <a:gd name="connsiteY73" fmla="*/ 95250 h 1124807"/>
                  <a:gd name="connsiteX74" fmla="*/ 458153 w 1092517"/>
                  <a:gd name="connsiteY74" fmla="*/ 101822 h 1124807"/>
                  <a:gd name="connsiteX75" fmla="*/ 447675 w 1092517"/>
                  <a:gd name="connsiteY75" fmla="*/ 109538 h 1124807"/>
                  <a:gd name="connsiteX76" fmla="*/ 429578 w 1092517"/>
                  <a:gd name="connsiteY76" fmla="*/ 112395 h 1124807"/>
                  <a:gd name="connsiteX77" fmla="*/ 416243 w 1092517"/>
                  <a:gd name="connsiteY77" fmla="*/ 112395 h 1124807"/>
                  <a:gd name="connsiteX78" fmla="*/ 401955 w 1092517"/>
                  <a:gd name="connsiteY78" fmla="*/ 98107 h 1124807"/>
                  <a:gd name="connsiteX79" fmla="*/ 391478 w 1092517"/>
                  <a:gd name="connsiteY79" fmla="*/ 84772 h 1124807"/>
                  <a:gd name="connsiteX80" fmla="*/ 391478 w 1092517"/>
                  <a:gd name="connsiteY80" fmla="*/ 49435 h 1124807"/>
                  <a:gd name="connsiteX81" fmla="*/ 401955 w 1092517"/>
                  <a:gd name="connsiteY81" fmla="*/ 38957 h 1124807"/>
                  <a:gd name="connsiteX82" fmla="*/ 387668 w 1092517"/>
                  <a:gd name="connsiteY82" fmla="*/ 0 h 1124807"/>
                  <a:gd name="connsiteX83" fmla="*/ 366713 w 1092517"/>
                  <a:gd name="connsiteY83" fmla="*/ 0 h 1124807"/>
                  <a:gd name="connsiteX84" fmla="*/ 370522 w 1092517"/>
                  <a:gd name="connsiteY84" fmla="*/ 6572 h 1124807"/>
                  <a:gd name="connsiteX85" fmla="*/ 362903 w 1092517"/>
                  <a:gd name="connsiteY85" fmla="*/ 24670 h 1124807"/>
                  <a:gd name="connsiteX86" fmla="*/ 341947 w 1092517"/>
                  <a:gd name="connsiteY86" fmla="*/ 31432 h 1124807"/>
                  <a:gd name="connsiteX87" fmla="*/ 324803 w 1092517"/>
                  <a:gd name="connsiteY87" fmla="*/ 35147 h 1124807"/>
                  <a:gd name="connsiteX88" fmla="*/ 313372 w 1092517"/>
                  <a:gd name="connsiteY88" fmla="*/ 41910 h 1124807"/>
                  <a:gd name="connsiteX89" fmla="*/ 306705 w 1092517"/>
                  <a:gd name="connsiteY89" fmla="*/ 38957 h 1124807"/>
                  <a:gd name="connsiteX90" fmla="*/ 285750 w 1092517"/>
                  <a:gd name="connsiteY90" fmla="*/ 38957 h 1124807"/>
                  <a:gd name="connsiteX91" fmla="*/ 271463 w 1092517"/>
                  <a:gd name="connsiteY91" fmla="*/ 31432 h 1124807"/>
                  <a:gd name="connsiteX92" fmla="*/ 260985 w 1092517"/>
                  <a:gd name="connsiteY92" fmla="*/ 35147 h 1124807"/>
                  <a:gd name="connsiteX93" fmla="*/ 271463 w 1092517"/>
                  <a:gd name="connsiteY93" fmla="*/ 45720 h 1124807"/>
                  <a:gd name="connsiteX94" fmla="*/ 275272 w 1092517"/>
                  <a:gd name="connsiteY94" fmla="*/ 62770 h 1124807"/>
                  <a:gd name="connsiteX95" fmla="*/ 285750 w 1092517"/>
                  <a:gd name="connsiteY95" fmla="*/ 77057 h 1124807"/>
                  <a:gd name="connsiteX96" fmla="*/ 296228 w 1092517"/>
                  <a:gd name="connsiteY96" fmla="*/ 77057 h 1124807"/>
                  <a:gd name="connsiteX97" fmla="*/ 296228 w 1092517"/>
                  <a:gd name="connsiteY97" fmla="*/ 91345 h 1124807"/>
                  <a:gd name="connsiteX98" fmla="*/ 275272 w 1092517"/>
                  <a:gd name="connsiteY98" fmla="*/ 98107 h 1124807"/>
                  <a:gd name="connsiteX99" fmla="*/ 264795 w 1092517"/>
                  <a:gd name="connsiteY99" fmla="*/ 109538 h 1124807"/>
                  <a:gd name="connsiteX100" fmla="*/ 254318 w 1092517"/>
                  <a:gd name="connsiteY100" fmla="*/ 119920 h 1124807"/>
                  <a:gd name="connsiteX101" fmla="*/ 229553 w 1092517"/>
                  <a:gd name="connsiteY101" fmla="*/ 126682 h 1124807"/>
                  <a:gd name="connsiteX102" fmla="*/ 211455 w 1092517"/>
                  <a:gd name="connsiteY102" fmla="*/ 122872 h 1124807"/>
                  <a:gd name="connsiteX103" fmla="*/ 197168 w 1092517"/>
                  <a:gd name="connsiteY103" fmla="*/ 109538 h 1124807"/>
                  <a:gd name="connsiteX104" fmla="*/ 190500 w 1092517"/>
                  <a:gd name="connsiteY104" fmla="*/ 98107 h 1124807"/>
                  <a:gd name="connsiteX105" fmla="*/ 180022 w 1092517"/>
                  <a:gd name="connsiteY105" fmla="*/ 95250 h 1124807"/>
                  <a:gd name="connsiteX106" fmla="*/ 161925 w 1092517"/>
                  <a:gd name="connsiteY106" fmla="*/ 98107 h 1124807"/>
                  <a:gd name="connsiteX107" fmla="*/ 113347 w 1092517"/>
                  <a:gd name="connsiteY107" fmla="*/ 101822 h 1124807"/>
                  <a:gd name="connsiteX108" fmla="*/ 113347 w 1092517"/>
                  <a:gd name="connsiteY108" fmla="*/ 112395 h 1124807"/>
                  <a:gd name="connsiteX109" fmla="*/ 134303 w 1092517"/>
                  <a:gd name="connsiteY109" fmla="*/ 119920 h 1124807"/>
                  <a:gd name="connsiteX110" fmla="*/ 134303 w 1092517"/>
                  <a:gd name="connsiteY110" fmla="*/ 130397 h 1124807"/>
                  <a:gd name="connsiteX111" fmla="*/ 116205 w 1092517"/>
                  <a:gd name="connsiteY111" fmla="*/ 126682 h 1124807"/>
                  <a:gd name="connsiteX112" fmla="*/ 113347 w 1092517"/>
                  <a:gd name="connsiteY112" fmla="*/ 130397 h 1124807"/>
                  <a:gd name="connsiteX113" fmla="*/ 113347 w 1092517"/>
                  <a:gd name="connsiteY113" fmla="*/ 151447 h 1124807"/>
                  <a:gd name="connsiteX114" fmla="*/ 123825 w 1092517"/>
                  <a:gd name="connsiteY114" fmla="*/ 165735 h 1124807"/>
                  <a:gd name="connsiteX115" fmla="*/ 126682 w 1092517"/>
                  <a:gd name="connsiteY115" fmla="*/ 186595 h 1124807"/>
                  <a:gd name="connsiteX116" fmla="*/ 123825 w 1092517"/>
                  <a:gd name="connsiteY116" fmla="*/ 211360 h 1124807"/>
                  <a:gd name="connsiteX117" fmla="*/ 120015 w 1092517"/>
                  <a:gd name="connsiteY117" fmla="*/ 221932 h 1124807"/>
                  <a:gd name="connsiteX118" fmla="*/ 120015 w 1092517"/>
                  <a:gd name="connsiteY118" fmla="*/ 242888 h 1124807"/>
                  <a:gd name="connsiteX119" fmla="*/ 109538 w 1092517"/>
                  <a:gd name="connsiteY119" fmla="*/ 267557 h 1124807"/>
                  <a:gd name="connsiteX120" fmla="*/ 70485 w 1092517"/>
                  <a:gd name="connsiteY120" fmla="*/ 271463 h 1124807"/>
                  <a:gd name="connsiteX121" fmla="*/ 45720 w 1092517"/>
                  <a:gd name="connsiteY121" fmla="*/ 281845 h 1124807"/>
                  <a:gd name="connsiteX122" fmla="*/ 28575 w 1092517"/>
                  <a:gd name="connsiteY122" fmla="*/ 302895 h 1124807"/>
                  <a:gd name="connsiteX123" fmla="*/ 24765 w 1092517"/>
                  <a:gd name="connsiteY123" fmla="*/ 320897 h 1124807"/>
                  <a:gd name="connsiteX124" fmla="*/ 14288 w 1092517"/>
                  <a:gd name="connsiteY124" fmla="*/ 331470 h 1124807"/>
                  <a:gd name="connsiteX125" fmla="*/ 0 w 1092517"/>
                  <a:gd name="connsiteY125" fmla="*/ 352425 h 1124807"/>
                  <a:gd name="connsiteX126" fmla="*/ 14288 w 1092517"/>
                  <a:gd name="connsiteY126" fmla="*/ 391382 h 1124807"/>
                  <a:gd name="connsiteX127" fmla="*/ 32385 w 1092517"/>
                  <a:gd name="connsiteY127" fmla="*/ 408622 h 1124807"/>
                  <a:gd name="connsiteX128" fmla="*/ 49530 w 1092517"/>
                  <a:gd name="connsiteY128" fmla="*/ 426720 h 1124807"/>
                  <a:gd name="connsiteX129" fmla="*/ 63818 w 1092517"/>
                  <a:gd name="connsiteY129" fmla="*/ 429482 h 1124807"/>
                  <a:gd name="connsiteX130" fmla="*/ 67628 w 1092517"/>
                  <a:gd name="connsiteY130" fmla="*/ 426720 h 1124807"/>
                  <a:gd name="connsiteX131" fmla="*/ 84772 w 1092517"/>
                  <a:gd name="connsiteY131" fmla="*/ 419100 h 1124807"/>
                  <a:gd name="connsiteX132" fmla="*/ 95250 w 1092517"/>
                  <a:gd name="connsiteY132" fmla="*/ 408622 h 1124807"/>
                  <a:gd name="connsiteX133" fmla="*/ 99060 w 1092517"/>
                  <a:gd name="connsiteY133" fmla="*/ 419100 h 1124807"/>
                  <a:gd name="connsiteX134" fmla="*/ 91440 w 1092517"/>
                  <a:gd name="connsiteY134" fmla="*/ 441007 h 1124807"/>
                  <a:gd name="connsiteX135" fmla="*/ 95250 w 1092517"/>
                  <a:gd name="connsiteY135" fmla="*/ 451485 h 1124807"/>
                  <a:gd name="connsiteX136" fmla="*/ 105728 w 1092517"/>
                  <a:gd name="connsiteY136" fmla="*/ 451485 h 1124807"/>
                  <a:gd name="connsiteX137" fmla="*/ 126682 w 1092517"/>
                  <a:gd name="connsiteY137" fmla="*/ 454247 h 1124807"/>
                  <a:gd name="connsiteX138" fmla="*/ 161925 w 1092517"/>
                  <a:gd name="connsiteY138" fmla="*/ 451485 h 1124807"/>
                  <a:gd name="connsiteX139" fmla="*/ 186690 w 1092517"/>
                  <a:gd name="connsiteY139" fmla="*/ 441007 h 1124807"/>
                  <a:gd name="connsiteX140" fmla="*/ 200978 w 1092517"/>
                  <a:gd name="connsiteY140" fmla="*/ 429482 h 1124807"/>
                  <a:gd name="connsiteX141" fmla="*/ 204788 w 1092517"/>
                  <a:gd name="connsiteY141" fmla="*/ 429482 h 1124807"/>
                  <a:gd name="connsiteX142" fmla="*/ 221932 w 1092517"/>
                  <a:gd name="connsiteY142" fmla="*/ 422910 h 1124807"/>
                  <a:gd name="connsiteX143" fmla="*/ 242888 w 1092517"/>
                  <a:gd name="connsiteY143" fmla="*/ 422910 h 1124807"/>
                  <a:gd name="connsiteX144" fmla="*/ 246697 w 1092517"/>
                  <a:gd name="connsiteY144" fmla="*/ 472345 h 1124807"/>
                  <a:gd name="connsiteX145" fmla="*/ 267653 w 1092517"/>
                  <a:gd name="connsiteY145" fmla="*/ 493395 h 1124807"/>
                  <a:gd name="connsiteX146" fmla="*/ 285750 w 1092517"/>
                  <a:gd name="connsiteY146" fmla="*/ 497110 h 1124807"/>
                  <a:gd name="connsiteX147" fmla="*/ 302895 w 1092517"/>
                  <a:gd name="connsiteY147" fmla="*/ 500920 h 1124807"/>
                  <a:gd name="connsiteX148" fmla="*/ 310515 w 1092517"/>
                  <a:gd name="connsiteY148" fmla="*/ 511397 h 1124807"/>
                  <a:gd name="connsiteX149" fmla="*/ 324803 w 1092517"/>
                  <a:gd name="connsiteY149" fmla="*/ 514350 h 1124807"/>
                  <a:gd name="connsiteX150" fmla="*/ 345757 w 1092517"/>
                  <a:gd name="connsiteY150" fmla="*/ 524732 h 1124807"/>
                  <a:gd name="connsiteX151" fmla="*/ 377190 w 1092517"/>
                  <a:gd name="connsiteY151" fmla="*/ 532447 h 1124807"/>
                  <a:gd name="connsiteX152" fmla="*/ 383857 w 1092517"/>
                  <a:gd name="connsiteY152" fmla="*/ 553307 h 1124807"/>
                  <a:gd name="connsiteX153" fmla="*/ 387668 w 1092517"/>
                  <a:gd name="connsiteY153" fmla="*/ 567595 h 1124807"/>
                  <a:gd name="connsiteX154" fmla="*/ 383857 w 1092517"/>
                  <a:gd name="connsiteY154" fmla="*/ 574357 h 1124807"/>
                  <a:gd name="connsiteX155" fmla="*/ 383857 w 1092517"/>
                  <a:gd name="connsiteY155" fmla="*/ 581882 h 1124807"/>
                  <a:gd name="connsiteX156" fmla="*/ 387668 w 1092517"/>
                  <a:gd name="connsiteY156" fmla="*/ 602932 h 1124807"/>
                  <a:gd name="connsiteX157" fmla="*/ 437197 w 1092517"/>
                  <a:gd name="connsiteY157" fmla="*/ 602932 h 1124807"/>
                  <a:gd name="connsiteX158" fmla="*/ 433388 w 1092517"/>
                  <a:gd name="connsiteY158" fmla="*/ 617220 h 1124807"/>
                  <a:gd name="connsiteX159" fmla="*/ 437197 w 1092517"/>
                  <a:gd name="connsiteY159" fmla="*/ 638175 h 1124807"/>
                  <a:gd name="connsiteX160" fmla="*/ 454343 w 1092517"/>
                  <a:gd name="connsiteY160" fmla="*/ 644747 h 1124807"/>
                  <a:gd name="connsiteX161" fmla="*/ 458153 w 1092517"/>
                  <a:gd name="connsiteY161" fmla="*/ 662845 h 1124807"/>
                  <a:gd name="connsiteX162" fmla="*/ 458153 w 1092517"/>
                  <a:gd name="connsiteY162" fmla="*/ 673322 h 1124807"/>
                  <a:gd name="connsiteX163" fmla="*/ 443865 w 1092517"/>
                  <a:gd name="connsiteY163" fmla="*/ 698182 h 1124807"/>
                  <a:gd name="connsiteX164" fmla="*/ 451485 w 1092517"/>
                  <a:gd name="connsiteY164" fmla="*/ 708660 h 1124807"/>
                  <a:gd name="connsiteX165" fmla="*/ 443865 w 1092517"/>
                  <a:gd name="connsiteY165" fmla="*/ 715232 h 1124807"/>
                  <a:gd name="connsiteX166" fmla="*/ 451485 w 1092517"/>
                  <a:gd name="connsiteY166" fmla="*/ 729520 h 1124807"/>
                  <a:gd name="connsiteX167" fmla="*/ 451485 w 1092517"/>
                  <a:gd name="connsiteY167" fmla="*/ 779145 h 1124807"/>
                  <a:gd name="connsiteX168" fmla="*/ 468630 w 1092517"/>
                  <a:gd name="connsiteY168" fmla="*/ 779145 h 1124807"/>
                  <a:gd name="connsiteX169" fmla="*/ 482918 w 1092517"/>
                  <a:gd name="connsiteY169" fmla="*/ 775335 h 1124807"/>
                  <a:gd name="connsiteX170" fmla="*/ 500063 w 1092517"/>
                  <a:gd name="connsiteY170" fmla="*/ 779145 h 1124807"/>
                  <a:gd name="connsiteX171" fmla="*/ 510540 w 1092517"/>
                  <a:gd name="connsiteY171" fmla="*/ 785813 h 1124807"/>
                  <a:gd name="connsiteX172" fmla="*/ 507682 w 1092517"/>
                  <a:gd name="connsiteY172" fmla="*/ 803910 h 1124807"/>
                  <a:gd name="connsiteX173" fmla="*/ 514350 w 1092517"/>
                  <a:gd name="connsiteY173" fmla="*/ 820960 h 1124807"/>
                  <a:gd name="connsiteX174" fmla="*/ 528638 w 1092517"/>
                  <a:gd name="connsiteY174" fmla="*/ 835247 h 1124807"/>
                  <a:gd name="connsiteX175" fmla="*/ 542925 w 1092517"/>
                  <a:gd name="connsiteY175" fmla="*/ 832485 h 1124807"/>
                  <a:gd name="connsiteX176" fmla="*/ 553403 w 1092517"/>
                  <a:gd name="connsiteY176" fmla="*/ 835247 h 1124807"/>
                  <a:gd name="connsiteX177" fmla="*/ 549593 w 1092517"/>
                  <a:gd name="connsiteY177" fmla="*/ 849535 h 1124807"/>
                  <a:gd name="connsiteX178" fmla="*/ 542925 w 1092517"/>
                  <a:gd name="connsiteY178" fmla="*/ 863822 h 1124807"/>
                  <a:gd name="connsiteX179" fmla="*/ 542925 w 1092517"/>
                  <a:gd name="connsiteY179" fmla="*/ 874395 h 1124807"/>
                  <a:gd name="connsiteX180" fmla="*/ 560070 w 1092517"/>
                  <a:gd name="connsiteY180" fmla="*/ 878110 h 1124807"/>
                  <a:gd name="connsiteX181" fmla="*/ 567690 w 1092517"/>
                  <a:gd name="connsiteY181" fmla="*/ 884872 h 1124807"/>
                  <a:gd name="connsiteX182" fmla="*/ 570547 w 1092517"/>
                  <a:gd name="connsiteY182" fmla="*/ 902970 h 1124807"/>
                  <a:gd name="connsiteX183" fmla="*/ 563880 w 1092517"/>
                  <a:gd name="connsiteY183" fmla="*/ 923925 h 1124807"/>
                  <a:gd name="connsiteX184" fmla="*/ 557213 w 1092517"/>
                  <a:gd name="connsiteY184" fmla="*/ 934307 h 1124807"/>
                  <a:gd name="connsiteX185" fmla="*/ 542925 w 1092517"/>
                  <a:gd name="connsiteY185" fmla="*/ 941070 h 1124807"/>
                  <a:gd name="connsiteX186" fmla="*/ 528638 w 1092517"/>
                  <a:gd name="connsiteY186" fmla="*/ 951547 h 1124807"/>
                  <a:gd name="connsiteX187" fmla="*/ 486728 w 1092517"/>
                  <a:gd name="connsiteY187" fmla="*/ 994410 h 1124807"/>
                  <a:gd name="connsiteX188" fmla="*/ 476250 w 1092517"/>
                  <a:gd name="connsiteY188" fmla="*/ 1000982 h 1124807"/>
                  <a:gd name="connsiteX189" fmla="*/ 472440 w 1092517"/>
                  <a:gd name="connsiteY189" fmla="*/ 1008697 h 1124807"/>
                  <a:gd name="connsiteX190" fmla="*/ 489585 w 1092517"/>
                  <a:gd name="connsiteY190" fmla="*/ 1022032 h 1124807"/>
                  <a:gd name="connsiteX191" fmla="*/ 503872 w 1092517"/>
                  <a:gd name="connsiteY191" fmla="*/ 1040035 h 1124807"/>
                  <a:gd name="connsiteX192" fmla="*/ 518160 w 1092517"/>
                  <a:gd name="connsiteY192" fmla="*/ 1043845 h 1124807"/>
                  <a:gd name="connsiteX193" fmla="*/ 542925 w 1092517"/>
                  <a:gd name="connsiteY193" fmla="*/ 1057275 h 1124807"/>
                  <a:gd name="connsiteX194" fmla="*/ 563880 w 1092517"/>
                  <a:gd name="connsiteY194" fmla="*/ 1075373 h 1124807"/>
                  <a:gd name="connsiteX195" fmla="*/ 574357 w 1092517"/>
                  <a:gd name="connsiteY195" fmla="*/ 1081945 h 1124807"/>
                  <a:gd name="connsiteX196" fmla="*/ 581025 w 1092517"/>
                  <a:gd name="connsiteY196" fmla="*/ 1096232 h 1124807"/>
                  <a:gd name="connsiteX197" fmla="*/ 578168 w 1092517"/>
                  <a:gd name="connsiteY197" fmla="*/ 1106710 h 1124807"/>
                  <a:gd name="connsiteX198" fmla="*/ 578168 w 1092517"/>
                  <a:gd name="connsiteY198" fmla="*/ 1117282 h 1124807"/>
                  <a:gd name="connsiteX199" fmla="*/ 584835 w 1092517"/>
                  <a:gd name="connsiteY199" fmla="*/ 1124807 h 1124807"/>
                  <a:gd name="connsiteX200" fmla="*/ 592455 w 1092517"/>
                  <a:gd name="connsiteY200" fmla="*/ 1110520 h 1124807"/>
                  <a:gd name="connsiteX201" fmla="*/ 602932 w 1092517"/>
                  <a:gd name="connsiteY201" fmla="*/ 1096232 h 1124807"/>
                  <a:gd name="connsiteX202" fmla="*/ 605790 w 1092517"/>
                  <a:gd name="connsiteY202" fmla="*/ 1089660 h 1124807"/>
                  <a:gd name="connsiteX203" fmla="*/ 609600 w 1092517"/>
                  <a:gd name="connsiteY203" fmla="*/ 1079182 h 1124807"/>
                  <a:gd name="connsiteX204" fmla="*/ 613410 w 1092517"/>
                  <a:gd name="connsiteY204" fmla="*/ 1068610 h 1124807"/>
                  <a:gd name="connsiteX205" fmla="*/ 613410 w 1092517"/>
                  <a:gd name="connsiteY205" fmla="*/ 1057275 h 1124807"/>
                  <a:gd name="connsiteX206" fmla="*/ 620078 w 1092517"/>
                  <a:gd name="connsiteY206" fmla="*/ 1050607 h 1124807"/>
                  <a:gd name="connsiteX207" fmla="*/ 626745 w 1092517"/>
                  <a:gd name="connsiteY207" fmla="*/ 1043845 h 1124807"/>
                  <a:gd name="connsiteX208" fmla="*/ 634365 w 1092517"/>
                  <a:gd name="connsiteY208" fmla="*/ 1033463 h 1124807"/>
                  <a:gd name="connsiteX209" fmla="*/ 641032 w 1092517"/>
                  <a:gd name="connsiteY209" fmla="*/ 1025747 h 1124807"/>
                  <a:gd name="connsiteX210" fmla="*/ 648653 w 1092517"/>
                  <a:gd name="connsiteY210" fmla="*/ 1022032 h 1124807"/>
                  <a:gd name="connsiteX211" fmla="*/ 651510 w 1092517"/>
                  <a:gd name="connsiteY211" fmla="*/ 1029557 h 1124807"/>
                  <a:gd name="connsiteX212" fmla="*/ 644843 w 1092517"/>
                  <a:gd name="connsiteY212" fmla="*/ 1040035 h 1124807"/>
                  <a:gd name="connsiteX213" fmla="*/ 634365 w 1092517"/>
                  <a:gd name="connsiteY213" fmla="*/ 1050607 h 1124807"/>
                  <a:gd name="connsiteX214" fmla="*/ 626745 w 1092517"/>
                  <a:gd name="connsiteY214" fmla="*/ 1057275 h 1124807"/>
                  <a:gd name="connsiteX215" fmla="*/ 620078 w 1092517"/>
                  <a:gd name="connsiteY215" fmla="*/ 1064895 h 1124807"/>
                  <a:gd name="connsiteX216" fmla="*/ 620078 w 1092517"/>
                  <a:gd name="connsiteY216" fmla="*/ 1068610 h 1124807"/>
                  <a:gd name="connsiteX217" fmla="*/ 620078 w 1092517"/>
                  <a:gd name="connsiteY217" fmla="*/ 1075373 h 1124807"/>
                  <a:gd name="connsiteX218" fmla="*/ 634365 w 1092517"/>
                  <a:gd name="connsiteY218" fmla="*/ 1064895 h 1124807"/>
                  <a:gd name="connsiteX219" fmla="*/ 644843 w 1092517"/>
                  <a:gd name="connsiteY219" fmla="*/ 1057275 h 1124807"/>
                  <a:gd name="connsiteX220" fmla="*/ 651510 w 1092517"/>
                  <a:gd name="connsiteY220" fmla="*/ 1043845 h 1124807"/>
                  <a:gd name="connsiteX221" fmla="*/ 659130 w 1092517"/>
                  <a:gd name="connsiteY221" fmla="*/ 1036320 h 1124807"/>
                  <a:gd name="connsiteX222" fmla="*/ 661988 w 1092517"/>
                  <a:gd name="connsiteY222" fmla="*/ 1029557 h 1124807"/>
                  <a:gd name="connsiteX223" fmla="*/ 669607 w 1092517"/>
                  <a:gd name="connsiteY223" fmla="*/ 1011460 h 1124807"/>
                  <a:gd name="connsiteX224" fmla="*/ 676275 w 1092517"/>
                  <a:gd name="connsiteY224" fmla="*/ 998220 h 1124807"/>
                  <a:gd name="connsiteX225" fmla="*/ 686753 w 1092517"/>
                  <a:gd name="connsiteY225" fmla="*/ 986695 h 1124807"/>
                  <a:gd name="connsiteX226" fmla="*/ 701040 w 1092517"/>
                  <a:gd name="connsiteY226" fmla="*/ 969645 h 1124807"/>
                  <a:gd name="connsiteX227" fmla="*/ 711518 w 1092517"/>
                  <a:gd name="connsiteY227" fmla="*/ 955357 h 1124807"/>
                  <a:gd name="connsiteX228" fmla="*/ 708660 w 1092517"/>
                  <a:gd name="connsiteY228" fmla="*/ 926782 h 1124807"/>
                  <a:gd name="connsiteX229" fmla="*/ 708660 w 1092517"/>
                  <a:gd name="connsiteY229" fmla="*/ 909638 h 1124807"/>
                  <a:gd name="connsiteX230" fmla="*/ 711518 w 1092517"/>
                  <a:gd name="connsiteY230" fmla="*/ 884872 h 1124807"/>
                  <a:gd name="connsiteX231" fmla="*/ 719138 w 1092517"/>
                  <a:gd name="connsiteY231" fmla="*/ 870585 h 1124807"/>
                  <a:gd name="connsiteX232" fmla="*/ 736282 w 1092517"/>
                  <a:gd name="connsiteY232" fmla="*/ 853345 h 1124807"/>
                  <a:gd name="connsiteX233" fmla="*/ 757238 w 1092517"/>
                  <a:gd name="connsiteY233" fmla="*/ 845820 h 1124807"/>
                  <a:gd name="connsiteX234" fmla="*/ 771525 w 1092517"/>
                  <a:gd name="connsiteY234" fmla="*/ 832485 h 1124807"/>
                  <a:gd name="connsiteX235" fmla="*/ 785813 w 1092517"/>
                  <a:gd name="connsiteY235" fmla="*/ 832485 h 1124807"/>
                  <a:gd name="connsiteX236" fmla="*/ 800100 w 1092517"/>
                  <a:gd name="connsiteY236" fmla="*/ 824770 h 1124807"/>
                  <a:gd name="connsiteX237" fmla="*/ 817245 w 1092517"/>
                  <a:gd name="connsiteY237" fmla="*/ 807720 h 1124807"/>
                  <a:gd name="connsiteX238" fmla="*/ 848678 w 1092517"/>
                  <a:gd name="connsiteY238" fmla="*/ 803910 h 1124807"/>
                  <a:gd name="connsiteX239" fmla="*/ 870585 w 1092517"/>
                  <a:gd name="connsiteY239" fmla="*/ 803910 h 1124807"/>
                  <a:gd name="connsiteX240" fmla="*/ 895350 w 1092517"/>
                  <a:gd name="connsiteY240" fmla="*/ 796195 h 1124807"/>
                  <a:gd name="connsiteX241" fmla="*/ 902018 w 1092517"/>
                  <a:gd name="connsiteY241" fmla="*/ 785813 h 1124807"/>
                  <a:gd name="connsiteX242" fmla="*/ 912495 w 1092517"/>
                  <a:gd name="connsiteY242" fmla="*/ 775335 h 1124807"/>
                  <a:gd name="connsiteX243" fmla="*/ 922972 w 1092517"/>
                  <a:gd name="connsiteY243" fmla="*/ 764857 h 1124807"/>
                  <a:gd name="connsiteX244" fmla="*/ 929640 w 1092517"/>
                  <a:gd name="connsiteY244" fmla="*/ 739997 h 1124807"/>
                  <a:gd name="connsiteX245" fmla="*/ 943928 w 1092517"/>
                  <a:gd name="connsiteY245" fmla="*/ 719138 h 1124807"/>
                  <a:gd name="connsiteX246" fmla="*/ 958215 w 1092517"/>
                  <a:gd name="connsiteY246" fmla="*/ 690563 h 1124807"/>
                  <a:gd name="connsiteX247" fmla="*/ 964882 w 1092517"/>
                  <a:gd name="connsiteY247" fmla="*/ 662845 h 1124807"/>
                  <a:gd name="connsiteX248" fmla="*/ 972503 w 1092517"/>
                  <a:gd name="connsiteY248" fmla="*/ 644747 h 1124807"/>
                  <a:gd name="connsiteX249" fmla="*/ 976313 w 1092517"/>
                  <a:gd name="connsiteY249" fmla="*/ 617220 h 1124807"/>
                  <a:gd name="connsiteX250" fmla="*/ 979170 w 1092517"/>
                  <a:gd name="connsiteY250" fmla="*/ 595313 h 1124807"/>
                  <a:gd name="connsiteX251" fmla="*/ 979170 w 1092517"/>
                  <a:gd name="connsiteY251" fmla="*/ 567595 h 1124807"/>
                  <a:gd name="connsiteX252" fmla="*/ 976313 w 1092517"/>
                  <a:gd name="connsiteY252" fmla="*/ 546735 h 1124807"/>
                  <a:gd name="connsiteX253" fmla="*/ 976313 w 1092517"/>
                  <a:gd name="connsiteY253" fmla="*/ 532447 h 1124807"/>
                  <a:gd name="connsiteX254" fmla="*/ 979170 w 1092517"/>
                  <a:gd name="connsiteY254" fmla="*/ 518160 h 1124807"/>
                  <a:gd name="connsiteX255" fmla="*/ 989647 w 1092517"/>
                  <a:gd name="connsiteY255" fmla="*/ 511397 h 1124807"/>
                  <a:gd name="connsiteX256" fmla="*/ 1003935 w 1092517"/>
                  <a:gd name="connsiteY256" fmla="*/ 503872 h 1124807"/>
                  <a:gd name="connsiteX257" fmla="*/ 1011555 w 1092517"/>
                  <a:gd name="connsiteY257" fmla="*/ 497110 h 1124807"/>
                  <a:gd name="connsiteX258" fmla="*/ 1018222 w 1092517"/>
                  <a:gd name="connsiteY258" fmla="*/ 489585 h 1124807"/>
                  <a:gd name="connsiteX259" fmla="*/ 1022032 w 1092517"/>
                  <a:gd name="connsiteY259" fmla="*/ 479107 h 1124807"/>
                  <a:gd name="connsiteX260" fmla="*/ 1022032 w 1092517"/>
                  <a:gd name="connsiteY260" fmla="*/ 464820 h 1124807"/>
                  <a:gd name="connsiteX261" fmla="*/ 1057275 w 1092517"/>
                  <a:gd name="connsiteY261" fmla="*/ 433388 h 1124807"/>
                  <a:gd name="connsiteX262" fmla="*/ 1070610 w 1092517"/>
                  <a:gd name="connsiteY262" fmla="*/ 416147 h 1124807"/>
                  <a:gd name="connsiteX263" fmla="*/ 1088707 w 1092517"/>
                  <a:gd name="connsiteY263" fmla="*/ 394335 h 1124807"/>
                  <a:gd name="connsiteX264" fmla="*/ 1092518 w 1092517"/>
                  <a:gd name="connsiteY264" fmla="*/ 362807 h 1124807"/>
                  <a:gd name="connsiteX265" fmla="*/ 1092518 w 1092517"/>
                  <a:gd name="connsiteY265" fmla="*/ 334232 h 1124807"/>
                  <a:gd name="connsiteX266" fmla="*/ 1081088 w 1092517"/>
                  <a:gd name="connsiteY266" fmla="*/ 306610 h 1124807"/>
                  <a:gd name="connsiteX267" fmla="*/ 1074420 w 1092517"/>
                  <a:gd name="connsiteY267" fmla="*/ 288607 h 1124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092517" h="1124807">
                    <a:moveTo>
                      <a:pt x="1074420" y="288607"/>
                    </a:moveTo>
                    <a:lnTo>
                      <a:pt x="1060132" y="288607"/>
                    </a:lnTo>
                    <a:lnTo>
                      <a:pt x="1042988" y="292322"/>
                    </a:lnTo>
                    <a:lnTo>
                      <a:pt x="1024890" y="281845"/>
                    </a:lnTo>
                    <a:lnTo>
                      <a:pt x="1007745" y="267557"/>
                    </a:lnTo>
                    <a:lnTo>
                      <a:pt x="986790" y="250507"/>
                    </a:lnTo>
                    <a:lnTo>
                      <a:pt x="964882" y="236220"/>
                    </a:lnTo>
                    <a:lnTo>
                      <a:pt x="947738" y="232410"/>
                    </a:lnTo>
                    <a:lnTo>
                      <a:pt x="929640" y="228600"/>
                    </a:lnTo>
                    <a:lnTo>
                      <a:pt x="908685" y="228600"/>
                    </a:lnTo>
                    <a:lnTo>
                      <a:pt x="891540" y="225647"/>
                    </a:lnTo>
                    <a:lnTo>
                      <a:pt x="873443" y="218122"/>
                    </a:lnTo>
                    <a:lnTo>
                      <a:pt x="860107" y="215170"/>
                    </a:lnTo>
                    <a:lnTo>
                      <a:pt x="848678" y="218122"/>
                    </a:lnTo>
                    <a:lnTo>
                      <a:pt x="838200" y="221932"/>
                    </a:lnTo>
                    <a:lnTo>
                      <a:pt x="824865" y="236220"/>
                    </a:lnTo>
                    <a:lnTo>
                      <a:pt x="821055" y="236220"/>
                    </a:lnTo>
                    <a:lnTo>
                      <a:pt x="824865" y="221932"/>
                    </a:lnTo>
                    <a:lnTo>
                      <a:pt x="831532" y="211360"/>
                    </a:lnTo>
                    <a:lnTo>
                      <a:pt x="831532" y="200882"/>
                    </a:lnTo>
                    <a:lnTo>
                      <a:pt x="813435" y="193357"/>
                    </a:lnTo>
                    <a:lnTo>
                      <a:pt x="789622" y="182785"/>
                    </a:lnTo>
                    <a:lnTo>
                      <a:pt x="775335" y="172307"/>
                    </a:lnTo>
                    <a:lnTo>
                      <a:pt x="750570" y="165735"/>
                    </a:lnTo>
                    <a:lnTo>
                      <a:pt x="740093" y="161925"/>
                    </a:lnTo>
                    <a:lnTo>
                      <a:pt x="729615" y="165735"/>
                    </a:lnTo>
                    <a:lnTo>
                      <a:pt x="721995" y="172307"/>
                    </a:lnTo>
                    <a:lnTo>
                      <a:pt x="719138" y="182785"/>
                    </a:lnTo>
                    <a:lnTo>
                      <a:pt x="715328" y="190500"/>
                    </a:lnTo>
                    <a:lnTo>
                      <a:pt x="711518" y="190500"/>
                    </a:lnTo>
                    <a:lnTo>
                      <a:pt x="697230" y="204788"/>
                    </a:lnTo>
                    <a:lnTo>
                      <a:pt x="690563" y="204788"/>
                    </a:lnTo>
                    <a:lnTo>
                      <a:pt x="690563" y="190500"/>
                    </a:lnTo>
                    <a:lnTo>
                      <a:pt x="701040" y="180022"/>
                    </a:lnTo>
                    <a:lnTo>
                      <a:pt x="708660" y="172307"/>
                    </a:lnTo>
                    <a:lnTo>
                      <a:pt x="711518" y="161925"/>
                    </a:lnTo>
                    <a:lnTo>
                      <a:pt x="711518" y="155257"/>
                    </a:lnTo>
                    <a:lnTo>
                      <a:pt x="704850" y="147638"/>
                    </a:lnTo>
                    <a:lnTo>
                      <a:pt x="690563" y="144685"/>
                    </a:lnTo>
                    <a:lnTo>
                      <a:pt x="683895" y="137160"/>
                    </a:lnTo>
                    <a:lnTo>
                      <a:pt x="669607" y="137160"/>
                    </a:lnTo>
                    <a:lnTo>
                      <a:pt x="655320" y="144685"/>
                    </a:lnTo>
                    <a:lnTo>
                      <a:pt x="655320" y="161925"/>
                    </a:lnTo>
                    <a:lnTo>
                      <a:pt x="648653" y="172307"/>
                    </a:lnTo>
                    <a:lnTo>
                      <a:pt x="638175" y="176213"/>
                    </a:lnTo>
                    <a:lnTo>
                      <a:pt x="634365" y="169545"/>
                    </a:lnTo>
                    <a:lnTo>
                      <a:pt x="634365" y="155257"/>
                    </a:lnTo>
                    <a:lnTo>
                      <a:pt x="638175" y="147638"/>
                    </a:lnTo>
                    <a:lnTo>
                      <a:pt x="651510" y="133350"/>
                    </a:lnTo>
                    <a:lnTo>
                      <a:pt x="665797" y="122872"/>
                    </a:lnTo>
                    <a:lnTo>
                      <a:pt x="673418" y="119920"/>
                    </a:lnTo>
                    <a:lnTo>
                      <a:pt x="673418" y="105632"/>
                    </a:lnTo>
                    <a:lnTo>
                      <a:pt x="661988" y="95250"/>
                    </a:lnTo>
                    <a:lnTo>
                      <a:pt x="648653" y="77057"/>
                    </a:lnTo>
                    <a:lnTo>
                      <a:pt x="644843" y="62770"/>
                    </a:lnTo>
                    <a:lnTo>
                      <a:pt x="641032" y="49435"/>
                    </a:lnTo>
                    <a:lnTo>
                      <a:pt x="644843" y="41910"/>
                    </a:lnTo>
                    <a:lnTo>
                      <a:pt x="638175" y="35147"/>
                    </a:lnTo>
                    <a:lnTo>
                      <a:pt x="626745" y="31432"/>
                    </a:lnTo>
                    <a:lnTo>
                      <a:pt x="616268" y="41910"/>
                    </a:lnTo>
                    <a:lnTo>
                      <a:pt x="595313" y="91345"/>
                    </a:lnTo>
                    <a:lnTo>
                      <a:pt x="584835" y="84772"/>
                    </a:lnTo>
                    <a:lnTo>
                      <a:pt x="567690" y="80963"/>
                    </a:lnTo>
                    <a:lnTo>
                      <a:pt x="557213" y="87535"/>
                    </a:lnTo>
                    <a:lnTo>
                      <a:pt x="545782" y="87535"/>
                    </a:lnTo>
                    <a:lnTo>
                      <a:pt x="528638" y="80963"/>
                    </a:lnTo>
                    <a:lnTo>
                      <a:pt x="510540" y="77057"/>
                    </a:lnTo>
                    <a:lnTo>
                      <a:pt x="503872" y="77057"/>
                    </a:lnTo>
                    <a:lnTo>
                      <a:pt x="503872" y="84772"/>
                    </a:lnTo>
                    <a:lnTo>
                      <a:pt x="500063" y="95250"/>
                    </a:lnTo>
                    <a:lnTo>
                      <a:pt x="497205" y="95250"/>
                    </a:lnTo>
                    <a:lnTo>
                      <a:pt x="486728" y="95250"/>
                    </a:lnTo>
                    <a:lnTo>
                      <a:pt x="479107" y="87535"/>
                    </a:lnTo>
                    <a:lnTo>
                      <a:pt x="472440" y="95250"/>
                    </a:lnTo>
                    <a:lnTo>
                      <a:pt x="458153" y="101822"/>
                    </a:lnTo>
                    <a:lnTo>
                      <a:pt x="447675" y="109538"/>
                    </a:lnTo>
                    <a:lnTo>
                      <a:pt x="429578" y="112395"/>
                    </a:lnTo>
                    <a:lnTo>
                      <a:pt x="416243" y="112395"/>
                    </a:lnTo>
                    <a:lnTo>
                      <a:pt x="401955" y="98107"/>
                    </a:lnTo>
                    <a:lnTo>
                      <a:pt x="391478" y="84772"/>
                    </a:lnTo>
                    <a:lnTo>
                      <a:pt x="391478" y="49435"/>
                    </a:lnTo>
                    <a:lnTo>
                      <a:pt x="401955" y="38957"/>
                    </a:lnTo>
                    <a:lnTo>
                      <a:pt x="387668" y="0"/>
                    </a:lnTo>
                    <a:lnTo>
                      <a:pt x="366713" y="0"/>
                    </a:lnTo>
                    <a:lnTo>
                      <a:pt x="370522" y="6572"/>
                    </a:lnTo>
                    <a:lnTo>
                      <a:pt x="362903" y="24670"/>
                    </a:lnTo>
                    <a:lnTo>
                      <a:pt x="341947" y="31432"/>
                    </a:lnTo>
                    <a:lnTo>
                      <a:pt x="324803" y="35147"/>
                    </a:lnTo>
                    <a:lnTo>
                      <a:pt x="313372" y="41910"/>
                    </a:lnTo>
                    <a:lnTo>
                      <a:pt x="306705" y="38957"/>
                    </a:lnTo>
                    <a:lnTo>
                      <a:pt x="285750" y="38957"/>
                    </a:lnTo>
                    <a:lnTo>
                      <a:pt x="271463" y="31432"/>
                    </a:lnTo>
                    <a:lnTo>
                      <a:pt x="260985" y="35147"/>
                    </a:lnTo>
                    <a:lnTo>
                      <a:pt x="271463" y="45720"/>
                    </a:lnTo>
                    <a:lnTo>
                      <a:pt x="275272" y="62770"/>
                    </a:lnTo>
                    <a:lnTo>
                      <a:pt x="285750" y="77057"/>
                    </a:lnTo>
                    <a:lnTo>
                      <a:pt x="296228" y="77057"/>
                    </a:lnTo>
                    <a:lnTo>
                      <a:pt x="296228" y="91345"/>
                    </a:lnTo>
                    <a:lnTo>
                      <a:pt x="275272" y="98107"/>
                    </a:lnTo>
                    <a:lnTo>
                      <a:pt x="264795" y="109538"/>
                    </a:lnTo>
                    <a:lnTo>
                      <a:pt x="254318" y="119920"/>
                    </a:lnTo>
                    <a:lnTo>
                      <a:pt x="229553" y="126682"/>
                    </a:lnTo>
                    <a:lnTo>
                      <a:pt x="211455" y="122872"/>
                    </a:lnTo>
                    <a:lnTo>
                      <a:pt x="197168" y="109538"/>
                    </a:lnTo>
                    <a:lnTo>
                      <a:pt x="190500" y="98107"/>
                    </a:lnTo>
                    <a:lnTo>
                      <a:pt x="180022" y="95250"/>
                    </a:lnTo>
                    <a:lnTo>
                      <a:pt x="161925" y="98107"/>
                    </a:lnTo>
                    <a:lnTo>
                      <a:pt x="113347" y="101822"/>
                    </a:lnTo>
                    <a:lnTo>
                      <a:pt x="113347" y="112395"/>
                    </a:lnTo>
                    <a:lnTo>
                      <a:pt x="134303" y="119920"/>
                    </a:lnTo>
                    <a:lnTo>
                      <a:pt x="134303" y="130397"/>
                    </a:lnTo>
                    <a:lnTo>
                      <a:pt x="116205" y="126682"/>
                    </a:lnTo>
                    <a:lnTo>
                      <a:pt x="113347" y="130397"/>
                    </a:lnTo>
                    <a:lnTo>
                      <a:pt x="113347" y="151447"/>
                    </a:lnTo>
                    <a:lnTo>
                      <a:pt x="123825" y="165735"/>
                    </a:lnTo>
                    <a:lnTo>
                      <a:pt x="126682" y="186595"/>
                    </a:lnTo>
                    <a:lnTo>
                      <a:pt x="123825" y="211360"/>
                    </a:lnTo>
                    <a:lnTo>
                      <a:pt x="120015" y="221932"/>
                    </a:lnTo>
                    <a:lnTo>
                      <a:pt x="120015" y="242888"/>
                    </a:lnTo>
                    <a:lnTo>
                      <a:pt x="109538" y="267557"/>
                    </a:lnTo>
                    <a:lnTo>
                      <a:pt x="70485" y="271463"/>
                    </a:lnTo>
                    <a:lnTo>
                      <a:pt x="45720" y="281845"/>
                    </a:lnTo>
                    <a:lnTo>
                      <a:pt x="28575" y="302895"/>
                    </a:lnTo>
                    <a:lnTo>
                      <a:pt x="24765" y="320897"/>
                    </a:lnTo>
                    <a:lnTo>
                      <a:pt x="14288" y="331470"/>
                    </a:lnTo>
                    <a:lnTo>
                      <a:pt x="0" y="352425"/>
                    </a:lnTo>
                    <a:lnTo>
                      <a:pt x="14288" y="391382"/>
                    </a:lnTo>
                    <a:lnTo>
                      <a:pt x="32385" y="408622"/>
                    </a:lnTo>
                    <a:lnTo>
                      <a:pt x="49530" y="426720"/>
                    </a:lnTo>
                    <a:lnTo>
                      <a:pt x="63818" y="429482"/>
                    </a:lnTo>
                    <a:lnTo>
                      <a:pt x="67628" y="426720"/>
                    </a:lnTo>
                    <a:lnTo>
                      <a:pt x="84772" y="419100"/>
                    </a:lnTo>
                    <a:lnTo>
                      <a:pt x="95250" y="408622"/>
                    </a:lnTo>
                    <a:lnTo>
                      <a:pt x="99060" y="419100"/>
                    </a:lnTo>
                    <a:lnTo>
                      <a:pt x="91440" y="441007"/>
                    </a:lnTo>
                    <a:lnTo>
                      <a:pt x="95250" y="451485"/>
                    </a:lnTo>
                    <a:lnTo>
                      <a:pt x="105728" y="451485"/>
                    </a:lnTo>
                    <a:lnTo>
                      <a:pt x="126682" y="454247"/>
                    </a:lnTo>
                    <a:lnTo>
                      <a:pt x="161925" y="451485"/>
                    </a:lnTo>
                    <a:lnTo>
                      <a:pt x="186690" y="441007"/>
                    </a:lnTo>
                    <a:lnTo>
                      <a:pt x="200978" y="429482"/>
                    </a:lnTo>
                    <a:lnTo>
                      <a:pt x="204788" y="429482"/>
                    </a:lnTo>
                    <a:lnTo>
                      <a:pt x="221932" y="422910"/>
                    </a:lnTo>
                    <a:lnTo>
                      <a:pt x="242888" y="422910"/>
                    </a:lnTo>
                    <a:lnTo>
                      <a:pt x="246697" y="472345"/>
                    </a:lnTo>
                    <a:lnTo>
                      <a:pt x="267653" y="493395"/>
                    </a:lnTo>
                    <a:lnTo>
                      <a:pt x="285750" y="497110"/>
                    </a:lnTo>
                    <a:lnTo>
                      <a:pt x="302895" y="500920"/>
                    </a:lnTo>
                    <a:lnTo>
                      <a:pt x="310515" y="511397"/>
                    </a:lnTo>
                    <a:lnTo>
                      <a:pt x="324803" y="514350"/>
                    </a:lnTo>
                    <a:lnTo>
                      <a:pt x="345757" y="524732"/>
                    </a:lnTo>
                    <a:lnTo>
                      <a:pt x="377190" y="532447"/>
                    </a:lnTo>
                    <a:lnTo>
                      <a:pt x="383857" y="553307"/>
                    </a:lnTo>
                    <a:lnTo>
                      <a:pt x="387668" y="567595"/>
                    </a:lnTo>
                    <a:lnTo>
                      <a:pt x="383857" y="574357"/>
                    </a:lnTo>
                    <a:lnTo>
                      <a:pt x="383857" y="581882"/>
                    </a:lnTo>
                    <a:lnTo>
                      <a:pt x="387668" y="602932"/>
                    </a:lnTo>
                    <a:lnTo>
                      <a:pt x="437197" y="602932"/>
                    </a:lnTo>
                    <a:lnTo>
                      <a:pt x="433388" y="617220"/>
                    </a:lnTo>
                    <a:lnTo>
                      <a:pt x="437197" y="638175"/>
                    </a:lnTo>
                    <a:lnTo>
                      <a:pt x="454343" y="644747"/>
                    </a:lnTo>
                    <a:lnTo>
                      <a:pt x="458153" y="662845"/>
                    </a:lnTo>
                    <a:lnTo>
                      <a:pt x="458153" y="673322"/>
                    </a:lnTo>
                    <a:lnTo>
                      <a:pt x="443865" y="698182"/>
                    </a:lnTo>
                    <a:lnTo>
                      <a:pt x="451485" y="708660"/>
                    </a:lnTo>
                    <a:lnTo>
                      <a:pt x="443865" y="715232"/>
                    </a:lnTo>
                    <a:lnTo>
                      <a:pt x="451485" y="729520"/>
                    </a:lnTo>
                    <a:lnTo>
                      <a:pt x="451485" y="779145"/>
                    </a:lnTo>
                    <a:lnTo>
                      <a:pt x="468630" y="779145"/>
                    </a:lnTo>
                    <a:lnTo>
                      <a:pt x="482918" y="775335"/>
                    </a:lnTo>
                    <a:lnTo>
                      <a:pt x="500063" y="779145"/>
                    </a:lnTo>
                    <a:lnTo>
                      <a:pt x="510540" y="785813"/>
                    </a:lnTo>
                    <a:lnTo>
                      <a:pt x="507682" y="803910"/>
                    </a:lnTo>
                    <a:lnTo>
                      <a:pt x="514350" y="820960"/>
                    </a:lnTo>
                    <a:lnTo>
                      <a:pt x="528638" y="835247"/>
                    </a:lnTo>
                    <a:lnTo>
                      <a:pt x="542925" y="832485"/>
                    </a:lnTo>
                    <a:lnTo>
                      <a:pt x="553403" y="835247"/>
                    </a:lnTo>
                    <a:lnTo>
                      <a:pt x="549593" y="849535"/>
                    </a:lnTo>
                    <a:lnTo>
                      <a:pt x="542925" y="863822"/>
                    </a:lnTo>
                    <a:lnTo>
                      <a:pt x="542925" y="874395"/>
                    </a:lnTo>
                    <a:lnTo>
                      <a:pt x="560070" y="878110"/>
                    </a:lnTo>
                    <a:lnTo>
                      <a:pt x="567690" y="884872"/>
                    </a:lnTo>
                    <a:lnTo>
                      <a:pt x="570547" y="902970"/>
                    </a:lnTo>
                    <a:lnTo>
                      <a:pt x="563880" y="923925"/>
                    </a:lnTo>
                    <a:lnTo>
                      <a:pt x="557213" y="934307"/>
                    </a:lnTo>
                    <a:lnTo>
                      <a:pt x="542925" y="941070"/>
                    </a:lnTo>
                    <a:lnTo>
                      <a:pt x="528638" y="951547"/>
                    </a:lnTo>
                    <a:lnTo>
                      <a:pt x="486728" y="994410"/>
                    </a:lnTo>
                    <a:lnTo>
                      <a:pt x="476250" y="1000982"/>
                    </a:lnTo>
                    <a:lnTo>
                      <a:pt x="472440" y="1008697"/>
                    </a:lnTo>
                    <a:lnTo>
                      <a:pt x="489585" y="1022032"/>
                    </a:lnTo>
                    <a:lnTo>
                      <a:pt x="503872" y="1040035"/>
                    </a:lnTo>
                    <a:lnTo>
                      <a:pt x="518160" y="1043845"/>
                    </a:lnTo>
                    <a:lnTo>
                      <a:pt x="542925" y="1057275"/>
                    </a:lnTo>
                    <a:lnTo>
                      <a:pt x="563880" y="1075373"/>
                    </a:lnTo>
                    <a:lnTo>
                      <a:pt x="574357" y="1081945"/>
                    </a:lnTo>
                    <a:lnTo>
                      <a:pt x="581025" y="1096232"/>
                    </a:lnTo>
                    <a:lnTo>
                      <a:pt x="578168" y="1106710"/>
                    </a:lnTo>
                    <a:lnTo>
                      <a:pt x="578168" y="1117282"/>
                    </a:lnTo>
                    <a:lnTo>
                      <a:pt x="584835" y="1124807"/>
                    </a:lnTo>
                    <a:lnTo>
                      <a:pt x="592455" y="1110520"/>
                    </a:lnTo>
                    <a:lnTo>
                      <a:pt x="602932" y="1096232"/>
                    </a:lnTo>
                    <a:lnTo>
                      <a:pt x="605790" y="1089660"/>
                    </a:lnTo>
                    <a:lnTo>
                      <a:pt x="609600" y="1079182"/>
                    </a:lnTo>
                    <a:lnTo>
                      <a:pt x="613410" y="1068610"/>
                    </a:lnTo>
                    <a:lnTo>
                      <a:pt x="613410" y="1057275"/>
                    </a:lnTo>
                    <a:lnTo>
                      <a:pt x="620078" y="1050607"/>
                    </a:lnTo>
                    <a:lnTo>
                      <a:pt x="626745" y="1043845"/>
                    </a:lnTo>
                    <a:lnTo>
                      <a:pt x="634365" y="1033463"/>
                    </a:lnTo>
                    <a:lnTo>
                      <a:pt x="641032" y="1025747"/>
                    </a:lnTo>
                    <a:lnTo>
                      <a:pt x="648653" y="1022032"/>
                    </a:lnTo>
                    <a:lnTo>
                      <a:pt x="651510" y="1029557"/>
                    </a:lnTo>
                    <a:lnTo>
                      <a:pt x="644843" y="1040035"/>
                    </a:lnTo>
                    <a:lnTo>
                      <a:pt x="634365" y="1050607"/>
                    </a:lnTo>
                    <a:lnTo>
                      <a:pt x="626745" y="1057275"/>
                    </a:lnTo>
                    <a:lnTo>
                      <a:pt x="620078" y="1064895"/>
                    </a:lnTo>
                    <a:lnTo>
                      <a:pt x="620078" y="1068610"/>
                    </a:lnTo>
                    <a:lnTo>
                      <a:pt x="620078" y="1075373"/>
                    </a:lnTo>
                    <a:lnTo>
                      <a:pt x="634365" y="1064895"/>
                    </a:lnTo>
                    <a:lnTo>
                      <a:pt x="644843" y="1057275"/>
                    </a:lnTo>
                    <a:lnTo>
                      <a:pt x="651510" y="1043845"/>
                    </a:lnTo>
                    <a:lnTo>
                      <a:pt x="659130" y="1036320"/>
                    </a:lnTo>
                    <a:lnTo>
                      <a:pt x="661988" y="1029557"/>
                    </a:lnTo>
                    <a:lnTo>
                      <a:pt x="669607" y="1011460"/>
                    </a:lnTo>
                    <a:lnTo>
                      <a:pt x="676275" y="998220"/>
                    </a:lnTo>
                    <a:lnTo>
                      <a:pt x="686753" y="986695"/>
                    </a:lnTo>
                    <a:lnTo>
                      <a:pt x="701040" y="969645"/>
                    </a:lnTo>
                    <a:lnTo>
                      <a:pt x="711518" y="955357"/>
                    </a:lnTo>
                    <a:lnTo>
                      <a:pt x="708660" y="926782"/>
                    </a:lnTo>
                    <a:lnTo>
                      <a:pt x="708660" y="909638"/>
                    </a:lnTo>
                    <a:lnTo>
                      <a:pt x="711518" y="884872"/>
                    </a:lnTo>
                    <a:lnTo>
                      <a:pt x="719138" y="870585"/>
                    </a:lnTo>
                    <a:lnTo>
                      <a:pt x="736282" y="853345"/>
                    </a:lnTo>
                    <a:lnTo>
                      <a:pt x="757238" y="845820"/>
                    </a:lnTo>
                    <a:lnTo>
                      <a:pt x="771525" y="832485"/>
                    </a:lnTo>
                    <a:lnTo>
                      <a:pt x="785813" y="832485"/>
                    </a:lnTo>
                    <a:lnTo>
                      <a:pt x="800100" y="824770"/>
                    </a:lnTo>
                    <a:lnTo>
                      <a:pt x="817245" y="807720"/>
                    </a:lnTo>
                    <a:lnTo>
                      <a:pt x="848678" y="803910"/>
                    </a:lnTo>
                    <a:lnTo>
                      <a:pt x="870585" y="803910"/>
                    </a:lnTo>
                    <a:lnTo>
                      <a:pt x="895350" y="796195"/>
                    </a:lnTo>
                    <a:lnTo>
                      <a:pt x="902018" y="785813"/>
                    </a:lnTo>
                    <a:lnTo>
                      <a:pt x="912495" y="775335"/>
                    </a:lnTo>
                    <a:lnTo>
                      <a:pt x="922972" y="764857"/>
                    </a:lnTo>
                    <a:lnTo>
                      <a:pt x="929640" y="739997"/>
                    </a:lnTo>
                    <a:lnTo>
                      <a:pt x="943928" y="719138"/>
                    </a:lnTo>
                    <a:lnTo>
                      <a:pt x="958215" y="690563"/>
                    </a:lnTo>
                    <a:lnTo>
                      <a:pt x="964882" y="662845"/>
                    </a:lnTo>
                    <a:lnTo>
                      <a:pt x="972503" y="644747"/>
                    </a:lnTo>
                    <a:lnTo>
                      <a:pt x="976313" y="617220"/>
                    </a:lnTo>
                    <a:lnTo>
                      <a:pt x="979170" y="595313"/>
                    </a:lnTo>
                    <a:lnTo>
                      <a:pt x="979170" y="567595"/>
                    </a:lnTo>
                    <a:lnTo>
                      <a:pt x="976313" y="546735"/>
                    </a:lnTo>
                    <a:lnTo>
                      <a:pt x="976313" y="532447"/>
                    </a:lnTo>
                    <a:lnTo>
                      <a:pt x="979170" y="518160"/>
                    </a:lnTo>
                    <a:lnTo>
                      <a:pt x="989647" y="511397"/>
                    </a:lnTo>
                    <a:lnTo>
                      <a:pt x="1003935" y="503872"/>
                    </a:lnTo>
                    <a:lnTo>
                      <a:pt x="1011555" y="497110"/>
                    </a:lnTo>
                    <a:lnTo>
                      <a:pt x="1018222" y="489585"/>
                    </a:lnTo>
                    <a:lnTo>
                      <a:pt x="1022032" y="479107"/>
                    </a:lnTo>
                    <a:lnTo>
                      <a:pt x="1022032" y="464820"/>
                    </a:lnTo>
                    <a:lnTo>
                      <a:pt x="1057275" y="433388"/>
                    </a:lnTo>
                    <a:lnTo>
                      <a:pt x="1070610" y="416147"/>
                    </a:lnTo>
                    <a:lnTo>
                      <a:pt x="1088707" y="394335"/>
                    </a:lnTo>
                    <a:lnTo>
                      <a:pt x="1092518" y="362807"/>
                    </a:lnTo>
                    <a:lnTo>
                      <a:pt x="1092518" y="334232"/>
                    </a:lnTo>
                    <a:lnTo>
                      <a:pt x="1081088" y="306610"/>
                    </a:lnTo>
                    <a:lnTo>
                      <a:pt x="1074420" y="28860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9" name="Freeform: Shape 398">
                <a:extLst>
                  <a:ext uri="{FF2B5EF4-FFF2-40B4-BE49-F238E27FC236}">
                    <a16:creationId xmlns:a16="http://schemas.microsoft.com/office/drawing/2014/main" id="{390C13E9-3329-2D5C-502D-91A9EBBA37A1}"/>
                  </a:ext>
                </a:extLst>
              </p:cNvPr>
              <p:cNvSpPr/>
              <p:nvPr/>
            </p:nvSpPr>
            <p:spPr>
              <a:xfrm>
                <a:off x="2136637" y="2130974"/>
                <a:ext cx="2330575" cy="1193215"/>
              </a:xfrm>
              <a:custGeom>
                <a:avLst/>
                <a:gdLst>
                  <a:gd name="connsiteX0" fmla="*/ 1271587 w 2377439"/>
                  <a:gd name="connsiteY0" fmla="*/ 959167 h 1217199"/>
                  <a:gd name="connsiteX1" fmla="*/ 1285875 w 2377439"/>
                  <a:gd name="connsiteY1" fmla="*/ 959167 h 1217199"/>
                  <a:gd name="connsiteX2" fmla="*/ 1288733 w 2377439"/>
                  <a:gd name="connsiteY2" fmla="*/ 973455 h 1217199"/>
                  <a:gd name="connsiteX3" fmla="*/ 1296353 w 2377439"/>
                  <a:gd name="connsiteY3" fmla="*/ 980980 h 1217199"/>
                  <a:gd name="connsiteX4" fmla="*/ 1317308 w 2377439"/>
                  <a:gd name="connsiteY4" fmla="*/ 987742 h 1217199"/>
                  <a:gd name="connsiteX5" fmla="*/ 1359218 w 2377439"/>
                  <a:gd name="connsiteY5" fmla="*/ 994410 h 1217199"/>
                  <a:gd name="connsiteX6" fmla="*/ 1383983 w 2377439"/>
                  <a:gd name="connsiteY6" fmla="*/ 1002030 h 1217199"/>
                  <a:gd name="connsiteX7" fmla="*/ 1404937 w 2377439"/>
                  <a:gd name="connsiteY7" fmla="*/ 1005840 h 1217199"/>
                  <a:gd name="connsiteX8" fmla="*/ 1415415 w 2377439"/>
                  <a:gd name="connsiteY8" fmla="*/ 1005840 h 1217199"/>
                  <a:gd name="connsiteX9" fmla="*/ 1425893 w 2377439"/>
                  <a:gd name="connsiteY9" fmla="*/ 1008698 h 1217199"/>
                  <a:gd name="connsiteX10" fmla="*/ 1440180 w 2377439"/>
                  <a:gd name="connsiteY10" fmla="*/ 998125 h 1217199"/>
                  <a:gd name="connsiteX11" fmla="*/ 1458278 w 2377439"/>
                  <a:gd name="connsiteY11" fmla="*/ 987742 h 1217199"/>
                  <a:gd name="connsiteX12" fmla="*/ 1472565 w 2377439"/>
                  <a:gd name="connsiteY12" fmla="*/ 977265 h 1217199"/>
                  <a:gd name="connsiteX13" fmla="*/ 1485900 w 2377439"/>
                  <a:gd name="connsiteY13" fmla="*/ 977265 h 1217199"/>
                  <a:gd name="connsiteX14" fmla="*/ 1503998 w 2377439"/>
                  <a:gd name="connsiteY14" fmla="*/ 983837 h 1217199"/>
                  <a:gd name="connsiteX15" fmla="*/ 1521143 w 2377439"/>
                  <a:gd name="connsiteY15" fmla="*/ 983837 h 1217199"/>
                  <a:gd name="connsiteX16" fmla="*/ 1531620 w 2377439"/>
                  <a:gd name="connsiteY16" fmla="*/ 998125 h 1217199"/>
                  <a:gd name="connsiteX17" fmla="*/ 1539240 w 2377439"/>
                  <a:gd name="connsiteY17" fmla="*/ 1012412 h 1217199"/>
                  <a:gd name="connsiteX18" fmla="*/ 1560195 w 2377439"/>
                  <a:gd name="connsiteY18" fmla="*/ 1012412 h 1217199"/>
                  <a:gd name="connsiteX19" fmla="*/ 1564005 w 2377439"/>
                  <a:gd name="connsiteY19" fmla="*/ 1019080 h 1217199"/>
                  <a:gd name="connsiteX20" fmla="*/ 1570673 w 2377439"/>
                  <a:gd name="connsiteY20" fmla="*/ 1040987 h 1217199"/>
                  <a:gd name="connsiteX21" fmla="*/ 1577340 w 2377439"/>
                  <a:gd name="connsiteY21" fmla="*/ 1058228 h 1217199"/>
                  <a:gd name="connsiteX22" fmla="*/ 1588770 w 2377439"/>
                  <a:gd name="connsiteY22" fmla="*/ 1068705 h 1217199"/>
                  <a:gd name="connsiteX23" fmla="*/ 1609725 w 2377439"/>
                  <a:gd name="connsiteY23" fmla="*/ 1072515 h 1217199"/>
                  <a:gd name="connsiteX24" fmla="*/ 1637348 w 2377439"/>
                  <a:gd name="connsiteY24" fmla="*/ 1072515 h 1217199"/>
                  <a:gd name="connsiteX25" fmla="*/ 1659255 w 2377439"/>
                  <a:gd name="connsiteY25" fmla="*/ 1076230 h 1217199"/>
                  <a:gd name="connsiteX26" fmla="*/ 1680210 w 2377439"/>
                  <a:gd name="connsiteY26" fmla="*/ 1082992 h 1217199"/>
                  <a:gd name="connsiteX27" fmla="*/ 1693545 w 2377439"/>
                  <a:gd name="connsiteY27" fmla="*/ 1097280 h 1217199"/>
                  <a:gd name="connsiteX28" fmla="*/ 1704975 w 2377439"/>
                  <a:gd name="connsiteY28" fmla="*/ 1114330 h 1217199"/>
                  <a:gd name="connsiteX29" fmla="*/ 1701165 w 2377439"/>
                  <a:gd name="connsiteY29" fmla="*/ 1128617 h 1217199"/>
                  <a:gd name="connsiteX30" fmla="*/ 1686878 w 2377439"/>
                  <a:gd name="connsiteY30" fmla="*/ 1132523 h 1217199"/>
                  <a:gd name="connsiteX31" fmla="*/ 1676400 w 2377439"/>
                  <a:gd name="connsiteY31" fmla="*/ 1121950 h 1217199"/>
                  <a:gd name="connsiteX32" fmla="*/ 1669733 w 2377439"/>
                  <a:gd name="connsiteY32" fmla="*/ 1121950 h 1217199"/>
                  <a:gd name="connsiteX33" fmla="*/ 1665923 w 2377439"/>
                  <a:gd name="connsiteY33" fmla="*/ 1132523 h 1217199"/>
                  <a:gd name="connsiteX34" fmla="*/ 1655445 w 2377439"/>
                  <a:gd name="connsiteY34" fmla="*/ 1142905 h 1217199"/>
                  <a:gd name="connsiteX35" fmla="*/ 1651635 w 2377439"/>
                  <a:gd name="connsiteY35" fmla="*/ 1157192 h 1217199"/>
                  <a:gd name="connsiteX36" fmla="*/ 1647825 w 2377439"/>
                  <a:gd name="connsiteY36" fmla="*/ 1174337 h 1217199"/>
                  <a:gd name="connsiteX37" fmla="*/ 1634490 w 2377439"/>
                  <a:gd name="connsiteY37" fmla="*/ 1178242 h 1217199"/>
                  <a:gd name="connsiteX38" fmla="*/ 1624012 w 2377439"/>
                  <a:gd name="connsiteY38" fmla="*/ 1182053 h 1217199"/>
                  <a:gd name="connsiteX39" fmla="*/ 1624012 w 2377439"/>
                  <a:gd name="connsiteY39" fmla="*/ 1196340 h 1217199"/>
                  <a:gd name="connsiteX40" fmla="*/ 1620203 w 2377439"/>
                  <a:gd name="connsiteY40" fmla="*/ 1199198 h 1217199"/>
                  <a:gd name="connsiteX41" fmla="*/ 1620203 w 2377439"/>
                  <a:gd name="connsiteY41" fmla="*/ 1213485 h 1217199"/>
                  <a:gd name="connsiteX42" fmla="*/ 1626870 w 2377439"/>
                  <a:gd name="connsiteY42" fmla="*/ 1217200 h 1217199"/>
                  <a:gd name="connsiteX43" fmla="*/ 1641158 w 2377439"/>
                  <a:gd name="connsiteY43" fmla="*/ 1209580 h 1217199"/>
                  <a:gd name="connsiteX44" fmla="*/ 1655445 w 2377439"/>
                  <a:gd name="connsiteY44" fmla="*/ 1199198 h 1217199"/>
                  <a:gd name="connsiteX45" fmla="*/ 1669733 w 2377439"/>
                  <a:gd name="connsiteY45" fmla="*/ 1196340 h 1217199"/>
                  <a:gd name="connsiteX46" fmla="*/ 1697355 w 2377439"/>
                  <a:gd name="connsiteY46" fmla="*/ 1188625 h 1217199"/>
                  <a:gd name="connsiteX47" fmla="*/ 1727835 w 2377439"/>
                  <a:gd name="connsiteY47" fmla="*/ 1185767 h 1217199"/>
                  <a:gd name="connsiteX48" fmla="*/ 1725930 w 2377439"/>
                  <a:gd name="connsiteY48" fmla="*/ 1178242 h 1217199"/>
                  <a:gd name="connsiteX49" fmla="*/ 1728788 w 2377439"/>
                  <a:gd name="connsiteY49" fmla="*/ 1171480 h 1217199"/>
                  <a:gd name="connsiteX50" fmla="*/ 1715452 w 2377439"/>
                  <a:gd name="connsiteY50" fmla="*/ 1171480 h 1217199"/>
                  <a:gd name="connsiteX51" fmla="*/ 1711642 w 2377439"/>
                  <a:gd name="connsiteY51" fmla="*/ 1163955 h 1217199"/>
                  <a:gd name="connsiteX52" fmla="*/ 1725930 w 2377439"/>
                  <a:gd name="connsiteY52" fmla="*/ 1157192 h 1217199"/>
                  <a:gd name="connsiteX53" fmla="*/ 1736408 w 2377439"/>
                  <a:gd name="connsiteY53" fmla="*/ 1149667 h 1217199"/>
                  <a:gd name="connsiteX54" fmla="*/ 1764030 w 2377439"/>
                  <a:gd name="connsiteY54" fmla="*/ 1149667 h 1217199"/>
                  <a:gd name="connsiteX55" fmla="*/ 1785938 w 2377439"/>
                  <a:gd name="connsiteY55" fmla="*/ 1149667 h 1217199"/>
                  <a:gd name="connsiteX56" fmla="*/ 1796415 w 2377439"/>
                  <a:gd name="connsiteY56" fmla="*/ 1142905 h 1217199"/>
                  <a:gd name="connsiteX57" fmla="*/ 1806892 w 2377439"/>
                  <a:gd name="connsiteY57" fmla="*/ 1136237 h 1217199"/>
                  <a:gd name="connsiteX58" fmla="*/ 1821180 w 2377439"/>
                  <a:gd name="connsiteY58" fmla="*/ 1124903 h 1217199"/>
                  <a:gd name="connsiteX59" fmla="*/ 1834515 w 2377439"/>
                  <a:gd name="connsiteY59" fmla="*/ 1114330 h 1217199"/>
                  <a:gd name="connsiteX60" fmla="*/ 1937385 w 2377439"/>
                  <a:gd name="connsiteY60" fmla="*/ 1114330 h 1217199"/>
                  <a:gd name="connsiteX61" fmla="*/ 1958340 w 2377439"/>
                  <a:gd name="connsiteY61" fmla="*/ 1103948 h 1217199"/>
                  <a:gd name="connsiteX62" fmla="*/ 1968817 w 2377439"/>
                  <a:gd name="connsiteY62" fmla="*/ 1089660 h 1217199"/>
                  <a:gd name="connsiteX63" fmla="*/ 1968817 w 2377439"/>
                  <a:gd name="connsiteY63" fmla="*/ 1079087 h 1217199"/>
                  <a:gd name="connsiteX64" fmla="*/ 1975485 w 2377439"/>
                  <a:gd name="connsiteY64" fmla="*/ 1061942 h 1217199"/>
                  <a:gd name="connsiteX65" fmla="*/ 1989773 w 2377439"/>
                  <a:gd name="connsiteY65" fmla="*/ 1037273 h 1217199"/>
                  <a:gd name="connsiteX66" fmla="*/ 2004060 w 2377439"/>
                  <a:gd name="connsiteY66" fmla="*/ 1022985 h 1217199"/>
                  <a:gd name="connsiteX67" fmla="*/ 2018348 w 2377439"/>
                  <a:gd name="connsiteY67" fmla="*/ 1030605 h 1217199"/>
                  <a:gd name="connsiteX68" fmla="*/ 2043113 w 2377439"/>
                  <a:gd name="connsiteY68" fmla="*/ 1037273 h 1217199"/>
                  <a:gd name="connsiteX69" fmla="*/ 2045970 w 2377439"/>
                  <a:gd name="connsiteY69" fmla="*/ 1051560 h 1217199"/>
                  <a:gd name="connsiteX70" fmla="*/ 2043113 w 2377439"/>
                  <a:gd name="connsiteY70" fmla="*/ 1079087 h 1217199"/>
                  <a:gd name="connsiteX71" fmla="*/ 2045970 w 2377439"/>
                  <a:gd name="connsiteY71" fmla="*/ 1093375 h 1217199"/>
                  <a:gd name="connsiteX72" fmla="*/ 2056448 w 2377439"/>
                  <a:gd name="connsiteY72" fmla="*/ 1103948 h 1217199"/>
                  <a:gd name="connsiteX73" fmla="*/ 2064067 w 2377439"/>
                  <a:gd name="connsiteY73" fmla="*/ 1114330 h 1217199"/>
                  <a:gd name="connsiteX74" fmla="*/ 2091690 w 2377439"/>
                  <a:gd name="connsiteY74" fmla="*/ 1107662 h 1217199"/>
                  <a:gd name="connsiteX75" fmla="*/ 2109788 w 2377439"/>
                  <a:gd name="connsiteY75" fmla="*/ 1101090 h 1217199"/>
                  <a:gd name="connsiteX76" fmla="*/ 2130743 w 2377439"/>
                  <a:gd name="connsiteY76" fmla="*/ 1089660 h 1217199"/>
                  <a:gd name="connsiteX77" fmla="*/ 2137410 w 2377439"/>
                  <a:gd name="connsiteY77" fmla="*/ 1093375 h 1217199"/>
                  <a:gd name="connsiteX78" fmla="*/ 2141220 w 2377439"/>
                  <a:gd name="connsiteY78" fmla="*/ 1101090 h 1217199"/>
                  <a:gd name="connsiteX79" fmla="*/ 2141220 w 2377439"/>
                  <a:gd name="connsiteY79" fmla="*/ 1103948 h 1217199"/>
                  <a:gd name="connsiteX80" fmla="*/ 2137410 w 2377439"/>
                  <a:gd name="connsiteY80" fmla="*/ 1107662 h 1217199"/>
                  <a:gd name="connsiteX81" fmla="*/ 2116455 w 2377439"/>
                  <a:gd name="connsiteY81" fmla="*/ 1114330 h 1217199"/>
                  <a:gd name="connsiteX82" fmla="*/ 2095500 w 2377439"/>
                  <a:gd name="connsiteY82" fmla="*/ 1128617 h 1217199"/>
                  <a:gd name="connsiteX83" fmla="*/ 2088833 w 2377439"/>
                  <a:gd name="connsiteY83" fmla="*/ 1142905 h 1217199"/>
                  <a:gd name="connsiteX84" fmla="*/ 2091690 w 2377439"/>
                  <a:gd name="connsiteY84" fmla="*/ 1157192 h 1217199"/>
                  <a:gd name="connsiteX85" fmla="*/ 2109788 w 2377439"/>
                  <a:gd name="connsiteY85" fmla="*/ 1167765 h 1217199"/>
                  <a:gd name="connsiteX86" fmla="*/ 2120265 w 2377439"/>
                  <a:gd name="connsiteY86" fmla="*/ 1157192 h 1217199"/>
                  <a:gd name="connsiteX87" fmla="*/ 2134552 w 2377439"/>
                  <a:gd name="connsiteY87" fmla="*/ 1142905 h 1217199"/>
                  <a:gd name="connsiteX88" fmla="*/ 2147888 w 2377439"/>
                  <a:gd name="connsiteY88" fmla="*/ 1128617 h 1217199"/>
                  <a:gd name="connsiteX89" fmla="*/ 2165985 w 2377439"/>
                  <a:gd name="connsiteY89" fmla="*/ 1128617 h 1217199"/>
                  <a:gd name="connsiteX90" fmla="*/ 2194560 w 2377439"/>
                  <a:gd name="connsiteY90" fmla="*/ 1118235 h 1217199"/>
                  <a:gd name="connsiteX91" fmla="*/ 2215515 w 2377439"/>
                  <a:gd name="connsiteY91" fmla="*/ 1111567 h 1217199"/>
                  <a:gd name="connsiteX92" fmla="*/ 2222183 w 2377439"/>
                  <a:gd name="connsiteY92" fmla="*/ 1103948 h 1217199"/>
                  <a:gd name="connsiteX93" fmla="*/ 2232660 w 2377439"/>
                  <a:gd name="connsiteY93" fmla="*/ 1086803 h 1217199"/>
                  <a:gd name="connsiteX94" fmla="*/ 2243138 w 2377439"/>
                  <a:gd name="connsiteY94" fmla="*/ 1086803 h 1217199"/>
                  <a:gd name="connsiteX95" fmla="*/ 2261235 w 2377439"/>
                  <a:gd name="connsiteY95" fmla="*/ 1086803 h 1217199"/>
                  <a:gd name="connsiteX96" fmla="*/ 2261235 w 2377439"/>
                  <a:gd name="connsiteY96" fmla="*/ 1072515 h 1217199"/>
                  <a:gd name="connsiteX97" fmla="*/ 2250758 w 2377439"/>
                  <a:gd name="connsiteY97" fmla="*/ 1065848 h 1217199"/>
                  <a:gd name="connsiteX98" fmla="*/ 2250758 w 2377439"/>
                  <a:gd name="connsiteY98" fmla="*/ 1051560 h 1217199"/>
                  <a:gd name="connsiteX99" fmla="*/ 2236470 w 2377439"/>
                  <a:gd name="connsiteY99" fmla="*/ 1051560 h 1217199"/>
                  <a:gd name="connsiteX100" fmla="*/ 2229802 w 2377439"/>
                  <a:gd name="connsiteY100" fmla="*/ 1065848 h 1217199"/>
                  <a:gd name="connsiteX101" fmla="*/ 2222183 w 2377439"/>
                  <a:gd name="connsiteY101" fmla="*/ 1079087 h 1217199"/>
                  <a:gd name="connsiteX102" fmla="*/ 2207895 w 2377439"/>
                  <a:gd name="connsiteY102" fmla="*/ 1082992 h 1217199"/>
                  <a:gd name="connsiteX103" fmla="*/ 2176463 w 2377439"/>
                  <a:gd name="connsiteY103" fmla="*/ 1082992 h 1217199"/>
                  <a:gd name="connsiteX104" fmla="*/ 2151698 w 2377439"/>
                  <a:gd name="connsiteY104" fmla="*/ 1076230 h 1217199"/>
                  <a:gd name="connsiteX105" fmla="*/ 2130743 w 2377439"/>
                  <a:gd name="connsiteY105" fmla="*/ 1061942 h 1217199"/>
                  <a:gd name="connsiteX106" fmla="*/ 2124075 w 2377439"/>
                  <a:gd name="connsiteY106" fmla="*/ 1047655 h 1217199"/>
                  <a:gd name="connsiteX107" fmla="*/ 2120265 w 2377439"/>
                  <a:gd name="connsiteY107" fmla="*/ 1037273 h 1217199"/>
                  <a:gd name="connsiteX108" fmla="*/ 2126933 w 2377439"/>
                  <a:gd name="connsiteY108" fmla="*/ 1022985 h 1217199"/>
                  <a:gd name="connsiteX109" fmla="*/ 2120265 w 2377439"/>
                  <a:gd name="connsiteY109" fmla="*/ 1005840 h 1217199"/>
                  <a:gd name="connsiteX110" fmla="*/ 2137410 w 2377439"/>
                  <a:gd name="connsiteY110" fmla="*/ 1002030 h 1217199"/>
                  <a:gd name="connsiteX111" fmla="*/ 2145030 w 2377439"/>
                  <a:gd name="connsiteY111" fmla="*/ 991553 h 1217199"/>
                  <a:gd name="connsiteX112" fmla="*/ 2137410 w 2377439"/>
                  <a:gd name="connsiteY112" fmla="*/ 973455 h 1217199"/>
                  <a:gd name="connsiteX113" fmla="*/ 2116455 w 2377439"/>
                  <a:gd name="connsiteY113" fmla="*/ 966692 h 1217199"/>
                  <a:gd name="connsiteX114" fmla="*/ 2085023 w 2377439"/>
                  <a:gd name="connsiteY114" fmla="*/ 962978 h 1217199"/>
                  <a:gd name="connsiteX115" fmla="*/ 2066925 w 2377439"/>
                  <a:gd name="connsiteY115" fmla="*/ 970598 h 1217199"/>
                  <a:gd name="connsiteX116" fmla="*/ 2056448 w 2377439"/>
                  <a:gd name="connsiteY116" fmla="*/ 977265 h 1217199"/>
                  <a:gd name="connsiteX117" fmla="*/ 2025015 w 2377439"/>
                  <a:gd name="connsiteY117" fmla="*/ 991553 h 1217199"/>
                  <a:gd name="connsiteX118" fmla="*/ 1996440 w 2377439"/>
                  <a:gd name="connsiteY118" fmla="*/ 1008698 h 1217199"/>
                  <a:gd name="connsiteX119" fmla="*/ 1972627 w 2377439"/>
                  <a:gd name="connsiteY119" fmla="*/ 1037273 h 1217199"/>
                  <a:gd name="connsiteX120" fmla="*/ 1965008 w 2377439"/>
                  <a:gd name="connsiteY120" fmla="*/ 1040987 h 1217199"/>
                  <a:gd name="connsiteX121" fmla="*/ 1954530 w 2377439"/>
                  <a:gd name="connsiteY121" fmla="*/ 1047655 h 1217199"/>
                  <a:gd name="connsiteX122" fmla="*/ 1954530 w 2377439"/>
                  <a:gd name="connsiteY122" fmla="*/ 1043940 h 1217199"/>
                  <a:gd name="connsiteX123" fmla="*/ 1958340 w 2377439"/>
                  <a:gd name="connsiteY123" fmla="*/ 1040987 h 1217199"/>
                  <a:gd name="connsiteX124" fmla="*/ 1961198 w 2377439"/>
                  <a:gd name="connsiteY124" fmla="*/ 1033367 h 1217199"/>
                  <a:gd name="connsiteX125" fmla="*/ 1985963 w 2377439"/>
                  <a:gd name="connsiteY125" fmla="*/ 1005840 h 1217199"/>
                  <a:gd name="connsiteX126" fmla="*/ 2004060 w 2377439"/>
                  <a:gd name="connsiteY126" fmla="*/ 987742 h 1217199"/>
                  <a:gd name="connsiteX127" fmla="*/ 2028825 w 2377439"/>
                  <a:gd name="connsiteY127" fmla="*/ 966692 h 1217199"/>
                  <a:gd name="connsiteX128" fmla="*/ 2053590 w 2377439"/>
                  <a:gd name="connsiteY128" fmla="*/ 959167 h 1217199"/>
                  <a:gd name="connsiteX129" fmla="*/ 2066925 w 2377439"/>
                  <a:gd name="connsiteY129" fmla="*/ 938117 h 1217199"/>
                  <a:gd name="connsiteX130" fmla="*/ 2095500 w 2377439"/>
                  <a:gd name="connsiteY130" fmla="*/ 927735 h 1217199"/>
                  <a:gd name="connsiteX131" fmla="*/ 2145030 w 2377439"/>
                  <a:gd name="connsiteY131" fmla="*/ 923830 h 1217199"/>
                  <a:gd name="connsiteX132" fmla="*/ 2180273 w 2377439"/>
                  <a:gd name="connsiteY132" fmla="*/ 923830 h 1217199"/>
                  <a:gd name="connsiteX133" fmla="*/ 2225993 w 2377439"/>
                  <a:gd name="connsiteY133" fmla="*/ 931450 h 1217199"/>
                  <a:gd name="connsiteX134" fmla="*/ 2264093 w 2377439"/>
                  <a:gd name="connsiteY134" fmla="*/ 923830 h 1217199"/>
                  <a:gd name="connsiteX135" fmla="*/ 2292668 w 2377439"/>
                  <a:gd name="connsiteY135" fmla="*/ 902875 h 1217199"/>
                  <a:gd name="connsiteX136" fmla="*/ 2306955 w 2377439"/>
                  <a:gd name="connsiteY136" fmla="*/ 885730 h 1217199"/>
                  <a:gd name="connsiteX137" fmla="*/ 2342198 w 2377439"/>
                  <a:gd name="connsiteY137" fmla="*/ 885730 h 1217199"/>
                  <a:gd name="connsiteX138" fmla="*/ 2359343 w 2377439"/>
                  <a:gd name="connsiteY138" fmla="*/ 875348 h 1217199"/>
                  <a:gd name="connsiteX139" fmla="*/ 2373630 w 2377439"/>
                  <a:gd name="connsiteY139" fmla="*/ 861060 h 1217199"/>
                  <a:gd name="connsiteX140" fmla="*/ 2377440 w 2377439"/>
                  <a:gd name="connsiteY140" fmla="*/ 836200 h 1217199"/>
                  <a:gd name="connsiteX141" fmla="*/ 2373630 w 2377439"/>
                  <a:gd name="connsiteY141" fmla="*/ 807625 h 1217199"/>
                  <a:gd name="connsiteX142" fmla="*/ 2352675 w 2377439"/>
                  <a:gd name="connsiteY142" fmla="*/ 797242 h 1217199"/>
                  <a:gd name="connsiteX143" fmla="*/ 2342198 w 2377439"/>
                  <a:gd name="connsiteY143" fmla="*/ 797242 h 1217199"/>
                  <a:gd name="connsiteX144" fmla="*/ 2338388 w 2377439"/>
                  <a:gd name="connsiteY144" fmla="*/ 797242 h 1217199"/>
                  <a:gd name="connsiteX145" fmla="*/ 2331720 w 2377439"/>
                  <a:gd name="connsiteY145" fmla="*/ 780098 h 1217199"/>
                  <a:gd name="connsiteX146" fmla="*/ 2313623 w 2377439"/>
                  <a:gd name="connsiteY146" fmla="*/ 782955 h 1217199"/>
                  <a:gd name="connsiteX147" fmla="*/ 2288858 w 2377439"/>
                  <a:gd name="connsiteY147" fmla="*/ 793337 h 1217199"/>
                  <a:gd name="connsiteX148" fmla="*/ 2261235 w 2377439"/>
                  <a:gd name="connsiteY148" fmla="*/ 807625 h 1217199"/>
                  <a:gd name="connsiteX149" fmla="*/ 2257425 w 2377439"/>
                  <a:gd name="connsiteY149" fmla="*/ 807625 h 1217199"/>
                  <a:gd name="connsiteX150" fmla="*/ 2257425 w 2377439"/>
                  <a:gd name="connsiteY150" fmla="*/ 804767 h 1217199"/>
                  <a:gd name="connsiteX151" fmla="*/ 2253615 w 2377439"/>
                  <a:gd name="connsiteY151" fmla="*/ 801053 h 1217199"/>
                  <a:gd name="connsiteX152" fmla="*/ 2275523 w 2377439"/>
                  <a:gd name="connsiteY152" fmla="*/ 790480 h 1217199"/>
                  <a:gd name="connsiteX153" fmla="*/ 2288858 w 2377439"/>
                  <a:gd name="connsiteY153" fmla="*/ 782955 h 1217199"/>
                  <a:gd name="connsiteX154" fmla="*/ 2313623 w 2377439"/>
                  <a:gd name="connsiteY154" fmla="*/ 772478 h 1217199"/>
                  <a:gd name="connsiteX155" fmla="*/ 2321243 w 2377439"/>
                  <a:gd name="connsiteY155" fmla="*/ 758190 h 1217199"/>
                  <a:gd name="connsiteX156" fmla="*/ 2306955 w 2377439"/>
                  <a:gd name="connsiteY156" fmla="*/ 758190 h 1217199"/>
                  <a:gd name="connsiteX157" fmla="*/ 2286000 w 2377439"/>
                  <a:gd name="connsiteY157" fmla="*/ 751523 h 1217199"/>
                  <a:gd name="connsiteX158" fmla="*/ 2261235 w 2377439"/>
                  <a:gd name="connsiteY158" fmla="*/ 744855 h 1217199"/>
                  <a:gd name="connsiteX159" fmla="*/ 2243138 w 2377439"/>
                  <a:gd name="connsiteY159" fmla="*/ 737235 h 1217199"/>
                  <a:gd name="connsiteX160" fmla="*/ 2243138 w 2377439"/>
                  <a:gd name="connsiteY160" fmla="*/ 726662 h 1217199"/>
                  <a:gd name="connsiteX161" fmla="*/ 2240280 w 2377439"/>
                  <a:gd name="connsiteY161" fmla="*/ 720090 h 1217199"/>
                  <a:gd name="connsiteX162" fmla="*/ 2211705 w 2377439"/>
                  <a:gd name="connsiteY162" fmla="*/ 701992 h 1217199"/>
                  <a:gd name="connsiteX163" fmla="*/ 2207895 w 2377439"/>
                  <a:gd name="connsiteY163" fmla="*/ 687705 h 1217199"/>
                  <a:gd name="connsiteX164" fmla="*/ 2218373 w 2377439"/>
                  <a:gd name="connsiteY164" fmla="*/ 677228 h 1217199"/>
                  <a:gd name="connsiteX165" fmla="*/ 2211705 w 2377439"/>
                  <a:gd name="connsiteY165" fmla="*/ 656273 h 1217199"/>
                  <a:gd name="connsiteX166" fmla="*/ 2207895 w 2377439"/>
                  <a:gd name="connsiteY166" fmla="*/ 635317 h 1217199"/>
                  <a:gd name="connsiteX167" fmla="*/ 2190750 w 2377439"/>
                  <a:gd name="connsiteY167" fmla="*/ 624840 h 1217199"/>
                  <a:gd name="connsiteX168" fmla="*/ 2186940 w 2377439"/>
                  <a:gd name="connsiteY168" fmla="*/ 610553 h 1217199"/>
                  <a:gd name="connsiteX169" fmla="*/ 2162175 w 2377439"/>
                  <a:gd name="connsiteY169" fmla="*/ 579025 h 1217199"/>
                  <a:gd name="connsiteX170" fmla="*/ 2145030 w 2377439"/>
                  <a:gd name="connsiteY170" fmla="*/ 550450 h 1217199"/>
                  <a:gd name="connsiteX171" fmla="*/ 2130743 w 2377439"/>
                  <a:gd name="connsiteY171" fmla="*/ 529590 h 1217199"/>
                  <a:gd name="connsiteX172" fmla="*/ 2120265 w 2377439"/>
                  <a:gd name="connsiteY172" fmla="*/ 540067 h 1217199"/>
                  <a:gd name="connsiteX173" fmla="*/ 2105977 w 2377439"/>
                  <a:gd name="connsiteY173" fmla="*/ 557117 h 1217199"/>
                  <a:gd name="connsiteX174" fmla="*/ 2105977 w 2377439"/>
                  <a:gd name="connsiteY174" fmla="*/ 579025 h 1217199"/>
                  <a:gd name="connsiteX175" fmla="*/ 2081213 w 2377439"/>
                  <a:gd name="connsiteY175" fmla="*/ 599980 h 1217199"/>
                  <a:gd name="connsiteX176" fmla="*/ 2056448 w 2377439"/>
                  <a:gd name="connsiteY176" fmla="*/ 621030 h 1217199"/>
                  <a:gd name="connsiteX177" fmla="*/ 2035492 w 2377439"/>
                  <a:gd name="connsiteY177" fmla="*/ 610553 h 1217199"/>
                  <a:gd name="connsiteX178" fmla="*/ 2021205 w 2377439"/>
                  <a:gd name="connsiteY178" fmla="*/ 596265 h 1217199"/>
                  <a:gd name="connsiteX179" fmla="*/ 2000250 w 2377439"/>
                  <a:gd name="connsiteY179" fmla="*/ 592455 h 1217199"/>
                  <a:gd name="connsiteX180" fmla="*/ 2000250 w 2377439"/>
                  <a:gd name="connsiteY180" fmla="*/ 579025 h 1217199"/>
                  <a:gd name="connsiteX181" fmla="*/ 1989773 w 2377439"/>
                  <a:gd name="connsiteY181" fmla="*/ 554355 h 1217199"/>
                  <a:gd name="connsiteX182" fmla="*/ 1989773 w 2377439"/>
                  <a:gd name="connsiteY182" fmla="*/ 529590 h 1217199"/>
                  <a:gd name="connsiteX183" fmla="*/ 1996440 w 2377439"/>
                  <a:gd name="connsiteY183" fmla="*/ 511492 h 1217199"/>
                  <a:gd name="connsiteX184" fmla="*/ 1958340 w 2377439"/>
                  <a:gd name="connsiteY184" fmla="*/ 504730 h 1217199"/>
                  <a:gd name="connsiteX185" fmla="*/ 1933575 w 2377439"/>
                  <a:gd name="connsiteY185" fmla="*/ 490442 h 1217199"/>
                  <a:gd name="connsiteX186" fmla="*/ 1919288 w 2377439"/>
                  <a:gd name="connsiteY186" fmla="*/ 469487 h 1217199"/>
                  <a:gd name="connsiteX187" fmla="*/ 1894523 w 2377439"/>
                  <a:gd name="connsiteY187" fmla="*/ 451485 h 1217199"/>
                  <a:gd name="connsiteX188" fmla="*/ 1873567 w 2377439"/>
                  <a:gd name="connsiteY188" fmla="*/ 438055 h 1217199"/>
                  <a:gd name="connsiteX189" fmla="*/ 1863090 w 2377439"/>
                  <a:gd name="connsiteY189" fmla="*/ 451485 h 1217199"/>
                  <a:gd name="connsiteX190" fmla="*/ 1838325 w 2377439"/>
                  <a:gd name="connsiteY190" fmla="*/ 455200 h 1217199"/>
                  <a:gd name="connsiteX191" fmla="*/ 1821180 w 2377439"/>
                  <a:gd name="connsiteY191" fmla="*/ 451485 h 1217199"/>
                  <a:gd name="connsiteX192" fmla="*/ 1792605 w 2377439"/>
                  <a:gd name="connsiteY192" fmla="*/ 440912 h 1217199"/>
                  <a:gd name="connsiteX193" fmla="*/ 1761173 w 2377439"/>
                  <a:gd name="connsiteY193" fmla="*/ 440912 h 1217199"/>
                  <a:gd name="connsiteX194" fmla="*/ 1753552 w 2377439"/>
                  <a:gd name="connsiteY194" fmla="*/ 465772 h 1217199"/>
                  <a:gd name="connsiteX195" fmla="*/ 1771650 w 2377439"/>
                  <a:gd name="connsiteY195" fmla="*/ 483775 h 1217199"/>
                  <a:gd name="connsiteX196" fmla="*/ 1764030 w 2377439"/>
                  <a:gd name="connsiteY196" fmla="*/ 515303 h 1217199"/>
                  <a:gd name="connsiteX197" fmla="*/ 1767840 w 2377439"/>
                  <a:gd name="connsiteY197" fmla="*/ 536162 h 1217199"/>
                  <a:gd name="connsiteX198" fmla="*/ 1771650 w 2377439"/>
                  <a:gd name="connsiteY198" fmla="*/ 557117 h 1217199"/>
                  <a:gd name="connsiteX199" fmla="*/ 1753552 w 2377439"/>
                  <a:gd name="connsiteY199" fmla="*/ 579025 h 1217199"/>
                  <a:gd name="connsiteX200" fmla="*/ 1743075 w 2377439"/>
                  <a:gd name="connsiteY200" fmla="*/ 589598 h 1217199"/>
                  <a:gd name="connsiteX201" fmla="*/ 1740217 w 2377439"/>
                  <a:gd name="connsiteY201" fmla="*/ 599980 h 1217199"/>
                  <a:gd name="connsiteX202" fmla="*/ 1757363 w 2377439"/>
                  <a:gd name="connsiteY202" fmla="*/ 610553 h 1217199"/>
                  <a:gd name="connsiteX203" fmla="*/ 1778317 w 2377439"/>
                  <a:gd name="connsiteY203" fmla="*/ 624840 h 1217199"/>
                  <a:gd name="connsiteX204" fmla="*/ 1796415 w 2377439"/>
                  <a:gd name="connsiteY204" fmla="*/ 656273 h 1217199"/>
                  <a:gd name="connsiteX205" fmla="*/ 1799273 w 2377439"/>
                  <a:gd name="connsiteY205" fmla="*/ 695230 h 1217199"/>
                  <a:gd name="connsiteX206" fmla="*/ 1782127 w 2377439"/>
                  <a:gd name="connsiteY206" fmla="*/ 716280 h 1217199"/>
                  <a:gd name="connsiteX207" fmla="*/ 1764030 w 2377439"/>
                  <a:gd name="connsiteY207" fmla="*/ 737235 h 1217199"/>
                  <a:gd name="connsiteX208" fmla="*/ 1725930 w 2377439"/>
                  <a:gd name="connsiteY208" fmla="*/ 747617 h 1217199"/>
                  <a:gd name="connsiteX209" fmla="*/ 1711642 w 2377439"/>
                  <a:gd name="connsiteY209" fmla="*/ 755237 h 1217199"/>
                  <a:gd name="connsiteX210" fmla="*/ 1725930 w 2377439"/>
                  <a:gd name="connsiteY210" fmla="*/ 790480 h 1217199"/>
                  <a:gd name="connsiteX211" fmla="*/ 1732598 w 2377439"/>
                  <a:gd name="connsiteY211" fmla="*/ 815340 h 1217199"/>
                  <a:gd name="connsiteX212" fmla="*/ 1743075 w 2377439"/>
                  <a:gd name="connsiteY212" fmla="*/ 850487 h 1217199"/>
                  <a:gd name="connsiteX213" fmla="*/ 1740217 w 2377439"/>
                  <a:gd name="connsiteY213" fmla="*/ 864775 h 1217199"/>
                  <a:gd name="connsiteX214" fmla="*/ 1732598 w 2377439"/>
                  <a:gd name="connsiteY214" fmla="*/ 878205 h 1217199"/>
                  <a:gd name="connsiteX215" fmla="*/ 1707833 w 2377439"/>
                  <a:gd name="connsiteY215" fmla="*/ 892492 h 1217199"/>
                  <a:gd name="connsiteX216" fmla="*/ 1693545 w 2377439"/>
                  <a:gd name="connsiteY216" fmla="*/ 885730 h 1217199"/>
                  <a:gd name="connsiteX217" fmla="*/ 1683068 w 2377439"/>
                  <a:gd name="connsiteY217" fmla="*/ 878205 h 1217199"/>
                  <a:gd name="connsiteX218" fmla="*/ 1662112 w 2377439"/>
                  <a:gd name="connsiteY218" fmla="*/ 853440 h 1217199"/>
                  <a:gd name="connsiteX219" fmla="*/ 1641158 w 2377439"/>
                  <a:gd name="connsiteY219" fmla="*/ 828580 h 1217199"/>
                  <a:gd name="connsiteX220" fmla="*/ 1641158 w 2377439"/>
                  <a:gd name="connsiteY220" fmla="*/ 815340 h 1217199"/>
                  <a:gd name="connsiteX221" fmla="*/ 1641158 w 2377439"/>
                  <a:gd name="connsiteY221" fmla="*/ 804767 h 1217199"/>
                  <a:gd name="connsiteX222" fmla="*/ 1641158 w 2377439"/>
                  <a:gd name="connsiteY222" fmla="*/ 780098 h 1217199"/>
                  <a:gd name="connsiteX223" fmla="*/ 1634490 w 2377439"/>
                  <a:gd name="connsiteY223" fmla="*/ 740950 h 1217199"/>
                  <a:gd name="connsiteX224" fmla="*/ 1612583 w 2377439"/>
                  <a:gd name="connsiteY224" fmla="*/ 740950 h 1217199"/>
                  <a:gd name="connsiteX225" fmla="*/ 1591628 w 2377439"/>
                  <a:gd name="connsiteY225" fmla="*/ 737235 h 1217199"/>
                  <a:gd name="connsiteX226" fmla="*/ 1577340 w 2377439"/>
                  <a:gd name="connsiteY226" fmla="*/ 734378 h 1217199"/>
                  <a:gd name="connsiteX227" fmla="*/ 1560195 w 2377439"/>
                  <a:gd name="connsiteY227" fmla="*/ 734378 h 1217199"/>
                  <a:gd name="connsiteX228" fmla="*/ 1521143 w 2377439"/>
                  <a:gd name="connsiteY228" fmla="*/ 720090 h 1217199"/>
                  <a:gd name="connsiteX229" fmla="*/ 1489710 w 2377439"/>
                  <a:gd name="connsiteY229" fmla="*/ 701992 h 1217199"/>
                  <a:gd name="connsiteX230" fmla="*/ 1461135 w 2377439"/>
                  <a:gd name="connsiteY230" fmla="*/ 674275 h 1217199"/>
                  <a:gd name="connsiteX231" fmla="*/ 1433512 w 2377439"/>
                  <a:gd name="connsiteY231" fmla="*/ 670560 h 1217199"/>
                  <a:gd name="connsiteX232" fmla="*/ 1408748 w 2377439"/>
                  <a:gd name="connsiteY232" fmla="*/ 659987 h 1217199"/>
                  <a:gd name="connsiteX233" fmla="*/ 1377315 w 2377439"/>
                  <a:gd name="connsiteY233" fmla="*/ 659987 h 1217199"/>
                  <a:gd name="connsiteX234" fmla="*/ 1352550 w 2377439"/>
                  <a:gd name="connsiteY234" fmla="*/ 666655 h 1217199"/>
                  <a:gd name="connsiteX235" fmla="*/ 1338262 w 2377439"/>
                  <a:gd name="connsiteY235" fmla="*/ 621030 h 1217199"/>
                  <a:gd name="connsiteX236" fmla="*/ 1331595 w 2377439"/>
                  <a:gd name="connsiteY236" fmla="*/ 606742 h 1217199"/>
                  <a:gd name="connsiteX237" fmla="*/ 1317308 w 2377439"/>
                  <a:gd name="connsiteY237" fmla="*/ 603885 h 1217199"/>
                  <a:gd name="connsiteX238" fmla="*/ 1299210 w 2377439"/>
                  <a:gd name="connsiteY238" fmla="*/ 603885 h 1217199"/>
                  <a:gd name="connsiteX239" fmla="*/ 1296353 w 2377439"/>
                  <a:gd name="connsiteY239" fmla="*/ 592455 h 1217199"/>
                  <a:gd name="connsiteX240" fmla="*/ 1292543 w 2377439"/>
                  <a:gd name="connsiteY240" fmla="*/ 585692 h 1217199"/>
                  <a:gd name="connsiteX241" fmla="*/ 1303020 w 2377439"/>
                  <a:gd name="connsiteY241" fmla="*/ 511492 h 1217199"/>
                  <a:gd name="connsiteX242" fmla="*/ 1334453 w 2377439"/>
                  <a:gd name="connsiteY242" fmla="*/ 459105 h 1217199"/>
                  <a:gd name="connsiteX243" fmla="*/ 1369695 w 2377439"/>
                  <a:gd name="connsiteY243" fmla="*/ 426625 h 1217199"/>
                  <a:gd name="connsiteX244" fmla="*/ 1402080 w 2377439"/>
                  <a:gd name="connsiteY244" fmla="*/ 420053 h 1217199"/>
                  <a:gd name="connsiteX245" fmla="*/ 1398270 w 2377439"/>
                  <a:gd name="connsiteY245" fmla="*/ 402812 h 1217199"/>
                  <a:gd name="connsiteX246" fmla="*/ 1369695 w 2377439"/>
                  <a:gd name="connsiteY246" fmla="*/ 391478 h 1217199"/>
                  <a:gd name="connsiteX247" fmla="*/ 1359218 w 2377439"/>
                  <a:gd name="connsiteY247" fmla="*/ 380905 h 1217199"/>
                  <a:gd name="connsiteX248" fmla="*/ 1380173 w 2377439"/>
                  <a:gd name="connsiteY248" fmla="*/ 388525 h 1217199"/>
                  <a:gd name="connsiteX249" fmla="*/ 1415415 w 2377439"/>
                  <a:gd name="connsiteY249" fmla="*/ 384810 h 1217199"/>
                  <a:gd name="connsiteX250" fmla="*/ 1415415 w 2377439"/>
                  <a:gd name="connsiteY250" fmla="*/ 367665 h 1217199"/>
                  <a:gd name="connsiteX251" fmla="*/ 1429703 w 2377439"/>
                  <a:gd name="connsiteY251" fmla="*/ 374237 h 1217199"/>
                  <a:gd name="connsiteX252" fmla="*/ 1443990 w 2377439"/>
                  <a:gd name="connsiteY252" fmla="*/ 374237 h 1217199"/>
                  <a:gd name="connsiteX253" fmla="*/ 1461135 w 2377439"/>
                  <a:gd name="connsiteY253" fmla="*/ 370522 h 1217199"/>
                  <a:gd name="connsiteX254" fmla="*/ 1479233 w 2377439"/>
                  <a:gd name="connsiteY254" fmla="*/ 359950 h 1217199"/>
                  <a:gd name="connsiteX255" fmla="*/ 1493520 w 2377439"/>
                  <a:gd name="connsiteY255" fmla="*/ 339090 h 1217199"/>
                  <a:gd name="connsiteX256" fmla="*/ 1503998 w 2377439"/>
                  <a:gd name="connsiteY256" fmla="*/ 320992 h 1217199"/>
                  <a:gd name="connsiteX257" fmla="*/ 1483043 w 2377439"/>
                  <a:gd name="connsiteY257" fmla="*/ 320992 h 1217199"/>
                  <a:gd name="connsiteX258" fmla="*/ 1468755 w 2377439"/>
                  <a:gd name="connsiteY258" fmla="*/ 318135 h 1217199"/>
                  <a:gd name="connsiteX259" fmla="*/ 1447800 w 2377439"/>
                  <a:gd name="connsiteY259" fmla="*/ 314230 h 1217199"/>
                  <a:gd name="connsiteX260" fmla="*/ 1437323 w 2377439"/>
                  <a:gd name="connsiteY260" fmla="*/ 303847 h 1217199"/>
                  <a:gd name="connsiteX261" fmla="*/ 1429703 w 2377439"/>
                  <a:gd name="connsiteY261" fmla="*/ 289560 h 1217199"/>
                  <a:gd name="connsiteX262" fmla="*/ 1447800 w 2377439"/>
                  <a:gd name="connsiteY262" fmla="*/ 293275 h 1217199"/>
                  <a:gd name="connsiteX263" fmla="*/ 1468755 w 2377439"/>
                  <a:gd name="connsiteY263" fmla="*/ 307562 h 1217199"/>
                  <a:gd name="connsiteX264" fmla="*/ 1489710 w 2377439"/>
                  <a:gd name="connsiteY264" fmla="*/ 310515 h 1217199"/>
                  <a:gd name="connsiteX265" fmla="*/ 1507808 w 2377439"/>
                  <a:gd name="connsiteY265" fmla="*/ 307562 h 1217199"/>
                  <a:gd name="connsiteX266" fmla="*/ 1521143 w 2377439"/>
                  <a:gd name="connsiteY266" fmla="*/ 293275 h 1217199"/>
                  <a:gd name="connsiteX267" fmla="*/ 1531620 w 2377439"/>
                  <a:gd name="connsiteY267" fmla="*/ 275272 h 1217199"/>
                  <a:gd name="connsiteX268" fmla="*/ 1521143 w 2377439"/>
                  <a:gd name="connsiteY268" fmla="*/ 264700 h 1217199"/>
                  <a:gd name="connsiteX269" fmla="*/ 1528762 w 2377439"/>
                  <a:gd name="connsiteY269" fmla="*/ 254317 h 1217199"/>
                  <a:gd name="connsiteX270" fmla="*/ 1545908 w 2377439"/>
                  <a:gd name="connsiteY270" fmla="*/ 254317 h 1217199"/>
                  <a:gd name="connsiteX271" fmla="*/ 1566862 w 2377439"/>
                  <a:gd name="connsiteY271" fmla="*/ 275272 h 1217199"/>
                  <a:gd name="connsiteX272" fmla="*/ 1581150 w 2377439"/>
                  <a:gd name="connsiteY272" fmla="*/ 268605 h 1217199"/>
                  <a:gd name="connsiteX273" fmla="*/ 1588770 w 2377439"/>
                  <a:gd name="connsiteY273" fmla="*/ 254317 h 1217199"/>
                  <a:gd name="connsiteX274" fmla="*/ 1612583 w 2377439"/>
                  <a:gd name="connsiteY274" fmla="*/ 268605 h 1217199"/>
                  <a:gd name="connsiteX275" fmla="*/ 1630680 w 2377439"/>
                  <a:gd name="connsiteY275" fmla="*/ 258127 h 1217199"/>
                  <a:gd name="connsiteX276" fmla="*/ 1651635 w 2377439"/>
                  <a:gd name="connsiteY276" fmla="*/ 240030 h 1217199"/>
                  <a:gd name="connsiteX277" fmla="*/ 1665923 w 2377439"/>
                  <a:gd name="connsiteY277" fmla="*/ 222885 h 1217199"/>
                  <a:gd name="connsiteX278" fmla="*/ 1655445 w 2377439"/>
                  <a:gd name="connsiteY278" fmla="*/ 201835 h 1217199"/>
                  <a:gd name="connsiteX279" fmla="*/ 1644968 w 2377439"/>
                  <a:gd name="connsiteY279" fmla="*/ 187547 h 1217199"/>
                  <a:gd name="connsiteX280" fmla="*/ 1641158 w 2377439"/>
                  <a:gd name="connsiteY280" fmla="*/ 169450 h 1217199"/>
                  <a:gd name="connsiteX281" fmla="*/ 1655445 w 2377439"/>
                  <a:gd name="connsiteY281" fmla="*/ 165735 h 1217199"/>
                  <a:gd name="connsiteX282" fmla="*/ 1665923 w 2377439"/>
                  <a:gd name="connsiteY282" fmla="*/ 158972 h 1217199"/>
                  <a:gd name="connsiteX283" fmla="*/ 1647825 w 2377439"/>
                  <a:gd name="connsiteY283" fmla="*/ 134302 h 1217199"/>
                  <a:gd name="connsiteX284" fmla="*/ 1624012 w 2377439"/>
                  <a:gd name="connsiteY284" fmla="*/ 117062 h 1217199"/>
                  <a:gd name="connsiteX285" fmla="*/ 1584960 w 2377439"/>
                  <a:gd name="connsiteY285" fmla="*/ 102775 h 1217199"/>
                  <a:gd name="connsiteX286" fmla="*/ 1553528 w 2377439"/>
                  <a:gd name="connsiteY286" fmla="*/ 99060 h 1217199"/>
                  <a:gd name="connsiteX287" fmla="*/ 1549718 w 2377439"/>
                  <a:gd name="connsiteY287" fmla="*/ 109538 h 1217199"/>
                  <a:gd name="connsiteX288" fmla="*/ 1560195 w 2377439"/>
                  <a:gd name="connsiteY288" fmla="*/ 130397 h 1217199"/>
                  <a:gd name="connsiteX289" fmla="*/ 1564005 w 2377439"/>
                  <a:gd name="connsiteY289" fmla="*/ 144685 h 1217199"/>
                  <a:gd name="connsiteX290" fmla="*/ 1543050 w 2377439"/>
                  <a:gd name="connsiteY290" fmla="*/ 158972 h 1217199"/>
                  <a:gd name="connsiteX291" fmla="*/ 1539240 w 2377439"/>
                  <a:gd name="connsiteY291" fmla="*/ 187547 h 1217199"/>
                  <a:gd name="connsiteX292" fmla="*/ 1524953 w 2377439"/>
                  <a:gd name="connsiteY292" fmla="*/ 212312 h 1217199"/>
                  <a:gd name="connsiteX293" fmla="*/ 1510665 w 2377439"/>
                  <a:gd name="connsiteY293" fmla="*/ 222885 h 1217199"/>
                  <a:gd name="connsiteX294" fmla="*/ 1485900 w 2377439"/>
                  <a:gd name="connsiteY294" fmla="*/ 212312 h 1217199"/>
                  <a:gd name="connsiteX295" fmla="*/ 1468755 w 2377439"/>
                  <a:gd name="connsiteY295" fmla="*/ 198025 h 1217199"/>
                  <a:gd name="connsiteX296" fmla="*/ 1472565 w 2377439"/>
                  <a:gd name="connsiteY296" fmla="*/ 177165 h 1217199"/>
                  <a:gd name="connsiteX297" fmla="*/ 1483043 w 2377439"/>
                  <a:gd name="connsiteY297" fmla="*/ 158972 h 1217199"/>
                  <a:gd name="connsiteX298" fmla="*/ 1464945 w 2377439"/>
                  <a:gd name="connsiteY298" fmla="*/ 138113 h 1217199"/>
                  <a:gd name="connsiteX299" fmla="*/ 1443990 w 2377439"/>
                  <a:gd name="connsiteY299" fmla="*/ 130397 h 1217199"/>
                  <a:gd name="connsiteX300" fmla="*/ 1433512 w 2377439"/>
                  <a:gd name="connsiteY300" fmla="*/ 144685 h 1217199"/>
                  <a:gd name="connsiteX301" fmla="*/ 1443990 w 2377439"/>
                  <a:gd name="connsiteY301" fmla="*/ 162877 h 1217199"/>
                  <a:gd name="connsiteX302" fmla="*/ 1429703 w 2377439"/>
                  <a:gd name="connsiteY302" fmla="*/ 173260 h 1217199"/>
                  <a:gd name="connsiteX303" fmla="*/ 1412558 w 2377439"/>
                  <a:gd name="connsiteY303" fmla="*/ 165735 h 1217199"/>
                  <a:gd name="connsiteX304" fmla="*/ 1402080 w 2377439"/>
                  <a:gd name="connsiteY304" fmla="*/ 141922 h 1217199"/>
                  <a:gd name="connsiteX305" fmla="*/ 1398270 w 2377439"/>
                  <a:gd name="connsiteY305" fmla="*/ 113347 h 1217199"/>
                  <a:gd name="connsiteX306" fmla="*/ 1383983 w 2377439"/>
                  <a:gd name="connsiteY306" fmla="*/ 109538 h 1217199"/>
                  <a:gd name="connsiteX307" fmla="*/ 1363028 w 2377439"/>
                  <a:gd name="connsiteY307" fmla="*/ 113347 h 1217199"/>
                  <a:gd name="connsiteX308" fmla="*/ 1356360 w 2377439"/>
                  <a:gd name="connsiteY308" fmla="*/ 95250 h 1217199"/>
                  <a:gd name="connsiteX309" fmla="*/ 1366837 w 2377439"/>
                  <a:gd name="connsiteY309" fmla="*/ 84772 h 1217199"/>
                  <a:gd name="connsiteX310" fmla="*/ 1363028 w 2377439"/>
                  <a:gd name="connsiteY310" fmla="*/ 71438 h 1217199"/>
                  <a:gd name="connsiteX311" fmla="*/ 1344930 w 2377439"/>
                  <a:gd name="connsiteY311" fmla="*/ 46672 h 1217199"/>
                  <a:gd name="connsiteX312" fmla="*/ 1342073 w 2377439"/>
                  <a:gd name="connsiteY312" fmla="*/ 36100 h 1217199"/>
                  <a:gd name="connsiteX313" fmla="*/ 1321118 w 2377439"/>
                  <a:gd name="connsiteY313" fmla="*/ 7525 h 1217199"/>
                  <a:gd name="connsiteX314" fmla="*/ 1288733 w 2377439"/>
                  <a:gd name="connsiteY314" fmla="*/ 0 h 1217199"/>
                  <a:gd name="connsiteX315" fmla="*/ 1271587 w 2377439"/>
                  <a:gd name="connsiteY315" fmla="*/ 7525 h 1217199"/>
                  <a:gd name="connsiteX316" fmla="*/ 1263968 w 2377439"/>
                  <a:gd name="connsiteY316" fmla="*/ 21812 h 1217199"/>
                  <a:gd name="connsiteX317" fmla="*/ 1246823 w 2377439"/>
                  <a:gd name="connsiteY317" fmla="*/ 21812 h 1217199"/>
                  <a:gd name="connsiteX318" fmla="*/ 1240155 w 2377439"/>
                  <a:gd name="connsiteY318" fmla="*/ 46672 h 1217199"/>
                  <a:gd name="connsiteX319" fmla="*/ 1253490 w 2377439"/>
                  <a:gd name="connsiteY319" fmla="*/ 57150 h 1217199"/>
                  <a:gd name="connsiteX320" fmla="*/ 1240155 w 2377439"/>
                  <a:gd name="connsiteY320" fmla="*/ 78010 h 1217199"/>
                  <a:gd name="connsiteX321" fmla="*/ 1246823 w 2377439"/>
                  <a:gd name="connsiteY321" fmla="*/ 92297 h 1217199"/>
                  <a:gd name="connsiteX322" fmla="*/ 1271587 w 2377439"/>
                  <a:gd name="connsiteY322" fmla="*/ 106585 h 1217199"/>
                  <a:gd name="connsiteX323" fmla="*/ 1303020 w 2377439"/>
                  <a:gd name="connsiteY323" fmla="*/ 113347 h 1217199"/>
                  <a:gd name="connsiteX324" fmla="*/ 1321118 w 2377439"/>
                  <a:gd name="connsiteY324" fmla="*/ 138113 h 1217199"/>
                  <a:gd name="connsiteX325" fmla="*/ 1323975 w 2377439"/>
                  <a:gd name="connsiteY325" fmla="*/ 158972 h 1217199"/>
                  <a:gd name="connsiteX326" fmla="*/ 1306830 w 2377439"/>
                  <a:gd name="connsiteY326" fmla="*/ 180022 h 1217199"/>
                  <a:gd name="connsiteX327" fmla="*/ 1271587 w 2377439"/>
                  <a:gd name="connsiteY327" fmla="*/ 190500 h 1217199"/>
                  <a:gd name="connsiteX328" fmla="*/ 1274445 w 2377439"/>
                  <a:gd name="connsiteY328" fmla="*/ 212312 h 1217199"/>
                  <a:gd name="connsiteX329" fmla="*/ 1274445 w 2377439"/>
                  <a:gd name="connsiteY329" fmla="*/ 237172 h 1217199"/>
                  <a:gd name="connsiteX330" fmla="*/ 1261110 w 2377439"/>
                  <a:gd name="connsiteY330" fmla="*/ 237172 h 1217199"/>
                  <a:gd name="connsiteX331" fmla="*/ 1250633 w 2377439"/>
                  <a:gd name="connsiteY331" fmla="*/ 222885 h 1217199"/>
                  <a:gd name="connsiteX332" fmla="*/ 1240155 w 2377439"/>
                  <a:gd name="connsiteY332" fmla="*/ 204788 h 1217199"/>
                  <a:gd name="connsiteX333" fmla="*/ 1246823 w 2377439"/>
                  <a:gd name="connsiteY333" fmla="*/ 198025 h 1217199"/>
                  <a:gd name="connsiteX334" fmla="*/ 1225868 w 2377439"/>
                  <a:gd name="connsiteY334" fmla="*/ 177165 h 1217199"/>
                  <a:gd name="connsiteX335" fmla="*/ 1204912 w 2377439"/>
                  <a:gd name="connsiteY335" fmla="*/ 169450 h 1217199"/>
                  <a:gd name="connsiteX336" fmla="*/ 1193483 w 2377439"/>
                  <a:gd name="connsiteY336" fmla="*/ 173260 h 1217199"/>
                  <a:gd name="connsiteX337" fmla="*/ 1190625 w 2377439"/>
                  <a:gd name="connsiteY337" fmla="*/ 187547 h 1217199"/>
                  <a:gd name="connsiteX338" fmla="*/ 1211580 w 2377439"/>
                  <a:gd name="connsiteY338" fmla="*/ 190500 h 1217199"/>
                  <a:gd name="connsiteX339" fmla="*/ 1222058 w 2377439"/>
                  <a:gd name="connsiteY339" fmla="*/ 198025 h 1217199"/>
                  <a:gd name="connsiteX340" fmla="*/ 1211580 w 2377439"/>
                  <a:gd name="connsiteY340" fmla="*/ 208597 h 1217199"/>
                  <a:gd name="connsiteX341" fmla="*/ 1176337 w 2377439"/>
                  <a:gd name="connsiteY341" fmla="*/ 204788 h 1217199"/>
                  <a:gd name="connsiteX342" fmla="*/ 1137285 w 2377439"/>
                  <a:gd name="connsiteY342" fmla="*/ 204788 h 1217199"/>
                  <a:gd name="connsiteX343" fmla="*/ 1095375 w 2377439"/>
                  <a:gd name="connsiteY343" fmla="*/ 204788 h 1217199"/>
                  <a:gd name="connsiteX344" fmla="*/ 1056323 w 2377439"/>
                  <a:gd name="connsiteY344" fmla="*/ 198025 h 1217199"/>
                  <a:gd name="connsiteX345" fmla="*/ 1018223 w 2377439"/>
                  <a:gd name="connsiteY345" fmla="*/ 183737 h 1217199"/>
                  <a:gd name="connsiteX346" fmla="*/ 985837 w 2377439"/>
                  <a:gd name="connsiteY346" fmla="*/ 165735 h 1217199"/>
                  <a:gd name="connsiteX347" fmla="*/ 943928 w 2377439"/>
                  <a:gd name="connsiteY347" fmla="*/ 183737 h 1217199"/>
                  <a:gd name="connsiteX348" fmla="*/ 925830 w 2377439"/>
                  <a:gd name="connsiteY348" fmla="*/ 194310 h 1217199"/>
                  <a:gd name="connsiteX349" fmla="*/ 933450 w 2377439"/>
                  <a:gd name="connsiteY349" fmla="*/ 212312 h 1217199"/>
                  <a:gd name="connsiteX350" fmla="*/ 940118 w 2377439"/>
                  <a:gd name="connsiteY350" fmla="*/ 243840 h 1217199"/>
                  <a:gd name="connsiteX351" fmla="*/ 929640 w 2377439"/>
                  <a:gd name="connsiteY351" fmla="*/ 250412 h 1217199"/>
                  <a:gd name="connsiteX352" fmla="*/ 915353 w 2377439"/>
                  <a:gd name="connsiteY352" fmla="*/ 229552 h 1217199"/>
                  <a:gd name="connsiteX353" fmla="*/ 887730 w 2377439"/>
                  <a:gd name="connsiteY353" fmla="*/ 212312 h 1217199"/>
                  <a:gd name="connsiteX354" fmla="*/ 856298 w 2377439"/>
                  <a:gd name="connsiteY354" fmla="*/ 194310 h 1217199"/>
                  <a:gd name="connsiteX355" fmla="*/ 842010 w 2377439"/>
                  <a:gd name="connsiteY355" fmla="*/ 201835 h 1217199"/>
                  <a:gd name="connsiteX356" fmla="*/ 802957 w 2377439"/>
                  <a:gd name="connsiteY356" fmla="*/ 204788 h 1217199"/>
                  <a:gd name="connsiteX357" fmla="*/ 750570 w 2377439"/>
                  <a:gd name="connsiteY357" fmla="*/ 208597 h 1217199"/>
                  <a:gd name="connsiteX358" fmla="*/ 721995 w 2377439"/>
                  <a:gd name="connsiteY358" fmla="*/ 194310 h 1217199"/>
                  <a:gd name="connsiteX359" fmla="*/ 725805 w 2377439"/>
                  <a:gd name="connsiteY359" fmla="*/ 180022 h 1217199"/>
                  <a:gd name="connsiteX360" fmla="*/ 746760 w 2377439"/>
                  <a:gd name="connsiteY360" fmla="*/ 177165 h 1217199"/>
                  <a:gd name="connsiteX361" fmla="*/ 742950 w 2377439"/>
                  <a:gd name="connsiteY361" fmla="*/ 162877 h 1217199"/>
                  <a:gd name="connsiteX362" fmla="*/ 711518 w 2377439"/>
                  <a:gd name="connsiteY362" fmla="*/ 148590 h 1217199"/>
                  <a:gd name="connsiteX363" fmla="*/ 672465 w 2377439"/>
                  <a:gd name="connsiteY363" fmla="*/ 144685 h 1217199"/>
                  <a:gd name="connsiteX364" fmla="*/ 620078 w 2377439"/>
                  <a:gd name="connsiteY364" fmla="*/ 127635 h 1217199"/>
                  <a:gd name="connsiteX365" fmla="*/ 577215 w 2377439"/>
                  <a:gd name="connsiteY365" fmla="*/ 117062 h 1217199"/>
                  <a:gd name="connsiteX366" fmla="*/ 531495 w 2377439"/>
                  <a:gd name="connsiteY366" fmla="*/ 99060 h 1217199"/>
                  <a:gd name="connsiteX367" fmla="*/ 496253 w 2377439"/>
                  <a:gd name="connsiteY367" fmla="*/ 109538 h 1217199"/>
                  <a:gd name="connsiteX368" fmla="*/ 475298 w 2377439"/>
                  <a:gd name="connsiteY368" fmla="*/ 123825 h 1217199"/>
                  <a:gd name="connsiteX369" fmla="*/ 461010 w 2377439"/>
                  <a:gd name="connsiteY369" fmla="*/ 92297 h 1217199"/>
                  <a:gd name="connsiteX370" fmla="*/ 450532 w 2377439"/>
                  <a:gd name="connsiteY370" fmla="*/ 88487 h 1217199"/>
                  <a:gd name="connsiteX371" fmla="*/ 429578 w 2377439"/>
                  <a:gd name="connsiteY371" fmla="*/ 117062 h 1217199"/>
                  <a:gd name="connsiteX372" fmla="*/ 404813 w 2377439"/>
                  <a:gd name="connsiteY372" fmla="*/ 113347 h 1217199"/>
                  <a:gd name="connsiteX373" fmla="*/ 383857 w 2377439"/>
                  <a:gd name="connsiteY373" fmla="*/ 81915 h 1217199"/>
                  <a:gd name="connsiteX374" fmla="*/ 366713 w 2377439"/>
                  <a:gd name="connsiteY374" fmla="*/ 67627 h 1217199"/>
                  <a:gd name="connsiteX375" fmla="*/ 338138 w 2377439"/>
                  <a:gd name="connsiteY375" fmla="*/ 102775 h 1217199"/>
                  <a:gd name="connsiteX376" fmla="*/ 317182 w 2377439"/>
                  <a:gd name="connsiteY376" fmla="*/ 99060 h 1217199"/>
                  <a:gd name="connsiteX377" fmla="*/ 313373 w 2377439"/>
                  <a:gd name="connsiteY377" fmla="*/ 84772 h 1217199"/>
                  <a:gd name="connsiteX378" fmla="*/ 285750 w 2377439"/>
                  <a:gd name="connsiteY378" fmla="*/ 84772 h 1217199"/>
                  <a:gd name="connsiteX379" fmla="*/ 242888 w 2377439"/>
                  <a:gd name="connsiteY379" fmla="*/ 106585 h 1217199"/>
                  <a:gd name="connsiteX380" fmla="*/ 203835 w 2377439"/>
                  <a:gd name="connsiteY380" fmla="*/ 127635 h 1217199"/>
                  <a:gd name="connsiteX381" fmla="*/ 193357 w 2377439"/>
                  <a:gd name="connsiteY381" fmla="*/ 120015 h 1217199"/>
                  <a:gd name="connsiteX382" fmla="*/ 176213 w 2377439"/>
                  <a:gd name="connsiteY382" fmla="*/ 109538 h 1217199"/>
                  <a:gd name="connsiteX383" fmla="*/ 144780 w 2377439"/>
                  <a:gd name="connsiteY383" fmla="*/ 127635 h 1217199"/>
                  <a:gd name="connsiteX384" fmla="*/ 147638 w 2377439"/>
                  <a:gd name="connsiteY384" fmla="*/ 152400 h 1217199"/>
                  <a:gd name="connsiteX385" fmla="*/ 84773 w 2377439"/>
                  <a:gd name="connsiteY385" fmla="*/ 134302 h 1217199"/>
                  <a:gd name="connsiteX386" fmla="*/ 31432 w 2377439"/>
                  <a:gd name="connsiteY386" fmla="*/ 113347 h 1217199"/>
                  <a:gd name="connsiteX387" fmla="*/ 0 w 2377439"/>
                  <a:gd name="connsiteY387" fmla="*/ 109538 h 1217199"/>
                  <a:gd name="connsiteX388" fmla="*/ 0 w 2377439"/>
                  <a:gd name="connsiteY388" fmla="*/ 533305 h 1217199"/>
                  <a:gd name="connsiteX389" fmla="*/ 18098 w 2377439"/>
                  <a:gd name="connsiteY389" fmla="*/ 540067 h 1217199"/>
                  <a:gd name="connsiteX390" fmla="*/ 31432 w 2377439"/>
                  <a:gd name="connsiteY390" fmla="*/ 533305 h 1217199"/>
                  <a:gd name="connsiteX391" fmla="*/ 45720 w 2377439"/>
                  <a:gd name="connsiteY391" fmla="*/ 529590 h 1217199"/>
                  <a:gd name="connsiteX392" fmla="*/ 60007 w 2377439"/>
                  <a:gd name="connsiteY392" fmla="*/ 546735 h 1217199"/>
                  <a:gd name="connsiteX393" fmla="*/ 87630 w 2377439"/>
                  <a:gd name="connsiteY393" fmla="*/ 568642 h 1217199"/>
                  <a:gd name="connsiteX394" fmla="*/ 101917 w 2377439"/>
                  <a:gd name="connsiteY394" fmla="*/ 581978 h 1217199"/>
                  <a:gd name="connsiteX395" fmla="*/ 120015 w 2377439"/>
                  <a:gd name="connsiteY395" fmla="*/ 579025 h 1217199"/>
                  <a:gd name="connsiteX396" fmla="*/ 122873 w 2377439"/>
                  <a:gd name="connsiteY396" fmla="*/ 568642 h 1217199"/>
                  <a:gd name="connsiteX397" fmla="*/ 137160 w 2377439"/>
                  <a:gd name="connsiteY397" fmla="*/ 561023 h 1217199"/>
                  <a:gd name="connsiteX398" fmla="*/ 155257 w 2377439"/>
                  <a:gd name="connsiteY398" fmla="*/ 554355 h 1217199"/>
                  <a:gd name="connsiteX399" fmla="*/ 176213 w 2377439"/>
                  <a:gd name="connsiteY399" fmla="*/ 575310 h 1217199"/>
                  <a:gd name="connsiteX400" fmla="*/ 193357 w 2377439"/>
                  <a:gd name="connsiteY400" fmla="*/ 592455 h 1217199"/>
                  <a:gd name="connsiteX401" fmla="*/ 221932 w 2377439"/>
                  <a:gd name="connsiteY401" fmla="*/ 621030 h 1217199"/>
                  <a:gd name="connsiteX402" fmla="*/ 239077 w 2377439"/>
                  <a:gd name="connsiteY402" fmla="*/ 656273 h 1217199"/>
                  <a:gd name="connsiteX403" fmla="*/ 257175 w 2377439"/>
                  <a:gd name="connsiteY403" fmla="*/ 677228 h 1217199"/>
                  <a:gd name="connsiteX404" fmla="*/ 263842 w 2377439"/>
                  <a:gd name="connsiteY404" fmla="*/ 680942 h 1217199"/>
                  <a:gd name="connsiteX405" fmla="*/ 278130 w 2377439"/>
                  <a:gd name="connsiteY405" fmla="*/ 691515 h 1217199"/>
                  <a:gd name="connsiteX406" fmla="*/ 302895 w 2377439"/>
                  <a:gd name="connsiteY406" fmla="*/ 705803 h 1217199"/>
                  <a:gd name="connsiteX407" fmla="*/ 306705 w 2377439"/>
                  <a:gd name="connsiteY407" fmla="*/ 720090 h 1217199"/>
                  <a:gd name="connsiteX408" fmla="*/ 313373 w 2377439"/>
                  <a:gd name="connsiteY408" fmla="*/ 722948 h 1217199"/>
                  <a:gd name="connsiteX409" fmla="*/ 317182 w 2377439"/>
                  <a:gd name="connsiteY409" fmla="*/ 740950 h 1217199"/>
                  <a:gd name="connsiteX410" fmla="*/ 306705 w 2377439"/>
                  <a:gd name="connsiteY410" fmla="*/ 761905 h 1217199"/>
                  <a:gd name="connsiteX411" fmla="*/ 306705 w 2377439"/>
                  <a:gd name="connsiteY411" fmla="*/ 772478 h 1217199"/>
                  <a:gd name="connsiteX412" fmla="*/ 302895 w 2377439"/>
                  <a:gd name="connsiteY412" fmla="*/ 786765 h 1217199"/>
                  <a:gd name="connsiteX413" fmla="*/ 302895 w 2377439"/>
                  <a:gd name="connsiteY413" fmla="*/ 807625 h 1217199"/>
                  <a:gd name="connsiteX414" fmla="*/ 317182 w 2377439"/>
                  <a:gd name="connsiteY414" fmla="*/ 807625 h 1217199"/>
                  <a:gd name="connsiteX415" fmla="*/ 331470 w 2377439"/>
                  <a:gd name="connsiteY415" fmla="*/ 797242 h 1217199"/>
                  <a:gd name="connsiteX416" fmla="*/ 341948 w 2377439"/>
                  <a:gd name="connsiteY416" fmla="*/ 790480 h 1217199"/>
                  <a:gd name="connsiteX417" fmla="*/ 344805 w 2377439"/>
                  <a:gd name="connsiteY417" fmla="*/ 804767 h 1217199"/>
                  <a:gd name="connsiteX418" fmla="*/ 334328 w 2377439"/>
                  <a:gd name="connsiteY418" fmla="*/ 821912 h 1217199"/>
                  <a:gd name="connsiteX419" fmla="*/ 331470 w 2377439"/>
                  <a:gd name="connsiteY419" fmla="*/ 836200 h 1217199"/>
                  <a:gd name="connsiteX420" fmla="*/ 344805 w 2377439"/>
                  <a:gd name="connsiteY420" fmla="*/ 828580 h 1217199"/>
                  <a:gd name="connsiteX421" fmla="*/ 355282 w 2377439"/>
                  <a:gd name="connsiteY421" fmla="*/ 832485 h 1217199"/>
                  <a:gd name="connsiteX422" fmla="*/ 362903 w 2377439"/>
                  <a:gd name="connsiteY422" fmla="*/ 842867 h 1217199"/>
                  <a:gd name="connsiteX423" fmla="*/ 366713 w 2377439"/>
                  <a:gd name="connsiteY423" fmla="*/ 857155 h 1217199"/>
                  <a:gd name="connsiteX424" fmla="*/ 366713 w 2377439"/>
                  <a:gd name="connsiteY424" fmla="*/ 871442 h 1217199"/>
                  <a:gd name="connsiteX425" fmla="*/ 380048 w 2377439"/>
                  <a:gd name="connsiteY425" fmla="*/ 871442 h 1217199"/>
                  <a:gd name="connsiteX426" fmla="*/ 383857 w 2377439"/>
                  <a:gd name="connsiteY426" fmla="*/ 882015 h 1217199"/>
                  <a:gd name="connsiteX427" fmla="*/ 377190 w 2377439"/>
                  <a:gd name="connsiteY427" fmla="*/ 900017 h 1217199"/>
                  <a:gd name="connsiteX428" fmla="*/ 408623 w 2377439"/>
                  <a:gd name="connsiteY428" fmla="*/ 902875 h 1217199"/>
                  <a:gd name="connsiteX429" fmla="*/ 429578 w 2377439"/>
                  <a:gd name="connsiteY429" fmla="*/ 917162 h 1217199"/>
                  <a:gd name="connsiteX430" fmla="*/ 440055 w 2377439"/>
                  <a:gd name="connsiteY430" fmla="*/ 910590 h 1217199"/>
                  <a:gd name="connsiteX431" fmla="*/ 450532 w 2377439"/>
                  <a:gd name="connsiteY431" fmla="*/ 927735 h 1217199"/>
                  <a:gd name="connsiteX432" fmla="*/ 468630 w 2377439"/>
                  <a:gd name="connsiteY432" fmla="*/ 945737 h 1217199"/>
                  <a:gd name="connsiteX433" fmla="*/ 479107 w 2377439"/>
                  <a:gd name="connsiteY433" fmla="*/ 938117 h 1217199"/>
                  <a:gd name="connsiteX434" fmla="*/ 496253 w 2377439"/>
                  <a:gd name="connsiteY434" fmla="*/ 956310 h 1217199"/>
                  <a:gd name="connsiteX435" fmla="*/ 510540 w 2377439"/>
                  <a:gd name="connsiteY435" fmla="*/ 973455 h 1217199"/>
                  <a:gd name="connsiteX436" fmla="*/ 1267778 w 2377439"/>
                  <a:gd name="connsiteY436" fmla="*/ 973455 h 1217199"/>
                  <a:gd name="connsiteX437" fmla="*/ 1271587 w 2377439"/>
                  <a:gd name="connsiteY437" fmla="*/ 959167 h 1217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</a:cxnLst>
                <a:rect l="l" t="t" r="r" b="b"/>
                <a:pathLst>
                  <a:path w="2377439" h="1217199">
                    <a:moveTo>
                      <a:pt x="1271587" y="959167"/>
                    </a:moveTo>
                    <a:lnTo>
                      <a:pt x="1285875" y="959167"/>
                    </a:lnTo>
                    <a:lnTo>
                      <a:pt x="1288733" y="973455"/>
                    </a:lnTo>
                    <a:lnTo>
                      <a:pt x="1296353" y="980980"/>
                    </a:lnTo>
                    <a:lnTo>
                      <a:pt x="1317308" y="987742"/>
                    </a:lnTo>
                    <a:lnTo>
                      <a:pt x="1359218" y="994410"/>
                    </a:lnTo>
                    <a:lnTo>
                      <a:pt x="1383983" y="1002030"/>
                    </a:lnTo>
                    <a:lnTo>
                      <a:pt x="1404937" y="1005840"/>
                    </a:lnTo>
                    <a:lnTo>
                      <a:pt x="1415415" y="1005840"/>
                    </a:lnTo>
                    <a:lnTo>
                      <a:pt x="1425893" y="1008698"/>
                    </a:lnTo>
                    <a:lnTo>
                      <a:pt x="1440180" y="998125"/>
                    </a:lnTo>
                    <a:lnTo>
                      <a:pt x="1458278" y="987742"/>
                    </a:lnTo>
                    <a:lnTo>
                      <a:pt x="1472565" y="977265"/>
                    </a:lnTo>
                    <a:lnTo>
                      <a:pt x="1485900" y="977265"/>
                    </a:lnTo>
                    <a:lnTo>
                      <a:pt x="1503998" y="983837"/>
                    </a:lnTo>
                    <a:lnTo>
                      <a:pt x="1521143" y="983837"/>
                    </a:lnTo>
                    <a:lnTo>
                      <a:pt x="1531620" y="998125"/>
                    </a:lnTo>
                    <a:lnTo>
                      <a:pt x="1539240" y="1012412"/>
                    </a:lnTo>
                    <a:lnTo>
                      <a:pt x="1560195" y="1012412"/>
                    </a:lnTo>
                    <a:lnTo>
                      <a:pt x="1564005" y="1019080"/>
                    </a:lnTo>
                    <a:lnTo>
                      <a:pt x="1570673" y="1040987"/>
                    </a:lnTo>
                    <a:lnTo>
                      <a:pt x="1577340" y="1058228"/>
                    </a:lnTo>
                    <a:lnTo>
                      <a:pt x="1588770" y="1068705"/>
                    </a:lnTo>
                    <a:lnTo>
                      <a:pt x="1609725" y="1072515"/>
                    </a:lnTo>
                    <a:lnTo>
                      <a:pt x="1637348" y="1072515"/>
                    </a:lnTo>
                    <a:lnTo>
                      <a:pt x="1659255" y="1076230"/>
                    </a:lnTo>
                    <a:lnTo>
                      <a:pt x="1680210" y="1082992"/>
                    </a:lnTo>
                    <a:lnTo>
                      <a:pt x="1693545" y="1097280"/>
                    </a:lnTo>
                    <a:lnTo>
                      <a:pt x="1704975" y="1114330"/>
                    </a:lnTo>
                    <a:lnTo>
                      <a:pt x="1701165" y="1128617"/>
                    </a:lnTo>
                    <a:lnTo>
                      <a:pt x="1686878" y="1132523"/>
                    </a:lnTo>
                    <a:lnTo>
                      <a:pt x="1676400" y="1121950"/>
                    </a:lnTo>
                    <a:lnTo>
                      <a:pt x="1669733" y="1121950"/>
                    </a:lnTo>
                    <a:lnTo>
                      <a:pt x="1665923" y="1132523"/>
                    </a:lnTo>
                    <a:lnTo>
                      <a:pt x="1655445" y="1142905"/>
                    </a:lnTo>
                    <a:lnTo>
                      <a:pt x="1651635" y="1157192"/>
                    </a:lnTo>
                    <a:lnTo>
                      <a:pt x="1647825" y="1174337"/>
                    </a:lnTo>
                    <a:lnTo>
                      <a:pt x="1634490" y="1178242"/>
                    </a:lnTo>
                    <a:lnTo>
                      <a:pt x="1624012" y="1182053"/>
                    </a:lnTo>
                    <a:lnTo>
                      <a:pt x="1624012" y="1196340"/>
                    </a:lnTo>
                    <a:lnTo>
                      <a:pt x="1620203" y="1199198"/>
                    </a:lnTo>
                    <a:lnTo>
                      <a:pt x="1620203" y="1213485"/>
                    </a:lnTo>
                    <a:lnTo>
                      <a:pt x="1626870" y="1217200"/>
                    </a:lnTo>
                    <a:lnTo>
                      <a:pt x="1641158" y="1209580"/>
                    </a:lnTo>
                    <a:lnTo>
                      <a:pt x="1655445" y="1199198"/>
                    </a:lnTo>
                    <a:lnTo>
                      <a:pt x="1669733" y="1196340"/>
                    </a:lnTo>
                    <a:lnTo>
                      <a:pt x="1697355" y="1188625"/>
                    </a:lnTo>
                    <a:lnTo>
                      <a:pt x="1727835" y="1185767"/>
                    </a:lnTo>
                    <a:lnTo>
                      <a:pt x="1725930" y="1178242"/>
                    </a:lnTo>
                    <a:lnTo>
                      <a:pt x="1728788" y="1171480"/>
                    </a:lnTo>
                    <a:lnTo>
                      <a:pt x="1715452" y="1171480"/>
                    </a:lnTo>
                    <a:lnTo>
                      <a:pt x="1711642" y="1163955"/>
                    </a:lnTo>
                    <a:lnTo>
                      <a:pt x="1725930" y="1157192"/>
                    </a:lnTo>
                    <a:lnTo>
                      <a:pt x="1736408" y="1149667"/>
                    </a:lnTo>
                    <a:lnTo>
                      <a:pt x="1764030" y="1149667"/>
                    </a:lnTo>
                    <a:lnTo>
                      <a:pt x="1785938" y="1149667"/>
                    </a:lnTo>
                    <a:lnTo>
                      <a:pt x="1796415" y="1142905"/>
                    </a:lnTo>
                    <a:lnTo>
                      <a:pt x="1806892" y="1136237"/>
                    </a:lnTo>
                    <a:lnTo>
                      <a:pt x="1821180" y="1124903"/>
                    </a:lnTo>
                    <a:lnTo>
                      <a:pt x="1834515" y="1114330"/>
                    </a:lnTo>
                    <a:lnTo>
                      <a:pt x="1937385" y="1114330"/>
                    </a:lnTo>
                    <a:lnTo>
                      <a:pt x="1958340" y="1103948"/>
                    </a:lnTo>
                    <a:lnTo>
                      <a:pt x="1968817" y="1089660"/>
                    </a:lnTo>
                    <a:lnTo>
                      <a:pt x="1968817" y="1079087"/>
                    </a:lnTo>
                    <a:lnTo>
                      <a:pt x="1975485" y="1061942"/>
                    </a:lnTo>
                    <a:lnTo>
                      <a:pt x="1989773" y="1037273"/>
                    </a:lnTo>
                    <a:lnTo>
                      <a:pt x="2004060" y="1022985"/>
                    </a:lnTo>
                    <a:lnTo>
                      <a:pt x="2018348" y="1030605"/>
                    </a:lnTo>
                    <a:lnTo>
                      <a:pt x="2043113" y="1037273"/>
                    </a:lnTo>
                    <a:lnTo>
                      <a:pt x="2045970" y="1051560"/>
                    </a:lnTo>
                    <a:lnTo>
                      <a:pt x="2043113" y="1079087"/>
                    </a:lnTo>
                    <a:lnTo>
                      <a:pt x="2045970" y="1093375"/>
                    </a:lnTo>
                    <a:lnTo>
                      <a:pt x="2056448" y="1103948"/>
                    </a:lnTo>
                    <a:lnTo>
                      <a:pt x="2064067" y="1114330"/>
                    </a:lnTo>
                    <a:lnTo>
                      <a:pt x="2091690" y="1107662"/>
                    </a:lnTo>
                    <a:lnTo>
                      <a:pt x="2109788" y="1101090"/>
                    </a:lnTo>
                    <a:lnTo>
                      <a:pt x="2130743" y="1089660"/>
                    </a:lnTo>
                    <a:lnTo>
                      <a:pt x="2137410" y="1093375"/>
                    </a:lnTo>
                    <a:lnTo>
                      <a:pt x="2141220" y="1101090"/>
                    </a:lnTo>
                    <a:lnTo>
                      <a:pt x="2141220" y="1103948"/>
                    </a:lnTo>
                    <a:lnTo>
                      <a:pt x="2137410" y="1107662"/>
                    </a:lnTo>
                    <a:lnTo>
                      <a:pt x="2116455" y="1114330"/>
                    </a:lnTo>
                    <a:lnTo>
                      <a:pt x="2095500" y="1128617"/>
                    </a:lnTo>
                    <a:lnTo>
                      <a:pt x="2088833" y="1142905"/>
                    </a:lnTo>
                    <a:lnTo>
                      <a:pt x="2091690" y="1157192"/>
                    </a:lnTo>
                    <a:lnTo>
                      <a:pt x="2109788" y="1167765"/>
                    </a:lnTo>
                    <a:lnTo>
                      <a:pt x="2120265" y="1157192"/>
                    </a:lnTo>
                    <a:lnTo>
                      <a:pt x="2134552" y="1142905"/>
                    </a:lnTo>
                    <a:lnTo>
                      <a:pt x="2147888" y="1128617"/>
                    </a:lnTo>
                    <a:lnTo>
                      <a:pt x="2165985" y="1128617"/>
                    </a:lnTo>
                    <a:lnTo>
                      <a:pt x="2194560" y="1118235"/>
                    </a:lnTo>
                    <a:lnTo>
                      <a:pt x="2215515" y="1111567"/>
                    </a:lnTo>
                    <a:lnTo>
                      <a:pt x="2222183" y="1103948"/>
                    </a:lnTo>
                    <a:lnTo>
                      <a:pt x="2232660" y="1086803"/>
                    </a:lnTo>
                    <a:lnTo>
                      <a:pt x="2243138" y="1086803"/>
                    </a:lnTo>
                    <a:lnTo>
                      <a:pt x="2261235" y="1086803"/>
                    </a:lnTo>
                    <a:lnTo>
                      <a:pt x="2261235" y="1072515"/>
                    </a:lnTo>
                    <a:lnTo>
                      <a:pt x="2250758" y="1065848"/>
                    </a:lnTo>
                    <a:lnTo>
                      <a:pt x="2250758" y="1051560"/>
                    </a:lnTo>
                    <a:lnTo>
                      <a:pt x="2236470" y="1051560"/>
                    </a:lnTo>
                    <a:lnTo>
                      <a:pt x="2229802" y="1065848"/>
                    </a:lnTo>
                    <a:lnTo>
                      <a:pt x="2222183" y="1079087"/>
                    </a:lnTo>
                    <a:lnTo>
                      <a:pt x="2207895" y="1082992"/>
                    </a:lnTo>
                    <a:lnTo>
                      <a:pt x="2176463" y="1082992"/>
                    </a:lnTo>
                    <a:lnTo>
                      <a:pt x="2151698" y="1076230"/>
                    </a:lnTo>
                    <a:lnTo>
                      <a:pt x="2130743" y="1061942"/>
                    </a:lnTo>
                    <a:lnTo>
                      <a:pt x="2124075" y="1047655"/>
                    </a:lnTo>
                    <a:lnTo>
                      <a:pt x="2120265" y="1037273"/>
                    </a:lnTo>
                    <a:lnTo>
                      <a:pt x="2126933" y="1022985"/>
                    </a:lnTo>
                    <a:lnTo>
                      <a:pt x="2120265" y="1005840"/>
                    </a:lnTo>
                    <a:lnTo>
                      <a:pt x="2137410" y="1002030"/>
                    </a:lnTo>
                    <a:lnTo>
                      <a:pt x="2145030" y="991553"/>
                    </a:lnTo>
                    <a:lnTo>
                      <a:pt x="2137410" y="973455"/>
                    </a:lnTo>
                    <a:lnTo>
                      <a:pt x="2116455" y="966692"/>
                    </a:lnTo>
                    <a:lnTo>
                      <a:pt x="2085023" y="962978"/>
                    </a:lnTo>
                    <a:lnTo>
                      <a:pt x="2066925" y="970598"/>
                    </a:lnTo>
                    <a:lnTo>
                      <a:pt x="2056448" y="977265"/>
                    </a:lnTo>
                    <a:lnTo>
                      <a:pt x="2025015" y="991553"/>
                    </a:lnTo>
                    <a:lnTo>
                      <a:pt x="1996440" y="1008698"/>
                    </a:lnTo>
                    <a:lnTo>
                      <a:pt x="1972627" y="1037273"/>
                    </a:lnTo>
                    <a:lnTo>
                      <a:pt x="1965008" y="1040987"/>
                    </a:lnTo>
                    <a:lnTo>
                      <a:pt x="1954530" y="1047655"/>
                    </a:lnTo>
                    <a:lnTo>
                      <a:pt x="1954530" y="1043940"/>
                    </a:lnTo>
                    <a:lnTo>
                      <a:pt x="1958340" y="1040987"/>
                    </a:lnTo>
                    <a:lnTo>
                      <a:pt x="1961198" y="1033367"/>
                    </a:lnTo>
                    <a:lnTo>
                      <a:pt x="1985963" y="1005840"/>
                    </a:lnTo>
                    <a:lnTo>
                      <a:pt x="2004060" y="987742"/>
                    </a:lnTo>
                    <a:lnTo>
                      <a:pt x="2028825" y="966692"/>
                    </a:lnTo>
                    <a:lnTo>
                      <a:pt x="2053590" y="959167"/>
                    </a:lnTo>
                    <a:lnTo>
                      <a:pt x="2066925" y="938117"/>
                    </a:lnTo>
                    <a:lnTo>
                      <a:pt x="2095500" y="927735"/>
                    </a:lnTo>
                    <a:lnTo>
                      <a:pt x="2145030" y="923830"/>
                    </a:lnTo>
                    <a:lnTo>
                      <a:pt x="2180273" y="923830"/>
                    </a:lnTo>
                    <a:lnTo>
                      <a:pt x="2225993" y="931450"/>
                    </a:lnTo>
                    <a:lnTo>
                      <a:pt x="2264093" y="923830"/>
                    </a:lnTo>
                    <a:lnTo>
                      <a:pt x="2292668" y="902875"/>
                    </a:lnTo>
                    <a:lnTo>
                      <a:pt x="2306955" y="885730"/>
                    </a:lnTo>
                    <a:lnTo>
                      <a:pt x="2342198" y="885730"/>
                    </a:lnTo>
                    <a:lnTo>
                      <a:pt x="2359343" y="875348"/>
                    </a:lnTo>
                    <a:lnTo>
                      <a:pt x="2373630" y="861060"/>
                    </a:lnTo>
                    <a:lnTo>
                      <a:pt x="2377440" y="836200"/>
                    </a:lnTo>
                    <a:lnTo>
                      <a:pt x="2373630" y="807625"/>
                    </a:lnTo>
                    <a:lnTo>
                      <a:pt x="2352675" y="797242"/>
                    </a:lnTo>
                    <a:lnTo>
                      <a:pt x="2342198" y="797242"/>
                    </a:lnTo>
                    <a:lnTo>
                      <a:pt x="2338388" y="797242"/>
                    </a:lnTo>
                    <a:lnTo>
                      <a:pt x="2331720" y="780098"/>
                    </a:lnTo>
                    <a:lnTo>
                      <a:pt x="2313623" y="782955"/>
                    </a:lnTo>
                    <a:lnTo>
                      <a:pt x="2288858" y="793337"/>
                    </a:lnTo>
                    <a:lnTo>
                      <a:pt x="2261235" y="807625"/>
                    </a:lnTo>
                    <a:lnTo>
                      <a:pt x="2257425" y="807625"/>
                    </a:lnTo>
                    <a:lnTo>
                      <a:pt x="2257425" y="804767"/>
                    </a:lnTo>
                    <a:lnTo>
                      <a:pt x="2253615" y="801053"/>
                    </a:lnTo>
                    <a:lnTo>
                      <a:pt x="2275523" y="790480"/>
                    </a:lnTo>
                    <a:lnTo>
                      <a:pt x="2288858" y="782955"/>
                    </a:lnTo>
                    <a:lnTo>
                      <a:pt x="2313623" y="772478"/>
                    </a:lnTo>
                    <a:lnTo>
                      <a:pt x="2321243" y="758190"/>
                    </a:lnTo>
                    <a:lnTo>
                      <a:pt x="2306955" y="758190"/>
                    </a:lnTo>
                    <a:lnTo>
                      <a:pt x="2286000" y="751523"/>
                    </a:lnTo>
                    <a:lnTo>
                      <a:pt x="2261235" y="744855"/>
                    </a:lnTo>
                    <a:lnTo>
                      <a:pt x="2243138" y="737235"/>
                    </a:lnTo>
                    <a:lnTo>
                      <a:pt x="2243138" y="726662"/>
                    </a:lnTo>
                    <a:lnTo>
                      <a:pt x="2240280" y="720090"/>
                    </a:lnTo>
                    <a:lnTo>
                      <a:pt x="2211705" y="701992"/>
                    </a:lnTo>
                    <a:lnTo>
                      <a:pt x="2207895" y="687705"/>
                    </a:lnTo>
                    <a:lnTo>
                      <a:pt x="2218373" y="677228"/>
                    </a:lnTo>
                    <a:lnTo>
                      <a:pt x="2211705" y="656273"/>
                    </a:lnTo>
                    <a:lnTo>
                      <a:pt x="2207895" y="635317"/>
                    </a:lnTo>
                    <a:lnTo>
                      <a:pt x="2190750" y="624840"/>
                    </a:lnTo>
                    <a:lnTo>
                      <a:pt x="2186940" y="610553"/>
                    </a:lnTo>
                    <a:lnTo>
                      <a:pt x="2162175" y="579025"/>
                    </a:lnTo>
                    <a:lnTo>
                      <a:pt x="2145030" y="550450"/>
                    </a:lnTo>
                    <a:lnTo>
                      <a:pt x="2130743" y="529590"/>
                    </a:lnTo>
                    <a:lnTo>
                      <a:pt x="2120265" y="540067"/>
                    </a:lnTo>
                    <a:lnTo>
                      <a:pt x="2105977" y="557117"/>
                    </a:lnTo>
                    <a:lnTo>
                      <a:pt x="2105977" y="579025"/>
                    </a:lnTo>
                    <a:lnTo>
                      <a:pt x="2081213" y="599980"/>
                    </a:lnTo>
                    <a:lnTo>
                      <a:pt x="2056448" y="621030"/>
                    </a:lnTo>
                    <a:lnTo>
                      <a:pt x="2035492" y="610553"/>
                    </a:lnTo>
                    <a:lnTo>
                      <a:pt x="2021205" y="596265"/>
                    </a:lnTo>
                    <a:lnTo>
                      <a:pt x="2000250" y="592455"/>
                    </a:lnTo>
                    <a:lnTo>
                      <a:pt x="2000250" y="579025"/>
                    </a:lnTo>
                    <a:lnTo>
                      <a:pt x="1989773" y="554355"/>
                    </a:lnTo>
                    <a:lnTo>
                      <a:pt x="1989773" y="529590"/>
                    </a:lnTo>
                    <a:lnTo>
                      <a:pt x="1996440" y="511492"/>
                    </a:lnTo>
                    <a:lnTo>
                      <a:pt x="1958340" y="504730"/>
                    </a:lnTo>
                    <a:lnTo>
                      <a:pt x="1933575" y="490442"/>
                    </a:lnTo>
                    <a:lnTo>
                      <a:pt x="1919288" y="469487"/>
                    </a:lnTo>
                    <a:lnTo>
                      <a:pt x="1894523" y="451485"/>
                    </a:lnTo>
                    <a:lnTo>
                      <a:pt x="1873567" y="438055"/>
                    </a:lnTo>
                    <a:lnTo>
                      <a:pt x="1863090" y="451485"/>
                    </a:lnTo>
                    <a:lnTo>
                      <a:pt x="1838325" y="455200"/>
                    </a:lnTo>
                    <a:lnTo>
                      <a:pt x="1821180" y="451485"/>
                    </a:lnTo>
                    <a:lnTo>
                      <a:pt x="1792605" y="440912"/>
                    </a:lnTo>
                    <a:lnTo>
                      <a:pt x="1761173" y="440912"/>
                    </a:lnTo>
                    <a:lnTo>
                      <a:pt x="1753552" y="465772"/>
                    </a:lnTo>
                    <a:lnTo>
                      <a:pt x="1771650" y="483775"/>
                    </a:lnTo>
                    <a:lnTo>
                      <a:pt x="1764030" y="515303"/>
                    </a:lnTo>
                    <a:lnTo>
                      <a:pt x="1767840" y="536162"/>
                    </a:lnTo>
                    <a:lnTo>
                      <a:pt x="1771650" y="557117"/>
                    </a:lnTo>
                    <a:lnTo>
                      <a:pt x="1753552" y="579025"/>
                    </a:lnTo>
                    <a:lnTo>
                      <a:pt x="1743075" y="589598"/>
                    </a:lnTo>
                    <a:lnTo>
                      <a:pt x="1740217" y="599980"/>
                    </a:lnTo>
                    <a:lnTo>
                      <a:pt x="1757363" y="610553"/>
                    </a:lnTo>
                    <a:lnTo>
                      <a:pt x="1778317" y="624840"/>
                    </a:lnTo>
                    <a:lnTo>
                      <a:pt x="1796415" y="656273"/>
                    </a:lnTo>
                    <a:lnTo>
                      <a:pt x="1799273" y="695230"/>
                    </a:lnTo>
                    <a:lnTo>
                      <a:pt x="1782127" y="716280"/>
                    </a:lnTo>
                    <a:lnTo>
                      <a:pt x="1764030" y="737235"/>
                    </a:lnTo>
                    <a:lnTo>
                      <a:pt x="1725930" y="747617"/>
                    </a:lnTo>
                    <a:lnTo>
                      <a:pt x="1711642" y="755237"/>
                    </a:lnTo>
                    <a:lnTo>
                      <a:pt x="1725930" y="790480"/>
                    </a:lnTo>
                    <a:lnTo>
                      <a:pt x="1732598" y="815340"/>
                    </a:lnTo>
                    <a:lnTo>
                      <a:pt x="1743075" y="850487"/>
                    </a:lnTo>
                    <a:lnTo>
                      <a:pt x="1740217" y="864775"/>
                    </a:lnTo>
                    <a:lnTo>
                      <a:pt x="1732598" y="878205"/>
                    </a:lnTo>
                    <a:lnTo>
                      <a:pt x="1707833" y="892492"/>
                    </a:lnTo>
                    <a:lnTo>
                      <a:pt x="1693545" y="885730"/>
                    </a:lnTo>
                    <a:lnTo>
                      <a:pt x="1683068" y="878205"/>
                    </a:lnTo>
                    <a:lnTo>
                      <a:pt x="1662112" y="853440"/>
                    </a:lnTo>
                    <a:lnTo>
                      <a:pt x="1641158" y="828580"/>
                    </a:lnTo>
                    <a:lnTo>
                      <a:pt x="1641158" y="815340"/>
                    </a:lnTo>
                    <a:lnTo>
                      <a:pt x="1641158" y="804767"/>
                    </a:lnTo>
                    <a:lnTo>
                      <a:pt x="1641158" y="780098"/>
                    </a:lnTo>
                    <a:lnTo>
                      <a:pt x="1634490" y="740950"/>
                    </a:lnTo>
                    <a:lnTo>
                      <a:pt x="1612583" y="740950"/>
                    </a:lnTo>
                    <a:lnTo>
                      <a:pt x="1591628" y="737235"/>
                    </a:lnTo>
                    <a:lnTo>
                      <a:pt x="1577340" y="734378"/>
                    </a:lnTo>
                    <a:lnTo>
                      <a:pt x="1560195" y="734378"/>
                    </a:lnTo>
                    <a:lnTo>
                      <a:pt x="1521143" y="720090"/>
                    </a:lnTo>
                    <a:lnTo>
                      <a:pt x="1489710" y="701992"/>
                    </a:lnTo>
                    <a:lnTo>
                      <a:pt x="1461135" y="674275"/>
                    </a:lnTo>
                    <a:lnTo>
                      <a:pt x="1433512" y="670560"/>
                    </a:lnTo>
                    <a:lnTo>
                      <a:pt x="1408748" y="659987"/>
                    </a:lnTo>
                    <a:lnTo>
                      <a:pt x="1377315" y="659987"/>
                    </a:lnTo>
                    <a:lnTo>
                      <a:pt x="1352550" y="666655"/>
                    </a:lnTo>
                    <a:lnTo>
                      <a:pt x="1338262" y="621030"/>
                    </a:lnTo>
                    <a:lnTo>
                      <a:pt x="1331595" y="606742"/>
                    </a:lnTo>
                    <a:lnTo>
                      <a:pt x="1317308" y="603885"/>
                    </a:lnTo>
                    <a:lnTo>
                      <a:pt x="1299210" y="603885"/>
                    </a:lnTo>
                    <a:lnTo>
                      <a:pt x="1296353" y="592455"/>
                    </a:lnTo>
                    <a:lnTo>
                      <a:pt x="1292543" y="585692"/>
                    </a:lnTo>
                    <a:lnTo>
                      <a:pt x="1303020" y="511492"/>
                    </a:lnTo>
                    <a:lnTo>
                      <a:pt x="1334453" y="459105"/>
                    </a:lnTo>
                    <a:lnTo>
                      <a:pt x="1369695" y="426625"/>
                    </a:lnTo>
                    <a:lnTo>
                      <a:pt x="1402080" y="420053"/>
                    </a:lnTo>
                    <a:lnTo>
                      <a:pt x="1398270" y="402812"/>
                    </a:lnTo>
                    <a:lnTo>
                      <a:pt x="1369695" y="391478"/>
                    </a:lnTo>
                    <a:lnTo>
                      <a:pt x="1359218" y="380905"/>
                    </a:lnTo>
                    <a:lnTo>
                      <a:pt x="1380173" y="388525"/>
                    </a:lnTo>
                    <a:lnTo>
                      <a:pt x="1415415" y="384810"/>
                    </a:lnTo>
                    <a:lnTo>
                      <a:pt x="1415415" y="367665"/>
                    </a:lnTo>
                    <a:lnTo>
                      <a:pt x="1429703" y="374237"/>
                    </a:lnTo>
                    <a:lnTo>
                      <a:pt x="1443990" y="374237"/>
                    </a:lnTo>
                    <a:lnTo>
                      <a:pt x="1461135" y="370522"/>
                    </a:lnTo>
                    <a:lnTo>
                      <a:pt x="1479233" y="359950"/>
                    </a:lnTo>
                    <a:lnTo>
                      <a:pt x="1493520" y="339090"/>
                    </a:lnTo>
                    <a:lnTo>
                      <a:pt x="1503998" y="320992"/>
                    </a:lnTo>
                    <a:lnTo>
                      <a:pt x="1483043" y="320992"/>
                    </a:lnTo>
                    <a:lnTo>
                      <a:pt x="1468755" y="318135"/>
                    </a:lnTo>
                    <a:lnTo>
                      <a:pt x="1447800" y="314230"/>
                    </a:lnTo>
                    <a:lnTo>
                      <a:pt x="1437323" y="303847"/>
                    </a:lnTo>
                    <a:lnTo>
                      <a:pt x="1429703" y="289560"/>
                    </a:lnTo>
                    <a:lnTo>
                      <a:pt x="1447800" y="293275"/>
                    </a:lnTo>
                    <a:lnTo>
                      <a:pt x="1468755" y="307562"/>
                    </a:lnTo>
                    <a:lnTo>
                      <a:pt x="1489710" y="310515"/>
                    </a:lnTo>
                    <a:lnTo>
                      <a:pt x="1507808" y="307562"/>
                    </a:lnTo>
                    <a:lnTo>
                      <a:pt x="1521143" y="293275"/>
                    </a:lnTo>
                    <a:lnTo>
                      <a:pt x="1531620" y="275272"/>
                    </a:lnTo>
                    <a:lnTo>
                      <a:pt x="1521143" y="264700"/>
                    </a:lnTo>
                    <a:lnTo>
                      <a:pt x="1528762" y="254317"/>
                    </a:lnTo>
                    <a:lnTo>
                      <a:pt x="1545908" y="254317"/>
                    </a:lnTo>
                    <a:lnTo>
                      <a:pt x="1566862" y="275272"/>
                    </a:lnTo>
                    <a:lnTo>
                      <a:pt x="1581150" y="268605"/>
                    </a:lnTo>
                    <a:lnTo>
                      <a:pt x="1588770" y="254317"/>
                    </a:lnTo>
                    <a:lnTo>
                      <a:pt x="1612583" y="268605"/>
                    </a:lnTo>
                    <a:lnTo>
                      <a:pt x="1630680" y="258127"/>
                    </a:lnTo>
                    <a:lnTo>
                      <a:pt x="1651635" y="240030"/>
                    </a:lnTo>
                    <a:lnTo>
                      <a:pt x="1665923" y="222885"/>
                    </a:lnTo>
                    <a:lnTo>
                      <a:pt x="1655445" y="201835"/>
                    </a:lnTo>
                    <a:lnTo>
                      <a:pt x="1644968" y="187547"/>
                    </a:lnTo>
                    <a:lnTo>
                      <a:pt x="1641158" y="169450"/>
                    </a:lnTo>
                    <a:lnTo>
                      <a:pt x="1655445" y="165735"/>
                    </a:lnTo>
                    <a:lnTo>
                      <a:pt x="1665923" y="158972"/>
                    </a:lnTo>
                    <a:lnTo>
                      <a:pt x="1647825" y="134302"/>
                    </a:lnTo>
                    <a:lnTo>
                      <a:pt x="1624012" y="117062"/>
                    </a:lnTo>
                    <a:lnTo>
                      <a:pt x="1584960" y="102775"/>
                    </a:lnTo>
                    <a:lnTo>
                      <a:pt x="1553528" y="99060"/>
                    </a:lnTo>
                    <a:lnTo>
                      <a:pt x="1549718" y="109538"/>
                    </a:lnTo>
                    <a:lnTo>
                      <a:pt x="1560195" y="130397"/>
                    </a:lnTo>
                    <a:lnTo>
                      <a:pt x="1564005" y="144685"/>
                    </a:lnTo>
                    <a:lnTo>
                      <a:pt x="1543050" y="158972"/>
                    </a:lnTo>
                    <a:lnTo>
                      <a:pt x="1539240" y="187547"/>
                    </a:lnTo>
                    <a:lnTo>
                      <a:pt x="1524953" y="212312"/>
                    </a:lnTo>
                    <a:lnTo>
                      <a:pt x="1510665" y="222885"/>
                    </a:lnTo>
                    <a:lnTo>
                      <a:pt x="1485900" y="212312"/>
                    </a:lnTo>
                    <a:lnTo>
                      <a:pt x="1468755" y="198025"/>
                    </a:lnTo>
                    <a:lnTo>
                      <a:pt x="1472565" y="177165"/>
                    </a:lnTo>
                    <a:lnTo>
                      <a:pt x="1483043" y="158972"/>
                    </a:lnTo>
                    <a:lnTo>
                      <a:pt x="1464945" y="138113"/>
                    </a:lnTo>
                    <a:lnTo>
                      <a:pt x="1443990" y="130397"/>
                    </a:lnTo>
                    <a:lnTo>
                      <a:pt x="1433512" y="144685"/>
                    </a:lnTo>
                    <a:lnTo>
                      <a:pt x="1443990" y="162877"/>
                    </a:lnTo>
                    <a:lnTo>
                      <a:pt x="1429703" y="173260"/>
                    </a:lnTo>
                    <a:lnTo>
                      <a:pt x="1412558" y="165735"/>
                    </a:lnTo>
                    <a:lnTo>
                      <a:pt x="1402080" y="141922"/>
                    </a:lnTo>
                    <a:lnTo>
                      <a:pt x="1398270" y="113347"/>
                    </a:lnTo>
                    <a:lnTo>
                      <a:pt x="1383983" y="109538"/>
                    </a:lnTo>
                    <a:lnTo>
                      <a:pt x="1363028" y="113347"/>
                    </a:lnTo>
                    <a:lnTo>
                      <a:pt x="1356360" y="95250"/>
                    </a:lnTo>
                    <a:lnTo>
                      <a:pt x="1366837" y="84772"/>
                    </a:lnTo>
                    <a:lnTo>
                      <a:pt x="1363028" y="71438"/>
                    </a:lnTo>
                    <a:lnTo>
                      <a:pt x="1344930" y="46672"/>
                    </a:lnTo>
                    <a:lnTo>
                      <a:pt x="1342073" y="36100"/>
                    </a:lnTo>
                    <a:lnTo>
                      <a:pt x="1321118" y="7525"/>
                    </a:lnTo>
                    <a:lnTo>
                      <a:pt x="1288733" y="0"/>
                    </a:lnTo>
                    <a:lnTo>
                      <a:pt x="1271587" y="7525"/>
                    </a:lnTo>
                    <a:lnTo>
                      <a:pt x="1263968" y="21812"/>
                    </a:lnTo>
                    <a:lnTo>
                      <a:pt x="1246823" y="21812"/>
                    </a:lnTo>
                    <a:lnTo>
                      <a:pt x="1240155" y="46672"/>
                    </a:lnTo>
                    <a:lnTo>
                      <a:pt x="1253490" y="57150"/>
                    </a:lnTo>
                    <a:lnTo>
                      <a:pt x="1240155" y="78010"/>
                    </a:lnTo>
                    <a:lnTo>
                      <a:pt x="1246823" y="92297"/>
                    </a:lnTo>
                    <a:lnTo>
                      <a:pt x="1271587" y="106585"/>
                    </a:lnTo>
                    <a:lnTo>
                      <a:pt x="1303020" y="113347"/>
                    </a:lnTo>
                    <a:lnTo>
                      <a:pt x="1321118" y="138113"/>
                    </a:lnTo>
                    <a:lnTo>
                      <a:pt x="1323975" y="158972"/>
                    </a:lnTo>
                    <a:lnTo>
                      <a:pt x="1306830" y="180022"/>
                    </a:lnTo>
                    <a:lnTo>
                      <a:pt x="1271587" y="190500"/>
                    </a:lnTo>
                    <a:lnTo>
                      <a:pt x="1274445" y="212312"/>
                    </a:lnTo>
                    <a:lnTo>
                      <a:pt x="1274445" y="237172"/>
                    </a:lnTo>
                    <a:lnTo>
                      <a:pt x="1261110" y="237172"/>
                    </a:lnTo>
                    <a:lnTo>
                      <a:pt x="1250633" y="222885"/>
                    </a:lnTo>
                    <a:lnTo>
                      <a:pt x="1240155" y="204788"/>
                    </a:lnTo>
                    <a:lnTo>
                      <a:pt x="1246823" y="198025"/>
                    </a:lnTo>
                    <a:lnTo>
                      <a:pt x="1225868" y="177165"/>
                    </a:lnTo>
                    <a:lnTo>
                      <a:pt x="1204912" y="169450"/>
                    </a:lnTo>
                    <a:lnTo>
                      <a:pt x="1193483" y="173260"/>
                    </a:lnTo>
                    <a:lnTo>
                      <a:pt x="1190625" y="187547"/>
                    </a:lnTo>
                    <a:lnTo>
                      <a:pt x="1211580" y="190500"/>
                    </a:lnTo>
                    <a:lnTo>
                      <a:pt x="1222058" y="198025"/>
                    </a:lnTo>
                    <a:lnTo>
                      <a:pt x="1211580" y="208597"/>
                    </a:lnTo>
                    <a:lnTo>
                      <a:pt x="1176337" y="204788"/>
                    </a:lnTo>
                    <a:lnTo>
                      <a:pt x="1137285" y="204788"/>
                    </a:lnTo>
                    <a:lnTo>
                      <a:pt x="1095375" y="204788"/>
                    </a:lnTo>
                    <a:lnTo>
                      <a:pt x="1056323" y="198025"/>
                    </a:lnTo>
                    <a:lnTo>
                      <a:pt x="1018223" y="183737"/>
                    </a:lnTo>
                    <a:lnTo>
                      <a:pt x="985837" y="165735"/>
                    </a:lnTo>
                    <a:lnTo>
                      <a:pt x="943928" y="183737"/>
                    </a:lnTo>
                    <a:lnTo>
                      <a:pt x="925830" y="194310"/>
                    </a:lnTo>
                    <a:lnTo>
                      <a:pt x="933450" y="212312"/>
                    </a:lnTo>
                    <a:lnTo>
                      <a:pt x="940118" y="243840"/>
                    </a:lnTo>
                    <a:lnTo>
                      <a:pt x="929640" y="250412"/>
                    </a:lnTo>
                    <a:lnTo>
                      <a:pt x="915353" y="229552"/>
                    </a:lnTo>
                    <a:lnTo>
                      <a:pt x="887730" y="212312"/>
                    </a:lnTo>
                    <a:lnTo>
                      <a:pt x="856298" y="194310"/>
                    </a:lnTo>
                    <a:lnTo>
                      <a:pt x="842010" y="201835"/>
                    </a:lnTo>
                    <a:lnTo>
                      <a:pt x="802957" y="204788"/>
                    </a:lnTo>
                    <a:lnTo>
                      <a:pt x="750570" y="208597"/>
                    </a:lnTo>
                    <a:lnTo>
                      <a:pt x="721995" y="194310"/>
                    </a:lnTo>
                    <a:lnTo>
                      <a:pt x="725805" y="180022"/>
                    </a:lnTo>
                    <a:lnTo>
                      <a:pt x="746760" y="177165"/>
                    </a:lnTo>
                    <a:lnTo>
                      <a:pt x="742950" y="162877"/>
                    </a:lnTo>
                    <a:lnTo>
                      <a:pt x="711518" y="148590"/>
                    </a:lnTo>
                    <a:lnTo>
                      <a:pt x="672465" y="144685"/>
                    </a:lnTo>
                    <a:lnTo>
                      <a:pt x="620078" y="127635"/>
                    </a:lnTo>
                    <a:lnTo>
                      <a:pt x="577215" y="117062"/>
                    </a:lnTo>
                    <a:lnTo>
                      <a:pt x="531495" y="99060"/>
                    </a:lnTo>
                    <a:lnTo>
                      <a:pt x="496253" y="109538"/>
                    </a:lnTo>
                    <a:lnTo>
                      <a:pt x="475298" y="123825"/>
                    </a:lnTo>
                    <a:lnTo>
                      <a:pt x="461010" y="92297"/>
                    </a:lnTo>
                    <a:lnTo>
                      <a:pt x="450532" y="88487"/>
                    </a:lnTo>
                    <a:lnTo>
                      <a:pt x="429578" y="117062"/>
                    </a:lnTo>
                    <a:lnTo>
                      <a:pt x="404813" y="113347"/>
                    </a:lnTo>
                    <a:lnTo>
                      <a:pt x="383857" y="81915"/>
                    </a:lnTo>
                    <a:lnTo>
                      <a:pt x="366713" y="67627"/>
                    </a:lnTo>
                    <a:lnTo>
                      <a:pt x="338138" y="102775"/>
                    </a:lnTo>
                    <a:lnTo>
                      <a:pt x="317182" y="99060"/>
                    </a:lnTo>
                    <a:lnTo>
                      <a:pt x="313373" y="84772"/>
                    </a:lnTo>
                    <a:lnTo>
                      <a:pt x="285750" y="84772"/>
                    </a:lnTo>
                    <a:lnTo>
                      <a:pt x="242888" y="106585"/>
                    </a:lnTo>
                    <a:lnTo>
                      <a:pt x="203835" y="127635"/>
                    </a:lnTo>
                    <a:lnTo>
                      <a:pt x="193357" y="120015"/>
                    </a:lnTo>
                    <a:lnTo>
                      <a:pt x="176213" y="109538"/>
                    </a:lnTo>
                    <a:lnTo>
                      <a:pt x="144780" y="127635"/>
                    </a:lnTo>
                    <a:lnTo>
                      <a:pt x="147638" y="152400"/>
                    </a:lnTo>
                    <a:lnTo>
                      <a:pt x="84773" y="134302"/>
                    </a:lnTo>
                    <a:lnTo>
                      <a:pt x="31432" y="113347"/>
                    </a:lnTo>
                    <a:lnTo>
                      <a:pt x="0" y="109538"/>
                    </a:lnTo>
                    <a:lnTo>
                      <a:pt x="0" y="533305"/>
                    </a:lnTo>
                    <a:lnTo>
                      <a:pt x="18098" y="540067"/>
                    </a:lnTo>
                    <a:lnTo>
                      <a:pt x="31432" y="533305"/>
                    </a:lnTo>
                    <a:lnTo>
                      <a:pt x="45720" y="529590"/>
                    </a:lnTo>
                    <a:lnTo>
                      <a:pt x="60007" y="546735"/>
                    </a:lnTo>
                    <a:lnTo>
                      <a:pt x="87630" y="568642"/>
                    </a:lnTo>
                    <a:lnTo>
                      <a:pt x="101917" y="581978"/>
                    </a:lnTo>
                    <a:lnTo>
                      <a:pt x="120015" y="579025"/>
                    </a:lnTo>
                    <a:lnTo>
                      <a:pt x="122873" y="568642"/>
                    </a:lnTo>
                    <a:lnTo>
                      <a:pt x="137160" y="561023"/>
                    </a:lnTo>
                    <a:lnTo>
                      <a:pt x="155257" y="554355"/>
                    </a:lnTo>
                    <a:lnTo>
                      <a:pt x="176213" y="575310"/>
                    </a:lnTo>
                    <a:lnTo>
                      <a:pt x="193357" y="592455"/>
                    </a:lnTo>
                    <a:lnTo>
                      <a:pt x="221932" y="621030"/>
                    </a:lnTo>
                    <a:lnTo>
                      <a:pt x="239077" y="656273"/>
                    </a:lnTo>
                    <a:lnTo>
                      <a:pt x="257175" y="677228"/>
                    </a:lnTo>
                    <a:lnTo>
                      <a:pt x="263842" y="680942"/>
                    </a:lnTo>
                    <a:lnTo>
                      <a:pt x="278130" y="691515"/>
                    </a:lnTo>
                    <a:lnTo>
                      <a:pt x="302895" y="705803"/>
                    </a:lnTo>
                    <a:lnTo>
                      <a:pt x="306705" y="720090"/>
                    </a:lnTo>
                    <a:lnTo>
                      <a:pt x="313373" y="722948"/>
                    </a:lnTo>
                    <a:lnTo>
                      <a:pt x="317182" y="740950"/>
                    </a:lnTo>
                    <a:lnTo>
                      <a:pt x="306705" y="761905"/>
                    </a:lnTo>
                    <a:lnTo>
                      <a:pt x="306705" y="772478"/>
                    </a:lnTo>
                    <a:lnTo>
                      <a:pt x="302895" y="786765"/>
                    </a:lnTo>
                    <a:lnTo>
                      <a:pt x="302895" y="807625"/>
                    </a:lnTo>
                    <a:lnTo>
                      <a:pt x="317182" y="807625"/>
                    </a:lnTo>
                    <a:lnTo>
                      <a:pt x="331470" y="797242"/>
                    </a:lnTo>
                    <a:lnTo>
                      <a:pt x="341948" y="790480"/>
                    </a:lnTo>
                    <a:lnTo>
                      <a:pt x="344805" y="804767"/>
                    </a:lnTo>
                    <a:lnTo>
                      <a:pt x="334328" y="821912"/>
                    </a:lnTo>
                    <a:lnTo>
                      <a:pt x="331470" y="836200"/>
                    </a:lnTo>
                    <a:lnTo>
                      <a:pt x="344805" y="828580"/>
                    </a:lnTo>
                    <a:lnTo>
                      <a:pt x="355282" y="832485"/>
                    </a:lnTo>
                    <a:lnTo>
                      <a:pt x="362903" y="842867"/>
                    </a:lnTo>
                    <a:lnTo>
                      <a:pt x="366713" y="857155"/>
                    </a:lnTo>
                    <a:lnTo>
                      <a:pt x="366713" y="871442"/>
                    </a:lnTo>
                    <a:lnTo>
                      <a:pt x="380048" y="871442"/>
                    </a:lnTo>
                    <a:lnTo>
                      <a:pt x="383857" y="882015"/>
                    </a:lnTo>
                    <a:lnTo>
                      <a:pt x="377190" y="900017"/>
                    </a:lnTo>
                    <a:lnTo>
                      <a:pt x="408623" y="902875"/>
                    </a:lnTo>
                    <a:lnTo>
                      <a:pt x="429578" y="917162"/>
                    </a:lnTo>
                    <a:lnTo>
                      <a:pt x="440055" y="910590"/>
                    </a:lnTo>
                    <a:lnTo>
                      <a:pt x="450532" y="927735"/>
                    </a:lnTo>
                    <a:lnTo>
                      <a:pt x="468630" y="945737"/>
                    </a:lnTo>
                    <a:lnTo>
                      <a:pt x="479107" y="938117"/>
                    </a:lnTo>
                    <a:lnTo>
                      <a:pt x="496253" y="956310"/>
                    </a:lnTo>
                    <a:lnTo>
                      <a:pt x="510540" y="973455"/>
                    </a:lnTo>
                    <a:lnTo>
                      <a:pt x="1267778" y="973455"/>
                    </a:lnTo>
                    <a:lnTo>
                      <a:pt x="1271587" y="95916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0" name="Freeform: Shape 399">
                <a:extLst>
                  <a:ext uri="{FF2B5EF4-FFF2-40B4-BE49-F238E27FC236}">
                    <a16:creationId xmlns:a16="http://schemas.microsoft.com/office/drawing/2014/main" id="{3A2B690E-8A06-64AC-86A6-302EB8F484EF}"/>
                  </a:ext>
                </a:extLst>
              </p:cNvPr>
              <p:cNvSpPr/>
              <p:nvPr/>
            </p:nvSpPr>
            <p:spPr>
              <a:xfrm>
                <a:off x="2585758" y="3071243"/>
                <a:ext cx="1574258" cy="774998"/>
              </a:xfrm>
              <a:custGeom>
                <a:avLst/>
                <a:gdLst>
                  <a:gd name="connsiteX0" fmla="*/ 1400175 w 1605914"/>
                  <a:gd name="connsiteY0" fmla="*/ 308610 h 790575"/>
                  <a:gd name="connsiteX1" fmla="*/ 1415415 w 1605914"/>
                  <a:gd name="connsiteY1" fmla="*/ 293275 h 790575"/>
                  <a:gd name="connsiteX2" fmla="*/ 1446848 w 1605914"/>
                  <a:gd name="connsiteY2" fmla="*/ 285750 h 790575"/>
                  <a:gd name="connsiteX3" fmla="*/ 1475423 w 1605914"/>
                  <a:gd name="connsiteY3" fmla="*/ 278987 h 790575"/>
                  <a:gd name="connsiteX4" fmla="*/ 1492568 w 1605914"/>
                  <a:gd name="connsiteY4" fmla="*/ 272320 h 790575"/>
                  <a:gd name="connsiteX5" fmla="*/ 1503045 w 1605914"/>
                  <a:gd name="connsiteY5" fmla="*/ 272320 h 790575"/>
                  <a:gd name="connsiteX6" fmla="*/ 1517333 w 1605914"/>
                  <a:gd name="connsiteY6" fmla="*/ 260985 h 790575"/>
                  <a:gd name="connsiteX7" fmla="*/ 1503045 w 1605914"/>
                  <a:gd name="connsiteY7" fmla="*/ 258032 h 790575"/>
                  <a:gd name="connsiteX8" fmla="*/ 1496377 w 1605914"/>
                  <a:gd name="connsiteY8" fmla="*/ 250412 h 790575"/>
                  <a:gd name="connsiteX9" fmla="*/ 1496377 w 1605914"/>
                  <a:gd name="connsiteY9" fmla="*/ 237173 h 790575"/>
                  <a:gd name="connsiteX10" fmla="*/ 1510665 w 1605914"/>
                  <a:gd name="connsiteY10" fmla="*/ 219075 h 790575"/>
                  <a:gd name="connsiteX11" fmla="*/ 1521143 w 1605914"/>
                  <a:gd name="connsiteY11" fmla="*/ 194310 h 790575"/>
                  <a:gd name="connsiteX12" fmla="*/ 1538287 w 1605914"/>
                  <a:gd name="connsiteY12" fmla="*/ 183737 h 790575"/>
                  <a:gd name="connsiteX13" fmla="*/ 1556385 w 1605914"/>
                  <a:gd name="connsiteY13" fmla="*/ 173355 h 790575"/>
                  <a:gd name="connsiteX14" fmla="*/ 1577340 w 1605914"/>
                  <a:gd name="connsiteY14" fmla="*/ 169450 h 790575"/>
                  <a:gd name="connsiteX15" fmla="*/ 1598295 w 1605914"/>
                  <a:gd name="connsiteY15" fmla="*/ 169450 h 790575"/>
                  <a:gd name="connsiteX16" fmla="*/ 1605915 w 1605914"/>
                  <a:gd name="connsiteY16" fmla="*/ 159068 h 790575"/>
                  <a:gd name="connsiteX17" fmla="*/ 1598295 w 1605914"/>
                  <a:gd name="connsiteY17" fmla="*/ 144780 h 790575"/>
                  <a:gd name="connsiteX18" fmla="*/ 1587818 w 1605914"/>
                  <a:gd name="connsiteY18" fmla="*/ 134207 h 790575"/>
                  <a:gd name="connsiteX19" fmla="*/ 1584960 w 1605914"/>
                  <a:gd name="connsiteY19" fmla="*/ 119920 h 790575"/>
                  <a:gd name="connsiteX20" fmla="*/ 1587818 w 1605914"/>
                  <a:gd name="connsiteY20" fmla="*/ 92393 h 790575"/>
                  <a:gd name="connsiteX21" fmla="*/ 1584960 w 1605914"/>
                  <a:gd name="connsiteY21" fmla="*/ 78105 h 790575"/>
                  <a:gd name="connsiteX22" fmla="*/ 1560195 w 1605914"/>
                  <a:gd name="connsiteY22" fmla="*/ 71438 h 790575"/>
                  <a:gd name="connsiteX23" fmla="*/ 1545908 w 1605914"/>
                  <a:gd name="connsiteY23" fmla="*/ 63818 h 790575"/>
                  <a:gd name="connsiteX24" fmla="*/ 1531620 w 1605914"/>
                  <a:gd name="connsiteY24" fmla="*/ 78105 h 790575"/>
                  <a:gd name="connsiteX25" fmla="*/ 1517333 w 1605914"/>
                  <a:gd name="connsiteY25" fmla="*/ 102775 h 790575"/>
                  <a:gd name="connsiteX26" fmla="*/ 1510665 w 1605914"/>
                  <a:gd name="connsiteY26" fmla="*/ 130493 h 790575"/>
                  <a:gd name="connsiteX27" fmla="*/ 1500187 w 1605914"/>
                  <a:gd name="connsiteY27" fmla="*/ 144780 h 790575"/>
                  <a:gd name="connsiteX28" fmla="*/ 1479233 w 1605914"/>
                  <a:gd name="connsiteY28" fmla="*/ 155162 h 790575"/>
                  <a:gd name="connsiteX29" fmla="*/ 1376362 w 1605914"/>
                  <a:gd name="connsiteY29" fmla="*/ 155162 h 790575"/>
                  <a:gd name="connsiteX30" fmla="*/ 1348740 w 1605914"/>
                  <a:gd name="connsiteY30" fmla="*/ 177070 h 790575"/>
                  <a:gd name="connsiteX31" fmla="*/ 1348740 w 1605914"/>
                  <a:gd name="connsiteY31" fmla="*/ 198025 h 790575"/>
                  <a:gd name="connsiteX32" fmla="*/ 1330643 w 1605914"/>
                  <a:gd name="connsiteY32" fmla="*/ 212312 h 790575"/>
                  <a:gd name="connsiteX33" fmla="*/ 1309687 w 1605914"/>
                  <a:gd name="connsiteY33" fmla="*/ 215170 h 790575"/>
                  <a:gd name="connsiteX34" fmla="*/ 1270635 w 1605914"/>
                  <a:gd name="connsiteY34" fmla="*/ 212312 h 790575"/>
                  <a:gd name="connsiteX35" fmla="*/ 1267777 w 1605914"/>
                  <a:gd name="connsiteY35" fmla="*/ 219075 h 790575"/>
                  <a:gd name="connsiteX36" fmla="*/ 1270635 w 1605914"/>
                  <a:gd name="connsiteY36" fmla="*/ 225743 h 790575"/>
                  <a:gd name="connsiteX37" fmla="*/ 1269683 w 1605914"/>
                  <a:gd name="connsiteY37" fmla="*/ 226600 h 790575"/>
                  <a:gd name="connsiteX38" fmla="*/ 1270635 w 1605914"/>
                  <a:gd name="connsiteY38" fmla="*/ 229457 h 790575"/>
                  <a:gd name="connsiteX39" fmla="*/ 1267777 w 1605914"/>
                  <a:gd name="connsiteY39" fmla="*/ 240030 h 790575"/>
                  <a:gd name="connsiteX40" fmla="*/ 1257300 w 1605914"/>
                  <a:gd name="connsiteY40" fmla="*/ 243745 h 790575"/>
                  <a:gd name="connsiteX41" fmla="*/ 1235393 w 1605914"/>
                  <a:gd name="connsiteY41" fmla="*/ 254318 h 790575"/>
                  <a:gd name="connsiteX42" fmla="*/ 1214438 w 1605914"/>
                  <a:gd name="connsiteY42" fmla="*/ 260985 h 790575"/>
                  <a:gd name="connsiteX43" fmla="*/ 1193483 w 1605914"/>
                  <a:gd name="connsiteY43" fmla="*/ 272320 h 790575"/>
                  <a:gd name="connsiteX44" fmla="*/ 1162050 w 1605914"/>
                  <a:gd name="connsiteY44" fmla="*/ 272320 h 790575"/>
                  <a:gd name="connsiteX45" fmla="*/ 1147763 w 1605914"/>
                  <a:gd name="connsiteY45" fmla="*/ 260985 h 790575"/>
                  <a:gd name="connsiteX46" fmla="*/ 1154430 w 1605914"/>
                  <a:gd name="connsiteY46" fmla="*/ 247650 h 790575"/>
                  <a:gd name="connsiteX47" fmla="*/ 1162050 w 1605914"/>
                  <a:gd name="connsiteY47" fmla="*/ 240030 h 790575"/>
                  <a:gd name="connsiteX48" fmla="*/ 1162050 w 1605914"/>
                  <a:gd name="connsiteY48" fmla="*/ 240030 h 790575"/>
                  <a:gd name="connsiteX49" fmla="*/ 1165860 w 1605914"/>
                  <a:gd name="connsiteY49" fmla="*/ 237173 h 790575"/>
                  <a:gd name="connsiteX50" fmla="*/ 1165860 w 1605914"/>
                  <a:gd name="connsiteY50" fmla="*/ 222885 h 790575"/>
                  <a:gd name="connsiteX51" fmla="*/ 1168718 w 1605914"/>
                  <a:gd name="connsiteY51" fmla="*/ 212312 h 790575"/>
                  <a:gd name="connsiteX52" fmla="*/ 1168718 w 1605914"/>
                  <a:gd name="connsiteY52" fmla="*/ 194310 h 790575"/>
                  <a:gd name="connsiteX53" fmla="*/ 1158240 w 1605914"/>
                  <a:gd name="connsiteY53" fmla="*/ 190500 h 790575"/>
                  <a:gd name="connsiteX54" fmla="*/ 1147763 w 1605914"/>
                  <a:gd name="connsiteY54" fmla="*/ 198025 h 790575"/>
                  <a:gd name="connsiteX55" fmla="*/ 1137285 w 1605914"/>
                  <a:gd name="connsiteY55" fmla="*/ 204788 h 790575"/>
                  <a:gd name="connsiteX56" fmla="*/ 1133475 w 1605914"/>
                  <a:gd name="connsiteY56" fmla="*/ 198025 h 790575"/>
                  <a:gd name="connsiteX57" fmla="*/ 1141095 w 1605914"/>
                  <a:gd name="connsiteY57" fmla="*/ 190500 h 790575"/>
                  <a:gd name="connsiteX58" fmla="*/ 1147763 w 1605914"/>
                  <a:gd name="connsiteY58" fmla="*/ 177070 h 790575"/>
                  <a:gd name="connsiteX59" fmla="*/ 1151573 w 1605914"/>
                  <a:gd name="connsiteY59" fmla="*/ 159068 h 790575"/>
                  <a:gd name="connsiteX60" fmla="*/ 1143953 w 1605914"/>
                  <a:gd name="connsiteY60" fmla="*/ 144780 h 790575"/>
                  <a:gd name="connsiteX61" fmla="*/ 1126808 w 1605914"/>
                  <a:gd name="connsiteY61" fmla="*/ 141923 h 790575"/>
                  <a:gd name="connsiteX62" fmla="*/ 1112520 w 1605914"/>
                  <a:gd name="connsiteY62" fmla="*/ 134207 h 790575"/>
                  <a:gd name="connsiteX63" fmla="*/ 1098233 w 1605914"/>
                  <a:gd name="connsiteY63" fmla="*/ 138113 h 790575"/>
                  <a:gd name="connsiteX64" fmla="*/ 1091565 w 1605914"/>
                  <a:gd name="connsiteY64" fmla="*/ 148495 h 790575"/>
                  <a:gd name="connsiteX65" fmla="*/ 1084898 w 1605914"/>
                  <a:gd name="connsiteY65" fmla="*/ 155162 h 790575"/>
                  <a:gd name="connsiteX66" fmla="*/ 1073468 w 1605914"/>
                  <a:gd name="connsiteY66" fmla="*/ 155162 h 790575"/>
                  <a:gd name="connsiteX67" fmla="*/ 1070610 w 1605914"/>
                  <a:gd name="connsiteY67" fmla="*/ 162782 h 790575"/>
                  <a:gd name="connsiteX68" fmla="*/ 1070610 w 1605914"/>
                  <a:gd name="connsiteY68" fmla="*/ 177070 h 790575"/>
                  <a:gd name="connsiteX69" fmla="*/ 1070610 w 1605914"/>
                  <a:gd name="connsiteY69" fmla="*/ 198025 h 790575"/>
                  <a:gd name="connsiteX70" fmla="*/ 1070610 w 1605914"/>
                  <a:gd name="connsiteY70" fmla="*/ 215170 h 790575"/>
                  <a:gd name="connsiteX71" fmla="*/ 1070610 w 1605914"/>
                  <a:gd name="connsiteY71" fmla="*/ 237173 h 790575"/>
                  <a:gd name="connsiteX72" fmla="*/ 1062990 w 1605914"/>
                  <a:gd name="connsiteY72" fmla="*/ 254318 h 790575"/>
                  <a:gd name="connsiteX73" fmla="*/ 1045845 w 1605914"/>
                  <a:gd name="connsiteY73" fmla="*/ 268605 h 790575"/>
                  <a:gd name="connsiteX74" fmla="*/ 1027747 w 1605914"/>
                  <a:gd name="connsiteY74" fmla="*/ 272320 h 790575"/>
                  <a:gd name="connsiteX75" fmla="*/ 1021080 w 1605914"/>
                  <a:gd name="connsiteY75" fmla="*/ 247650 h 790575"/>
                  <a:gd name="connsiteX76" fmla="*/ 1021080 w 1605914"/>
                  <a:gd name="connsiteY76" fmla="*/ 225743 h 790575"/>
                  <a:gd name="connsiteX77" fmla="*/ 1027747 w 1605914"/>
                  <a:gd name="connsiteY77" fmla="*/ 183737 h 790575"/>
                  <a:gd name="connsiteX78" fmla="*/ 1042035 w 1605914"/>
                  <a:gd name="connsiteY78" fmla="*/ 152400 h 790575"/>
                  <a:gd name="connsiteX79" fmla="*/ 1035368 w 1605914"/>
                  <a:gd name="connsiteY79" fmla="*/ 165735 h 790575"/>
                  <a:gd name="connsiteX80" fmla="*/ 1021080 w 1605914"/>
                  <a:gd name="connsiteY80" fmla="*/ 169450 h 790575"/>
                  <a:gd name="connsiteX81" fmla="*/ 1017270 w 1605914"/>
                  <a:gd name="connsiteY81" fmla="*/ 155162 h 790575"/>
                  <a:gd name="connsiteX82" fmla="*/ 1035368 w 1605914"/>
                  <a:gd name="connsiteY82" fmla="*/ 141923 h 790575"/>
                  <a:gd name="connsiteX83" fmla="*/ 1049655 w 1605914"/>
                  <a:gd name="connsiteY83" fmla="*/ 127635 h 790575"/>
                  <a:gd name="connsiteX84" fmla="*/ 1056323 w 1605914"/>
                  <a:gd name="connsiteY84" fmla="*/ 119920 h 790575"/>
                  <a:gd name="connsiteX85" fmla="*/ 1062990 w 1605914"/>
                  <a:gd name="connsiteY85" fmla="*/ 127635 h 790575"/>
                  <a:gd name="connsiteX86" fmla="*/ 1073468 w 1605914"/>
                  <a:gd name="connsiteY86" fmla="*/ 123825 h 790575"/>
                  <a:gd name="connsiteX87" fmla="*/ 1087755 w 1605914"/>
                  <a:gd name="connsiteY87" fmla="*/ 113348 h 790575"/>
                  <a:gd name="connsiteX88" fmla="*/ 1105853 w 1605914"/>
                  <a:gd name="connsiteY88" fmla="*/ 113348 h 790575"/>
                  <a:gd name="connsiteX89" fmla="*/ 1119188 w 1605914"/>
                  <a:gd name="connsiteY89" fmla="*/ 119920 h 790575"/>
                  <a:gd name="connsiteX90" fmla="*/ 1119188 w 1605914"/>
                  <a:gd name="connsiteY90" fmla="*/ 113348 h 790575"/>
                  <a:gd name="connsiteX91" fmla="*/ 1105853 w 1605914"/>
                  <a:gd name="connsiteY91" fmla="*/ 102775 h 790575"/>
                  <a:gd name="connsiteX92" fmla="*/ 1095375 w 1605914"/>
                  <a:gd name="connsiteY92" fmla="*/ 95250 h 790575"/>
                  <a:gd name="connsiteX93" fmla="*/ 1077278 w 1605914"/>
                  <a:gd name="connsiteY93" fmla="*/ 99060 h 790575"/>
                  <a:gd name="connsiteX94" fmla="*/ 1062990 w 1605914"/>
                  <a:gd name="connsiteY94" fmla="*/ 99060 h 790575"/>
                  <a:gd name="connsiteX95" fmla="*/ 1045845 w 1605914"/>
                  <a:gd name="connsiteY95" fmla="*/ 102775 h 790575"/>
                  <a:gd name="connsiteX96" fmla="*/ 1027747 w 1605914"/>
                  <a:gd name="connsiteY96" fmla="*/ 95250 h 790575"/>
                  <a:gd name="connsiteX97" fmla="*/ 1010603 w 1605914"/>
                  <a:gd name="connsiteY97" fmla="*/ 84773 h 790575"/>
                  <a:gd name="connsiteX98" fmla="*/ 1002983 w 1605914"/>
                  <a:gd name="connsiteY98" fmla="*/ 74200 h 790575"/>
                  <a:gd name="connsiteX99" fmla="*/ 989647 w 1605914"/>
                  <a:gd name="connsiteY99" fmla="*/ 84773 h 790575"/>
                  <a:gd name="connsiteX100" fmla="*/ 982028 w 1605914"/>
                  <a:gd name="connsiteY100" fmla="*/ 92393 h 790575"/>
                  <a:gd name="connsiteX101" fmla="*/ 971550 w 1605914"/>
                  <a:gd name="connsiteY101" fmla="*/ 99060 h 790575"/>
                  <a:gd name="connsiteX102" fmla="*/ 950595 w 1605914"/>
                  <a:gd name="connsiteY102" fmla="*/ 99060 h 790575"/>
                  <a:gd name="connsiteX103" fmla="*/ 925830 w 1605914"/>
                  <a:gd name="connsiteY103" fmla="*/ 99060 h 790575"/>
                  <a:gd name="connsiteX104" fmla="*/ 908685 w 1605914"/>
                  <a:gd name="connsiteY104" fmla="*/ 92393 h 790575"/>
                  <a:gd name="connsiteX105" fmla="*/ 915353 w 1605914"/>
                  <a:gd name="connsiteY105" fmla="*/ 84773 h 790575"/>
                  <a:gd name="connsiteX106" fmla="*/ 929640 w 1605914"/>
                  <a:gd name="connsiteY106" fmla="*/ 71438 h 790575"/>
                  <a:gd name="connsiteX107" fmla="*/ 943928 w 1605914"/>
                  <a:gd name="connsiteY107" fmla="*/ 63818 h 790575"/>
                  <a:gd name="connsiteX108" fmla="*/ 964883 w 1605914"/>
                  <a:gd name="connsiteY108" fmla="*/ 57150 h 790575"/>
                  <a:gd name="connsiteX109" fmla="*/ 967740 w 1605914"/>
                  <a:gd name="connsiteY109" fmla="*/ 49530 h 790575"/>
                  <a:gd name="connsiteX110" fmla="*/ 946785 w 1605914"/>
                  <a:gd name="connsiteY110" fmla="*/ 46673 h 790575"/>
                  <a:gd name="connsiteX111" fmla="*/ 940118 w 1605914"/>
                  <a:gd name="connsiteY111" fmla="*/ 46673 h 790575"/>
                  <a:gd name="connsiteX112" fmla="*/ 925830 w 1605914"/>
                  <a:gd name="connsiteY112" fmla="*/ 42863 h 790575"/>
                  <a:gd name="connsiteX113" fmla="*/ 919163 w 1605914"/>
                  <a:gd name="connsiteY113" fmla="*/ 42863 h 790575"/>
                  <a:gd name="connsiteX114" fmla="*/ 901065 w 1605914"/>
                  <a:gd name="connsiteY114" fmla="*/ 35243 h 790575"/>
                  <a:gd name="connsiteX115" fmla="*/ 859155 w 1605914"/>
                  <a:gd name="connsiteY115" fmla="*/ 28575 h 790575"/>
                  <a:gd name="connsiteX116" fmla="*/ 838200 w 1605914"/>
                  <a:gd name="connsiteY116" fmla="*/ 21812 h 790575"/>
                  <a:gd name="connsiteX117" fmla="*/ 830580 w 1605914"/>
                  <a:gd name="connsiteY117" fmla="*/ 14288 h 790575"/>
                  <a:gd name="connsiteX118" fmla="*/ 827722 w 1605914"/>
                  <a:gd name="connsiteY118" fmla="*/ 0 h 790575"/>
                  <a:gd name="connsiteX119" fmla="*/ 813435 w 1605914"/>
                  <a:gd name="connsiteY119" fmla="*/ 0 h 790575"/>
                  <a:gd name="connsiteX120" fmla="*/ 809625 w 1605914"/>
                  <a:gd name="connsiteY120" fmla="*/ 14288 h 790575"/>
                  <a:gd name="connsiteX121" fmla="*/ 52388 w 1605914"/>
                  <a:gd name="connsiteY121" fmla="*/ 14288 h 790575"/>
                  <a:gd name="connsiteX122" fmla="*/ 52388 w 1605914"/>
                  <a:gd name="connsiteY122" fmla="*/ 35243 h 790575"/>
                  <a:gd name="connsiteX123" fmla="*/ 62865 w 1605914"/>
                  <a:gd name="connsiteY123" fmla="*/ 49530 h 790575"/>
                  <a:gd name="connsiteX124" fmla="*/ 60008 w 1605914"/>
                  <a:gd name="connsiteY124" fmla="*/ 67532 h 790575"/>
                  <a:gd name="connsiteX125" fmla="*/ 48578 w 1605914"/>
                  <a:gd name="connsiteY125" fmla="*/ 78105 h 790575"/>
                  <a:gd name="connsiteX126" fmla="*/ 45720 w 1605914"/>
                  <a:gd name="connsiteY126" fmla="*/ 67532 h 790575"/>
                  <a:gd name="connsiteX127" fmla="*/ 41910 w 1605914"/>
                  <a:gd name="connsiteY127" fmla="*/ 53245 h 790575"/>
                  <a:gd name="connsiteX128" fmla="*/ 31433 w 1605914"/>
                  <a:gd name="connsiteY128" fmla="*/ 49530 h 790575"/>
                  <a:gd name="connsiteX129" fmla="*/ 13335 w 1605914"/>
                  <a:gd name="connsiteY129" fmla="*/ 42863 h 790575"/>
                  <a:gd name="connsiteX130" fmla="*/ 0 w 1605914"/>
                  <a:gd name="connsiteY130" fmla="*/ 49530 h 790575"/>
                  <a:gd name="connsiteX131" fmla="*/ 6667 w 1605914"/>
                  <a:gd name="connsiteY131" fmla="*/ 67532 h 790575"/>
                  <a:gd name="connsiteX132" fmla="*/ 13335 w 1605914"/>
                  <a:gd name="connsiteY132" fmla="*/ 74200 h 790575"/>
                  <a:gd name="connsiteX133" fmla="*/ 10477 w 1605914"/>
                  <a:gd name="connsiteY133" fmla="*/ 84773 h 790575"/>
                  <a:gd name="connsiteX134" fmla="*/ 17145 w 1605914"/>
                  <a:gd name="connsiteY134" fmla="*/ 95250 h 790575"/>
                  <a:gd name="connsiteX135" fmla="*/ 27622 w 1605914"/>
                  <a:gd name="connsiteY135" fmla="*/ 113348 h 790575"/>
                  <a:gd name="connsiteX136" fmla="*/ 17145 w 1605914"/>
                  <a:gd name="connsiteY136" fmla="*/ 113348 h 790575"/>
                  <a:gd name="connsiteX137" fmla="*/ 10477 w 1605914"/>
                  <a:gd name="connsiteY137" fmla="*/ 198025 h 790575"/>
                  <a:gd name="connsiteX138" fmla="*/ 2858 w 1605914"/>
                  <a:gd name="connsiteY138" fmla="*/ 215170 h 790575"/>
                  <a:gd name="connsiteX139" fmla="*/ 10477 w 1605914"/>
                  <a:gd name="connsiteY139" fmla="*/ 260985 h 790575"/>
                  <a:gd name="connsiteX140" fmla="*/ 2858 w 1605914"/>
                  <a:gd name="connsiteY140" fmla="*/ 300038 h 790575"/>
                  <a:gd name="connsiteX141" fmla="*/ 2858 w 1605914"/>
                  <a:gd name="connsiteY141" fmla="*/ 314325 h 790575"/>
                  <a:gd name="connsiteX142" fmla="*/ 17145 w 1605914"/>
                  <a:gd name="connsiteY142" fmla="*/ 328613 h 790575"/>
                  <a:gd name="connsiteX143" fmla="*/ 17145 w 1605914"/>
                  <a:gd name="connsiteY143" fmla="*/ 349568 h 790575"/>
                  <a:gd name="connsiteX144" fmla="*/ 31433 w 1605914"/>
                  <a:gd name="connsiteY144" fmla="*/ 370523 h 790575"/>
                  <a:gd name="connsiteX145" fmla="*/ 45720 w 1605914"/>
                  <a:gd name="connsiteY145" fmla="*/ 384810 h 790575"/>
                  <a:gd name="connsiteX146" fmla="*/ 66675 w 1605914"/>
                  <a:gd name="connsiteY146" fmla="*/ 384810 h 790575"/>
                  <a:gd name="connsiteX147" fmla="*/ 56197 w 1605914"/>
                  <a:gd name="connsiteY147" fmla="*/ 402812 h 790575"/>
                  <a:gd name="connsiteX148" fmla="*/ 62865 w 1605914"/>
                  <a:gd name="connsiteY148" fmla="*/ 419957 h 790575"/>
                  <a:gd name="connsiteX149" fmla="*/ 73342 w 1605914"/>
                  <a:gd name="connsiteY149" fmla="*/ 426625 h 790575"/>
                  <a:gd name="connsiteX150" fmla="*/ 66675 w 1605914"/>
                  <a:gd name="connsiteY150" fmla="*/ 438150 h 790575"/>
                  <a:gd name="connsiteX151" fmla="*/ 83820 w 1605914"/>
                  <a:gd name="connsiteY151" fmla="*/ 455200 h 790575"/>
                  <a:gd name="connsiteX152" fmla="*/ 101917 w 1605914"/>
                  <a:gd name="connsiteY152" fmla="*/ 480060 h 790575"/>
                  <a:gd name="connsiteX153" fmla="*/ 105728 w 1605914"/>
                  <a:gd name="connsiteY153" fmla="*/ 504825 h 790575"/>
                  <a:gd name="connsiteX154" fmla="*/ 130492 w 1605914"/>
                  <a:gd name="connsiteY154" fmla="*/ 497110 h 790575"/>
                  <a:gd name="connsiteX155" fmla="*/ 147638 w 1605914"/>
                  <a:gd name="connsiteY155" fmla="*/ 511397 h 790575"/>
                  <a:gd name="connsiteX156" fmla="*/ 172403 w 1605914"/>
                  <a:gd name="connsiteY156" fmla="*/ 519113 h 790575"/>
                  <a:gd name="connsiteX157" fmla="*/ 182880 w 1605914"/>
                  <a:gd name="connsiteY157" fmla="*/ 525685 h 790575"/>
                  <a:gd name="connsiteX158" fmla="*/ 197167 w 1605914"/>
                  <a:gd name="connsiteY158" fmla="*/ 539972 h 790575"/>
                  <a:gd name="connsiteX159" fmla="*/ 203835 w 1605914"/>
                  <a:gd name="connsiteY159" fmla="*/ 561023 h 790575"/>
                  <a:gd name="connsiteX160" fmla="*/ 260033 w 1605914"/>
                  <a:gd name="connsiteY160" fmla="*/ 557213 h 790575"/>
                  <a:gd name="connsiteX161" fmla="*/ 292417 w 1605914"/>
                  <a:gd name="connsiteY161" fmla="*/ 568547 h 790575"/>
                  <a:gd name="connsiteX162" fmla="*/ 338138 w 1605914"/>
                  <a:gd name="connsiteY162" fmla="*/ 589598 h 790575"/>
                  <a:gd name="connsiteX163" fmla="*/ 365760 w 1605914"/>
                  <a:gd name="connsiteY163" fmla="*/ 600075 h 790575"/>
                  <a:gd name="connsiteX164" fmla="*/ 446722 w 1605914"/>
                  <a:gd name="connsiteY164" fmla="*/ 600075 h 790575"/>
                  <a:gd name="connsiteX165" fmla="*/ 461010 w 1605914"/>
                  <a:gd name="connsiteY165" fmla="*/ 589598 h 790575"/>
                  <a:gd name="connsiteX166" fmla="*/ 496253 w 1605914"/>
                  <a:gd name="connsiteY166" fmla="*/ 581978 h 790575"/>
                  <a:gd name="connsiteX167" fmla="*/ 531495 w 1605914"/>
                  <a:gd name="connsiteY167" fmla="*/ 610553 h 790575"/>
                  <a:gd name="connsiteX168" fmla="*/ 548640 w 1605914"/>
                  <a:gd name="connsiteY168" fmla="*/ 624840 h 790575"/>
                  <a:gd name="connsiteX169" fmla="*/ 552450 w 1605914"/>
                  <a:gd name="connsiteY169" fmla="*/ 652463 h 790575"/>
                  <a:gd name="connsiteX170" fmla="*/ 581025 w 1605914"/>
                  <a:gd name="connsiteY170" fmla="*/ 670560 h 790575"/>
                  <a:gd name="connsiteX171" fmla="*/ 601980 w 1605914"/>
                  <a:gd name="connsiteY171" fmla="*/ 666750 h 790575"/>
                  <a:gd name="connsiteX172" fmla="*/ 605790 w 1605914"/>
                  <a:gd name="connsiteY172" fmla="*/ 649510 h 790575"/>
                  <a:gd name="connsiteX173" fmla="*/ 619125 w 1605914"/>
                  <a:gd name="connsiteY173" fmla="*/ 641985 h 790575"/>
                  <a:gd name="connsiteX174" fmla="*/ 619125 w 1605914"/>
                  <a:gd name="connsiteY174" fmla="*/ 641985 h 790575"/>
                  <a:gd name="connsiteX175" fmla="*/ 619125 w 1605914"/>
                  <a:gd name="connsiteY175" fmla="*/ 641985 h 790575"/>
                  <a:gd name="connsiteX176" fmla="*/ 658178 w 1605914"/>
                  <a:gd name="connsiteY176" fmla="*/ 659987 h 790575"/>
                  <a:gd name="connsiteX177" fmla="*/ 668655 w 1605914"/>
                  <a:gd name="connsiteY177" fmla="*/ 684848 h 790575"/>
                  <a:gd name="connsiteX178" fmla="*/ 686753 w 1605914"/>
                  <a:gd name="connsiteY178" fmla="*/ 705803 h 790575"/>
                  <a:gd name="connsiteX179" fmla="*/ 700088 w 1605914"/>
                  <a:gd name="connsiteY179" fmla="*/ 726662 h 790575"/>
                  <a:gd name="connsiteX180" fmla="*/ 714375 w 1605914"/>
                  <a:gd name="connsiteY180" fmla="*/ 747713 h 790575"/>
                  <a:gd name="connsiteX181" fmla="*/ 742950 w 1605914"/>
                  <a:gd name="connsiteY181" fmla="*/ 758190 h 790575"/>
                  <a:gd name="connsiteX182" fmla="*/ 763905 w 1605914"/>
                  <a:gd name="connsiteY182" fmla="*/ 762000 h 790575"/>
                  <a:gd name="connsiteX183" fmla="*/ 757238 w 1605914"/>
                  <a:gd name="connsiteY183" fmla="*/ 740950 h 790575"/>
                  <a:gd name="connsiteX184" fmla="*/ 753428 w 1605914"/>
                  <a:gd name="connsiteY184" fmla="*/ 720090 h 790575"/>
                  <a:gd name="connsiteX185" fmla="*/ 760095 w 1605914"/>
                  <a:gd name="connsiteY185" fmla="*/ 705803 h 790575"/>
                  <a:gd name="connsiteX186" fmla="*/ 770572 w 1605914"/>
                  <a:gd name="connsiteY186" fmla="*/ 695325 h 790575"/>
                  <a:gd name="connsiteX187" fmla="*/ 778193 w 1605914"/>
                  <a:gd name="connsiteY187" fmla="*/ 684848 h 790575"/>
                  <a:gd name="connsiteX188" fmla="*/ 799147 w 1605914"/>
                  <a:gd name="connsiteY188" fmla="*/ 684848 h 790575"/>
                  <a:gd name="connsiteX189" fmla="*/ 809625 w 1605914"/>
                  <a:gd name="connsiteY189" fmla="*/ 677228 h 790575"/>
                  <a:gd name="connsiteX190" fmla="*/ 820103 w 1605914"/>
                  <a:gd name="connsiteY190" fmla="*/ 666750 h 790575"/>
                  <a:gd name="connsiteX191" fmla="*/ 827722 w 1605914"/>
                  <a:gd name="connsiteY191" fmla="*/ 652463 h 790575"/>
                  <a:gd name="connsiteX192" fmla="*/ 838200 w 1605914"/>
                  <a:gd name="connsiteY192" fmla="*/ 659987 h 790575"/>
                  <a:gd name="connsiteX193" fmla="*/ 851535 w 1605914"/>
                  <a:gd name="connsiteY193" fmla="*/ 656273 h 790575"/>
                  <a:gd name="connsiteX194" fmla="*/ 859155 w 1605914"/>
                  <a:gd name="connsiteY194" fmla="*/ 645700 h 790575"/>
                  <a:gd name="connsiteX195" fmla="*/ 876300 w 1605914"/>
                  <a:gd name="connsiteY195" fmla="*/ 645700 h 790575"/>
                  <a:gd name="connsiteX196" fmla="*/ 894397 w 1605914"/>
                  <a:gd name="connsiteY196" fmla="*/ 656273 h 790575"/>
                  <a:gd name="connsiteX197" fmla="*/ 901065 w 1605914"/>
                  <a:gd name="connsiteY197" fmla="*/ 652463 h 790575"/>
                  <a:gd name="connsiteX198" fmla="*/ 908685 w 1605914"/>
                  <a:gd name="connsiteY198" fmla="*/ 649510 h 790575"/>
                  <a:gd name="connsiteX199" fmla="*/ 925830 w 1605914"/>
                  <a:gd name="connsiteY199" fmla="*/ 656273 h 790575"/>
                  <a:gd name="connsiteX200" fmla="*/ 940118 w 1605914"/>
                  <a:gd name="connsiteY200" fmla="*/ 666750 h 790575"/>
                  <a:gd name="connsiteX201" fmla="*/ 957263 w 1605914"/>
                  <a:gd name="connsiteY201" fmla="*/ 662940 h 790575"/>
                  <a:gd name="connsiteX202" fmla="*/ 971550 w 1605914"/>
                  <a:gd name="connsiteY202" fmla="*/ 662940 h 790575"/>
                  <a:gd name="connsiteX203" fmla="*/ 985838 w 1605914"/>
                  <a:gd name="connsiteY203" fmla="*/ 659987 h 790575"/>
                  <a:gd name="connsiteX204" fmla="*/ 975360 w 1605914"/>
                  <a:gd name="connsiteY204" fmla="*/ 649510 h 790575"/>
                  <a:gd name="connsiteX205" fmla="*/ 964883 w 1605914"/>
                  <a:gd name="connsiteY205" fmla="*/ 641985 h 790575"/>
                  <a:gd name="connsiteX206" fmla="*/ 954405 w 1605914"/>
                  <a:gd name="connsiteY206" fmla="*/ 631412 h 790575"/>
                  <a:gd name="connsiteX207" fmla="*/ 971550 w 1605914"/>
                  <a:gd name="connsiteY207" fmla="*/ 627698 h 790575"/>
                  <a:gd name="connsiteX208" fmla="*/ 996315 w 1605914"/>
                  <a:gd name="connsiteY208" fmla="*/ 624840 h 790575"/>
                  <a:gd name="connsiteX209" fmla="*/ 1024890 w 1605914"/>
                  <a:gd name="connsiteY209" fmla="*/ 624840 h 790575"/>
                  <a:gd name="connsiteX210" fmla="*/ 1042035 w 1605914"/>
                  <a:gd name="connsiteY210" fmla="*/ 631412 h 790575"/>
                  <a:gd name="connsiteX211" fmla="*/ 1066800 w 1605914"/>
                  <a:gd name="connsiteY211" fmla="*/ 635222 h 790575"/>
                  <a:gd name="connsiteX212" fmla="*/ 1087755 w 1605914"/>
                  <a:gd name="connsiteY212" fmla="*/ 639128 h 790575"/>
                  <a:gd name="connsiteX213" fmla="*/ 1102043 w 1605914"/>
                  <a:gd name="connsiteY213" fmla="*/ 656273 h 790575"/>
                  <a:gd name="connsiteX214" fmla="*/ 1116330 w 1605914"/>
                  <a:gd name="connsiteY214" fmla="*/ 641985 h 790575"/>
                  <a:gd name="connsiteX215" fmla="*/ 1126808 w 1605914"/>
                  <a:gd name="connsiteY215" fmla="*/ 639128 h 790575"/>
                  <a:gd name="connsiteX216" fmla="*/ 1143953 w 1605914"/>
                  <a:gd name="connsiteY216" fmla="*/ 645700 h 790575"/>
                  <a:gd name="connsiteX217" fmla="*/ 1154430 w 1605914"/>
                  <a:gd name="connsiteY217" fmla="*/ 659987 h 790575"/>
                  <a:gd name="connsiteX218" fmla="*/ 1168718 w 1605914"/>
                  <a:gd name="connsiteY218" fmla="*/ 674275 h 790575"/>
                  <a:gd name="connsiteX219" fmla="*/ 1165860 w 1605914"/>
                  <a:gd name="connsiteY219" fmla="*/ 691515 h 790575"/>
                  <a:gd name="connsiteX220" fmla="*/ 1165860 w 1605914"/>
                  <a:gd name="connsiteY220" fmla="*/ 712375 h 790575"/>
                  <a:gd name="connsiteX221" fmla="*/ 1168718 w 1605914"/>
                  <a:gd name="connsiteY221" fmla="*/ 734378 h 790575"/>
                  <a:gd name="connsiteX222" fmla="*/ 1183005 w 1605914"/>
                  <a:gd name="connsiteY222" fmla="*/ 744760 h 790575"/>
                  <a:gd name="connsiteX223" fmla="*/ 1197293 w 1605914"/>
                  <a:gd name="connsiteY223" fmla="*/ 755237 h 790575"/>
                  <a:gd name="connsiteX224" fmla="*/ 1207770 w 1605914"/>
                  <a:gd name="connsiteY224" fmla="*/ 776288 h 790575"/>
                  <a:gd name="connsiteX225" fmla="*/ 1222058 w 1605914"/>
                  <a:gd name="connsiteY225" fmla="*/ 790575 h 790575"/>
                  <a:gd name="connsiteX226" fmla="*/ 1235393 w 1605914"/>
                  <a:gd name="connsiteY226" fmla="*/ 790575 h 790575"/>
                  <a:gd name="connsiteX227" fmla="*/ 1239203 w 1605914"/>
                  <a:gd name="connsiteY227" fmla="*/ 776288 h 790575"/>
                  <a:gd name="connsiteX228" fmla="*/ 1239203 w 1605914"/>
                  <a:gd name="connsiteY228" fmla="*/ 747713 h 790575"/>
                  <a:gd name="connsiteX229" fmla="*/ 1235393 w 1605914"/>
                  <a:gd name="connsiteY229" fmla="*/ 716185 h 790575"/>
                  <a:gd name="connsiteX230" fmla="*/ 1224915 w 1605914"/>
                  <a:gd name="connsiteY230" fmla="*/ 691515 h 790575"/>
                  <a:gd name="connsiteX231" fmla="*/ 1218248 w 1605914"/>
                  <a:gd name="connsiteY231" fmla="*/ 666750 h 790575"/>
                  <a:gd name="connsiteX232" fmla="*/ 1207770 w 1605914"/>
                  <a:gd name="connsiteY232" fmla="*/ 641985 h 790575"/>
                  <a:gd name="connsiteX233" fmla="*/ 1201103 w 1605914"/>
                  <a:gd name="connsiteY233" fmla="*/ 617125 h 790575"/>
                  <a:gd name="connsiteX234" fmla="*/ 1207770 w 1605914"/>
                  <a:gd name="connsiteY234" fmla="*/ 596265 h 790575"/>
                  <a:gd name="connsiteX235" fmla="*/ 1224915 w 1605914"/>
                  <a:gd name="connsiteY235" fmla="*/ 575310 h 790575"/>
                  <a:gd name="connsiteX236" fmla="*/ 1235393 w 1605914"/>
                  <a:gd name="connsiteY236" fmla="*/ 561023 h 790575"/>
                  <a:gd name="connsiteX237" fmla="*/ 1257300 w 1605914"/>
                  <a:gd name="connsiteY237" fmla="*/ 554260 h 790575"/>
                  <a:gd name="connsiteX238" fmla="*/ 1274445 w 1605914"/>
                  <a:gd name="connsiteY238" fmla="*/ 525685 h 790575"/>
                  <a:gd name="connsiteX239" fmla="*/ 1292543 w 1605914"/>
                  <a:gd name="connsiteY239" fmla="*/ 521875 h 790575"/>
                  <a:gd name="connsiteX240" fmla="*/ 1299210 w 1605914"/>
                  <a:gd name="connsiteY240" fmla="*/ 515303 h 790575"/>
                  <a:gd name="connsiteX241" fmla="*/ 1323975 w 1605914"/>
                  <a:gd name="connsiteY241" fmla="*/ 494348 h 790575"/>
                  <a:gd name="connsiteX242" fmla="*/ 1341120 w 1605914"/>
                  <a:gd name="connsiteY242" fmla="*/ 490538 h 790575"/>
                  <a:gd name="connsiteX243" fmla="*/ 1341120 w 1605914"/>
                  <a:gd name="connsiteY243" fmla="*/ 476250 h 790575"/>
                  <a:gd name="connsiteX244" fmla="*/ 1355408 w 1605914"/>
                  <a:gd name="connsiteY244" fmla="*/ 465773 h 790575"/>
                  <a:gd name="connsiteX245" fmla="*/ 1363027 w 1605914"/>
                  <a:gd name="connsiteY245" fmla="*/ 451485 h 790575"/>
                  <a:gd name="connsiteX246" fmla="*/ 1355408 w 1605914"/>
                  <a:gd name="connsiteY246" fmla="*/ 434245 h 790575"/>
                  <a:gd name="connsiteX247" fmla="*/ 1344930 w 1605914"/>
                  <a:gd name="connsiteY247" fmla="*/ 430530 h 790575"/>
                  <a:gd name="connsiteX248" fmla="*/ 1341120 w 1605914"/>
                  <a:gd name="connsiteY248" fmla="*/ 413385 h 790575"/>
                  <a:gd name="connsiteX249" fmla="*/ 1344930 w 1605914"/>
                  <a:gd name="connsiteY249" fmla="*/ 402812 h 790575"/>
                  <a:gd name="connsiteX250" fmla="*/ 1334452 w 1605914"/>
                  <a:gd name="connsiteY250" fmla="*/ 391382 h 790575"/>
                  <a:gd name="connsiteX251" fmla="*/ 1320165 w 1605914"/>
                  <a:gd name="connsiteY251" fmla="*/ 378143 h 790575"/>
                  <a:gd name="connsiteX252" fmla="*/ 1327785 w 1605914"/>
                  <a:gd name="connsiteY252" fmla="*/ 374237 h 790575"/>
                  <a:gd name="connsiteX253" fmla="*/ 1338262 w 1605914"/>
                  <a:gd name="connsiteY253" fmla="*/ 378143 h 790575"/>
                  <a:gd name="connsiteX254" fmla="*/ 1341120 w 1605914"/>
                  <a:gd name="connsiteY254" fmla="*/ 356235 h 790575"/>
                  <a:gd name="connsiteX255" fmla="*/ 1344930 w 1605914"/>
                  <a:gd name="connsiteY255" fmla="*/ 342900 h 790575"/>
                  <a:gd name="connsiteX256" fmla="*/ 1352550 w 1605914"/>
                  <a:gd name="connsiteY256" fmla="*/ 349568 h 790575"/>
                  <a:gd name="connsiteX257" fmla="*/ 1348740 w 1605914"/>
                  <a:gd name="connsiteY257" fmla="*/ 366713 h 790575"/>
                  <a:gd name="connsiteX258" fmla="*/ 1355408 w 1605914"/>
                  <a:gd name="connsiteY258" fmla="*/ 388525 h 790575"/>
                  <a:gd name="connsiteX259" fmla="*/ 1355408 w 1605914"/>
                  <a:gd name="connsiteY259" fmla="*/ 413385 h 790575"/>
                  <a:gd name="connsiteX260" fmla="*/ 1363027 w 1605914"/>
                  <a:gd name="connsiteY260" fmla="*/ 402812 h 790575"/>
                  <a:gd name="connsiteX261" fmla="*/ 1376362 w 1605914"/>
                  <a:gd name="connsiteY261" fmla="*/ 384810 h 790575"/>
                  <a:gd name="connsiteX262" fmla="*/ 1383983 w 1605914"/>
                  <a:gd name="connsiteY262" fmla="*/ 370523 h 790575"/>
                  <a:gd name="connsiteX263" fmla="*/ 1376362 w 1605914"/>
                  <a:gd name="connsiteY263" fmla="*/ 349568 h 790575"/>
                  <a:gd name="connsiteX264" fmla="*/ 1390650 w 1605914"/>
                  <a:gd name="connsiteY264" fmla="*/ 353282 h 790575"/>
                  <a:gd name="connsiteX265" fmla="*/ 1401127 w 1605914"/>
                  <a:gd name="connsiteY265" fmla="*/ 326612 h 790575"/>
                  <a:gd name="connsiteX266" fmla="*/ 1443990 w 1605914"/>
                  <a:gd name="connsiteY266" fmla="*/ 307562 h 790575"/>
                  <a:gd name="connsiteX267" fmla="*/ 1448752 w 1605914"/>
                  <a:gd name="connsiteY267" fmla="*/ 300038 h 790575"/>
                  <a:gd name="connsiteX268" fmla="*/ 1400175 w 1605914"/>
                  <a:gd name="connsiteY268" fmla="*/ 308610 h 790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</a:cxnLst>
                <a:rect l="l" t="t" r="r" b="b"/>
                <a:pathLst>
                  <a:path w="1605914" h="790575">
                    <a:moveTo>
                      <a:pt x="1400175" y="308610"/>
                    </a:moveTo>
                    <a:lnTo>
                      <a:pt x="1415415" y="293275"/>
                    </a:lnTo>
                    <a:lnTo>
                      <a:pt x="1446848" y="285750"/>
                    </a:lnTo>
                    <a:lnTo>
                      <a:pt x="1475423" y="278987"/>
                    </a:lnTo>
                    <a:lnTo>
                      <a:pt x="1492568" y="272320"/>
                    </a:lnTo>
                    <a:lnTo>
                      <a:pt x="1503045" y="272320"/>
                    </a:lnTo>
                    <a:lnTo>
                      <a:pt x="1517333" y="260985"/>
                    </a:lnTo>
                    <a:lnTo>
                      <a:pt x="1503045" y="258032"/>
                    </a:lnTo>
                    <a:lnTo>
                      <a:pt x="1496377" y="250412"/>
                    </a:lnTo>
                    <a:lnTo>
                      <a:pt x="1496377" y="237173"/>
                    </a:lnTo>
                    <a:lnTo>
                      <a:pt x="1510665" y="219075"/>
                    </a:lnTo>
                    <a:lnTo>
                      <a:pt x="1521143" y="194310"/>
                    </a:lnTo>
                    <a:lnTo>
                      <a:pt x="1538287" y="183737"/>
                    </a:lnTo>
                    <a:lnTo>
                      <a:pt x="1556385" y="173355"/>
                    </a:lnTo>
                    <a:lnTo>
                      <a:pt x="1577340" y="169450"/>
                    </a:lnTo>
                    <a:lnTo>
                      <a:pt x="1598295" y="169450"/>
                    </a:lnTo>
                    <a:lnTo>
                      <a:pt x="1605915" y="159068"/>
                    </a:lnTo>
                    <a:lnTo>
                      <a:pt x="1598295" y="144780"/>
                    </a:lnTo>
                    <a:lnTo>
                      <a:pt x="1587818" y="134207"/>
                    </a:lnTo>
                    <a:lnTo>
                      <a:pt x="1584960" y="119920"/>
                    </a:lnTo>
                    <a:lnTo>
                      <a:pt x="1587818" y="92393"/>
                    </a:lnTo>
                    <a:lnTo>
                      <a:pt x="1584960" y="78105"/>
                    </a:lnTo>
                    <a:lnTo>
                      <a:pt x="1560195" y="71438"/>
                    </a:lnTo>
                    <a:lnTo>
                      <a:pt x="1545908" y="63818"/>
                    </a:lnTo>
                    <a:lnTo>
                      <a:pt x="1531620" y="78105"/>
                    </a:lnTo>
                    <a:lnTo>
                      <a:pt x="1517333" y="102775"/>
                    </a:lnTo>
                    <a:lnTo>
                      <a:pt x="1510665" y="130493"/>
                    </a:lnTo>
                    <a:lnTo>
                      <a:pt x="1500187" y="144780"/>
                    </a:lnTo>
                    <a:lnTo>
                      <a:pt x="1479233" y="155162"/>
                    </a:lnTo>
                    <a:lnTo>
                      <a:pt x="1376362" y="155162"/>
                    </a:lnTo>
                    <a:lnTo>
                      <a:pt x="1348740" y="177070"/>
                    </a:lnTo>
                    <a:lnTo>
                      <a:pt x="1348740" y="198025"/>
                    </a:lnTo>
                    <a:lnTo>
                      <a:pt x="1330643" y="212312"/>
                    </a:lnTo>
                    <a:lnTo>
                      <a:pt x="1309687" y="215170"/>
                    </a:lnTo>
                    <a:lnTo>
                      <a:pt x="1270635" y="212312"/>
                    </a:lnTo>
                    <a:lnTo>
                      <a:pt x="1267777" y="219075"/>
                    </a:lnTo>
                    <a:lnTo>
                      <a:pt x="1270635" y="225743"/>
                    </a:lnTo>
                    <a:lnTo>
                      <a:pt x="1269683" y="226600"/>
                    </a:lnTo>
                    <a:lnTo>
                      <a:pt x="1270635" y="229457"/>
                    </a:lnTo>
                    <a:lnTo>
                      <a:pt x="1267777" y="240030"/>
                    </a:lnTo>
                    <a:lnTo>
                      <a:pt x="1257300" y="243745"/>
                    </a:lnTo>
                    <a:lnTo>
                      <a:pt x="1235393" y="254318"/>
                    </a:lnTo>
                    <a:lnTo>
                      <a:pt x="1214438" y="260985"/>
                    </a:lnTo>
                    <a:lnTo>
                      <a:pt x="1193483" y="272320"/>
                    </a:lnTo>
                    <a:lnTo>
                      <a:pt x="1162050" y="272320"/>
                    </a:lnTo>
                    <a:lnTo>
                      <a:pt x="1147763" y="260985"/>
                    </a:lnTo>
                    <a:lnTo>
                      <a:pt x="1154430" y="247650"/>
                    </a:lnTo>
                    <a:lnTo>
                      <a:pt x="1162050" y="240030"/>
                    </a:lnTo>
                    <a:lnTo>
                      <a:pt x="1162050" y="240030"/>
                    </a:lnTo>
                    <a:lnTo>
                      <a:pt x="1165860" y="237173"/>
                    </a:lnTo>
                    <a:lnTo>
                      <a:pt x="1165860" y="222885"/>
                    </a:lnTo>
                    <a:lnTo>
                      <a:pt x="1168718" y="212312"/>
                    </a:lnTo>
                    <a:lnTo>
                      <a:pt x="1168718" y="194310"/>
                    </a:lnTo>
                    <a:lnTo>
                      <a:pt x="1158240" y="190500"/>
                    </a:lnTo>
                    <a:lnTo>
                      <a:pt x="1147763" y="198025"/>
                    </a:lnTo>
                    <a:lnTo>
                      <a:pt x="1137285" y="204788"/>
                    </a:lnTo>
                    <a:lnTo>
                      <a:pt x="1133475" y="198025"/>
                    </a:lnTo>
                    <a:lnTo>
                      <a:pt x="1141095" y="190500"/>
                    </a:lnTo>
                    <a:lnTo>
                      <a:pt x="1147763" y="177070"/>
                    </a:lnTo>
                    <a:lnTo>
                      <a:pt x="1151573" y="159068"/>
                    </a:lnTo>
                    <a:lnTo>
                      <a:pt x="1143953" y="144780"/>
                    </a:lnTo>
                    <a:lnTo>
                      <a:pt x="1126808" y="141923"/>
                    </a:lnTo>
                    <a:lnTo>
                      <a:pt x="1112520" y="134207"/>
                    </a:lnTo>
                    <a:lnTo>
                      <a:pt x="1098233" y="138113"/>
                    </a:lnTo>
                    <a:lnTo>
                      <a:pt x="1091565" y="148495"/>
                    </a:lnTo>
                    <a:lnTo>
                      <a:pt x="1084898" y="155162"/>
                    </a:lnTo>
                    <a:lnTo>
                      <a:pt x="1073468" y="155162"/>
                    </a:lnTo>
                    <a:lnTo>
                      <a:pt x="1070610" y="162782"/>
                    </a:lnTo>
                    <a:lnTo>
                      <a:pt x="1070610" y="177070"/>
                    </a:lnTo>
                    <a:lnTo>
                      <a:pt x="1070610" y="198025"/>
                    </a:lnTo>
                    <a:lnTo>
                      <a:pt x="1070610" y="215170"/>
                    </a:lnTo>
                    <a:lnTo>
                      <a:pt x="1070610" y="237173"/>
                    </a:lnTo>
                    <a:lnTo>
                      <a:pt x="1062990" y="254318"/>
                    </a:lnTo>
                    <a:lnTo>
                      <a:pt x="1045845" y="268605"/>
                    </a:lnTo>
                    <a:lnTo>
                      <a:pt x="1027747" y="272320"/>
                    </a:lnTo>
                    <a:lnTo>
                      <a:pt x="1021080" y="247650"/>
                    </a:lnTo>
                    <a:lnTo>
                      <a:pt x="1021080" y="225743"/>
                    </a:lnTo>
                    <a:lnTo>
                      <a:pt x="1027747" y="183737"/>
                    </a:lnTo>
                    <a:lnTo>
                      <a:pt x="1042035" y="152400"/>
                    </a:lnTo>
                    <a:lnTo>
                      <a:pt x="1035368" y="165735"/>
                    </a:lnTo>
                    <a:lnTo>
                      <a:pt x="1021080" y="169450"/>
                    </a:lnTo>
                    <a:lnTo>
                      <a:pt x="1017270" y="155162"/>
                    </a:lnTo>
                    <a:lnTo>
                      <a:pt x="1035368" y="141923"/>
                    </a:lnTo>
                    <a:lnTo>
                      <a:pt x="1049655" y="127635"/>
                    </a:lnTo>
                    <a:lnTo>
                      <a:pt x="1056323" y="119920"/>
                    </a:lnTo>
                    <a:lnTo>
                      <a:pt x="1062990" y="127635"/>
                    </a:lnTo>
                    <a:lnTo>
                      <a:pt x="1073468" y="123825"/>
                    </a:lnTo>
                    <a:lnTo>
                      <a:pt x="1087755" y="113348"/>
                    </a:lnTo>
                    <a:lnTo>
                      <a:pt x="1105853" y="113348"/>
                    </a:lnTo>
                    <a:lnTo>
                      <a:pt x="1119188" y="119920"/>
                    </a:lnTo>
                    <a:lnTo>
                      <a:pt x="1119188" y="113348"/>
                    </a:lnTo>
                    <a:lnTo>
                      <a:pt x="1105853" y="102775"/>
                    </a:lnTo>
                    <a:lnTo>
                      <a:pt x="1095375" y="95250"/>
                    </a:lnTo>
                    <a:lnTo>
                      <a:pt x="1077278" y="99060"/>
                    </a:lnTo>
                    <a:lnTo>
                      <a:pt x="1062990" y="99060"/>
                    </a:lnTo>
                    <a:lnTo>
                      <a:pt x="1045845" y="102775"/>
                    </a:lnTo>
                    <a:lnTo>
                      <a:pt x="1027747" y="95250"/>
                    </a:lnTo>
                    <a:lnTo>
                      <a:pt x="1010603" y="84773"/>
                    </a:lnTo>
                    <a:lnTo>
                      <a:pt x="1002983" y="74200"/>
                    </a:lnTo>
                    <a:lnTo>
                      <a:pt x="989647" y="84773"/>
                    </a:lnTo>
                    <a:lnTo>
                      <a:pt x="982028" y="92393"/>
                    </a:lnTo>
                    <a:lnTo>
                      <a:pt x="971550" y="99060"/>
                    </a:lnTo>
                    <a:lnTo>
                      <a:pt x="950595" y="99060"/>
                    </a:lnTo>
                    <a:lnTo>
                      <a:pt x="925830" y="99060"/>
                    </a:lnTo>
                    <a:lnTo>
                      <a:pt x="908685" y="92393"/>
                    </a:lnTo>
                    <a:lnTo>
                      <a:pt x="915353" y="84773"/>
                    </a:lnTo>
                    <a:lnTo>
                      <a:pt x="929640" y="71438"/>
                    </a:lnTo>
                    <a:lnTo>
                      <a:pt x="943928" y="63818"/>
                    </a:lnTo>
                    <a:lnTo>
                      <a:pt x="964883" y="57150"/>
                    </a:lnTo>
                    <a:lnTo>
                      <a:pt x="967740" y="49530"/>
                    </a:lnTo>
                    <a:lnTo>
                      <a:pt x="946785" y="46673"/>
                    </a:lnTo>
                    <a:lnTo>
                      <a:pt x="940118" y="46673"/>
                    </a:lnTo>
                    <a:lnTo>
                      <a:pt x="925830" y="42863"/>
                    </a:lnTo>
                    <a:lnTo>
                      <a:pt x="919163" y="42863"/>
                    </a:lnTo>
                    <a:lnTo>
                      <a:pt x="901065" y="35243"/>
                    </a:lnTo>
                    <a:lnTo>
                      <a:pt x="859155" y="28575"/>
                    </a:lnTo>
                    <a:lnTo>
                      <a:pt x="838200" y="21812"/>
                    </a:lnTo>
                    <a:lnTo>
                      <a:pt x="830580" y="14288"/>
                    </a:lnTo>
                    <a:lnTo>
                      <a:pt x="827722" y="0"/>
                    </a:lnTo>
                    <a:lnTo>
                      <a:pt x="813435" y="0"/>
                    </a:lnTo>
                    <a:lnTo>
                      <a:pt x="809625" y="14288"/>
                    </a:lnTo>
                    <a:lnTo>
                      <a:pt x="52388" y="14288"/>
                    </a:lnTo>
                    <a:lnTo>
                      <a:pt x="52388" y="35243"/>
                    </a:lnTo>
                    <a:lnTo>
                      <a:pt x="62865" y="49530"/>
                    </a:lnTo>
                    <a:lnTo>
                      <a:pt x="60008" y="67532"/>
                    </a:lnTo>
                    <a:lnTo>
                      <a:pt x="48578" y="78105"/>
                    </a:lnTo>
                    <a:lnTo>
                      <a:pt x="45720" y="67532"/>
                    </a:lnTo>
                    <a:lnTo>
                      <a:pt x="41910" y="53245"/>
                    </a:lnTo>
                    <a:lnTo>
                      <a:pt x="31433" y="49530"/>
                    </a:lnTo>
                    <a:lnTo>
                      <a:pt x="13335" y="42863"/>
                    </a:lnTo>
                    <a:lnTo>
                      <a:pt x="0" y="49530"/>
                    </a:lnTo>
                    <a:lnTo>
                      <a:pt x="6667" y="67532"/>
                    </a:lnTo>
                    <a:lnTo>
                      <a:pt x="13335" y="74200"/>
                    </a:lnTo>
                    <a:lnTo>
                      <a:pt x="10477" y="84773"/>
                    </a:lnTo>
                    <a:lnTo>
                      <a:pt x="17145" y="95250"/>
                    </a:lnTo>
                    <a:lnTo>
                      <a:pt x="27622" y="113348"/>
                    </a:lnTo>
                    <a:lnTo>
                      <a:pt x="17145" y="113348"/>
                    </a:lnTo>
                    <a:lnTo>
                      <a:pt x="10477" y="198025"/>
                    </a:lnTo>
                    <a:lnTo>
                      <a:pt x="2858" y="215170"/>
                    </a:lnTo>
                    <a:lnTo>
                      <a:pt x="10477" y="260985"/>
                    </a:lnTo>
                    <a:lnTo>
                      <a:pt x="2858" y="300038"/>
                    </a:lnTo>
                    <a:lnTo>
                      <a:pt x="2858" y="314325"/>
                    </a:lnTo>
                    <a:lnTo>
                      <a:pt x="17145" y="328613"/>
                    </a:lnTo>
                    <a:lnTo>
                      <a:pt x="17145" y="349568"/>
                    </a:lnTo>
                    <a:lnTo>
                      <a:pt x="31433" y="370523"/>
                    </a:lnTo>
                    <a:lnTo>
                      <a:pt x="45720" y="384810"/>
                    </a:lnTo>
                    <a:lnTo>
                      <a:pt x="66675" y="384810"/>
                    </a:lnTo>
                    <a:lnTo>
                      <a:pt x="56197" y="402812"/>
                    </a:lnTo>
                    <a:lnTo>
                      <a:pt x="62865" y="419957"/>
                    </a:lnTo>
                    <a:lnTo>
                      <a:pt x="73342" y="426625"/>
                    </a:lnTo>
                    <a:lnTo>
                      <a:pt x="66675" y="438150"/>
                    </a:lnTo>
                    <a:lnTo>
                      <a:pt x="83820" y="455200"/>
                    </a:lnTo>
                    <a:lnTo>
                      <a:pt x="101917" y="480060"/>
                    </a:lnTo>
                    <a:lnTo>
                      <a:pt x="105728" y="504825"/>
                    </a:lnTo>
                    <a:lnTo>
                      <a:pt x="130492" y="497110"/>
                    </a:lnTo>
                    <a:lnTo>
                      <a:pt x="147638" y="511397"/>
                    </a:lnTo>
                    <a:lnTo>
                      <a:pt x="172403" y="519113"/>
                    </a:lnTo>
                    <a:lnTo>
                      <a:pt x="182880" y="525685"/>
                    </a:lnTo>
                    <a:lnTo>
                      <a:pt x="197167" y="539972"/>
                    </a:lnTo>
                    <a:lnTo>
                      <a:pt x="203835" y="561023"/>
                    </a:lnTo>
                    <a:lnTo>
                      <a:pt x="260033" y="557213"/>
                    </a:lnTo>
                    <a:lnTo>
                      <a:pt x="292417" y="568547"/>
                    </a:lnTo>
                    <a:lnTo>
                      <a:pt x="338138" y="589598"/>
                    </a:lnTo>
                    <a:lnTo>
                      <a:pt x="365760" y="600075"/>
                    </a:lnTo>
                    <a:lnTo>
                      <a:pt x="446722" y="600075"/>
                    </a:lnTo>
                    <a:lnTo>
                      <a:pt x="461010" y="589598"/>
                    </a:lnTo>
                    <a:lnTo>
                      <a:pt x="496253" y="581978"/>
                    </a:lnTo>
                    <a:lnTo>
                      <a:pt x="531495" y="610553"/>
                    </a:lnTo>
                    <a:lnTo>
                      <a:pt x="548640" y="624840"/>
                    </a:lnTo>
                    <a:lnTo>
                      <a:pt x="552450" y="652463"/>
                    </a:lnTo>
                    <a:lnTo>
                      <a:pt x="581025" y="670560"/>
                    </a:lnTo>
                    <a:lnTo>
                      <a:pt x="601980" y="666750"/>
                    </a:lnTo>
                    <a:lnTo>
                      <a:pt x="605790" y="649510"/>
                    </a:lnTo>
                    <a:lnTo>
                      <a:pt x="619125" y="641985"/>
                    </a:lnTo>
                    <a:lnTo>
                      <a:pt x="619125" y="641985"/>
                    </a:lnTo>
                    <a:lnTo>
                      <a:pt x="619125" y="641985"/>
                    </a:lnTo>
                    <a:lnTo>
                      <a:pt x="658178" y="659987"/>
                    </a:lnTo>
                    <a:lnTo>
                      <a:pt x="668655" y="684848"/>
                    </a:lnTo>
                    <a:lnTo>
                      <a:pt x="686753" y="705803"/>
                    </a:lnTo>
                    <a:lnTo>
                      <a:pt x="700088" y="726662"/>
                    </a:lnTo>
                    <a:lnTo>
                      <a:pt x="714375" y="747713"/>
                    </a:lnTo>
                    <a:lnTo>
                      <a:pt x="742950" y="758190"/>
                    </a:lnTo>
                    <a:lnTo>
                      <a:pt x="763905" y="762000"/>
                    </a:lnTo>
                    <a:lnTo>
                      <a:pt x="757238" y="740950"/>
                    </a:lnTo>
                    <a:lnTo>
                      <a:pt x="753428" y="720090"/>
                    </a:lnTo>
                    <a:lnTo>
                      <a:pt x="760095" y="705803"/>
                    </a:lnTo>
                    <a:lnTo>
                      <a:pt x="770572" y="695325"/>
                    </a:lnTo>
                    <a:lnTo>
                      <a:pt x="778193" y="684848"/>
                    </a:lnTo>
                    <a:lnTo>
                      <a:pt x="799147" y="684848"/>
                    </a:lnTo>
                    <a:lnTo>
                      <a:pt x="809625" y="677228"/>
                    </a:lnTo>
                    <a:lnTo>
                      <a:pt x="820103" y="666750"/>
                    </a:lnTo>
                    <a:lnTo>
                      <a:pt x="827722" y="652463"/>
                    </a:lnTo>
                    <a:lnTo>
                      <a:pt x="838200" y="659987"/>
                    </a:lnTo>
                    <a:lnTo>
                      <a:pt x="851535" y="656273"/>
                    </a:lnTo>
                    <a:lnTo>
                      <a:pt x="859155" y="645700"/>
                    </a:lnTo>
                    <a:lnTo>
                      <a:pt x="876300" y="645700"/>
                    </a:lnTo>
                    <a:lnTo>
                      <a:pt x="894397" y="656273"/>
                    </a:lnTo>
                    <a:lnTo>
                      <a:pt x="901065" y="652463"/>
                    </a:lnTo>
                    <a:lnTo>
                      <a:pt x="908685" y="649510"/>
                    </a:lnTo>
                    <a:lnTo>
                      <a:pt x="925830" y="656273"/>
                    </a:lnTo>
                    <a:lnTo>
                      <a:pt x="940118" y="666750"/>
                    </a:lnTo>
                    <a:lnTo>
                      <a:pt x="957263" y="662940"/>
                    </a:lnTo>
                    <a:lnTo>
                      <a:pt x="971550" y="662940"/>
                    </a:lnTo>
                    <a:lnTo>
                      <a:pt x="985838" y="659987"/>
                    </a:lnTo>
                    <a:lnTo>
                      <a:pt x="975360" y="649510"/>
                    </a:lnTo>
                    <a:lnTo>
                      <a:pt x="964883" y="641985"/>
                    </a:lnTo>
                    <a:lnTo>
                      <a:pt x="954405" y="631412"/>
                    </a:lnTo>
                    <a:lnTo>
                      <a:pt x="971550" y="627698"/>
                    </a:lnTo>
                    <a:lnTo>
                      <a:pt x="996315" y="624840"/>
                    </a:lnTo>
                    <a:lnTo>
                      <a:pt x="1024890" y="624840"/>
                    </a:lnTo>
                    <a:lnTo>
                      <a:pt x="1042035" y="631412"/>
                    </a:lnTo>
                    <a:lnTo>
                      <a:pt x="1066800" y="635222"/>
                    </a:lnTo>
                    <a:lnTo>
                      <a:pt x="1087755" y="639128"/>
                    </a:lnTo>
                    <a:lnTo>
                      <a:pt x="1102043" y="656273"/>
                    </a:lnTo>
                    <a:lnTo>
                      <a:pt x="1116330" y="641985"/>
                    </a:lnTo>
                    <a:lnTo>
                      <a:pt x="1126808" y="639128"/>
                    </a:lnTo>
                    <a:lnTo>
                      <a:pt x="1143953" y="645700"/>
                    </a:lnTo>
                    <a:lnTo>
                      <a:pt x="1154430" y="659987"/>
                    </a:lnTo>
                    <a:lnTo>
                      <a:pt x="1168718" y="674275"/>
                    </a:lnTo>
                    <a:lnTo>
                      <a:pt x="1165860" y="691515"/>
                    </a:lnTo>
                    <a:lnTo>
                      <a:pt x="1165860" y="712375"/>
                    </a:lnTo>
                    <a:lnTo>
                      <a:pt x="1168718" y="734378"/>
                    </a:lnTo>
                    <a:lnTo>
                      <a:pt x="1183005" y="744760"/>
                    </a:lnTo>
                    <a:lnTo>
                      <a:pt x="1197293" y="755237"/>
                    </a:lnTo>
                    <a:lnTo>
                      <a:pt x="1207770" y="776288"/>
                    </a:lnTo>
                    <a:lnTo>
                      <a:pt x="1222058" y="790575"/>
                    </a:lnTo>
                    <a:lnTo>
                      <a:pt x="1235393" y="790575"/>
                    </a:lnTo>
                    <a:lnTo>
                      <a:pt x="1239203" y="776288"/>
                    </a:lnTo>
                    <a:lnTo>
                      <a:pt x="1239203" y="747713"/>
                    </a:lnTo>
                    <a:lnTo>
                      <a:pt x="1235393" y="716185"/>
                    </a:lnTo>
                    <a:lnTo>
                      <a:pt x="1224915" y="691515"/>
                    </a:lnTo>
                    <a:lnTo>
                      <a:pt x="1218248" y="666750"/>
                    </a:lnTo>
                    <a:lnTo>
                      <a:pt x="1207770" y="641985"/>
                    </a:lnTo>
                    <a:lnTo>
                      <a:pt x="1201103" y="617125"/>
                    </a:lnTo>
                    <a:lnTo>
                      <a:pt x="1207770" y="596265"/>
                    </a:lnTo>
                    <a:lnTo>
                      <a:pt x="1224915" y="575310"/>
                    </a:lnTo>
                    <a:lnTo>
                      <a:pt x="1235393" y="561023"/>
                    </a:lnTo>
                    <a:lnTo>
                      <a:pt x="1257300" y="554260"/>
                    </a:lnTo>
                    <a:lnTo>
                      <a:pt x="1274445" y="525685"/>
                    </a:lnTo>
                    <a:lnTo>
                      <a:pt x="1292543" y="521875"/>
                    </a:lnTo>
                    <a:lnTo>
                      <a:pt x="1299210" y="515303"/>
                    </a:lnTo>
                    <a:lnTo>
                      <a:pt x="1323975" y="494348"/>
                    </a:lnTo>
                    <a:lnTo>
                      <a:pt x="1341120" y="490538"/>
                    </a:lnTo>
                    <a:lnTo>
                      <a:pt x="1341120" y="476250"/>
                    </a:lnTo>
                    <a:lnTo>
                      <a:pt x="1355408" y="465773"/>
                    </a:lnTo>
                    <a:lnTo>
                      <a:pt x="1363027" y="451485"/>
                    </a:lnTo>
                    <a:lnTo>
                      <a:pt x="1355408" y="434245"/>
                    </a:lnTo>
                    <a:lnTo>
                      <a:pt x="1344930" y="430530"/>
                    </a:lnTo>
                    <a:lnTo>
                      <a:pt x="1341120" y="413385"/>
                    </a:lnTo>
                    <a:lnTo>
                      <a:pt x="1344930" y="402812"/>
                    </a:lnTo>
                    <a:lnTo>
                      <a:pt x="1334452" y="391382"/>
                    </a:lnTo>
                    <a:lnTo>
                      <a:pt x="1320165" y="378143"/>
                    </a:lnTo>
                    <a:lnTo>
                      <a:pt x="1327785" y="374237"/>
                    </a:lnTo>
                    <a:lnTo>
                      <a:pt x="1338262" y="378143"/>
                    </a:lnTo>
                    <a:lnTo>
                      <a:pt x="1341120" y="356235"/>
                    </a:lnTo>
                    <a:lnTo>
                      <a:pt x="1344930" y="342900"/>
                    </a:lnTo>
                    <a:lnTo>
                      <a:pt x="1352550" y="349568"/>
                    </a:lnTo>
                    <a:lnTo>
                      <a:pt x="1348740" y="366713"/>
                    </a:lnTo>
                    <a:lnTo>
                      <a:pt x="1355408" y="388525"/>
                    </a:lnTo>
                    <a:lnTo>
                      <a:pt x="1355408" y="413385"/>
                    </a:lnTo>
                    <a:lnTo>
                      <a:pt x="1363027" y="402812"/>
                    </a:lnTo>
                    <a:lnTo>
                      <a:pt x="1376362" y="384810"/>
                    </a:lnTo>
                    <a:lnTo>
                      <a:pt x="1383983" y="370523"/>
                    </a:lnTo>
                    <a:lnTo>
                      <a:pt x="1376362" y="349568"/>
                    </a:lnTo>
                    <a:lnTo>
                      <a:pt x="1390650" y="353282"/>
                    </a:lnTo>
                    <a:lnTo>
                      <a:pt x="1401127" y="326612"/>
                    </a:lnTo>
                    <a:lnTo>
                      <a:pt x="1443990" y="307562"/>
                    </a:lnTo>
                    <a:lnTo>
                      <a:pt x="1448752" y="300038"/>
                    </a:lnTo>
                    <a:lnTo>
                      <a:pt x="1400175" y="30861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1" name="Freeform: Shape 400">
                <a:extLst>
                  <a:ext uri="{FF2B5EF4-FFF2-40B4-BE49-F238E27FC236}">
                    <a16:creationId xmlns:a16="http://schemas.microsoft.com/office/drawing/2014/main" id="{7CB940CA-9066-D811-1205-4C2E0563395D}"/>
                  </a:ext>
                </a:extLst>
              </p:cNvPr>
              <p:cNvSpPr/>
              <p:nvPr/>
            </p:nvSpPr>
            <p:spPr>
              <a:xfrm>
                <a:off x="3724902" y="3303742"/>
                <a:ext cx="3734" cy="2801"/>
              </a:xfrm>
              <a:custGeom>
                <a:avLst/>
                <a:gdLst>
                  <a:gd name="connsiteX0" fmla="*/ 0 w 3809"/>
                  <a:gd name="connsiteY0" fmla="*/ 2858 h 2857"/>
                  <a:gd name="connsiteX1" fmla="*/ 0 w 3809"/>
                  <a:gd name="connsiteY1" fmla="*/ 2858 h 2857"/>
                  <a:gd name="connsiteX2" fmla="*/ 3810 w 3809"/>
                  <a:gd name="connsiteY2" fmla="*/ 0 h 2857"/>
                  <a:gd name="connsiteX3" fmla="*/ 0 w 3809"/>
                  <a:gd name="connsiteY3" fmla="*/ 2858 h 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9" h="2857">
                    <a:moveTo>
                      <a:pt x="0" y="2858"/>
                    </a:moveTo>
                    <a:lnTo>
                      <a:pt x="0" y="2858"/>
                    </a:lnTo>
                    <a:lnTo>
                      <a:pt x="3810" y="0"/>
                    </a:lnTo>
                    <a:lnTo>
                      <a:pt x="0" y="285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2" name="Freeform: Shape 401">
                <a:extLst>
                  <a:ext uri="{FF2B5EF4-FFF2-40B4-BE49-F238E27FC236}">
                    <a16:creationId xmlns:a16="http://schemas.microsoft.com/office/drawing/2014/main" id="{8BC848C4-D67D-8352-61FC-E6171EE8A903}"/>
                  </a:ext>
                </a:extLst>
              </p:cNvPr>
              <p:cNvSpPr/>
              <p:nvPr/>
            </p:nvSpPr>
            <p:spPr>
              <a:xfrm>
                <a:off x="3493338" y="3113260"/>
                <a:ext cx="20541" cy="3735"/>
              </a:xfrm>
              <a:custGeom>
                <a:avLst/>
                <a:gdLst>
                  <a:gd name="connsiteX0" fmla="*/ 14288 w 20954"/>
                  <a:gd name="connsiteY0" fmla="*/ 3810 h 3810"/>
                  <a:gd name="connsiteX1" fmla="*/ 20955 w 20954"/>
                  <a:gd name="connsiteY1" fmla="*/ 3810 h 3810"/>
                  <a:gd name="connsiteX2" fmla="*/ 0 w 20954"/>
                  <a:gd name="connsiteY2" fmla="*/ 0 h 3810"/>
                  <a:gd name="connsiteX3" fmla="*/ 14288 w 20954"/>
                  <a:gd name="connsiteY3" fmla="*/ 3810 h 3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4" h="3810">
                    <a:moveTo>
                      <a:pt x="14288" y="3810"/>
                    </a:moveTo>
                    <a:lnTo>
                      <a:pt x="20955" y="3810"/>
                    </a:lnTo>
                    <a:lnTo>
                      <a:pt x="0" y="0"/>
                    </a:lnTo>
                    <a:lnTo>
                      <a:pt x="14288" y="381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3" name="Freeform: Shape 402">
                <a:extLst>
                  <a:ext uri="{FF2B5EF4-FFF2-40B4-BE49-F238E27FC236}">
                    <a16:creationId xmlns:a16="http://schemas.microsoft.com/office/drawing/2014/main" id="{4BD60026-BBF7-A5DC-D5D2-B51BB7AE6300}"/>
                  </a:ext>
                </a:extLst>
              </p:cNvPr>
              <p:cNvSpPr/>
              <p:nvPr/>
            </p:nvSpPr>
            <p:spPr>
              <a:xfrm>
                <a:off x="3469061" y="3105791"/>
                <a:ext cx="24276" cy="7469"/>
              </a:xfrm>
              <a:custGeom>
                <a:avLst/>
                <a:gdLst>
                  <a:gd name="connsiteX0" fmla="*/ 18097 w 24764"/>
                  <a:gd name="connsiteY0" fmla="*/ 7620 h 7619"/>
                  <a:gd name="connsiteX1" fmla="*/ 24765 w 24764"/>
                  <a:gd name="connsiteY1" fmla="*/ 7620 h 7619"/>
                  <a:gd name="connsiteX2" fmla="*/ 0 w 24764"/>
                  <a:gd name="connsiteY2" fmla="*/ 0 h 7619"/>
                  <a:gd name="connsiteX3" fmla="*/ 18097 w 24764"/>
                  <a:gd name="connsiteY3" fmla="*/ 7620 h 7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" h="7619">
                    <a:moveTo>
                      <a:pt x="18097" y="7620"/>
                    </a:moveTo>
                    <a:lnTo>
                      <a:pt x="24765" y="7620"/>
                    </a:lnTo>
                    <a:lnTo>
                      <a:pt x="0" y="0"/>
                    </a:lnTo>
                    <a:lnTo>
                      <a:pt x="18097" y="762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4" name="Freeform: Shape 403">
                <a:extLst>
                  <a:ext uri="{FF2B5EF4-FFF2-40B4-BE49-F238E27FC236}">
                    <a16:creationId xmlns:a16="http://schemas.microsoft.com/office/drawing/2014/main" id="{B225A587-4D4E-C801-472C-0A0A397F2F4E}"/>
                  </a:ext>
                </a:extLst>
              </p:cNvPr>
              <p:cNvSpPr/>
              <p:nvPr/>
            </p:nvSpPr>
            <p:spPr>
              <a:xfrm>
                <a:off x="3907912" y="3213170"/>
                <a:ext cx="148462" cy="31653"/>
              </a:xfrm>
              <a:custGeom>
                <a:avLst/>
                <a:gdLst>
                  <a:gd name="connsiteX0" fmla="*/ 27622 w 151447"/>
                  <a:gd name="connsiteY0" fmla="*/ 10382 h 32289"/>
                  <a:gd name="connsiteX1" fmla="*/ 14288 w 151447"/>
                  <a:gd name="connsiteY1" fmla="*/ 20955 h 32289"/>
                  <a:gd name="connsiteX2" fmla="*/ 0 w 151447"/>
                  <a:gd name="connsiteY2" fmla="*/ 32290 h 32289"/>
                  <a:gd name="connsiteX3" fmla="*/ 27622 w 151447"/>
                  <a:gd name="connsiteY3" fmla="*/ 10382 h 32289"/>
                  <a:gd name="connsiteX4" fmla="*/ 130493 w 151447"/>
                  <a:gd name="connsiteY4" fmla="*/ 10382 h 32289"/>
                  <a:gd name="connsiteX5" fmla="*/ 151447 w 151447"/>
                  <a:gd name="connsiteY5" fmla="*/ 0 h 32289"/>
                  <a:gd name="connsiteX6" fmla="*/ 130493 w 151447"/>
                  <a:gd name="connsiteY6" fmla="*/ 10382 h 32289"/>
                  <a:gd name="connsiteX7" fmla="*/ 27622 w 151447"/>
                  <a:gd name="connsiteY7" fmla="*/ 10382 h 32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447" h="32289">
                    <a:moveTo>
                      <a:pt x="27622" y="10382"/>
                    </a:moveTo>
                    <a:lnTo>
                      <a:pt x="14288" y="20955"/>
                    </a:lnTo>
                    <a:lnTo>
                      <a:pt x="0" y="32290"/>
                    </a:lnTo>
                    <a:lnTo>
                      <a:pt x="27622" y="10382"/>
                    </a:lnTo>
                    <a:lnTo>
                      <a:pt x="130493" y="10382"/>
                    </a:lnTo>
                    <a:lnTo>
                      <a:pt x="151447" y="0"/>
                    </a:lnTo>
                    <a:lnTo>
                      <a:pt x="130493" y="10382"/>
                    </a:lnTo>
                    <a:lnTo>
                      <a:pt x="27622" y="103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5" name="Freeform: Shape 404">
                <a:extLst>
                  <a:ext uri="{FF2B5EF4-FFF2-40B4-BE49-F238E27FC236}">
                    <a16:creationId xmlns:a16="http://schemas.microsoft.com/office/drawing/2014/main" id="{AA38045A-A467-7021-9954-9B624EB71399}"/>
                  </a:ext>
                </a:extLst>
              </p:cNvPr>
              <p:cNvSpPr/>
              <p:nvPr/>
            </p:nvSpPr>
            <p:spPr>
              <a:xfrm>
                <a:off x="3828545" y="3286001"/>
                <a:ext cx="2801" cy="7376"/>
              </a:xfrm>
              <a:custGeom>
                <a:avLst/>
                <a:gdLst>
                  <a:gd name="connsiteX0" fmla="*/ 2858 w 2857"/>
                  <a:gd name="connsiteY0" fmla="*/ 6668 h 7524"/>
                  <a:gd name="connsiteX1" fmla="*/ 0 w 2857"/>
                  <a:gd name="connsiteY1" fmla="*/ 0 h 7524"/>
                  <a:gd name="connsiteX2" fmla="*/ 1905 w 2857"/>
                  <a:gd name="connsiteY2" fmla="*/ 7525 h 7524"/>
                  <a:gd name="connsiteX3" fmla="*/ 2858 w 2857"/>
                  <a:gd name="connsiteY3" fmla="*/ 6668 h 7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" h="7524">
                    <a:moveTo>
                      <a:pt x="2858" y="6668"/>
                    </a:moveTo>
                    <a:lnTo>
                      <a:pt x="0" y="0"/>
                    </a:lnTo>
                    <a:lnTo>
                      <a:pt x="1905" y="7525"/>
                    </a:lnTo>
                    <a:lnTo>
                      <a:pt x="2858" y="666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id="{0872AFC4-A02E-3E88-78E3-A428C9B7775E}"/>
                  </a:ext>
                </a:extLst>
              </p:cNvPr>
              <p:cNvSpPr/>
              <p:nvPr/>
            </p:nvSpPr>
            <p:spPr>
              <a:xfrm>
                <a:off x="2551211" y="1986246"/>
                <a:ext cx="286653" cy="180117"/>
              </a:xfrm>
              <a:custGeom>
                <a:avLst/>
                <a:gdLst>
                  <a:gd name="connsiteX0" fmla="*/ 35242 w 292417"/>
                  <a:gd name="connsiteY0" fmla="*/ 147638 h 183737"/>
                  <a:gd name="connsiteX1" fmla="*/ 56197 w 292417"/>
                  <a:gd name="connsiteY1" fmla="*/ 161925 h 183737"/>
                  <a:gd name="connsiteX2" fmla="*/ 73342 w 292417"/>
                  <a:gd name="connsiteY2" fmla="*/ 183737 h 183737"/>
                  <a:gd name="connsiteX3" fmla="*/ 95250 w 292417"/>
                  <a:gd name="connsiteY3" fmla="*/ 176213 h 183737"/>
                  <a:gd name="connsiteX4" fmla="*/ 119063 w 292417"/>
                  <a:gd name="connsiteY4" fmla="*/ 161925 h 183737"/>
                  <a:gd name="connsiteX5" fmla="*/ 140970 w 292417"/>
                  <a:gd name="connsiteY5" fmla="*/ 161925 h 183737"/>
                  <a:gd name="connsiteX6" fmla="*/ 151447 w 292417"/>
                  <a:gd name="connsiteY6" fmla="*/ 144685 h 183737"/>
                  <a:gd name="connsiteX7" fmla="*/ 158115 w 292417"/>
                  <a:gd name="connsiteY7" fmla="*/ 126587 h 183737"/>
                  <a:gd name="connsiteX8" fmla="*/ 179070 w 292417"/>
                  <a:gd name="connsiteY8" fmla="*/ 116110 h 183737"/>
                  <a:gd name="connsiteX9" fmla="*/ 186690 w 292417"/>
                  <a:gd name="connsiteY9" fmla="*/ 101822 h 183737"/>
                  <a:gd name="connsiteX10" fmla="*/ 211455 w 292417"/>
                  <a:gd name="connsiteY10" fmla="*/ 88487 h 183737"/>
                  <a:gd name="connsiteX11" fmla="*/ 246697 w 292417"/>
                  <a:gd name="connsiteY11" fmla="*/ 70485 h 183737"/>
                  <a:gd name="connsiteX12" fmla="*/ 292417 w 292417"/>
                  <a:gd name="connsiteY12" fmla="*/ 56197 h 183737"/>
                  <a:gd name="connsiteX13" fmla="*/ 278130 w 292417"/>
                  <a:gd name="connsiteY13" fmla="*/ 45625 h 183737"/>
                  <a:gd name="connsiteX14" fmla="*/ 249555 w 292417"/>
                  <a:gd name="connsiteY14" fmla="*/ 28575 h 183737"/>
                  <a:gd name="connsiteX15" fmla="*/ 224790 w 292417"/>
                  <a:gd name="connsiteY15" fmla="*/ 14288 h 183737"/>
                  <a:gd name="connsiteX16" fmla="*/ 200025 w 292417"/>
                  <a:gd name="connsiteY16" fmla="*/ 18098 h 183737"/>
                  <a:gd name="connsiteX17" fmla="*/ 186690 w 292417"/>
                  <a:gd name="connsiteY17" fmla="*/ 28575 h 183737"/>
                  <a:gd name="connsiteX18" fmla="*/ 165735 w 292417"/>
                  <a:gd name="connsiteY18" fmla="*/ 24765 h 183737"/>
                  <a:gd name="connsiteX19" fmla="*/ 130492 w 292417"/>
                  <a:gd name="connsiteY19" fmla="*/ 10478 h 183737"/>
                  <a:gd name="connsiteX20" fmla="*/ 126683 w 292417"/>
                  <a:gd name="connsiteY20" fmla="*/ 0 h 183737"/>
                  <a:gd name="connsiteX21" fmla="*/ 95250 w 292417"/>
                  <a:gd name="connsiteY21" fmla="*/ 0 h 183737"/>
                  <a:gd name="connsiteX22" fmla="*/ 91440 w 292417"/>
                  <a:gd name="connsiteY22" fmla="*/ 10478 h 183737"/>
                  <a:gd name="connsiteX23" fmla="*/ 60008 w 292417"/>
                  <a:gd name="connsiteY23" fmla="*/ 6572 h 183737"/>
                  <a:gd name="connsiteX24" fmla="*/ 35242 w 292417"/>
                  <a:gd name="connsiteY24" fmla="*/ 10478 h 183737"/>
                  <a:gd name="connsiteX25" fmla="*/ 35242 w 292417"/>
                  <a:gd name="connsiteY25" fmla="*/ 24765 h 183737"/>
                  <a:gd name="connsiteX26" fmla="*/ 48577 w 292417"/>
                  <a:gd name="connsiteY26" fmla="*/ 39053 h 183737"/>
                  <a:gd name="connsiteX27" fmla="*/ 48577 w 292417"/>
                  <a:gd name="connsiteY27" fmla="*/ 49435 h 183737"/>
                  <a:gd name="connsiteX28" fmla="*/ 41910 w 292417"/>
                  <a:gd name="connsiteY28" fmla="*/ 59912 h 183737"/>
                  <a:gd name="connsiteX29" fmla="*/ 35242 w 292417"/>
                  <a:gd name="connsiteY29" fmla="*/ 77153 h 183737"/>
                  <a:gd name="connsiteX30" fmla="*/ 20955 w 292417"/>
                  <a:gd name="connsiteY30" fmla="*/ 95250 h 183737"/>
                  <a:gd name="connsiteX31" fmla="*/ 14288 w 292417"/>
                  <a:gd name="connsiteY31" fmla="*/ 120015 h 183737"/>
                  <a:gd name="connsiteX32" fmla="*/ 0 w 292417"/>
                  <a:gd name="connsiteY32" fmla="*/ 134303 h 183737"/>
                  <a:gd name="connsiteX33" fmla="*/ 20955 w 292417"/>
                  <a:gd name="connsiteY33" fmla="*/ 140875 h 183737"/>
                  <a:gd name="connsiteX34" fmla="*/ 35242 w 292417"/>
                  <a:gd name="connsiteY34" fmla="*/ 147638 h 183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292417" h="183737">
                    <a:moveTo>
                      <a:pt x="35242" y="147638"/>
                    </a:moveTo>
                    <a:lnTo>
                      <a:pt x="56197" y="161925"/>
                    </a:lnTo>
                    <a:lnTo>
                      <a:pt x="73342" y="183737"/>
                    </a:lnTo>
                    <a:lnTo>
                      <a:pt x="95250" y="176213"/>
                    </a:lnTo>
                    <a:lnTo>
                      <a:pt x="119063" y="161925"/>
                    </a:lnTo>
                    <a:lnTo>
                      <a:pt x="140970" y="161925"/>
                    </a:lnTo>
                    <a:lnTo>
                      <a:pt x="151447" y="144685"/>
                    </a:lnTo>
                    <a:lnTo>
                      <a:pt x="158115" y="126587"/>
                    </a:lnTo>
                    <a:lnTo>
                      <a:pt x="179070" y="116110"/>
                    </a:lnTo>
                    <a:lnTo>
                      <a:pt x="186690" y="101822"/>
                    </a:lnTo>
                    <a:lnTo>
                      <a:pt x="211455" y="88487"/>
                    </a:lnTo>
                    <a:lnTo>
                      <a:pt x="246697" y="70485"/>
                    </a:lnTo>
                    <a:lnTo>
                      <a:pt x="292417" y="56197"/>
                    </a:lnTo>
                    <a:lnTo>
                      <a:pt x="278130" y="45625"/>
                    </a:lnTo>
                    <a:lnTo>
                      <a:pt x="249555" y="28575"/>
                    </a:lnTo>
                    <a:lnTo>
                      <a:pt x="224790" y="14288"/>
                    </a:lnTo>
                    <a:lnTo>
                      <a:pt x="200025" y="18098"/>
                    </a:lnTo>
                    <a:lnTo>
                      <a:pt x="186690" y="28575"/>
                    </a:lnTo>
                    <a:lnTo>
                      <a:pt x="165735" y="24765"/>
                    </a:lnTo>
                    <a:lnTo>
                      <a:pt x="130492" y="10478"/>
                    </a:lnTo>
                    <a:lnTo>
                      <a:pt x="126683" y="0"/>
                    </a:lnTo>
                    <a:lnTo>
                      <a:pt x="95250" y="0"/>
                    </a:lnTo>
                    <a:lnTo>
                      <a:pt x="91440" y="10478"/>
                    </a:lnTo>
                    <a:lnTo>
                      <a:pt x="60008" y="6572"/>
                    </a:lnTo>
                    <a:lnTo>
                      <a:pt x="35242" y="10478"/>
                    </a:lnTo>
                    <a:lnTo>
                      <a:pt x="35242" y="24765"/>
                    </a:lnTo>
                    <a:lnTo>
                      <a:pt x="48577" y="39053"/>
                    </a:lnTo>
                    <a:lnTo>
                      <a:pt x="48577" y="49435"/>
                    </a:lnTo>
                    <a:lnTo>
                      <a:pt x="41910" y="59912"/>
                    </a:lnTo>
                    <a:lnTo>
                      <a:pt x="35242" y="77153"/>
                    </a:lnTo>
                    <a:lnTo>
                      <a:pt x="20955" y="95250"/>
                    </a:lnTo>
                    <a:lnTo>
                      <a:pt x="14288" y="120015"/>
                    </a:lnTo>
                    <a:lnTo>
                      <a:pt x="0" y="134303"/>
                    </a:lnTo>
                    <a:lnTo>
                      <a:pt x="20955" y="140875"/>
                    </a:lnTo>
                    <a:lnTo>
                      <a:pt x="35242" y="14763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id="{25930D7A-08A0-AE7A-5D19-0182DDC35957}"/>
                  </a:ext>
                </a:extLst>
              </p:cNvPr>
              <p:cNvSpPr/>
              <p:nvPr/>
            </p:nvSpPr>
            <p:spPr>
              <a:xfrm>
                <a:off x="2740756" y="2051608"/>
                <a:ext cx="490205" cy="235206"/>
              </a:xfrm>
              <a:custGeom>
                <a:avLst/>
                <a:gdLst>
                  <a:gd name="connsiteX0" fmla="*/ 493395 w 500062"/>
                  <a:gd name="connsiteY0" fmla="*/ 183737 h 239934"/>
                  <a:gd name="connsiteX1" fmla="*/ 500063 w 500062"/>
                  <a:gd name="connsiteY1" fmla="*/ 176213 h 239934"/>
                  <a:gd name="connsiteX2" fmla="*/ 472440 w 500062"/>
                  <a:gd name="connsiteY2" fmla="*/ 158972 h 239934"/>
                  <a:gd name="connsiteX3" fmla="*/ 458152 w 500062"/>
                  <a:gd name="connsiteY3" fmla="*/ 148590 h 239934"/>
                  <a:gd name="connsiteX4" fmla="*/ 437197 w 500062"/>
                  <a:gd name="connsiteY4" fmla="*/ 144685 h 239934"/>
                  <a:gd name="connsiteX5" fmla="*/ 419100 w 500062"/>
                  <a:gd name="connsiteY5" fmla="*/ 138113 h 239934"/>
                  <a:gd name="connsiteX6" fmla="*/ 401955 w 500062"/>
                  <a:gd name="connsiteY6" fmla="*/ 117062 h 239934"/>
                  <a:gd name="connsiteX7" fmla="*/ 404813 w 500062"/>
                  <a:gd name="connsiteY7" fmla="*/ 105727 h 239934"/>
                  <a:gd name="connsiteX8" fmla="*/ 404813 w 500062"/>
                  <a:gd name="connsiteY8" fmla="*/ 92297 h 239934"/>
                  <a:gd name="connsiteX9" fmla="*/ 390525 w 500062"/>
                  <a:gd name="connsiteY9" fmla="*/ 70485 h 239934"/>
                  <a:gd name="connsiteX10" fmla="*/ 380047 w 500062"/>
                  <a:gd name="connsiteY10" fmla="*/ 42863 h 239934"/>
                  <a:gd name="connsiteX11" fmla="*/ 362902 w 500062"/>
                  <a:gd name="connsiteY11" fmla="*/ 21812 h 239934"/>
                  <a:gd name="connsiteX12" fmla="*/ 338138 w 500062"/>
                  <a:gd name="connsiteY12" fmla="*/ 7525 h 239934"/>
                  <a:gd name="connsiteX13" fmla="*/ 313372 w 500062"/>
                  <a:gd name="connsiteY13" fmla="*/ 0 h 239934"/>
                  <a:gd name="connsiteX14" fmla="*/ 299085 w 500062"/>
                  <a:gd name="connsiteY14" fmla="*/ 7525 h 239934"/>
                  <a:gd name="connsiteX15" fmla="*/ 302895 w 500062"/>
                  <a:gd name="connsiteY15" fmla="*/ 28575 h 239934"/>
                  <a:gd name="connsiteX16" fmla="*/ 309563 w 500062"/>
                  <a:gd name="connsiteY16" fmla="*/ 59912 h 239934"/>
                  <a:gd name="connsiteX17" fmla="*/ 320992 w 500062"/>
                  <a:gd name="connsiteY17" fmla="*/ 78010 h 239934"/>
                  <a:gd name="connsiteX18" fmla="*/ 302895 w 500062"/>
                  <a:gd name="connsiteY18" fmla="*/ 84772 h 239934"/>
                  <a:gd name="connsiteX19" fmla="*/ 292417 w 500062"/>
                  <a:gd name="connsiteY19" fmla="*/ 67627 h 239934"/>
                  <a:gd name="connsiteX20" fmla="*/ 285750 w 500062"/>
                  <a:gd name="connsiteY20" fmla="*/ 45625 h 239934"/>
                  <a:gd name="connsiteX21" fmla="*/ 271463 w 500062"/>
                  <a:gd name="connsiteY21" fmla="*/ 28575 h 239934"/>
                  <a:gd name="connsiteX22" fmla="*/ 250507 w 500062"/>
                  <a:gd name="connsiteY22" fmla="*/ 18097 h 239934"/>
                  <a:gd name="connsiteX23" fmla="*/ 240030 w 500062"/>
                  <a:gd name="connsiteY23" fmla="*/ 21812 h 239934"/>
                  <a:gd name="connsiteX24" fmla="*/ 253365 w 500062"/>
                  <a:gd name="connsiteY24" fmla="*/ 32385 h 239934"/>
                  <a:gd name="connsiteX25" fmla="*/ 250507 w 500062"/>
                  <a:gd name="connsiteY25" fmla="*/ 45625 h 239934"/>
                  <a:gd name="connsiteX26" fmla="*/ 225742 w 500062"/>
                  <a:gd name="connsiteY26" fmla="*/ 45625 h 239934"/>
                  <a:gd name="connsiteX27" fmla="*/ 211455 w 500062"/>
                  <a:gd name="connsiteY27" fmla="*/ 49435 h 239934"/>
                  <a:gd name="connsiteX28" fmla="*/ 207645 w 500062"/>
                  <a:gd name="connsiteY28" fmla="*/ 42863 h 239934"/>
                  <a:gd name="connsiteX29" fmla="*/ 215265 w 500062"/>
                  <a:gd name="connsiteY29" fmla="*/ 32385 h 239934"/>
                  <a:gd name="connsiteX30" fmla="*/ 186690 w 500062"/>
                  <a:gd name="connsiteY30" fmla="*/ 21812 h 239934"/>
                  <a:gd name="connsiteX31" fmla="*/ 158115 w 500062"/>
                  <a:gd name="connsiteY31" fmla="*/ 14288 h 239934"/>
                  <a:gd name="connsiteX32" fmla="*/ 147638 w 500062"/>
                  <a:gd name="connsiteY32" fmla="*/ 39052 h 239934"/>
                  <a:gd name="connsiteX33" fmla="*/ 122872 w 500062"/>
                  <a:gd name="connsiteY33" fmla="*/ 32385 h 239934"/>
                  <a:gd name="connsiteX34" fmla="*/ 130492 w 500062"/>
                  <a:gd name="connsiteY34" fmla="*/ 21812 h 239934"/>
                  <a:gd name="connsiteX35" fmla="*/ 134302 w 500062"/>
                  <a:gd name="connsiteY35" fmla="*/ 14288 h 239934"/>
                  <a:gd name="connsiteX36" fmla="*/ 130492 w 500062"/>
                  <a:gd name="connsiteY36" fmla="*/ 0 h 239934"/>
                  <a:gd name="connsiteX37" fmla="*/ 88582 w 500062"/>
                  <a:gd name="connsiteY37" fmla="*/ 7525 h 239934"/>
                  <a:gd name="connsiteX38" fmla="*/ 45720 w 500062"/>
                  <a:gd name="connsiteY38" fmla="*/ 24765 h 239934"/>
                  <a:gd name="connsiteX39" fmla="*/ 18097 w 500062"/>
                  <a:gd name="connsiteY39" fmla="*/ 39052 h 239934"/>
                  <a:gd name="connsiteX40" fmla="*/ 20955 w 500062"/>
                  <a:gd name="connsiteY40" fmla="*/ 53340 h 239934"/>
                  <a:gd name="connsiteX41" fmla="*/ 14288 w 500062"/>
                  <a:gd name="connsiteY41" fmla="*/ 63722 h 239934"/>
                  <a:gd name="connsiteX42" fmla="*/ 0 w 500062"/>
                  <a:gd name="connsiteY42" fmla="*/ 74200 h 239934"/>
                  <a:gd name="connsiteX43" fmla="*/ 0 w 500062"/>
                  <a:gd name="connsiteY43" fmla="*/ 88487 h 239934"/>
                  <a:gd name="connsiteX44" fmla="*/ 24765 w 500062"/>
                  <a:gd name="connsiteY44" fmla="*/ 92297 h 239934"/>
                  <a:gd name="connsiteX45" fmla="*/ 35242 w 500062"/>
                  <a:gd name="connsiteY45" fmla="*/ 99060 h 239934"/>
                  <a:gd name="connsiteX46" fmla="*/ 60007 w 500062"/>
                  <a:gd name="connsiteY46" fmla="*/ 99060 h 239934"/>
                  <a:gd name="connsiteX47" fmla="*/ 80963 w 500062"/>
                  <a:gd name="connsiteY47" fmla="*/ 92297 h 239934"/>
                  <a:gd name="connsiteX48" fmla="*/ 99060 w 500062"/>
                  <a:gd name="connsiteY48" fmla="*/ 95250 h 239934"/>
                  <a:gd name="connsiteX49" fmla="*/ 80963 w 500062"/>
                  <a:gd name="connsiteY49" fmla="*/ 102775 h 239934"/>
                  <a:gd name="connsiteX50" fmla="*/ 53340 w 500062"/>
                  <a:gd name="connsiteY50" fmla="*/ 109538 h 239934"/>
                  <a:gd name="connsiteX51" fmla="*/ 24765 w 500062"/>
                  <a:gd name="connsiteY51" fmla="*/ 109538 h 239934"/>
                  <a:gd name="connsiteX52" fmla="*/ 18097 w 500062"/>
                  <a:gd name="connsiteY52" fmla="*/ 130397 h 239934"/>
                  <a:gd name="connsiteX53" fmla="*/ 49530 w 500062"/>
                  <a:gd name="connsiteY53" fmla="*/ 140875 h 239934"/>
                  <a:gd name="connsiteX54" fmla="*/ 91440 w 500062"/>
                  <a:gd name="connsiteY54" fmla="*/ 138113 h 239934"/>
                  <a:gd name="connsiteX55" fmla="*/ 151447 w 500062"/>
                  <a:gd name="connsiteY55" fmla="*/ 134302 h 239934"/>
                  <a:gd name="connsiteX56" fmla="*/ 182880 w 500062"/>
                  <a:gd name="connsiteY56" fmla="*/ 144685 h 239934"/>
                  <a:gd name="connsiteX57" fmla="*/ 193357 w 500062"/>
                  <a:gd name="connsiteY57" fmla="*/ 158972 h 239934"/>
                  <a:gd name="connsiteX58" fmla="*/ 172402 w 500062"/>
                  <a:gd name="connsiteY58" fmla="*/ 158972 h 239934"/>
                  <a:gd name="connsiteX59" fmla="*/ 140970 w 500062"/>
                  <a:gd name="connsiteY59" fmla="*/ 155162 h 239934"/>
                  <a:gd name="connsiteX60" fmla="*/ 84772 w 500062"/>
                  <a:gd name="connsiteY60" fmla="*/ 158972 h 239934"/>
                  <a:gd name="connsiteX61" fmla="*/ 53340 w 500062"/>
                  <a:gd name="connsiteY61" fmla="*/ 162877 h 239934"/>
                  <a:gd name="connsiteX62" fmla="*/ 39052 w 500062"/>
                  <a:gd name="connsiteY62" fmla="*/ 176213 h 239934"/>
                  <a:gd name="connsiteX63" fmla="*/ 70485 w 500062"/>
                  <a:gd name="connsiteY63" fmla="*/ 208597 h 239934"/>
                  <a:gd name="connsiteX64" fmla="*/ 144780 w 500062"/>
                  <a:gd name="connsiteY64" fmla="*/ 208597 h 239934"/>
                  <a:gd name="connsiteX65" fmla="*/ 147638 w 500062"/>
                  <a:gd name="connsiteY65" fmla="*/ 229552 h 239934"/>
                  <a:gd name="connsiteX66" fmla="*/ 158115 w 500062"/>
                  <a:gd name="connsiteY66" fmla="*/ 239935 h 239934"/>
                  <a:gd name="connsiteX67" fmla="*/ 267652 w 500062"/>
                  <a:gd name="connsiteY67" fmla="*/ 236125 h 239934"/>
                  <a:gd name="connsiteX68" fmla="*/ 296227 w 500062"/>
                  <a:gd name="connsiteY68" fmla="*/ 222885 h 239934"/>
                  <a:gd name="connsiteX69" fmla="*/ 323850 w 500062"/>
                  <a:gd name="connsiteY69" fmla="*/ 215265 h 239934"/>
                  <a:gd name="connsiteX70" fmla="*/ 344805 w 500062"/>
                  <a:gd name="connsiteY70" fmla="*/ 190500 h 239934"/>
                  <a:gd name="connsiteX71" fmla="*/ 356235 w 500062"/>
                  <a:gd name="connsiteY71" fmla="*/ 215265 h 239934"/>
                  <a:gd name="connsiteX72" fmla="*/ 373380 w 500062"/>
                  <a:gd name="connsiteY72" fmla="*/ 215265 h 239934"/>
                  <a:gd name="connsiteX73" fmla="*/ 380047 w 500062"/>
                  <a:gd name="connsiteY73" fmla="*/ 225647 h 239934"/>
                  <a:gd name="connsiteX74" fmla="*/ 422910 w 500062"/>
                  <a:gd name="connsiteY74" fmla="*/ 229552 h 239934"/>
                  <a:gd name="connsiteX75" fmla="*/ 461010 w 500062"/>
                  <a:gd name="connsiteY75" fmla="*/ 225647 h 239934"/>
                  <a:gd name="connsiteX76" fmla="*/ 479107 w 500062"/>
                  <a:gd name="connsiteY76" fmla="*/ 222885 h 239934"/>
                  <a:gd name="connsiteX77" fmla="*/ 472440 w 500062"/>
                  <a:gd name="connsiteY77" fmla="*/ 204788 h 239934"/>
                  <a:gd name="connsiteX78" fmla="*/ 450532 w 500062"/>
                  <a:gd name="connsiteY78" fmla="*/ 198025 h 239934"/>
                  <a:gd name="connsiteX79" fmla="*/ 447675 w 500062"/>
                  <a:gd name="connsiteY79" fmla="*/ 187547 h 239934"/>
                  <a:gd name="connsiteX80" fmla="*/ 464820 w 500062"/>
                  <a:gd name="connsiteY80" fmla="*/ 183737 h 239934"/>
                  <a:gd name="connsiteX81" fmla="*/ 493395 w 500062"/>
                  <a:gd name="connsiteY81" fmla="*/ 183737 h 239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500062" h="239934">
                    <a:moveTo>
                      <a:pt x="493395" y="183737"/>
                    </a:moveTo>
                    <a:lnTo>
                      <a:pt x="500063" y="176213"/>
                    </a:lnTo>
                    <a:lnTo>
                      <a:pt x="472440" y="158972"/>
                    </a:lnTo>
                    <a:lnTo>
                      <a:pt x="458152" y="148590"/>
                    </a:lnTo>
                    <a:lnTo>
                      <a:pt x="437197" y="144685"/>
                    </a:lnTo>
                    <a:lnTo>
                      <a:pt x="419100" y="138113"/>
                    </a:lnTo>
                    <a:lnTo>
                      <a:pt x="401955" y="117062"/>
                    </a:lnTo>
                    <a:lnTo>
                      <a:pt x="404813" y="105727"/>
                    </a:lnTo>
                    <a:lnTo>
                      <a:pt x="404813" y="92297"/>
                    </a:lnTo>
                    <a:lnTo>
                      <a:pt x="390525" y="70485"/>
                    </a:lnTo>
                    <a:lnTo>
                      <a:pt x="380047" y="42863"/>
                    </a:lnTo>
                    <a:lnTo>
                      <a:pt x="362902" y="21812"/>
                    </a:lnTo>
                    <a:lnTo>
                      <a:pt x="338138" y="7525"/>
                    </a:lnTo>
                    <a:lnTo>
                      <a:pt x="313372" y="0"/>
                    </a:lnTo>
                    <a:lnTo>
                      <a:pt x="299085" y="7525"/>
                    </a:lnTo>
                    <a:lnTo>
                      <a:pt x="302895" y="28575"/>
                    </a:lnTo>
                    <a:lnTo>
                      <a:pt x="309563" y="59912"/>
                    </a:lnTo>
                    <a:lnTo>
                      <a:pt x="320992" y="78010"/>
                    </a:lnTo>
                    <a:lnTo>
                      <a:pt x="302895" y="84772"/>
                    </a:lnTo>
                    <a:lnTo>
                      <a:pt x="292417" y="67627"/>
                    </a:lnTo>
                    <a:lnTo>
                      <a:pt x="285750" y="45625"/>
                    </a:lnTo>
                    <a:lnTo>
                      <a:pt x="271463" y="28575"/>
                    </a:lnTo>
                    <a:lnTo>
                      <a:pt x="250507" y="18097"/>
                    </a:lnTo>
                    <a:lnTo>
                      <a:pt x="240030" y="21812"/>
                    </a:lnTo>
                    <a:lnTo>
                      <a:pt x="253365" y="32385"/>
                    </a:lnTo>
                    <a:lnTo>
                      <a:pt x="250507" y="45625"/>
                    </a:lnTo>
                    <a:lnTo>
                      <a:pt x="225742" y="45625"/>
                    </a:lnTo>
                    <a:lnTo>
                      <a:pt x="211455" y="49435"/>
                    </a:lnTo>
                    <a:lnTo>
                      <a:pt x="207645" y="42863"/>
                    </a:lnTo>
                    <a:lnTo>
                      <a:pt x="215265" y="32385"/>
                    </a:lnTo>
                    <a:lnTo>
                      <a:pt x="186690" y="21812"/>
                    </a:lnTo>
                    <a:lnTo>
                      <a:pt x="158115" y="14288"/>
                    </a:lnTo>
                    <a:lnTo>
                      <a:pt x="147638" y="39052"/>
                    </a:lnTo>
                    <a:lnTo>
                      <a:pt x="122872" y="32385"/>
                    </a:lnTo>
                    <a:lnTo>
                      <a:pt x="130492" y="21812"/>
                    </a:lnTo>
                    <a:lnTo>
                      <a:pt x="134302" y="14288"/>
                    </a:lnTo>
                    <a:lnTo>
                      <a:pt x="130492" y="0"/>
                    </a:lnTo>
                    <a:lnTo>
                      <a:pt x="88582" y="7525"/>
                    </a:lnTo>
                    <a:lnTo>
                      <a:pt x="45720" y="24765"/>
                    </a:lnTo>
                    <a:lnTo>
                      <a:pt x="18097" y="39052"/>
                    </a:lnTo>
                    <a:lnTo>
                      <a:pt x="20955" y="53340"/>
                    </a:lnTo>
                    <a:lnTo>
                      <a:pt x="14288" y="63722"/>
                    </a:lnTo>
                    <a:lnTo>
                      <a:pt x="0" y="74200"/>
                    </a:lnTo>
                    <a:lnTo>
                      <a:pt x="0" y="88487"/>
                    </a:lnTo>
                    <a:lnTo>
                      <a:pt x="24765" y="92297"/>
                    </a:lnTo>
                    <a:lnTo>
                      <a:pt x="35242" y="99060"/>
                    </a:lnTo>
                    <a:lnTo>
                      <a:pt x="60007" y="99060"/>
                    </a:lnTo>
                    <a:lnTo>
                      <a:pt x="80963" y="92297"/>
                    </a:lnTo>
                    <a:lnTo>
                      <a:pt x="99060" y="95250"/>
                    </a:lnTo>
                    <a:lnTo>
                      <a:pt x="80963" y="102775"/>
                    </a:lnTo>
                    <a:lnTo>
                      <a:pt x="53340" y="109538"/>
                    </a:lnTo>
                    <a:lnTo>
                      <a:pt x="24765" y="109538"/>
                    </a:lnTo>
                    <a:lnTo>
                      <a:pt x="18097" y="130397"/>
                    </a:lnTo>
                    <a:lnTo>
                      <a:pt x="49530" y="140875"/>
                    </a:lnTo>
                    <a:lnTo>
                      <a:pt x="91440" y="138113"/>
                    </a:lnTo>
                    <a:lnTo>
                      <a:pt x="151447" y="134302"/>
                    </a:lnTo>
                    <a:lnTo>
                      <a:pt x="182880" y="144685"/>
                    </a:lnTo>
                    <a:lnTo>
                      <a:pt x="193357" y="158972"/>
                    </a:lnTo>
                    <a:lnTo>
                      <a:pt x="172402" y="158972"/>
                    </a:lnTo>
                    <a:lnTo>
                      <a:pt x="140970" y="155162"/>
                    </a:lnTo>
                    <a:lnTo>
                      <a:pt x="84772" y="158972"/>
                    </a:lnTo>
                    <a:lnTo>
                      <a:pt x="53340" y="162877"/>
                    </a:lnTo>
                    <a:lnTo>
                      <a:pt x="39052" y="176213"/>
                    </a:lnTo>
                    <a:lnTo>
                      <a:pt x="70485" y="208597"/>
                    </a:lnTo>
                    <a:lnTo>
                      <a:pt x="144780" y="208597"/>
                    </a:lnTo>
                    <a:lnTo>
                      <a:pt x="147638" y="229552"/>
                    </a:lnTo>
                    <a:lnTo>
                      <a:pt x="158115" y="239935"/>
                    </a:lnTo>
                    <a:lnTo>
                      <a:pt x="267652" y="236125"/>
                    </a:lnTo>
                    <a:lnTo>
                      <a:pt x="296227" y="222885"/>
                    </a:lnTo>
                    <a:lnTo>
                      <a:pt x="323850" y="215265"/>
                    </a:lnTo>
                    <a:lnTo>
                      <a:pt x="344805" y="190500"/>
                    </a:lnTo>
                    <a:lnTo>
                      <a:pt x="356235" y="215265"/>
                    </a:lnTo>
                    <a:lnTo>
                      <a:pt x="373380" y="215265"/>
                    </a:lnTo>
                    <a:lnTo>
                      <a:pt x="380047" y="225647"/>
                    </a:lnTo>
                    <a:lnTo>
                      <a:pt x="422910" y="229552"/>
                    </a:lnTo>
                    <a:lnTo>
                      <a:pt x="461010" y="225647"/>
                    </a:lnTo>
                    <a:lnTo>
                      <a:pt x="479107" y="222885"/>
                    </a:lnTo>
                    <a:lnTo>
                      <a:pt x="472440" y="204788"/>
                    </a:lnTo>
                    <a:lnTo>
                      <a:pt x="450532" y="198025"/>
                    </a:lnTo>
                    <a:lnTo>
                      <a:pt x="447675" y="187547"/>
                    </a:lnTo>
                    <a:lnTo>
                      <a:pt x="464820" y="183737"/>
                    </a:lnTo>
                    <a:lnTo>
                      <a:pt x="493395" y="18373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8" name="Freeform: Shape 407">
                <a:extLst>
                  <a:ext uri="{FF2B5EF4-FFF2-40B4-BE49-F238E27FC236}">
                    <a16:creationId xmlns:a16="http://schemas.microsoft.com/office/drawing/2014/main" id="{68B25B3C-F4F5-F67D-E242-B4CEB0322045}"/>
                  </a:ext>
                </a:extLst>
              </p:cNvPr>
              <p:cNvSpPr/>
              <p:nvPr/>
            </p:nvSpPr>
            <p:spPr>
              <a:xfrm>
                <a:off x="2779038" y="1854590"/>
                <a:ext cx="327737" cy="141927"/>
              </a:xfrm>
              <a:custGeom>
                <a:avLst/>
                <a:gdLst>
                  <a:gd name="connsiteX0" fmla="*/ 31433 w 334327"/>
                  <a:gd name="connsiteY0" fmla="*/ 42863 h 144780"/>
                  <a:gd name="connsiteX1" fmla="*/ 27623 w 334327"/>
                  <a:gd name="connsiteY1" fmla="*/ 53340 h 144780"/>
                  <a:gd name="connsiteX2" fmla="*/ 60008 w 334327"/>
                  <a:gd name="connsiteY2" fmla="*/ 59912 h 144780"/>
                  <a:gd name="connsiteX3" fmla="*/ 17145 w 334327"/>
                  <a:gd name="connsiteY3" fmla="*/ 63818 h 144780"/>
                  <a:gd name="connsiteX4" fmla="*/ 6667 w 334327"/>
                  <a:gd name="connsiteY4" fmla="*/ 74200 h 144780"/>
                  <a:gd name="connsiteX5" fmla="*/ 31433 w 334327"/>
                  <a:gd name="connsiteY5" fmla="*/ 80963 h 144780"/>
                  <a:gd name="connsiteX6" fmla="*/ 0 w 334327"/>
                  <a:gd name="connsiteY6" fmla="*/ 84677 h 144780"/>
                  <a:gd name="connsiteX7" fmla="*/ 2858 w 334327"/>
                  <a:gd name="connsiteY7" fmla="*/ 98965 h 144780"/>
                  <a:gd name="connsiteX8" fmla="*/ 35242 w 334327"/>
                  <a:gd name="connsiteY8" fmla="*/ 102775 h 144780"/>
                  <a:gd name="connsiteX9" fmla="*/ 52388 w 334327"/>
                  <a:gd name="connsiteY9" fmla="*/ 109538 h 144780"/>
                  <a:gd name="connsiteX10" fmla="*/ 83820 w 334327"/>
                  <a:gd name="connsiteY10" fmla="*/ 102775 h 144780"/>
                  <a:gd name="connsiteX11" fmla="*/ 91440 w 334327"/>
                  <a:gd name="connsiteY11" fmla="*/ 88487 h 144780"/>
                  <a:gd name="connsiteX12" fmla="*/ 108585 w 334327"/>
                  <a:gd name="connsiteY12" fmla="*/ 84677 h 144780"/>
                  <a:gd name="connsiteX13" fmla="*/ 101917 w 334327"/>
                  <a:gd name="connsiteY13" fmla="*/ 98965 h 144780"/>
                  <a:gd name="connsiteX14" fmla="*/ 140970 w 334327"/>
                  <a:gd name="connsiteY14" fmla="*/ 98965 h 144780"/>
                  <a:gd name="connsiteX15" fmla="*/ 172403 w 334327"/>
                  <a:gd name="connsiteY15" fmla="*/ 98965 h 144780"/>
                  <a:gd name="connsiteX16" fmla="*/ 168592 w 334327"/>
                  <a:gd name="connsiteY16" fmla="*/ 109538 h 144780"/>
                  <a:gd name="connsiteX17" fmla="*/ 140970 w 334327"/>
                  <a:gd name="connsiteY17" fmla="*/ 113252 h 144780"/>
                  <a:gd name="connsiteX18" fmla="*/ 108585 w 334327"/>
                  <a:gd name="connsiteY18" fmla="*/ 113252 h 144780"/>
                  <a:gd name="connsiteX19" fmla="*/ 87630 w 334327"/>
                  <a:gd name="connsiteY19" fmla="*/ 123825 h 144780"/>
                  <a:gd name="connsiteX20" fmla="*/ 101917 w 334327"/>
                  <a:gd name="connsiteY20" fmla="*/ 138113 h 144780"/>
                  <a:gd name="connsiteX21" fmla="*/ 130492 w 334327"/>
                  <a:gd name="connsiteY21" fmla="*/ 144780 h 144780"/>
                  <a:gd name="connsiteX22" fmla="*/ 168592 w 334327"/>
                  <a:gd name="connsiteY22" fmla="*/ 134302 h 144780"/>
                  <a:gd name="connsiteX23" fmla="*/ 200978 w 334327"/>
                  <a:gd name="connsiteY23" fmla="*/ 116205 h 144780"/>
                  <a:gd name="connsiteX24" fmla="*/ 235267 w 334327"/>
                  <a:gd name="connsiteY24" fmla="*/ 113252 h 144780"/>
                  <a:gd name="connsiteX25" fmla="*/ 260033 w 334327"/>
                  <a:gd name="connsiteY25" fmla="*/ 102775 h 144780"/>
                  <a:gd name="connsiteX26" fmla="*/ 295275 w 334327"/>
                  <a:gd name="connsiteY26" fmla="*/ 113252 h 144780"/>
                  <a:gd name="connsiteX27" fmla="*/ 320040 w 334327"/>
                  <a:gd name="connsiteY27" fmla="*/ 102775 h 144780"/>
                  <a:gd name="connsiteX28" fmla="*/ 334328 w 334327"/>
                  <a:gd name="connsiteY28" fmla="*/ 84677 h 144780"/>
                  <a:gd name="connsiteX29" fmla="*/ 334328 w 334327"/>
                  <a:gd name="connsiteY29" fmla="*/ 59912 h 144780"/>
                  <a:gd name="connsiteX30" fmla="*/ 323850 w 334327"/>
                  <a:gd name="connsiteY30" fmla="*/ 49530 h 144780"/>
                  <a:gd name="connsiteX31" fmla="*/ 302895 w 334327"/>
                  <a:gd name="connsiteY31" fmla="*/ 49530 h 144780"/>
                  <a:gd name="connsiteX32" fmla="*/ 295275 w 334327"/>
                  <a:gd name="connsiteY32" fmla="*/ 59912 h 144780"/>
                  <a:gd name="connsiteX33" fmla="*/ 284798 w 334327"/>
                  <a:gd name="connsiteY33" fmla="*/ 59912 h 144780"/>
                  <a:gd name="connsiteX34" fmla="*/ 260033 w 334327"/>
                  <a:gd name="connsiteY34" fmla="*/ 53340 h 144780"/>
                  <a:gd name="connsiteX35" fmla="*/ 257175 w 334327"/>
                  <a:gd name="connsiteY35" fmla="*/ 39052 h 144780"/>
                  <a:gd name="connsiteX36" fmla="*/ 260033 w 334327"/>
                  <a:gd name="connsiteY36" fmla="*/ 28575 h 144780"/>
                  <a:gd name="connsiteX37" fmla="*/ 249555 w 334327"/>
                  <a:gd name="connsiteY37" fmla="*/ 14288 h 144780"/>
                  <a:gd name="connsiteX38" fmla="*/ 246698 w 334327"/>
                  <a:gd name="connsiteY38" fmla="*/ 3715 h 144780"/>
                  <a:gd name="connsiteX39" fmla="*/ 228600 w 334327"/>
                  <a:gd name="connsiteY39" fmla="*/ 0 h 144780"/>
                  <a:gd name="connsiteX40" fmla="*/ 214313 w 334327"/>
                  <a:gd name="connsiteY40" fmla="*/ 18002 h 144780"/>
                  <a:gd name="connsiteX41" fmla="*/ 203835 w 334327"/>
                  <a:gd name="connsiteY41" fmla="*/ 35243 h 144780"/>
                  <a:gd name="connsiteX42" fmla="*/ 224790 w 334327"/>
                  <a:gd name="connsiteY42" fmla="*/ 42863 h 144780"/>
                  <a:gd name="connsiteX43" fmla="*/ 228600 w 334327"/>
                  <a:gd name="connsiteY43" fmla="*/ 49530 h 144780"/>
                  <a:gd name="connsiteX44" fmla="*/ 207645 w 334327"/>
                  <a:gd name="connsiteY44" fmla="*/ 59912 h 144780"/>
                  <a:gd name="connsiteX45" fmla="*/ 239078 w 334327"/>
                  <a:gd name="connsiteY45" fmla="*/ 67627 h 144780"/>
                  <a:gd name="connsiteX46" fmla="*/ 239078 w 334327"/>
                  <a:gd name="connsiteY46" fmla="*/ 78105 h 144780"/>
                  <a:gd name="connsiteX47" fmla="*/ 176213 w 334327"/>
                  <a:gd name="connsiteY47" fmla="*/ 78105 h 144780"/>
                  <a:gd name="connsiteX48" fmla="*/ 172403 w 334327"/>
                  <a:gd name="connsiteY48" fmla="*/ 74200 h 144780"/>
                  <a:gd name="connsiteX49" fmla="*/ 172403 w 334327"/>
                  <a:gd name="connsiteY49" fmla="*/ 70390 h 144780"/>
                  <a:gd name="connsiteX50" fmla="*/ 172403 w 334327"/>
                  <a:gd name="connsiteY50" fmla="*/ 63818 h 144780"/>
                  <a:gd name="connsiteX51" fmla="*/ 154305 w 334327"/>
                  <a:gd name="connsiteY51" fmla="*/ 49530 h 144780"/>
                  <a:gd name="connsiteX52" fmla="*/ 130492 w 334327"/>
                  <a:gd name="connsiteY52" fmla="*/ 35243 h 144780"/>
                  <a:gd name="connsiteX53" fmla="*/ 116205 w 334327"/>
                  <a:gd name="connsiteY53" fmla="*/ 35243 h 144780"/>
                  <a:gd name="connsiteX54" fmla="*/ 101917 w 334327"/>
                  <a:gd name="connsiteY54" fmla="*/ 39052 h 144780"/>
                  <a:gd name="connsiteX55" fmla="*/ 87630 w 334327"/>
                  <a:gd name="connsiteY55" fmla="*/ 24765 h 144780"/>
                  <a:gd name="connsiteX56" fmla="*/ 60008 w 334327"/>
                  <a:gd name="connsiteY56" fmla="*/ 28575 h 144780"/>
                  <a:gd name="connsiteX57" fmla="*/ 45720 w 334327"/>
                  <a:gd name="connsiteY57" fmla="*/ 35243 h 144780"/>
                  <a:gd name="connsiteX58" fmla="*/ 31433 w 334327"/>
                  <a:gd name="connsiteY58" fmla="*/ 42863 h 144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334327" h="144780">
                    <a:moveTo>
                      <a:pt x="31433" y="42863"/>
                    </a:moveTo>
                    <a:lnTo>
                      <a:pt x="27623" y="53340"/>
                    </a:lnTo>
                    <a:lnTo>
                      <a:pt x="60008" y="59912"/>
                    </a:lnTo>
                    <a:lnTo>
                      <a:pt x="17145" y="63818"/>
                    </a:lnTo>
                    <a:lnTo>
                      <a:pt x="6667" y="74200"/>
                    </a:lnTo>
                    <a:lnTo>
                      <a:pt x="31433" y="80963"/>
                    </a:lnTo>
                    <a:lnTo>
                      <a:pt x="0" y="84677"/>
                    </a:lnTo>
                    <a:lnTo>
                      <a:pt x="2858" y="98965"/>
                    </a:lnTo>
                    <a:lnTo>
                      <a:pt x="35242" y="102775"/>
                    </a:lnTo>
                    <a:lnTo>
                      <a:pt x="52388" y="109538"/>
                    </a:lnTo>
                    <a:lnTo>
                      <a:pt x="83820" y="102775"/>
                    </a:lnTo>
                    <a:lnTo>
                      <a:pt x="91440" y="88487"/>
                    </a:lnTo>
                    <a:lnTo>
                      <a:pt x="108585" y="84677"/>
                    </a:lnTo>
                    <a:lnTo>
                      <a:pt x="101917" y="98965"/>
                    </a:lnTo>
                    <a:lnTo>
                      <a:pt x="140970" y="98965"/>
                    </a:lnTo>
                    <a:lnTo>
                      <a:pt x="172403" y="98965"/>
                    </a:lnTo>
                    <a:lnTo>
                      <a:pt x="168592" y="109538"/>
                    </a:lnTo>
                    <a:lnTo>
                      <a:pt x="140970" y="113252"/>
                    </a:lnTo>
                    <a:lnTo>
                      <a:pt x="108585" y="113252"/>
                    </a:lnTo>
                    <a:lnTo>
                      <a:pt x="87630" y="123825"/>
                    </a:lnTo>
                    <a:lnTo>
                      <a:pt x="101917" y="138113"/>
                    </a:lnTo>
                    <a:lnTo>
                      <a:pt x="130492" y="144780"/>
                    </a:lnTo>
                    <a:lnTo>
                      <a:pt x="168592" y="134302"/>
                    </a:lnTo>
                    <a:lnTo>
                      <a:pt x="200978" y="116205"/>
                    </a:lnTo>
                    <a:lnTo>
                      <a:pt x="235267" y="113252"/>
                    </a:lnTo>
                    <a:lnTo>
                      <a:pt x="260033" y="102775"/>
                    </a:lnTo>
                    <a:lnTo>
                      <a:pt x="295275" y="113252"/>
                    </a:lnTo>
                    <a:lnTo>
                      <a:pt x="320040" y="102775"/>
                    </a:lnTo>
                    <a:lnTo>
                      <a:pt x="334328" y="84677"/>
                    </a:lnTo>
                    <a:lnTo>
                      <a:pt x="334328" y="59912"/>
                    </a:lnTo>
                    <a:lnTo>
                      <a:pt x="323850" y="49530"/>
                    </a:lnTo>
                    <a:lnTo>
                      <a:pt x="302895" y="49530"/>
                    </a:lnTo>
                    <a:lnTo>
                      <a:pt x="295275" y="59912"/>
                    </a:lnTo>
                    <a:lnTo>
                      <a:pt x="284798" y="59912"/>
                    </a:lnTo>
                    <a:lnTo>
                      <a:pt x="260033" y="53340"/>
                    </a:lnTo>
                    <a:lnTo>
                      <a:pt x="257175" y="39052"/>
                    </a:lnTo>
                    <a:lnTo>
                      <a:pt x="260033" y="28575"/>
                    </a:lnTo>
                    <a:lnTo>
                      <a:pt x="249555" y="14288"/>
                    </a:lnTo>
                    <a:lnTo>
                      <a:pt x="246698" y="3715"/>
                    </a:lnTo>
                    <a:lnTo>
                      <a:pt x="228600" y="0"/>
                    </a:lnTo>
                    <a:lnTo>
                      <a:pt x="214313" y="18002"/>
                    </a:lnTo>
                    <a:lnTo>
                      <a:pt x="203835" y="35243"/>
                    </a:lnTo>
                    <a:lnTo>
                      <a:pt x="224790" y="42863"/>
                    </a:lnTo>
                    <a:lnTo>
                      <a:pt x="228600" y="49530"/>
                    </a:lnTo>
                    <a:lnTo>
                      <a:pt x="207645" y="59912"/>
                    </a:lnTo>
                    <a:lnTo>
                      <a:pt x="239078" y="67627"/>
                    </a:lnTo>
                    <a:lnTo>
                      <a:pt x="239078" y="78105"/>
                    </a:lnTo>
                    <a:lnTo>
                      <a:pt x="176213" y="78105"/>
                    </a:lnTo>
                    <a:lnTo>
                      <a:pt x="172403" y="74200"/>
                    </a:lnTo>
                    <a:lnTo>
                      <a:pt x="172403" y="70390"/>
                    </a:lnTo>
                    <a:lnTo>
                      <a:pt x="172403" y="63818"/>
                    </a:lnTo>
                    <a:lnTo>
                      <a:pt x="154305" y="49530"/>
                    </a:lnTo>
                    <a:lnTo>
                      <a:pt x="130492" y="35243"/>
                    </a:lnTo>
                    <a:lnTo>
                      <a:pt x="116205" y="35243"/>
                    </a:lnTo>
                    <a:lnTo>
                      <a:pt x="101917" y="39052"/>
                    </a:lnTo>
                    <a:lnTo>
                      <a:pt x="87630" y="24765"/>
                    </a:lnTo>
                    <a:lnTo>
                      <a:pt x="60008" y="28575"/>
                    </a:lnTo>
                    <a:lnTo>
                      <a:pt x="45720" y="35243"/>
                    </a:lnTo>
                    <a:lnTo>
                      <a:pt x="31433" y="428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id="{E2B8573B-908D-E083-D815-A1BAA2236EC8}"/>
                  </a:ext>
                </a:extLst>
              </p:cNvPr>
              <p:cNvSpPr/>
              <p:nvPr/>
            </p:nvSpPr>
            <p:spPr>
              <a:xfrm>
                <a:off x="3106776" y="1706127"/>
                <a:ext cx="183009" cy="97108"/>
              </a:xfrm>
              <a:custGeom>
                <a:avLst/>
                <a:gdLst>
                  <a:gd name="connsiteX0" fmla="*/ 45720 w 186689"/>
                  <a:gd name="connsiteY0" fmla="*/ 35147 h 99060"/>
                  <a:gd name="connsiteX1" fmla="*/ 60008 w 186689"/>
                  <a:gd name="connsiteY1" fmla="*/ 49435 h 99060"/>
                  <a:gd name="connsiteX2" fmla="*/ 56197 w 186689"/>
                  <a:gd name="connsiteY2" fmla="*/ 53340 h 99060"/>
                  <a:gd name="connsiteX3" fmla="*/ 31433 w 186689"/>
                  <a:gd name="connsiteY3" fmla="*/ 49435 h 99060"/>
                  <a:gd name="connsiteX4" fmla="*/ 17145 w 186689"/>
                  <a:gd name="connsiteY4" fmla="*/ 53340 h 99060"/>
                  <a:gd name="connsiteX5" fmla="*/ 14288 w 186689"/>
                  <a:gd name="connsiteY5" fmla="*/ 70485 h 99060"/>
                  <a:gd name="connsiteX6" fmla="*/ 35242 w 186689"/>
                  <a:gd name="connsiteY6" fmla="*/ 74200 h 99060"/>
                  <a:gd name="connsiteX7" fmla="*/ 60008 w 186689"/>
                  <a:gd name="connsiteY7" fmla="*/ 70485 h 99060"/>
                  <a:gd name="connsiteX8" fmla="*/ 87630 w 186689"/>
                  <a:gd name="connsiteY8" fmla="*/ 66675 h 99060"/>
                  <a:gd name="connsiteX9" fmla="*/ 116205 w 186689"/>
                  <a:gd name="connsiteY9" fmla="*/ 70485 h 99060"/>
                  <a:gd name="connsiteX10" fmla="*/ 130492 w 186689"/>
                  <a:gd name="connsiteY10" fmla="*/ 80963 h 99060"/>
                  <a:gd name="connsiteX11" fmla="*/ 144780 w 186689"/>
                  <a:gd name="connsiteY11" fmla="*/ 99060 h 99060"/>
                  <a:gd name="connsiteX12" fmla="*/ 172402 w 186689"/>
                  <a:gd name="connsiteY12" fmla="*/ 99060 h 99060"/>
                  <a:gd name="connsiteX13" fmla="*/ 186690 w 186689"/>
                  <a:gd name="connsiteY13" fmla="*/ 84773 h 99060"/>
                  <a:gd name="connsiteX14" fmla="*/ 165735 w 186689"/>
                  <a:gd name="connsiteY14" fmla="*/ 66675 h 99060"/>
                  <a:gd name="connsiteX15" fmla="*/ 158115 w 186689"/>
                  <a:gd name="connsiteY15" fmla="*/ 49435 h 99060"/>
                  <a:gd name="connsiteX16" fmla="*/ 140970 w 186689"/>
                  <a:gd name="connsiteY16" fmla="*/ 35147 h 99060"/>
                  <a:gd name="connsiteX17" fmla="*/ 122872 w 186689"/>
                  <a:gd name="connsiteY17" fmla="*/ 31432 h 99060"/>
                  <a:gd name="connsiteX18" fmla="*/ 112395 w 186689"/>
                  <a:gd name="connsiteY18" fmla="*/ 20860 h 99060"/>
                  <a:gd name="connsiteX19" fmla="*/ 87630 w 186689"/>
                  <a:gd name="connsiteY19" fmla="*/ 18002 h 99060"/>
                  <a:gd name="connsiteX20" fmla="*/ 77152 w 186689"/>
                  <a:gd name="connsiteY20" fmla="*/ 35147 h 99060"/>
                  <a:gd name="connsiteX21" fmla="*/ 74295 w 186689"/>
                  <a:gd name="connsiteY21" fmla="*/ 18002 h 99060"/>
                  <a:gd name="connsiteX22" fmla="*/ 70485 w 186689"/>
                  <a:gd name="connsiteY22" fmla="*/ 3715 h 99060"/>
                  <a:gd name="connsiteX23" fmla="*/ 31433 w 186689"/>
                  <a:gd name="connsiteY23" fmla="*/ 0 h 99060"/>
                  <a:gd name="connsiteX24" fmla="*/ 0 w 186689"/>
                  <a:gd name="connsiteY24" fmla="*/ 3715 h 99060"/>
                  <a:gd name="connsiteX25" fmla="*/ 0 w 186689"/>
                  <a:gd name="connsiteY25" fmla="*/ 20860 h 99060"/>
                  <a:gd name="connsiteX26" fmla="*/ 28575 w 186689"/>
                  <a:gd name="connsiteY26" fmla="*/ 28575 h 99060"/>
                  <a:gd name="connsiteX27" fmla="*/ 45720 w 186689"/>
                  <a:gd name="connsiteY27" fmla="*/ 35147 h 99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86689" h="99060">
                    <a:moveTo>
                      <a:pt x="45720" y="35147"/>
                    </a:moveTo>
                    <a:lnTo>
                      <a:pt x="60008" y="49435"/>
                    </a:lnTo>
                    <a:lnTo>
                      <a:pt x="56197" y="53340"/>
                    </a:lnTo>
                    <a:lnTo>
                      <a:pt x="31433" y="49435"/>
                    </a:lnTo>
                    <a:lnTo>
                      <a:pt x="17145" y="53340"/>
                    </a:lnTo>
                    <a:lnTo>
                      <a:pt x="14288" y="70485"/>
                    </a:lnTo>
                    <a:lnTo>
                      <a:pt x="35242" y="74200"/>
                    </a:lnTo>
                    <a:lnTo>
                      <a:pt x="60008" y="70485"/>
                    </a:lnTo>
                    <a:lnTo>
                      <a:pt x="87630" y="66675"/>
                    </a:lnTo>
                    <a:lnTo>
                      <a:pt x="116205" y="70485"/>
                    </a:lnTo>
                    <a:lnTo>
                      <a:pt x="130492" y="80963"/>
                    </a:lnTo>
                    <a:lnTo>
                      <a:pt x="144780" y="99060"/>
                    </a:lnTo>
                    <a:lnTo>
                      <a:pt x="172402" y="99060"/>
                    </a:lnTo>
                    <a:lnTo>
                      <a:pt x="186690" y="84773"/>
                    </a:lnTo>
                    <a:lnTo>
                      <a:pt x="165735" y="66675"/>
                    </a:lnTo>
                    <a:lnTo>
                      <a:pt x="158115" y="49435"/>
                    </a:lnTo>
                    <a:lnTo>
                      <a:pt x="140970" y="35147"/>
                    </a:lnTo>
                    <a:lnTo>
                      <a:pt x="122872" y="31432"/>
                    </a:lnTo>
                    <a:lnTo>
                      <a:pt x="112395" y="20860"/>
                    </a:lnTo>
                    <a:lnTo>
                      <a:pt x="87630" y="18002"/>
                    </a:lnTo>
                    <a:lnTo>
                      <a:pt x="77152" y="35147"/>
                    </a:lnTo>
                    <a:lnTo>
                      <a:pt x="74295" y="18002"/>
                    </a:lnTo>
                    <a:lnTo>
                      <a:pt x="70485" y="3715"/>
                    </a:lnTo>
                    <a:lnTo>
                      <a:pt x="31433" y="0"/>
                    </a:lnTo>
                    <a:lnTo>
                      <a:pt x="0" y="3715"/>
                    </a:lnTo>
                    <a:lnTo>
                      <a:pt x="0" y="20860"/>
                    </a:lnTo>
                    <a:lnTo>
                      <a:pt x="28575" y="28575"/>
                    </a:lnTo>
                    <a:lnTo>
                      <a:pt x="45720" y="3514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0" name="Freeform: Shape 409">
                <a:extLst>
                  <a:ext uri="{FF2B5EF4-FFF2-40B4-BE49-F238E27FC236}">
                    <a16:creationId xmlns:a16="http://schemas.microsoft.com/office/drawing/2014/main" id="{C72514CC-AAF3-1CEB-0075-F7A11A1BF6D3}"/>
                  </a:ext>
                </a:extLst>
              </p:cNvPr>
              <p:cNvSpPr/>
              <p:nvPr/>
            </p:nvSpPr>
            <p:spPr>
              <a:xfrm>
                <a:off x="3279516" y="1872238"/>
                <a:ext cx="41083" cy="10364"/>
              </a:xfrm>
              <a:custGeom>
                <a:avLst/>
                <a:gdLst>
                  <a:gd name="connsiteX0" fmla="*/ 14288 w 41909"/>
                  <a:gd name="connsiteY0" fmla="*/ 0 h 10572"/>
                  <a:gd name="connsiteX1" fmla="*/ 35242 w 41909"/>
                  <a:gd name="connsiteY1" fmla="*/ 0 h 10572"/>
                  <a:gd name="connsiteX2" fmla="*/ 41910 w 41909"/>
                  <a:gd name="connsiteY2" fmla="*/ 10573 h 10572"/>
                  <a:gd name="connsiteX3" fmla="*/ 35242 w 41909"/>
                  <a:gd name="connsiteY3" fmla="*/ 0 h 10572"/>
                  <a:gd name="connsiteX4" fmla="*/ 14288 w 41909"/>
                  <a:gd name="connsiteY4" fmla="*/ 0 h 10572"/>
                  <a:gd name="connsiteX5" fmla="*/ 0 w 41909"/>
                  <a:gd name="connsiteY5" fmla="*/ 6763 h 10572"/>
                  <a:gd name="connsiteX6" fmla="*/ 14288 w 41909"/>
                  <a:gd name="connsiteY6" fmla="*/ 0 h 1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0572">
                    <a:moveTo>
                      <a:pt x="14288" y="0"/>
                    </a:moveTo>
                    <a:lnTo>
                      <a:pt x="35242" y="0"/>
                    </a:lnTo>
                    <a:lnTo>
                      <a:pt x="41910" y="10573"/>
                    </a:lnTo>
                    <a:lnTo>
                      <a:pt x="35242" y="0"/>
                    </a:lnTo>
                    <a:lnTo>
                      <a:pt x="14288" y="0"/>
                    </a:lnTo>
                    <a:lnTo>
                      <a:pt x="0" y="6763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4E44C727-1A10-75C9-7BF4-0D3153C587FE}"/>
                  </a:ext>
                </a:extLst>
              </p:cNvPr>
              <p:cNvSpPr/>
              <p:nvPr/>
            </p:nvSpPr>
            <p:spPr>
              <a:xfrm>
                <a:off x="3134788" y="1864861"/>
                <a:ext cx="13071" cy="7376"/>
              </a:xfrm>
              <a:custGeom>
                <a:avLst/>
                <a:gdLst>
                  <a:gd name="connsiteX0" fmla="*/ 0 w 13334"/>
                  <a:gd name="connsiteY0" fmla="*/ 7525 h 7524"/>
                  <a:gd name="connsiteX1" fmla="*/ 0 w 13334"/>
                  <a:gd name="connsiteY1" fmla="*/ 7525 h 7524"/>
                  <a:gd name="connsiteX2" fmla="*/ 13335 w 13334"/>
                  <a:gd name="connsiteY2" fmla="*/ 0 h 7524"/>
                  <a:gd name="connsiteX3" fmla="*/ 0 w 13334"/>
                  <a:gd name="connsiteY3" fmla="*/ 7525 h 7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4" h="7524">
                    <a:moveTo>
                      <a:pt x="0" y="7525"/>
                    </a:moveTo>
                    <a:lnTo>
                      <a:pt x="0" y="7525"/>
                    </a:lnTo>
                    <a:lnTo>
                      <a:pt x="13335" y="0"/>
                    </a:lnTo>
                    <a:lnTo>
                      <a:pt x="0" y="7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8315295B-2AF5-2144-AB45-F0BFC7961C0D}"/>
                  </a:ext>
                </a:extLst>
              </p:cNvPr>
              <p:cNvSpPr/>
              <p:nvPr/>
            </p:nvSpPr>
            <p:spPr>
              <a:xfrm>
                <a:off x="3241233" y="1864861"/>
                <a:ext cx="3735" cy="7376"/>
              </a:xfrm>
              <a:custGeom>
                <a:avLst/>
                <a:gdLst>
                  <a:gd name="connsiteX0" fmla="*/ 0 w 3810"/>
                  <a:gd name="connsiteY0" fmla="*/ 7525 h 7524"/>
                  <a:gd name="connsiteX1" fmla="*/ 0 w 3810"/>
                  <a:gd name="connsiteY1" fmla="*/ 7525 h 7524"/>
                  <a:gd name="connsiteX2" fmla="*/ 3810 w 3810"/>
                  <a:gd name="connsiteY2" fmla="*/ 0 h 7524"/>
                  <a:gd name="connsiteX3" fmla="*/ 0 w 3810"/>
                  <a:gd name="connsiteY3" fmla="*/ 7525 h 7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" h="7524">
                    <a:moveTo>
                      <a:pt x="0" y="7525"/>
                    </a:moveTo>
                    <a:lnTo>
                      <a:pt x="0" y="7525"/>
                    </a:lnTo>
                    <a:lnTo>
                      <a:pt x="3810" y="0"/>
                    </a:lnTo>
                    <a:lnTo>
                      <a:pt x="0" y="7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E51830C1-E905-60F1-F9BB-B890451A6F36}"/>
                  </a:ext>
                </a:extLst>
              </p:cNvPr>
              <p:cNvSpPr/>
              <p:nvPr/>
            </p:nvSpPr>
            <p:spPr>
              <a:xfrm>
                <a:off x="3375689" y="1854590"/>
                <a:ext cx="466861" cy="145661"/>
              </a:xfrm>
              <a:custGeom>
                <a:avLst/>
                <a:gdLst>
                  <a:gd name="connsiteX0" fmla="*/ 204788 w 476249"/>
                  <a:gd name="connsiteY0" fmla="*/ 148590 h 148589"/>
                  <a:gd name="connsiteX1" fmla="*/ 211455 w 476249"/>
                  <a:gd name="connsiteY1" fmla="*/ 138113 h 148589"/>
                  <a:gd name="connsiteX2" fmla="*/ 221932 w 476249"/>
                  <a:gd name="connsiteY2" fmla="*/ 127540 h 148589"/>
                  <a:gd name="connsiteX3" fmla="*/ 229552 w 476249"/>
                  <a:gd name="connsiteY3" fmla="*/ 130493 h 148589"/>
                  <a:gd name="connsiteX4" fmla="*/ 232410 w 476249"/>
                  <a:gd name="connsiteY4" fmla="*/ 148590 h 148589"/>
                  <a:gd name="connsiteX5" fmla="*/ 362902 w 476249"/>
                  <a:gd name="connsiteY5" fmla="*/ 148590 h 148589"/>
                  <a:gd name="connsiteX6" fmla="*/ 373380 w 476249"/>
                  <a:gd name="connsiteY6" fmla="*/ 134302 h 148589"/>
                  <a:gd name="connsiteX7" fmla="*/ 391477 w 476249"/>
                  <a:gd name="connsiteY7" fmla="*/ 148590 h 148589"/>
                  <a:gd name="connsiteX8" fmla="*/ 458152 w 476249"/>
                  <a:gd name="connsiteY8" fmla="*/ 144780 h 148589"/>
                  <a:gd name="connsiteX9" fmla="*/ 461962 w 476249"/>
                  <a:gd name="connsiteY9" fmla="*/ 123825 h 148589"/>
                  <a:gd name="connsiteX10" fmla="*/ 472440 w 476249"/>
                  <a:gd name="connsiteY10" fmla="*/ 116205 h 148589"/>
                  <a:gd name="connsiteX11" fmla="*/ 476250 w 476249"/>
                  <a:gd name="connsiteY11" fmla="*/ 98965 h 148589"/>
                  <a:gd name="connsiteX12" fmla="*/ 451485 w 476249"/>
                  <a:gd name="connsiteY12" fmla="*/ 88487 h 148589"/>
                  <a:gd name="connsiteX13" fmla="*/ 416242 w 476249"/>
                  <a:gd name="connsiteY13" fmla="*/ 80963 h 148589"/>
                  <a:gd name="connsiteX14" fmla="*/ 348615 w 476249"/>
                  <a:gd name="connsiteY14" fmla="*/ 78105 h 148589"/>
                  <a:gd name="connsiteX15" fmla="*/ 302895 w 476249"/>
                  <a:gd name="connsiteY15" fmla="*/ 95250 h 148589"/>
                  <a:gd name="connsiteX16" fmla="*/ 264795 w 476249"/>
                  <a:gd name="connsiteY16" fmla="*/ 92393 h 148589"/>
                  <a:gd name="connsiteX17" fmla="*/ 211455 w 476249"/>
                  <a:gd name="connsiteY17" fmla="*/ 92393 h 148589"/>
                  <a:gd name="connsiteX18" fmla="*/ 176213 w 476249"/>
                  <a:gd name="connsiteY18" fmla="*/ 70390 h 148589"/>
                  <a:gd name="connsiteX19" fmla="*/ 169545 w 476249"/>
                  <a:gd name="connsiteY19" fmla="*/ 59912 h 148589"/>
                  <a:gd name="connsiteX20" fmla="*/ 169545 w 476249"/>
                  <a:gd name="connsiteY20" fmla="*/ 42863 h 148589"/>
                  <a:gd name="connsiteX21" fmla="*/ 155257 w 476249"/>
                  <a:gd name="connsiteY21" fmla="*/ 24765 h 148589"/>
                  <a:gd name="connsiteX22" fmla="*/ 123825 w 476249"/>
                  <a:gd name="connsiteY22" fmla="*/ 32290 h 148589"/>
                  <a:gd name="connsiteX23" fmla="*/ 95250 w 476249"/>
                  <a:gd name="connsiteY23" fmla="*/ 32290 h 148589"/>
                  <a:gd name="connsiteX24" fmla="*/ 84772 w 476249"/>
                  <a:gd name="connsiteY24" fmla="*/ 18002 h 148589"/>
                  <a:gd name="connsiteX25" fmla="*/ 57150 w 476249"/>
                  <a:gd name="connsiteY25" fmla="*/ 10477 h 148589"/>
                  <a:gd name="connsiteX26" fmla="*/ 24765 w 476249"/>
                  <a:gd name="connsiteY26" fmla="*/ 0 h 148589"/>
                  <a:gd name="connsiteX27" fmla="*/ 3810 w 476249"/>
                  <a:gd name="connsiteY27" fmla="*/ 7525 h 148589"/>
                  <a:gd name="connsiteX28" fmla="*/ 0 w 476249"/>
                  <a:gd name="connsiteY28" fmla="*/ 24765 h 148589"/>
                  <a:gd name="connsiteX29" fmla="*/ 10477 w 476249"/>
                  <a:gd name="connsiteY29" fmla="*/ 35243 h 148589"/>
                  <a:gd name="connsiteX30" fmla="*/ 35242 w 476249"/>
                  <a:gd name="connsiteY30" fmla="*/ 45625 h 148589"/>
                  <a:gd name="connsiteX31" fmla="*/ 60007 w 476249"/>
                  <a:gd name="connsiteY31" fmla="*/ 49530 h 148589"/>
                  <a:gd name="connsiteX32" fmla="*/ 84772 w 476249"/>
                  <a:gd name="connsiteY32" fmla="*/ 45625 h 148589"/>
                  <a:gd name="connsiteX33" fmla="*/ 102870 w 476249"/>
                  <a:gd name="connsiteY33" fmla="*/ 49530 h 148589"/>
                  <a:gd name="connsiteX34" fmla="*/ 113347 w 476249"/>
                  <a:gd name="connsiteY34" fmla="*/ 67627 h 148589"/>
                  <a:gd name="connsiteX35" fmla="*/ 127635 w 476249"/>
                  <a:gd name="connsiteY35" fmla="*/ 84677 h 148589"/>
                  <a:gd name="connsiteX36" fmla="*/ 120015 w 476249"/>
                  <a:gd name="connsiteY36" fmla="*/ 95250 h 148589"/>
                  <a:gd name="connsiteX37" fmla="*/ 120015 w 476249"/>
                  <a:gd name="connsiteY37" fmla="*/ 102775 h 148589"/>
                  <a:gd name="connsiteX38" fmla="*/ 127635 w 476249"/>
                  <a:gd name="connsiteY38" fmla="*/ 123825 h 148589"/>
                  <a:gd name="connsiteX39" fmla="*/ 138113 w 476249"/>
                  <a:gd name="connsiteY39" fmla="*/ 138113 h 148589"/>
                  <a:gd name="connsiteX40" fmla="*/ 148590 w 476249"/>
                  <a:gd name="connsiteY40" fmla="*/ 138113 h 148589"/>
                  <a:gd name="connsiteX41" fmla="*/ 155257 w 476249"/>
                  <a:gd name="connsiteY41" fmla="*/ 130493 h 148589"/>
                  <a:gd name="connsiteX42" fmla="*/ 161925 w 476249"/>
                  <a:gd name="connsiteY42" fmla="*/ 140875 h 148589"/>
                  <a:gd name="connsiteX43" fmla="*/ 204788 w 476249"/>
                  <a:gd name="connsiteY43" fmla="*/ 148590 h 148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76249" h="148589">
                    <a:moveTo>
                      <a:pt x="204788" y="148590"/>
                    </a:moveTo>
                    <a:lnTo>
                      <a:pt x="211455" y="138113"/>
                    </a:lnTo>
                    <a:lnTo>
                      <a:pt x="221932" y="127540"/>
                    </a:lnTo>
                    <a:lnTo>
                      <a:pt x="229552" y="130493"/>
                    </a:lnTo>
                    <a:lnTo>
                      <a:pt x="232410" y="148590"/>
                    </a:lnTo>
                    <a:lnTo>
                      <a:pt x="362902" y="148590"/>
                    </a:lnTo>
                    <a:lnTo>
                      <a:pt x="373380" y="134302"/>
                    </a:lnTo>
                    <a:lnTo>
                      <a:pt x="391477" y="148590"/>
                    </a:lnTo>
                    <a:lnTo>
                      <a:pt x="458152" y="144780"/>
                    </a:lnTo>
                    <a:lnTo>
                      <a:pt x="461962" y="123825"/>
                    </a:lnTo>
                    <a:lnTo>
                      <a:pt x="472440" y="116205"/>
                    </a:lnTo>
                    <a:lnTo>
                      <a:pt x="476250" y="98965"/>
                    </a:lnTo>
                    <a:lnTo>
                      <a:pt x="451485" y="88487"/>
                    </a:lnTo>
                    <a:lnTo>
                      <a:pt x="416242" y="80963"/>
                    </a:lnTo>
                    <a:lnTo>
                      <a:pt x="348615" y="78105"/>
                    </a:lnTo>
                    <a:lnTo>
                      <a:pt x="302895" y="95250"/>
                    </a:lnTo>
                    <a:lnTo>
                      <a:pt x="264795" y="92393"/>
                    </a:lnTo>
                    <a:lnTo>
                      <a:pt x="211455" y="92393"/>
                    </a:lnTo>
                    <a:lnTo>
                      <a:pt x="176213" y="70390"/>
                    </a:lnTo>
                    <a:lnTo>
                      <a:pt x="169545" y="59912"/>
                    </a:lnTo>
                    <a:lnTo>
                      <a:pt x="169545" y="42863"/>
                    </a:lnTo>
                    <a:lnTo>
                      <a:pt x="155257" y="24765"/>
                    </a:lnTo>
                    <a:lnTo>
                      <a:pt x="123825" y="32290"/>
                    </a:lnTo>
                    <a:lnTo>
                      <a:pt x="95250" y="32290"/>
                    </a:lnTo>
                    <a:lnTo>
                      <a:pt x="84772" y="18002"/>
                    </a:lnTo>
                    <a:lnTo>
                      <a:pt x="57150" y="10477"/>
                    </a:lnTo>
                    <a:lnTo>
                      <a:pt x="24765" y="0"/>
                    </a:lnTo>
                    <a:lnTo>
                      <a:pt x="3810" y="7525"/>
                    </a:lnTo>
                    <a:lnTo>
                      <a:pt x="0" y="24765"/>
                    </a:lnTo>
                    <a:lnTo>
                      <a:pt x="10477" y="35243"/>
                    </a:lnTo>
                    <a:lnTo>
                      <a:pt x="35242" y="45625"/>
                    </a:lnTo>
                    <a:lnTo>
                      <a:pt x="60007" y="49530"/>
                    </a:lnTo>
                    <a:lnTo>
                      <a:pt x="84772" y="45625"/>
                    </a:lnTo>
                    <a:lnTo>
                      <a:pt x="102870" y="49530"/>
                    </a:lnTo>
                    <a:lnTo>
                      <a:pt x="113347" y="67627"/>
                    </a:lnTo>
                    <a:lnTo>
                      <a:pt x="127635" y="84677"/>
                    </a:lnTo>
                    <a:lnTo>
                      <a:pt x="120015" y="95250"/>
                    </a:lnTo>
                    <a:lnTo>
                      <a:pt x="120015" y="102775"/>
                    </a:lnTo>
                    <a:lnTo>
                      <a:pt x="127635" y="123825"/>
                    </a:lnTo>
                    <a:lnTo>
                      <a:pt x="138113" y="138113"/>
                    </a:lnTo>
                    <a:lnTo>
                      <a:pt x="148590" y="138113"/>
                    </a:lnTo>
                    <a:lnTo>
                      <a:pt x="155257" y="130493"/>
                    </a:lnTo>
                    <a:lnTo>
                      <a:pt x="161925" y="140875"/>
                    </a:lnTo>
                    <a:lnTo>
                      <a:pt x="204788" y="14859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8CC30360-A95A-7A4E-C344-2CFB3DB091AC}"/>
                  </a:ext>
                </a:extLst>
              </p:cNvPr>
              <p:cNvSpPr/>
              <p:nvPr/>
            </p:nvSpPr>
            <p:spPr>
              <a:xfrm>
                <a:off x="3375689" y="2010523"/>
                <a:ext cx="155931" cy="110179"/>
              </a:xfrm>
              <a:custGeom>
                <a:avLst/>
                <a:gdLst>
                  <a:gd name="connsiteX0" fmla="*/ 105727 w 159067"/>
                  <a:gd name="connsiteY0" fmla="*/ 70485 h 112394"/>
                  <a:gd name="connsiteX1" fmla="*/ 138113 w 159067"/>
                  <a:gd name="connsiteY1" fmla="*/ 31432 h 112394"/>
                  <a:gd name="connsiteX2" fmla="*/ 159067 w 159067"/>
                  <a:gd name="connsiteY2" fmla="*/ 3810 h 112394"/>
                  <a:gd name="connsiteX3" fmla="*/ 105727 w 159067"/>
                  <a:gd name="connsiteY3" fmla="*/ 3810 h 112394"/>
                  <a:gd name="connsiteX4" fmla="*/ 74295 w 159067"/>
                  <a:gd name="connsiteY4" fmla="*/ 0 h 112394"/>
                  <a:gd name="connsiteX5" fmla="*/ 35242 w 159067"/>
                  <a:gd name="connsiteY5" fmla="*/ 0 h 112394"/>
                  <a:gd name="connsiteX6" fmla="*/ 14288 w 159067"/>
                  <a:gd name="connsiteY6" fmla="*/ 3810 h 112394"/>
                  <a:gd name="connsiteX7" fmla="*/ 0 w 159067"/>
                  <a:gd name="connsiteY7" fmla="*/ 24670 h 112394"/>
                  <a:gd name="connsiteX8" fmla="*/ 7620 w 159067"/>
                  <a:gd name="connsiteY8" fmla="*/ 63722 h 112394"/>
                  <a:gd name="connsiteX9" fmla="*/ 14288 w 159067"/>
                  <a:gd name="connsiteY9" fmla="*/ 87535 h 112394"/>
                  <a:gd name="connsiteX10" fmla="*/ 21907 w 159067"/>
                  <a:gd name="connsiteY10" fmla="*/ 109538 h 112394"/>
                  <a:gd name="connsiteX11" fmla="*/ 42863 w 159067"/>
                  <a:gd name="connsiteY11" fmla="*/ 112395 h 112394"/>
                  <a:gd name="connsiteX12" fmla="*/ 60007 w 159067"/>
                  <a:gd name="connsiteY12" fmla="*/ 91345 h 112394"/>
                  <a:gd name="connsiteX13" fmla="*/ 53340 w 159067"/>
                  <a:gd name="connsiteY13" fmla="*/ 74295 h 112394"/>
                  <a:gd name="connsiteX14" fmla="*/ 74295 w 159067"/>
                  <a:gd name="connsiteY14" fmla="*/ 70485 h 112394"/>
                  <a:gd name="connsiteX15" fmla="*/ 105727 w 159067"/>
                  <a:gd name="connsiteY15" fmla="*/ 70485 h 112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9067" h="112394">
                    <a:moveTo>
                      <a:pt x="105727" y="70485"/>
                    </a:moveTo>
                    <a:lnTo>
                      <a:pt x="138113" y="31432"/>
                    </a:lnTo>
                    <a:lnTo>
                      <a:pt x="159067" y="3810"/>
                    </a:lnTo>
                    <a:lnTo>
                      <a:pt x="105727" y="3810"/>
                    </a:lnTo>
                    <a:lnTo>
                      <a:pt x="74295" y="0"/>
                    </a:lnTo>
                    <a:lnTo>
                      <a:pt x="35242" y="0"/>
                    </a:lnTo>
                    <a:lnTo>
                      <a:pt x="14288" y="3810"/>
                    </a:lnTo>
                    <a:lnTo>
                      <a:pt x="0" y="24670"/>
                    </a:lnTo>
                    <a:lnTo>
                      <a:pt x="7620" y="63722"/>
                    </a:lnTo>
                    <a:lnTo>
                      <a:pt x="14288" y="87535"/>
                    </a:lnTo>
                    <a:lnTo>
                      <a:pt x="21907" y="109538"/>
                    </a:lnTo>
                    <a:lnTo>
                      <a:pt x="42863" y="112395"/>
                    </a:lnTo>
                    <a:lnTo>
                      <a:pt x="60007" y="91345"/>
                    </a:lnTo>
                    <a:lnTo>
                      <a:pt x="53340" y="74295"/>
                    </a:lnTo>
                    <a:lnTo>
                      <a:pt x="74295" y="70485"/>
                    </a:lnTo>
                    <a:lnTo>
                      <a:pt x="105727" y="7048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63BDAEB0-58EE-1C9F-9EFA-71372818E5E7}"/>
                  </a:ext>
                </a:extLst>
              </p:cNvPr>
              <p:cNvSpPr/>
              <p:nvPr/>
            </p:nvSpPr>
            <p:spPr>
              <a:xfrm>
                <a:off x="3479332" y="1460462"/>
                <a:ext cx="845954" cy="436145"/>
              </a:xfrm>
              <a:custGeom>
                <a:avLst/>
                <a:gdLst>
                  <a:gd name="connsiteX0" fmla="*/ 35242 w 862965"/>
                  <a:gd name="connsiteY0" fmla="*/ 99155 h 444912"/>
                  <a:gd name="connsiteX1" fmla="*/ 49530 w 862965"/>
                  <a:gd name="connsiteY1" fmla="*/ 105823 h 444912"/>
                  <a:gd name="connsiteX2" fmla="*/ 39053 w 862965"/>
                  <a:gd name="connsiteY2" fmla="*/ 113443 h 444912"/>
                  <a:gd name="connsiteX3" fmla="*/ 35242 w 862965"/>
                  <a:gd name="connsiteY3" fmla="*/ 123825 h 444912"/>
                  <a:gd name="connsiteX4" fmla="*/ 56198 w 862965"/>
                  <a:gd name="connsiteY4" fmla="*/ 116205 h 444912"/>
                  <a:gd name="connsiteX5" fmla="*/ 70485 w 862965"/>
                  <a:gd name="connsiteY5" fmla="*/ 109538 h 444912"/>
                  <a:gd name="connsiteX6" fmla="*/ 91440 w 862965"/>
                  <a:gd name="connsiteY6" fmla="*/ 109538 h 444912"/>
                  <a:gd name="connsiteX7" fmla="*/ 105728 w 862965"/>
                  <a:gd name="connsiteY7" fmla="*/ 113443 h 444912"/>
                  <a:gd name="connsiteX8" fmla="*/ 84773 w 862965"/>
                  <a:gd name="connsiteY8" fmla="*/ 116205 h 444912"/>
                  <a:gd name="connsiteX9" fmla="*/ 60008 w 862965"/>
                  <a:gd name="connsiteY9" fmla="*/ 127730 h 444912"/>
                  <a:gd name="connsiteX10" fmla="*/ 45720 w 862965"/>
                  <a:gd name="connsiteY10" fmla="*/ 134398 h 444912"/>
                  <a:gd name="connsiteX11" fmla="*/ 67628 w 862965"/>
                  <a:gd name="connsiteY11" fmla="*/ 141065 h 444912"/>
                  <a:gd name="connsiteX12" fmla="*/ 109538 w 862965"/>
                  <a:gd name="connsiteY12" fmla="*/ 138113 h 444912"/>
                  <a:gd name="connsiteX13" fmla="*/ 140970 w 862965"/>
                  <a:gd name="connsiteY13" fmla="*/ 138113 h 444912"/>
                  <a:gd name="connsiteX14" fmla="*/ 169545 w 862965"/>
                  <a:gd name="connsiteY14" fmla="*/ 127730 h 444912"/>
                  <a:gd name="connsiteX15" fmla="*/ 183833 w 862965"/>
                  <a:gd name="connsiteY15" fmla="*/ 134398 h 444912"/>
                  <a:gd name="connsiteX16" fmla="*/ 173355 w 862965"/>
                  <a:gd name="connsiteY16" fmla="*/ 144780 h 444912"/>
                  <a:gd name="connsiteX17" fmla="*/ 159067 w 862965"/>
                  <a:gd name="connsiteY17" fmla="*/ 155353 h 444912"/>
                  <a:gd name="connsiteX18" fmla="*/ 148590 w 862965"/>
                  <a:gd name="connsiteY18" fmla="*/ 173355 h 444912"/>
                  <a:gd name="connsiteX19" fmla="*/ 194310 w 862965"/>
                  <a:gd name="connsiteY19" fmla="*/ 180118 h 444912"/>
                  <a:gd name="connsiteX20" fmla="*/ 225742 w 862965"/>
                  <a:gd name="connsiteY20" fmla="*/ 176213 h 444912"/>
                  <a:gd name="connsiteX21" fmla="*/ 232410 w 862965"/>
                  <a:gd name="connsiteY21" fmla="*/ 162973 h 444912"/>
                  <a:gd name="connsiteX22" fmla="*/ 242888 w 862965"/>
                  <a:gd name="connsiteY22" fmla="*/ 162973 h 444912"/>
                  <a:gd name="connsiteX23" fmla="*/ 254317 w 862965"/>
                  <a:gd name="connsiteY23" fmla="*/ 173355 h 444912"/>
                  <a:gd name="connsiteX24" fmla="*/ 285750 w 862965"/>
                  <a:gd name="connsiteY24" fmla="*/ 169640 h 444912"/>
                  <a:gd name="connsiteX25" fmla="*/ 320992 w 862965"/>
                  <a:gd name="connsiteY25" fmla="*/ 169640 h 444912"/>
                  <a:gd name="connsiteX26" fmla="*/ 345757 w 862965"/>
                  <a:gd name="connsiteY26" fmla="*/ 151543 h 444912"/>
                  <a:gd name="connsiteX27" fmla="*/ 362903 w 862965"/>
                  <a:gd name="connsiteY27" fmla="*/ 134398 h 444912"/>
                  <a:gd name="connsiteX28" fmla="*/ 398145 w 862965"/>
                  <a:gd name="connsiteY28" fmla="*/ 120110 h 444912"/>
                  <a:gd name="connsiteX29" fmla="*/ 408622 w 862965"/>
                  <a:gd name="connsiteY29" fmla="*/ 123825 h 444912"/>
                  <a:gd name="connsiteX30" fmla="*/ 394335 w 862965"/>
                  <a:gd name="connsiteY30" fmla="*/ 130493 h 444912"/>
                  <a:gd name="connsiteX31" fmla="*/ 381000 w 862965"/>
                  <a:gd name="connsiteY31" fmla="*/ 141065 h 444912"/>
                  <a:gd name="connsiteX32" fmla="*/ 366713 w 862965"/>
                  <a:gd name="connsiteY32" fmla="*/ 151543 h 444912"/>
                  <a:gd name="connsiteX33" fmla="*/ 381000 w 862965"/>
                  <a:gd name="connsiteY33" fmla="*/ 155353 h 444912"/>
                  <a:gd name="connsiteX34" fmla="*/ 362903 w 862965"/>
                  <a:gd name="connsiteY34" fmla="*/ 165830 h 444912"/>
                  <a:gd name="connsiteX35" fmla="*/ 341947 w 862965"/>
                  <a:gd name="connsiteY35" fmla="*/ 180118 h 444912"/>
                  <a:gd name="connsiteX36" fmla="*/ 296228 w 862965"/>
                  <a:gd name="connsiteY36" fmla="*/ 183928 h 444912"/>
                  <a:gd name="connsiteX37" fmla="*/ 257175 w 862965"/>
                  <a:gd name="connsiteY37" fmla="*/ 183928 h 444912"/>
                  <a:gd name="connsiteX38" fmla="*/ 246698 w 862965"/>
                  <a:gd name="connsiteY38" fmla="*/ 194405 h 444912"/>
                  <a:gd name="connsiteX39" fmla="*/ 275273 w 862965"/>
                  <a:gd name="connsiteY39" fmla="*/ 208693 h 444912"/>
                  <a:gd name="connsiteX40" fmla="*/ 292417 w 862965"/>
                  <a:gd name="connsiteY40" fmla="*/ 222980 h 444912"/>
                  <a:gd name="connsiteX41" fmla="*/ 317183 w 862965"/>
                  <a:gd name="connsiteY41" fmla="*/ 229648 h 444912"/>
                  <a:gd name="connsiteX42" fmla="*/ 292417 w 862965"/>
                  <a:gd name="connsiteY42" fmla="*/ 236315 h 444912"/>
                  <a:gd name="connsiteX43" fmla="*/ 275273 w 862965"/>
                  <a:gd name="connsiteY43" fmla="*/ 225743 h 444912"/>
                  <a:gd name="connsiteX44" fmla="*/ 254317 w 862965"/>
                  <a:gd name="connsiteY44" fmla="*/ 211455 h 444912"/>
                  <a:gd name="connsiteX45" fmla="*/ 229553 w 862965"/>
                  <a:gd name="connsiteY45" fmla="*/ 194405 h 444912"/>
                  <a:gd name="connsiteX46" fmla="*/ 190500 w 862965"/>
                  <a:gd name="connsiteY46" fmla="*/ 198215 h 444912"/>
                  <a:gd name="connsiteX47" fmla="*/ 159067 w 862965"/>
                  <a:gd name="connsiteY47" fmla="*/ 186785 h 444912"/>
                  <a:gd name="connsiteX48" fmla="*/ 151448 w 862965"/>
                  <a:gd name="connsiteY48" fmla="*/ 201073 h 444912"/>
                  <a:gd name="connsiteX49" fmla="*/ 151448 w 862965"/>
                  <a:gd name="connsiteY49" fmla="*/ 225743 h 444912"/>
                  <a:gd name="connsiteX50" fmla="*/ 165735 w 862965"/>
                  <a:gd name="connsiteY50" fmla="*/ 229648 h 444912"/>
                  <a:gd name="connsiteX51" fmla="*/ 186690 w 862965"/>
                  <a:gd name="connsiteY51" fmla="*/ 229648 h 444912"/>
                  <a:gd name="connsiteX52" fmla="*/ 200978 w 862965"/>
                  <a:gd name="connsiteY52" fmla="*/ 243935 h 444912"/>
                  <a:gd name="connsiteX53" fmla="*/ 221933 w 862965"/>
                  <a:gd name="connsiteY53" fmla="*/ 271463 h 444912"/>
                  <a:gd name="connsiteX54" fmla="*/ 250508 w 862965"/>
                  <a:gd name="connsiteY54" fmla="*/ 279178 h 444912"/>
                  <a:gd name="connsiteX55" fmla="*/ 271463 w 862965"/>
                  <a:gd name="connsiteY55" fmla="*/ 275368 h 444912"/>
                  <a:gd name="connsiteX56" fmla="*/ 281940 w 862965"/>
                  <a:gd name="connsiteY56" fmla="*/ 279178 h 444912"/>
                  <a:gd name="connsiteX57" fmla="*/ 264795 w 862965"/>
                  <a:gd name="connsiteY57" fmla="*/ 293465 h 444912"/>
                  <a:gd name="connsiteX58" fmla="*/ 242888 w 862965"/>
                  <a:gd name="connsiteY58" fmla="*/ 293465 h 444912"/>
                  <a:gd name="connsiteX59" fmla="*/ 221933 w 862965"/>
                  <a:gd name="connsiteY59" fmla="*/ 285750 h 444912"/>
                  <a:gd name="connsiteX60" fmla="*/ 200978 w 862965"/>
                  <a:gd name="connsiteY60" fmla="*/ 282035 h 444912"/>
                  <a:gd name="connsiteX61" fmla="*/ 183833 w 862965"/>
                  <a:gd name="connsiteY61" fmla="*/ 285750 h 444912"/>
                  <a:gd name="connsiteX62" fmla="*/ 151448 w 862965"/>
                  <a:gd name="connsiteY62" fmla="*/ 285750 h 444912"/>
                  <a:gd name="connsiteX63" fmla="*/ 138113 w 862965"/>
                  <a:gd name="connsiteY63" fmla="*/ 293465 h 444912"/>
                  <a:gd name="connsiteX64" fmla="*/ 120015 w 862965"/>
                  <a:gd name="connsiteY64" fmla="*/ 310515 h 444912"/>
                  <a:gd name="connsiteX65" fmla="*/ 134303 w 862965"/>
                  <a:gd name="connsiteY65" fmla="*/ 324803 h 444912"/>
                  <a:gd name="connsiteX66" fmla="*/ 155258 w 862965"/>
                  <a:gd name="connsiteY66" fmla="*/ 321088 h 444912"/>
                  <a:gd name="connsiteX67" fmla="*/ 176213 w 862965"/>
                  <a:gd name="connsiteY67" fmla="*/ 328612 h 444912"/>
                  <a:gd name="connsiteX68" fmla="*/ 186690 w 862965"/>
                  <a:gd name="connsiteY68" fmla="*/ 317278 h 444912"/>
                  <a:gd name="connsiteX69" fmla="*/ 200978 w 862965"/>
                  <a:gd name="connsiteY69" fmla="*/ 306800 h 444912"/>
                  <a:gd name="connsiteX70" fmla="*/ 204788 w 862965"/>
                  <a:gd name="connsiteY70" fmla="*/ 321088 h 444912"/>
                  <a:gd name="connsiteX71" fmla="*/ 207645 w 862965"/>
                  <a:gd name="connsiteY71" fmla="*/ 328612 h 444912"/>
                  <a:gd name="connsiteX72" fmla="*/ 190500 w 862965"/>
                  <a:gd name="connsiteY72" fmla="*/ 342043 h 444912"/>
                  <a:gd name="connsiteX73" fmla="*/ 183833 w 862965"/>
                  <a:gd name="connsiteY73" fmla="*/ 352425 h 444912"/>
                  <a:gd name="connsiteX74" fmla="*/ 215265 w 862965"/>
                  <a:gd name="connsiteY74" fmla="*/ 363950 h 444912"/>
                  <a:gd name="connsiteX75" fmla="*/ 232410 w 862965"/>
                  <a:gd name="connsiteY75" fmla="*/ 356330 h 444912"/>
                  <a:gd name="connsiteX76" fmla="*/ 246698 w 862965"/>
                  <a:gd name="connsiteY76" fmla="*/ 342043 h 444912"/>
                  <a:gd name="connsiteX77" fmla="*/ 260985 w 862965"/>
                  <a:gd name="connsiteY77" fmla="*/ 331565 h 444912"/>
                  <a:gd name="connsiteX78" fmla="*/ 267653 w 862965"/>
                  <a:gd name="connsiteY78" fmla="*/ 335375 h 444912"/>
                  <a:gd name="connsiteX79" fmla="*/ 257175 w 862965"/>
                  <a:gd name="connsiteY79" fmla="*/ 356330 h 444912"/>
                  <a:gd name="connsiteX80" fmla="*/ 232410 w 862965"/>
                  <a:gd name="connsiteY80" fmla="*/ 374428 h 444912"/>
                  <a:gd name="connsiteX81" fmla="*/ 211455 w 862965"/>
                  <a:gd name="connsiteY81" fmla="*/ 374428 h 444912"/>
                  <a:gd name="connsiteX82" fmla="*/ 180023 w 862965"/>
                  <a:gd name="connsiteY82" fmla="*/ 370618 h 444912"/>
                  <a:gd name="connsiteX83" fmla="*/ 165735 w 862965"/>
                  <a:gd name="connsiteY83" fmla="*/ 360140 h 444912"/>
                  <a:gd name="connsiteX84" fmla="*/ 155258 w 862965"/>
                  <a:gd name="connsiteY84" fmla="*/ 345853 h 444912"/>
                  <a:gd name="connsiteX85" fmla="*/ 109538 w 862965"/>
                  <a:gd name="connsiteY85" fmla="*/ 345853 h 444912"/>
                  <a:gd name="connsiteX86" fmla="*/ 109538 w 862965"/>
                  <a:gd name="connsiteY86" fmla="*/ 360140 h 444912"/>
                  <a:gd name="connsiteX87" fmla="*/ 123825 w 862965"/>
                  <a:gd name="connsiteY87" fmla="*/ 374428 h 444912"/>
                  <a:gd name="connsiteX88" fmla="*/ 140970 w 862965"/>
                  <a:gd name="connsiteY88" fmla="*/ 374428 h 444912"/>
                  <a:gd name="connsiteX89" fmla="*/ 148590 w 862965"/>
                  <a:gd name="connsiteY89" fmla="*/ 388715 h 444912"/>
                  <a:gd name="connsiteX90" fmla="*/ 126683 w 862965"/>
                  <a:gd name="connsiteY90" fmla="*/ 388715 h 444912"/>
                  <a:gd name="connsiteX91" fmla="*/ 99060 w 862965"/>
                  <a:gd name="connsiteY91" fmla="*/ 388715 h 444912"/>
                  <a:gd name="connsiteX92" fmla="*/ 74295 w 862965"/>
                  <a:gd name="connsiteY92" fmla="*/ 395287 h 444912"/>
                  <a:gd name="connsiteX93" fmla="*/ 67628 w 862965"/>
                  <a:gd name="connsiteY93" fmla="*/ 416338 h 444912"/>
                  <a:gd name="connsiteX94" fmla="*/ 80963 w 862965"/>
                  <a:gd name="connsiteY94" fmla="*/ 430625 h 444912"/>
                  <a:gd name="connsiteX95" fmla="*/ 99060 w 862965"/>
                  <a:gd name="connsiteY95" fmla="*/ 416338 h 444912"/>
                  <a:gd name="connsiteX96" fmla="*/ 109538 w 862965"/>
                  <a:gd name="connsiteY96" fmla="*/ 430625 h 444912"/>
                  <a:gd name="connsiteX97" fmla="*/ 120015 w 862965"/>
                  <a:gd name="connsiteY97" fmla="*/ 423862 h 444912"/>
                  <a:gd name="connsiteX98" fmla="*/ 126683 w 862965"/>
                  <a:gd name="connsiteY98" fmla="*/ 430625 h 444912"/>
                  <a:gd name="connsiteX99" fmla="*/ 144780 w 862965"/>
                  <a:gd name="connsiteY99" fmla="*/ 420053 h 444912"/>
                  <a:gd name="connsiteX100" fmla="*/ 155258 w 862965"/>
                  <a:gd name="connsiteY100" fmla="*/ 430625 h 444912"/>
                  <a:gd name="connsiteX101" fmla="*/ 211455 w 862965"/>
                  <a:gd name="connsiteY101" fmla="*/ 430625 h 444912"/>
                  <a:gd name="connsiteX102" fmla="*/ 219075 w 862965"/>
                  <a:gd name="connsiteY102" fmla="*/ 420053 h 444912"/>
                  <a:gd name="connsiteX103" fmla="*/ 232410 w 862965"/>
                  <a:gd name="connsiteY103" fmla="*/ 430625 h 444912"/>
                  <a:gd name="connsiteX104" fmla="*/ 242888 w 862965"/>
                  <a:gd name="connsiteY104" fmla="*/ 420053 h 444912"/>
                  <a:gd name="connsiteX105" fmla="*/ 264795 w 862965"/>
                  <a:gd name="connsiteY105" fmla="*/ 426815 h 444912"/>
                  <a:gd name="connsiteX106" fmla="*/ 285750 w 862965"/>
                  <a:gd name="connsiteY106" fmla="*/ 423862 h 444912"/>
                  <a:gd name="connsiteX107" fmla="*/ 302895 w 862965"/>
                  <a:gd name="connsiteY107" fmla="*/ 430625 h 444912"/>
                  <a:gd name="connsiteX108" fmla="*/ 302895 w 862965"/>
                  <a:gd name="connsiteY108" fmla="*/ 444913 h 444912"/>
                  <a:gd name="connsiteX109" fmla="*/ 331470 w 862965"/>
                  <a:gd name="connsiteY109" fmla="*/ 441103 h 444912"/>
                  <a:gd name="connsiteX110" fmla="*/ 359093 w 862965"/>
                  <a:gd name="connsiteY110" fmla="*/ 430625 h 444912"/>
                  <a:gd name="connsiteX111" fmla="*/ 383857 w 862965"/>
                  <a:gd name="connsiteY111" fmla="*/ 423862 h 444912"/>
                  <a:gd name="connsiteX112" fmla="*/ 394335 w 862965"/>
                  <a:gd name="connsiteY112" fmla="*/ 416338 h 444912"/>
                  <a:gd name="connsiteX113" fmla="*/ 391478 w 862965"/>
                  <a:gd name="connsiteY113" fmla="*/ 399193 h 444912"/>
                  <a:gd name="connsiteX114" fmla="*/ 383857 w 862965"/>
                  <a:gd name="connsiteY114" fmla="*/ 391478 h 444912"/>
                  <a:gd name="connsiteX115" fmla="*/ 377190 w 862965"/>
                  <a:gd name="connsiteY115" fmla="*/ 399193 h 444912"/>
                  <a:gd name="connsiteX116" fmla="*/ 362903 w 862965"/>
                  <a:gd name="connsiteY116" fmla="*/ 409575 h 444912"/>
                  <a:gd name="connsiteX117" fmla="*/ 359093 w 862965"/>
                  <a:gd name="connsiteY117" fmla="*/ 399193 h 444912"/>
                  <a:gd name="connsiteX118" fmla="*/ 356235 w 862965"/>
                  <a:gd name="connsiteY118" fmla="*/ 388715 h 444912"/>
                  <a:gd name="connsiteX119" fmla="*/ 317183 w 862965"/>
                  <a:gd name="connsiteY119" fmla="*/ 388715 h 444912"/>
                  <a:gd name="connsiteX120" fmla="*/ 289560 w 862965"/>
                  <a:gd name="connsiteY120" fmla="*/ 381000 h 444912"/>
                  <a:gd name="connsiteX121" fmla="*/ 292417 w 862965"/>
                  <a:gd name="connsiteY121" fmla="*/ 366712 h 444912"/>
                  <a:gd name="connsiteX122" fmla="*/ 327660 w 862965"/>
                  <a:gd name="connsiteY122" fmla="*/ 374428 h 444912"/>
                  <a:gd name="connsiteX123" fmla="*/ 370522 w 862965"/>
                  <a:gd name="connsiteY123" fmla="*/ 374428 h 444912"/>
                  <a:gd name="connsiteX124" fmla="*/ 387668 w 862965"/>
                  <a:gd name="connsiteY124" fmla="*/ 363950 h 444912"/>
                  <a:gd name="connsiteX125" fmla="*/ 394335 w 862965"/>
                  <a:gd name="connsiteY125" fmla="*/ 342043 h 444912"/>
                  <a:gd name="connsiteX126" fmla="*/ 447675 w 862965"/>
                  <a:gd name="connsiteY126" fmla="*/ 339090 h 444912"/>
                  <a:gd name="connsiteX127" fmla="*/ 454343 w 862965"/>
                  <a:gd name="connsiteY127" fmla="*/ 331565 h 444912"/>
                  <a:gd name="connsiteX128" fmla="*/ 458153 w 862965"/>
                  <a:gd name="connsiteY128" fmla="*/ 324803 h 444912"/>
                  <a:gd name="connsiteX129" fmla="*/ 468630 w 862965"/>
                  <a:gd name="connsiteY129" fmla="*/ 317278 h 444912"/>
                  <a:gd name="connsiteX130" fmla="*/ 447675 w 862965"/>
                  <a:gd name="connsiteY130" fmla="*/ 306800 h 444912"/>
                  <a:gd name="connsiteX131" fmla="*/ 441007 w 862965"/>
                  <a:gd name="connsiteY131" fmla="*/ 296323 h 444912"/>
                  <a:gd name="connsiteX132" fmla="*/ 472440 w 862965"/>
                  <a:gd name="connsiteY132" fmla="*/ 300037 h 444912"/>
                  <a:gd name="connsiteX133" fmla="*/ 479107 w 862965"/>
                  <a:gd name="connsiteY133" fmla="*/ 296323 h 444912"/>
                  <a:gd name="connsiteX134" fmla="*/ 479107 w 862965"/>
                  <a:gd name="connsiteY134" fmla="*/ 285750 h 444912"/>
                  <a:gd name="connsiteX135" fmla="*/ 451485 w 862965"/>
                  <a:gd name="connsiteY135" fmla="*/ 282035 h 444912"/>
                  <a:gd name="connsiteX136" fmla="*/ 447675 w 862965"/>
                  <a:gd name="connsiteY136" fmla="*/ 271463 h 444912"/>
                  <a:gd name="connsiteX137" fmla="*/ 472440 w 862965"/>
                  <a:gd name="connsiteY137" fmla="*/ 271463 h 444912"/>
                  <a:gd name="connsiteX138" fmla="*/ 486728 w 862965"/>
                  <a:gd name="connsiteY138" fmla="*/ 271463 h 444912"/>
                  <a:gd name="connsiteX139" fmla="*/ 479107 w 862965"/>
                  <a:gd name="connsiteY139" fmla="*/ 261080 h 444912"/>
                  <a:gd name="connsiteX140" fmla="*/ 447675 w 862965"/>
                  <a:gd name="connsiteY140" fmla="*/ 261080 h 444912"/>
                  <a:gd name="connsiteX141" fmla="*/ 422910 w 862965"/>
                  <a:gd name="connsiteY141" fmla="*/ 261080 h 444912"/>
                  <a:gd name="connsiteX142" fmla="*/ 412432 w 862965"/>
                  <a:gd name="connsiteY142" fmla="*/ 250603 h 444912"/>
                  <a:gd name="connsiteX143" fmla="*/ 433388 w 862965"/>
                  <a:gd name="connsiteY143" fmla="*/ 243935 h 444912"/>
                  <a:gd name="connsiteX144" fmla="*/ 464820 w 862965"/>
                  <a:gd name="connsiteY144" fmla="*/ 246793 h 444912"/>
                  <a:gd name="connsiteX145" fmla="*/ 486728 w 862965"/>
                  <a:gd name="connsiteY145" fmla="*/ 250603 h 444912"/>
                  <a:gd name="connsiteX146" fmla="*/ 503872 w 862965"/>
                  <a:gd name="connsiteY146" fmla="*/ 243935 h 444912"/>
                  <a:gd name="connsiteX147" fmla="*/ 518160 w 862965"/>
                  <a:gd name="connsiteY147" fmla="*/ 243935 h 444912"/>
                  <a:gd name="connsiteX148" fmla="*/ 521970 w 862965"/>
                  <a:gd name="connsiteY148" fmla="*/ 243935 h 444912"/>
                  <a:gd name="connsiteX149" fmla="*/ 521970 w 862965"/>
                  <a:gd name="connsiteY149" fmla="*/ 240030 h 444912"/>
                  <a:gd name="connsiteX150" fmla="*/ 521970 w 862965"/>
                  <a:gd name="connsiteY150" fmla="*/ 233363 h 444912"/>
                  <a:gd name="connsiteX151" fmla="*/ 507682 w 862965"/>
                  <a:gd name="connsiteY151" fmla="*/ 229648 h 444912"/>
                  <a:gd name="connsiteX152" fmla="*/ 493395 w 862965"/>
                  <a:gd name="connsiteY152" fmla="*/ 222980 h 444912"/>
                  <a:gd name="connsiteX153" fmla="*/ 503872 w 862965"/>
                  <a:gd name="connsiteY153" fmla="*/ 219075 h 444912"/>
                  <a:gd name="connsiteX154" fmla="*/ 528638 w 862965"/>
                  <a:gd name="connsiteY154" fmla="*/ 225743 h 444912"/>
                  <a:gd name="connsiteX155" fmla="*/ 542925 w 862965"/>
                  <a:gd name="connsiteY155" fmla="*/ 236315 h 444912"/>
                  <a:gd name="connsiteX156" fmla="*/ 570547 w 862965"/>
                  <a:gd name="connsiteY156" fmla="*/ 229648 h 444912"/>
                  <a:gd name="connsiteX157" fmla="*/ 591503 w 862965"/>
                  <a:gd name="connsiteY157" fmla="*/ 211455 h 444912"/>
                  <a:gd name="connsiteX158" fmla="*/ 599122 w 862965"/>
                  <a:gd name="connsiteY158" fmla="*/ 190500 h 444912"/>
                  <a:gd name="connsiteX159" fmla="*/ 620078 w 862965"/>
                  <a:gd name="connsiteY159" fmla="*/ 190500 h 444912"/>
                  <a:gd name="connsiteX160" fmla="*/ 651510 w 862965"/>
                  <a:gd name="connsiteY160" fmla="*/ 165830 h 444912"/>
                  <a:gd name="connsiteX161" fmla="*/ 697230 w 862965"/>
                  <a:gd name="connsiteY161" fmla="*/ 151543 h 444912"/>
                  <a:gd name="connsiteX162" fmla="*/ 725805 w 862965"/>
                  <a:gd name="connsiteY162" fmla="*/ 134398 h 444912"/>
                  <a:gd name="connsiteX163" fmla="*/ 764857 w 862965"/>
                  <a:gd name="connsiteY163" fmla="*/ 120110 h 444912"/>
                  <a:gd name="connsiteX164" fmla="*/ 761047 w 862965"/>
                  <a:gd name="connsiteY164" fmla="*/ 113443 h 444912"/>
                  <a:gd name="connsiteX165" fmla="*/ 736282 w 862965"/>
                  <a:gd name="connsiteY165" fmla="*/ 113443 h 444912"/>
                  <a:gd name="connsiteX166" fmla="*/ 701040 w 862965"/>
                  <a:gd name="connsiteY166" fmla="*/ 123825 h 444912"/>
                  <a:gd name="connsiteX167" fmla="*/ 648653 w 862965"/>
                  <a:gd name="connsiteY167" fmla="*/ 130493 h 444912"/>
                  <a:gd name="connsiteX168" fmla="*/ 683895 w 862965"/>
                  <a:gd name="connsiteY168" fmla="*/ 116205 h 444912"/>
                  <a:gd name="connsiteX169" fmla="*/ 701040 w 862965"/>
                  <a:gd name="connsiteY169" fmla="*/ 113443 h 444912"/>
                  <a:gd name="connsiteX170" fmla="*/ 661988 w 862965"/>
                  <a:gd name="connsiteY170" fmla="*/ 109538 h 444912"/>
                  <a:gd name="connsiteX171" fmla="*/ 673418 w 862965"/>
                  <a:gd name="connsiteY171" fmla="*/ 102965 h 444912"/>
                  <a:gd name="connsiteX172" fmla="*/ 778193 w 862965"/>
                  <a:gd name="connsiteY172" fmla="*/ 99155 h 444912"/>
                  <a:gd name="connsiteX173" fmla="*/ 806768 w 862965"/>
                  <a:gd name="connsiteY173" fmla="*/ 84868 h 444912"/>
                  <a:gd name="connsiteX174" fmla="*/ 848678 w 862965"/>
                  <a:gd name="connsiteY174" fmla="*/ 70580 h 444912"/>
                  <a:gd name="connsiteX175" fmla="*/ 862965 w 862965"/>
                  <a:gd name="connsiteY175" fmla="*/ 63818 h 444912"/>
                  <a:gd name="connsiteX176" fmla="*/ 852488 w 862965"/>
                  <a:gd name="connsiteY176" fmla="*/ 45815 h 444912"/>
                  <a:gd name="connsiteX177" fmla="*/ 810578 w 862965"/>
                  <a:gd name="connsiteY177" fmla="*/ 45815 h 444912"/>
                  <a:gd name="connsiteX178" fmla="*/ 796290 w 862965"/>
                  <a:gd name="connsiteY178" fmla="*/ 24860 h 444912"/>
                  <a:gd name="connsiteX179" fmla="*/ 764857 w 862965"/>
                  <a:gd name="connsiteY179" fmla="*/ 24860 h 444912"/>
                  <a:gd name="connsiteX180" fmla="*/ 721995 w 862965"/>
                  <a:gd name="connsiteY180" fmla="*/ 24860 h 444912"/>
                  <a:gd name="connsiteX181" fmla="*/ 683895 w 862965"/>
                  <a:gd name="connsiteY181" fmla="*/ 35243 h 444912"/>
                  <a:gd name="connsiteX182" fmla="*/ 683895 w 862965"/>
                  <a:gd name="connsiteY182" fmla="*/ 28575 h 444912"/>
                  <a:gd name="connsiteX183" fmla="*/ 711518 w 862965"/>
                  <a:gd name="connsiteY183" fmla="*/ 20955 h 444912"/>
                  <a:gd name="connsiteX184" fmla="*/ 715328 w 862965"/>
                  <a:gd name="connsiteY184" fmla="*/ 14288 h 444912"/>
                  <a:gd name="connsiteX185" fmla="*/ 644843 w 862965"/>
                  <a:gd name="connsiteY185" fmla="*/ 10573 h 444912"/>
                  <a:gd name="connsiteX186" fmla="*/ 616268 w 862965"/>
                  <a:gd name="connsiteY186" fmla="*/ 3905 h 444912"/>
                  <a:gd name="connsiteX187" fmla="*/ 581025 w 862965"/>
                  <a:gd name="connsiteY187" fmla="*/ 7715 h 444912"/>
                  <a:gd name="connsiteX188" fmla="*/ 574357 w 862965"/>
                  <a:gd name="connsiteY188" fmla="*/ 18193 h 444912"/>
                  <a:gd name="connsiteX189" fmla="*/ 560070 w 862965"/>
                  <a:gd name="connsiteY189" fmla="*/ 7715 h 444912"/>
                  <a:gd name="connsiteX190" fmla="*/ 524828 w 862965"/>
                  <a:gd name="connsiteY190" fmla="*/ 3905 h 444912"/>
                  <a:gd name="connsiteX191" fmla="*/ 521970 w 862965"/>
                  <a:gd name="connsiteY191" fmla="*/ 18193 h 444912"/>
                  <a:gd name="connsiteX192" fmla="*/ 535305 w 862965"/>
                  <a:gd name="connsiteY192" fmla="*/ 32480 h 444912"/>
                  <a:gd name="connsiteX193" fmla="*/ 500063 w 862965"/>
                  <a:gd name="connsiteY193" fmla="*/ 20955 h 444912"/>
                  <a:gd name="connsiteX194" fmla="*/ 489585 w 862965"/>
                  <a:gd name="connsiteY194" fmla="*/ 7715 h 444912"/>
                  <a:gd name="connsiteX195" fmla="*/ 416243 w 862965"/>
                  <a:gd name="connsiteY195" fmla="*/ 0 h 444912"/>
                  <a:gd name="connsiteX196" fmla="*/ 419100 w 862965"/>
                  <a:gd name="connsiteY196" fmla="*/ 10573 h 444912"/>
                  <a:gd name="connsiteX197" fmla="*/ 433388 w 862965"/>
                  <a:gd name="connsiteY197" fmla="*/ 24860 h 444912"/>
                  <a:gd name="connsiteX198" fmla="*/ 447675 w 862965"/>
                  <a:gd name="connsiteY198" fmla="*/ 39148 h 444912"/>
                  <a:gd name="connsiteX199" fmla="*/ 433388 w 862965"/>
                  <a:gd name="connsiteY199" fmla="*/ 45815 h 444912"/>
                  <a:gd name="connsiteX200" fmla="*/ 416243 w 862965"/>
                  <a:gd name="connsiteY200" fmla="*/ 32480 h 444912"/>
                  <a:gd name="connsiteX201" fmla="*/ 401955 w 862965"/>
                  <a:gd name="connsiteY201" fmla="*/ 24860 h 444912"/>
                  <a:gd name="connsiteX202" fmla="*/ 381000 w 862965"/>
                  <a:gd name="connsiteY202" fmla="*/ 18193 h 444912"/>
                  <a:gd name="connsiteX203" fmla="*/ 348615 w 862965"/>
                  <a:gd name="connsiteY203" fmla="*/ 14288 h 444912"/>
                  <a:gd name="connsiteX204" fmla="*/ 323850 w 862965"/>
                  <a:gd name="connsiteY204" fmla="*/ 24860 h 444912"/>
                  <a:gd name="connsiteX205" fmla="*/ 300038 w 862965"/>
                  <a:gd name="connsiteY205" fmla="*/ 24860 h 444912"/>
                  <a:gd name="connsiteX206" fmla="*/ 289560 w 862965"/>
                  <a:gd name="connsiteY206" fmla="*/ 32480 h 444912"/>
                  <a:gd name="connsiteX207" fmla="*/ 264795 w 862965"/>
                  <a:gd name="connsiteY207" fmla="*/ 35243 h 444912"/>
                  <a:gd name="connsiteX208" fmla="*/ 257175 w 862965"/>
                  <a:gd name="connsiteY208" fmla="*/ 45815 h 444912"/>
                  <a:gd name="connsiteX209" fmla="*/ 275273 w 862965"/>
                  <a:gd name="connsiteY209" fmla="*/ 57150 h 444912"/>
                  <a:gd name="connsiteX210" fmla="*/ 296228 w 862965"/>
                  <a:gd name="connsiteY210" fmla="*/ 70580 h 444912"/>
                  <a:gd name="connsiteX211" fmla="*/ 260985 w 862965"/>
                  <a:gd name="connsiteY211" fmla="*/ 67723 h 444912"/>
                  <a:gd name="connsiteX212" fmla="*/ 229553 w 862965"/>
                  <a:gd name="connsiteY212" fmla="*/ 60103 h 444912"/>
                  <a:gd name="connsiteX213" fmla="*/ 207645 w 862965"/>
                  <a:gd name="connsiteY213" fmla="*/ 49530 h 444912"/>
                  <a:gd name="connsiteX214" fmla="*/ 180023 w 862965"/>
                  <a:gd name="connsiteY214" fmla="*/ 49530 h 444912"/>
                  <a:gd name="connsiteX215" fmla="*/ 173355 w 862965"/>
                  <a:gd name="connsiteY215" fmla="*/ 63818 h 444912"/>
                  <a:gd name="connsiteX216" fmla="*/ 186690 w 862965"/>
                  <a:gd name="connsiteY216" fmla="*/ 80963 h 444912"/>
                  <a:gd name="connsiteX217" fmla="*/ 165735 w 862965"/>
                  <a:gd name="connsiteY217" fmla="*/ 80963 h 444912"/>
                  <a:gd name="connsiteX218" fmla="*/ 140970 w 862965"/>
                  <a:gd name="connsiteY218" fmla="*/ 80963 h 444912"/>
                  <a:gd name="connsiteX219" fmla="*/ 126683 w 862965"/>
                  <a:gd name="connsiteY219" fmla="*/ 74390 h 444912"/>
                  <a:gd name="connsiteX220" fmla="*/ 95250 w 862965"/>
                  <a:gd name="connsiteY220" fmla="*/ 74390 h 444912"/>
                  <a:gd name="connsiteX221" fmla="*/ 80963 w 862965"/>
                  <a:gd name="connsiteY221" fmla="*/ 80963 h 444912"/>
                  <a:gd name="connsiteX222" fmla="*/ 63817 w 862965"/>
                  <a:gd name="connsiteY222" fmla="*/ 88678 h 444912"/>
                  <a:gd name="connsiteX223" fmla="*/ 21908 w 862965"/>
                  <a:gd name="connsiteY223" fmla="*/ 88678 h 444912"/>
                  <a:gd name="connsiteX224" fmla="*/ 0 w 862965"/>
                  <a:gd name="connsiteY224" fmla="*/ 105823 h 444912"/>
                  <a:gd name="connsiteX225" fmla="*/ 24765 w 862965"/>
                  <a:gd name="connsiteY225" fmla="*/ 105823 h 444912"/>
                  <a:gd name="connsiteX226" fmla="*/ 35242 w 862965"/>
                  <a:gd name="connsiteY226" fmla="*/ 99155 h 444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</a:cxnLst>
                <a:rect l="l" t="t" r="r" b="b"/>
                <a:pathLst>
                  <a:path w="862965" h="444912">
                    <a:moveTo>
                      <a:pt x="35242" y="99155"/>
                    </a:moveTo>
                    <a:lnTo>
                      <a:pt x="49530" y="105823"/>
                    </a:lnTo>
                    <a:lnTo>
                      <a:pt x="39053" y="113443"/>
                    </a:lnTo>
                    <a:lnTo>
                      <a:pt x="35242" y="123825"/>
                    </a:lnTo>
                    <a:lnTo>
                      <a:pt x="56198" y="116205"/>
                    </a:lnTo>
                    <a:lnTo>
                      <a:pt x="70485" y="109538"/>
                    </a:lnTo>
                    <a:lnTo>
                      <a:pt x="91440" y="109538"/>
                    </a:lnTo>
                    <a:lnTo>
                      <a:pt x="105728" y="113443"/>
                    </a:lnTo>
                    <a:lnTo>
                      <a:pt x="84773" y="116205"/>
                    </a:lnTo>
                    <a:lnTo>
                      <a:pt x="60008" y="127730"/>
                    </a:lnTo>
                    <a:lnTo>
                      <a:pt x="45720" y="134398"/>
                    </a:lnTo>
                    <a:lnTo>
                      <a:pt x="67628" y="141065"/>
                    </a:lnTo>
                    <a:lnTo>
                      <a:pt x="109538" y="138113"/>
                    </a:lnTo>
                    <a:lnTo>
                      <a:pt x="140970" y="138113"/>
                    </a:lnTo>
                    <a:lnTo>
                      <a:pt x="169545" y="127730"/>
                    </a:lnTo>
                    <a:lnTo>
                      <a:pt x="183833" y="134398"/>
                    </a:lnTo>
                    <a:lnTo>
                      <a:pt x="173355" y="144780"/>
                    </a:lnTo>
                    <a:lnTo>
                      <a:pt x="159067" y="155353"/>
                    </a:lnTo>
                    <a:lnTo>
                      <a:pt x="148590" y="173355"/>
                    </a:lnTo>
                    <a:lnTo>
                      <a:pt x="194310" y="180118"/>
                    </a:lnTo>
                    <a:lnTo>
                      <a:pt x="225742" y="176213"/>
                    </a:lnTo>
                    <a:lnTo>
                      <a:pt x="232410" y="162973"/>
                    </a:lnTo>
                    <a:lnTo>
                      <a:pt x="242888" y="162973"/>
                    </a:lnTo>
                    <a:lnTo>
                      <a:pt x="254317" y="173355"/>
                    </a:lnTo>
                    <a:lnTo>
                      <a:pt x="285750" y="169640"/>
                    </a:lnTo>
                    <a:lnTo>
                      <a:pt x="320992" y="169640"/>
                    </a:lnTo>
                    <a:lnTo>
                      <a:pt x="345757" y="151543"/>
                    </a:lnTo>
                    <a:lnTo>
                      <a:pt x="362903" y="134398"/>
                    </a:lnTo>
                    <a:lnTo>
                      <a:pt x="398145" y="120110"/>
                    </a:lnTo>
                    <a:lnTo>
                      <a:pt x="408622" y="123825"/>
                    </a:lnTo>
                    <a:lnTo>
                      <a:pt x="394335" y="130493"/>
                    </a:lnTo>
                    <a:lnTo>
                      <a:pt x="381000" y="141065"/>
                    </a:lnTo>
                    <a:lnTo>
                      <a:pt x="366713" y="151543"/>
                    </a:lnTo>
                    <a:lnTo>
                      <a:pt x="381000" y="155353"/>
                    </a:lnTo>
                    <a:lnTo>
                      <a:pt x="362903" y="165830"/>
                    </a:lnTo>
                    <a:lnTo>
                      <a:pt x="341947" y="180118"/>
                    </a:lnTo>
                    <a:lnTo>
                      <a:pt x="296228" y="183928"/>
                    </a:lnTo>
                    <a:lnTo>
                      <a:pt x="257175" y="183928"/>
                    </a:lnTo>
                    <a:lnTo>
                      <a:pt x="246698" y="194405"/>
                    </a:lnTo>
                    <a:lnTo>
                      <a:pt x="275273" y="208693"/>
                    </a:lnTo>
                    <a:lnTo>
                      <a:pt x="292417" y="222980"/>
                    </a:lnTo>
                    <a:lnTo>
                      <a:pt x="317183" y="229648"/>
                    </a:lnTo>
                    <a:lnTo>
                      <a:pt x="292417" y="236315"/>
                    </a:lnTo>
                    <a:lnTo>
                      <a:pt x="275273" y="225743"/>
                    </a:lnTo>
                    <a:lnTo>
                      <a:pt x="254317" y="211455"/>
                    </a:lnTo>
                    <a:lnTo>
                      <a:pt x="229553" y="194405"/>
                    </a:lnTo>
                    <a:lnTo>
                      <a:pt x="190500" y="198215"/>
                    </a:lnTo>
                    <a:lnTo>
                      <a:pt x="159067" y="186785"/>
                    </a:lnTo>
                    <a:lnTo>
                      <a:pt x="151448" y="201073"/>
                    </a:lnTo>
                    <a:lnTo>
                      <a:pt x="151448" y="225743"/>
                    </a:lnTo>
                    <a:lnTo>
                      <a:pt x="165735" y="229648"/>
                    </a:lnTo>
                    <a:lnTo>
                      <a:pt x="186690" y="229648"/>
                    </a:lnTo>
                    <a:lnTo>
                      <a:pt x="200978" y="243935"/>
                    </a:lnTo>
                    <a:lnTo>
                      <a:pt x="221933" y="271463"/>
                    </a:lnTo>
                    <a:lnTo>
                      <a:pt x="250508" y="279178"/>
                    </a:lnTo>
                    <a:lnTo>
                      <a:pt x="271463" y="275368"/>
                    </a:lnTo>
                    <a:lnTo>
                      <a:pt x="281940" y="279178"/>
                    </a:lnTo>
                    <a:lnTo>
                      <a:pt x="264795" y="293465"/>
                    </a:lnTo>
                    <a:lnTo>
                      <a:pt x="242888" y="293465"/>
                    </a:lnTo>
                    <a:lnTo>
                      <a:pt x="221933" y="285750"/>
                    </a:lnTo>
                    <a:lnTo>
                      <a:pt x="200978" y="282035"/>
                    </a:lnTo>
                    <a:lnTo>
                      <a:pt x="183833" y="285750"/>
                    </a:lnTo>
                    <a:lnTo>
                      <a:pt x="151448" y="285750"/>
                    </a:lnTo>
                    <a:lnTo>
                      <a:pt x="138113" y="293465"/>
                    </a:lnTo>
                    <a:lnTo>
                      <a:pt x="120015" y="310515"/>
                    </a:lnTo>
                    <a:lnTo>
                      <a:pt x="134303" y="324803"/>
                    </a:lnTo>
                    <a:lnTo>
                      <a:pt x="155258" y="321088"/>
                    </a:lnTo>
                    <a:lnTo>
                      <a:pt x="176213" y="328612"/>
                    </a:lnTo>
                    <a:lnTo>
                      <a:pt x="186690" y="317278"/>
                    </a:lnTo>
                    <a:lnTo>
                      <a:pt x="200978" y="306800"/>
                    </a:lnTo>
                    <a:lnTo>
                      <a:pt x="204788" y="321088"/>
                    </a:lnTo>
                    <a:lnTo>
                      <a:pt x="207645" y="328612"/>
                    </a:lnTo>
                    <a:lnTo>
                      <a:pt x="190500" y="342043"/>
                    </a:lnTo>
                    <a:lnTo>
                      <a:pt x="183833" y="352425"/>
                    </a:lnTo>
                    <a:lnTo>
                      <a:pt x="215265" y="363950"/>
                    </a:lnTo>
                    <a:lnTo>
                      <a:pt x="232410" y="356330"/>
                    </a:lnTo>
                    <a:lnTo>
                      <a:pt x="246698" y="342043"/>
                    </a:lnTo>
                    <a:lnTo>
                      <a:pt x="260985" y="331565"/>
                    </a:lnTo>
                    <a:lnTo>
                      <a:pt x="267653" y="335375"/>
                    </a:lnTo>
                    <a:lnTo>
                      <a:pt x="257175" y="356330"/>
                    </a:lnTo>
                    <a:lnTo>
                      <a:pt x="232410" y="374428"/>
                    </a:lnTo>
                    <a:lnTo>
                      <a:pt x="211455" y="374428"/>
                    </a:lnTo>
                    <a:lnTo>
                      <a:pt x="180023" y="370618"/>
                    </a:lnTo>
                    <a:lnTo>
                      <a:pt x="165735" y="360140"/>
                    </a:lnTo>
                    <a:lnTo>
                      <a:pt x="155258" y="345853"/>
                    </a:lnTo>
                    <a:lnTo>
                      <a:pt x="109538" y="345853"/>
                    </a:lnTo>
                    <a:lnTo>
                      <a:pt x="109538" y="360140"/>
                    </a:lnTo>
                    <a:lnTo>
                      <a:pt x="123825" y="374428"/>
                    </a:lnTo>
                    <a:lnTo>
                      <a:pt x="140970" y="374428"/>
                    </a:lnTo>
                    <a:lnTo>
                      <a:pt x="148590" y="388715"/>
                    </a:lnTo>
                    <a:lnTo>
                      <a:pt x="126683" y="388715"/>
                    </a:lnTo>
                    <a:lnTo>
                      <a:pt x="99060" y="388715"/>
                    </a:lnTo>
                    <a:lnTo>
                      <a:pt x="74295" y="395287"/>
                    </a:lnTo>
                    <a:lnTo>
                      <a:pt x="67628" y="416338"/>
                    </a:lnTo>
                    <a:lnTo>
                      <a:pt x="80963" y="430625"/>
                    </a:lnTo>
                    <a:lnTo>
                      <a:pt x="99060" y="416338"/>
                    </a:lnTo>
                    <a:lnTo>
                      <a:pt x="109538" y="430625"/>
                    </a:lnTo>
                    <a:lnTo>
                      <a:pt x="120015" y="423862"/>
                    </a:lnTo>
                    <a:lnTo>
                      <a:pt x="126683" y="430625"/>
                    </a:lnTo>
                    <a:lnTo>
                      <a:pt x="144780" y="420053"/>
                    </a:lnTo>
                    <a:lnTo>
                      <a:pt x="155258" y="430625"/>
                    </a:lnTo>
                    <a:lnTo>
                      <a:pt x="211455" y="430625"/>
                    </a:lnTo>
                    <a:lnTo>
                      <a:pt x="219075" y="420053"/>
                    </a:lnTo>
                    <a:lnTo>
                      <a:pt x="232410" y="430625"/>
                    </a:lnTo>
                    <a:lnTo>
                      <a:pt x="242888" y="420053"/>
                    </a:lnTo>
                    <a:lnTo>
                      <a:pt x="264795" y="426815"/>
                    </a:lnTo>
                    <a:lnTo>
                      <a:pt x="285750" y="423862"/>
                    </a:lnTo>
                    <a:lnTo>
                      <a:pt x="302895" y="430625"/>
                    </a:lnTo>
                    <a:lnTo>
                      <a:pt x="302895" y="444913"/>
                    </a:lnTo>
                    <a:lnTo>
                      <a:pt x="331470" y="441103"/>
                    </a:lnTo>
                    <a:lnTo>
                      <a:pt x="359093" y="430625"/>
                    </a:lnTo>
                    <a:lnTo>
                      <a:pt x="383857" y="423862"/>
                    </a:lnTo>
                    <a:lnTo>
                      <a:pt x="394335" y="416338"/>
                    </a:lnTo>
                    <a:lnTo>
                      <a:pt x="391478" y="399193"/>
                    </a:lnTo>
                    <a:lnTo>
                      <a:pt x="383857" y="391478"/>
                    </a:lnTo>
                    <a:lnTo>
                      <a:pt x="377190" y="399193"/>
                    </a:lnTo>
                    <a:lnTo>
                      <a:pt x="362903" y="409575"/>
                    </a:lnTo>
                    <a:lnTo>
                      <a:pt x="359093" y="399193"/>
                    </a:lnTo>
                    <a:lnTo>
                      <a:pt x="356235" y="388715"/>
                    </a:lnTo>
                    <a:lnTo>
                      <a:pt x="317183" y="388715"/>
                    </a:lnTo>
                    <a:lnTo>
                      <a:pt x="289560" y="381000"/>
                    </a:lnTo>
                    <a:lnTo>
                      <a:pt x="292417" y="366712"/>
                    </a:lnTo>
                    <a:lnTo>
                      <a:pt x="327660" y="374428"/>
                    </a:lnTo>
                    <a:lnTo>
                      <a:pt x="370522" y="374428"/>
                    </a:lnTo>
                    <a:lnTo>
                      <a:pt x="387668" y="363950"/>
                    </a:lnTo>
                    <a:lnTo>
                      <a:pt x="394335" y="342043"/>
                    </a:lnTo>
                    <a:lnTo>
                      <a:pt x="447675" y="339090"/>
                    </a:lnTo>
                    <a:lnTo>
                      <a:pt x="454343" y="331565"/>
                    </a:lnTo>
                    <a:lnTo>
                      <a:pt x="458153" y="324803"/>
                    </a:lnTo>
                    <a:lnTo>
                      <a:pt x="468630" y="317278"/>
                    </a:lnTo>
                    <a:lnTo>
                      <a:pt x="447675" y="306800"/>
                    </a:lnTo>
                    <a:lnTo>
                      <a:pt x="441007" y="296323"/>
                    </a:lnTo>
                    <a:lnTo>
                      <a:pt x="472440" y="300037"/>
                    </a:lnTo>
                    <a:lnTo>
                      <a:pt x="479107" y="296323"/>
                    </a:lnTo>
                    <a:lnTo>
                      <a:pt x="479107" y="285750"/>
                    </a:lnTo>
                    <a:lnTo>
                      <a:pt x="451485" y="282035"/>
                    </a:lnTo>
                    <a:lnTo>
                      <a:pt x="447675" y="271463"/>
                    </a:lnTo>
                    <a:lnTo>
                      <a:pt x="472440" y="271463"/>
                    </a:lnTo>
                    <a:lnTo>
                      <a:pt x="486728" y="271463"/>
                    </a:lnTo>
                    <a:lnTo>
                      <a:pt x="479107" y="261080"/>
                    </a:lnTo>
                    <a:lnTo>
                      <a:pt x="447675" y="261080"/>
                    </a:lnTo>
                    <a:lnTo>
                      <a:pt x="422910" y="261080"/>
                    </a:lnTo>
                    <a:lnTo>
                      <a:pt x="412432" y="250603"/>
                    </a:lnTo>
                    <a:lnTo>
                      <a:pt x="433388" y="243935"/>
                    </a:lnTo>
                    <a:lnTo>
                      <a:pt x="464820" y="246793"/>
                    </a:lnTo>
                    <a:lnTo>
                      <a:pt x="486728" y="250603"/>
                    </a:lnTo>
                    <a:lnTo>
                      <a:pt x="503872" y="243935"/>
                    </a:lnTo>
                    <a:lnTo>
                      <a:pt x="518160" y="243935"/>
                    </a:lnTo>
                    <a:lnTo>
                      <a:pt x="521970" y="243935"/>
                    </a:lnTo>
                    <a:lnTo>
                      <a:pt x="521970" y="240030"/>
                    </a:lnTo>
                    <a:lnTo>
                      <a:pt x="521970" y="233363"/>
                    </a:lnTo>
                    <a:lnTo>
                      <a:pt x="507682" y="229648"/>
                    </a:lnTo>
                    <a:lnTo>
                      <a:pt x="493395" y="222980"/>
                    </a:lnTo>
                    <a:lnTo>
                      <a:pt x="503872" y="219075"/>
                    </a:lnTo>
                    <a:lnTo>
                      <a:pt x="528638" y="225743"/>
                    </a:lnTo>
                    <a:lnTo>
                      <a:pt x="542925" y="236315"/>
                    </a:lnTo>
                    <a:lnTo>
                      <a:pt x="570547" y="229648"/>
                    </a:lnTo>
                    <a:lnTo>
                      <a:pt x="591503" y="211455"/>
                    </a:lnTo>
                    <a:lnTo>
                      <a:pt x="599122" y="190500"/>
                    </a:lnTo>
                    <a:lnTo>
                      <a:pt x="620078" y="190500"/>
                    </a:lnTo>
                    <a:lnTo>
                      <a:pt x="651510" y="165830"/>
                    </a:lnTo>
                    <a:lnTo>
                      <a:pt x="697230" y="151543"/>
                    </a:lnTo>
                    <a:lnTo>
                      <a:pt x="725805" y="134398"/>
                    </a:lnTo>
                    <a:lnTo>
                      <a:pt x="764857" y="120110"/>
                    </a:lnTo>
                    <a:lnTo>
                      <a:pt x="761047" y="113443"/>
                    </a:lnTo>
                    <a:lnTo>
                      <a:pt x="736282" y="113443"/>
                    </a:lnTo>
                    <a:lnTo>
                      <a:pt x="701040" y="123825"/>
                    </a:lnTo>
                    <a:lnTo>
                      <a:pt x="648653" y="130493"/>
                    </a:lnTo>
                    <a:lnTo>
                      <a:pt x="683895" y="116205"/>
                    </a:lnTo>
                    <a:lnTo>
                      <a:pt x="701040" y="113443"/>
                    </a:lnTo>
                    <a:lnTo>
                      <a:pt x="661988" y="109538"/>
                    </a:lnTo>
                    <a:lnTo>
                      <a:pt x="673418" y="102965"/>
                    </a:lnTo>
                    <a:lnTo>
                      <a:pt x="778193" y="99155"/>
                    </a:lnTo>
                    <a:lnTo>
                      <a:pt x="806768" y="84868"/>
                    </a:lnTo>
                    <a:lnTo>
                      <a:pt x="848678" y="70580"/>
                    </a:lnTo>
                    <a:lnTo>
                      <a:pt x="862965" y="63818"/>
                    </a:lnTo>
                    <a:lnTo>
                      <a:pt x="852488" y="45815"/>
                    </a:lnTo>
                    <a:lnTo>
                      <a:pt x="810578" y="45815"/>
                    </a:lnTo>
                    <a:lnTo>
                      <a:pt x="796290" y="24860"/>
                    </a:lnTo>
                    <a:lnTo>
                      <a:pt x="764857" y="24860"/>
                    </a:lnTo>
                    <a:lnTo>
                      <a:pt x="721995" y="24860"/>
                    </a:lnTo>
                    <a:lnTo>
                      <a:pt x="683895" y="35243"/>
                    </a:lnTo>
                    <a:lnTo>
                      <a:pt x="683895" y="28575"/>
                    </a:lnTo>
                    <a:lnTo>
                      <a:pt x="711518" y="20955"/>
                    </a:lnTo>
                    <a:lnTo>
                      <a:pt x="715328" y="14288"/>
                    </a:lnTo>
                    <a:lnTo>
                      <a:pt x="644843" y="10573"/>
                    </a:lnTo>
                    <a:lnTo>
                      <a:pt x="616268" y="3905"/>
                    </a:lnTo>
                    <a:lnTo>
                      <a:pt x="581025" y="7715"/>
                    </a:lnTo>
                    <a:lnTo>
                      <a:pt x="574357" y="18193"/>
                    </a:lnTo>
                    <a:lnTo>
                      <a:pt x="560070" y="7715"/>
                    </a:lnTo>
                    <a:lnTo>
                      <a:pt x="524828" y="3905"/>
                    </a:lnTo>
                    <a:lnTo>
                      <a:pt x="521970" y="18193"/>
                    </a:lnTo>
                    <a:lnTo>
                      <a:pt x="535305" y="32480"/>
                    </a:lnTo>
                    <a:lnTo>
                      <a:pt x="500063" y="20955"/>
                    </a:lnTo>
                    <a:lnTo>
                      <a:pt x="489585" y="7715"/>
                    </a:lnTo>
                    <a:lnTo>
                      <a:pt x="416243" y="0"/>
                    </a:lnTo>
                    <a:lnTo>
                      <a:pt x="419100" y="10573"/>
                    </a:lnTo>
                    <a:lnTo>
                      <a:pt x="433388" y="24860"/>
                    </a:lnTo>
                    <a:lnTo>
                      <a:pt x="447675" y="39148"/>
                    </a:lnTo>
                    <a:lnTo>
                      <a:pt x="433388" y="45815"/>
                    </a:lnTo>
                    <a:lnTo>
                      <a:pt x="416243" y="32480"/>
                    </a:lnTo>
                    <a:lnTo>
                      <a:pt x="401955" y="24860"/>
                    </a:lnTo>
                    <a:lnTo>
                      <a:pt x="381000" y="18193"/>
                    </a:lnTo>
                    <a:lnTo>
                      <a:pt x="348615" y="14288"/>
                    </a:lnTo>
                    <a:lnTo>
                      <a:pt x="323850" y="24860"/>
                    </a:lnTo>
                    <a:lnTo>
                      <a:pt x="300038" y="24860"/>
                    </a:lnTo>
                    <a:lnTo>
                      <a:pt x="289560" y="32480"/>
                    </a:lnTo>
                    <a:lnTo>
                      <a:pt x="264795" y="35243"/>
                    </a:lnTo>
                    <a:lnTo>
                      <a:pt x="257175" y="45815"/>
                    </a:lnTo>
                    <a:lnTo>
                      <a:pt x="275273" y="57150"/>
                    </a:lnTo>
                    <a:lnTo>
                      <a:pt x="296228" y="70580"/>
                    </a:lnTo>
                    <a:lnTo>
                      <a:pt x="260985" y="67723"/>
                    </a:lnTo>
                    <a:lnTo>
                      <a:pt x="229553" y="60103"/>
                    </a:lnTo>
                    <a:lnTo>
                      <a:pt x="207645" y="49530"/>
                    </a:lnTo>
                    <a:lnTo>
                      <a:pt x="180023" y="49530"/>
                    </a:lnTo>
                    <a:lnTo>
                      <a:pt x="173355" y="63818"/>
                    </a:lnTo>
                    <a:lnTo>
                      <a:pt x="186690" y="80963"/>
                    </a:lnTo>
                    <a:lnTo>
                      <a:pt x="165735" y="80963"/>
                    </a:lnTo>
                    <a:lnTo>
                      <a:pt x="140970" y="80963"/>
                    </a:lnTo>
                    <a:lnTo>
                      <a:pt x="126683" y="74390"/>
                    </a:lnTo>
                    <a:lnTo>
                      <a:pt x="95250" y="74390"/>
                    </a:lnTo>
                    <a:lnTo>
                      <a:pt x="80963" y="80963"/>
                    </a:lnTo>
                    <a:lnTo>
                      <a:pt x="63817" y="88678"/>
                    </a:lnTo>
                    <a:lnTo>
                      <a:pt x="21908" y="88678"/>
                    </a:lnTo>
                    <a:lnTo>
                      <a:pt x="0" y="105823"/>
                    </a:lnTo>
                    <a:lnTo>
                      <a:pt x="24765" y="105823"/>
                    </a:lnTo>
                    <a:lnTo>
                      <a:pt x="35242" y="9915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7E1518B9-700A-5B93-6475-D5A3AEC4B384}"/>
                  </a:ext>
                </a:extLst>
              </p:cNvPr>
              <p:cNvSpPr/>
              <p:nvPr/>
            </p:nvSpPr>
            <p:spPr>
              <a:xfrm>
                <a:off x="2637113" y="1813505"/>
                <a:ext cx="193280" cy="99816"/>
              </a:xfrm>
              <a:custGeom>
                <a:avLst/>
                <a:gdLst>
                  <a:gd name="connsiteX0" fmla="*/ 42863 w 197167"/>
                  <a:gd name="connsiteY0" fmla="*/ 95250 h 101822"/>
                  <a:gd name="connsiteX1" fmla="*/ 42863 w 197167"/>
                  <a:gd name="connsiteY1" fmla="*/ 87535 h 101822"/>
                  <a:gd name="connsiteX2" fmla="*/ 56197 w 197167"/>
                  <a:gd name="connsiteY2" fmla="*/ 87535 h 101822"/>
                  <a:gd name="connsiteX3" fmla="*/ 60008 w 197167"/>
                  <a:gd name="connsiteY3" fmla="*/ 101822 h 101822"/>
                  <a:gd name="connsiteX4" fmla="*/ 84772 w 197167"/>
                  <a:gd name="connsiteY4" fmla="*/ 101822 h 101822"/>
                  <a:gd name="connsiteX5" fmla="*/ 84772 w 197167"/>
                  <a:gd name="connsiteY5" fmla="*/ 84773 h 101822"/>
                  <a:gd name="connsiteX6" fmla="*/ 95250 w 197167"/>
                  <a:gd name="connsiteY6" fmla="*/ 87535 h 101822"/>
                  <a:gd name="connsiteX7" fmla="*/ 105728 w 197167"/>
                  <a:gd name="connsiteY7" fmla="*/ 84773 h 101822"/>
                  <a:gd name="connsiteX8" fmla="*/ 112395 w 197167"/>
                  <a:gd name="connsiteY8" fmla="*/ 70485 h 101822"/>
                  <a:gd name="connsiteX9" fmla="*/ 112395 w 197167"/>
                  <a:gd name="connsiteY9" fmla="*/ 59912 h 101822"/>
                  <a:gd name="connsiteX10" fmla="*/ 116205 w 197167"/>
                  <a:gd name="connsiteY10" fmla="*/ 52388 h 101822"/>
                  <a:gd name="connsiteX11" fmla="*/ 126683 w 197167"/>
                  <a:gd name="connsiteY11" fmla="*/ 49435 h 101822"/>
                  <a:gd name="connsiteX12" fmla="*/ 134303 w 197167"/>
                  <a:gd name="connsiteY12" fmla="*/ 56198 h 101822"/>
                  <a:gd name="connsiteX13" fmla="*/ 130492 w 197167"/>
                  <a:gd name="connsiteY13" fmla="*/ 74200 h 101822"/>
                  <a:gd name="connsiteX14" fmla="*/ 147638 w 197167"/>
                  <a:gd name="connsiteY14" fmla="*/ 77153 h 101822"/>
                  <a:gd name="connsiteX15" fmla="*/ 159067 w 197167"/>
                  <a:gd name="connsiteY15" fmla="*/ 66675 h 101822"/>
                  <a:gd name="connsiteX16" fmla="*/ 169545 w 197167"/>
                  <a:gd name="connsiteY16" fmla="*/ 56198 h 101822"/>
                  <a:gd name="connsiteX17" fmla="*/ 182880 w 197167"/>
                  <a:gd name="connsiteY17" fmla="*/ 52388 h 101822"/>
                  <a:gd name="connsiteX18" fmla="*/ 186690 w 197167"/>
                  <a:gd name="connsiteY18" fmla="*/ 41910 h 101822"/>
                  <a:gd name="connsiteX19" fmla="*/ 176213 w 197167"/>
                  <a:gd name="connsiteY19" fmla="*/ 28575 h 101822"/>
                  <a:gd name="connsiteX20" fmla="*/ 190500 w 197167"/>
                  <a:gd name="connsiteY20" fmla="*/ 24765 h 101822"/>
                  <a:gd name="connsiteX21" fmla="*/ 197167 w 197167"/>
                  <a:gd name="connsiteY21" fmla="*/ 14288 h 101822"/>
                  <a:gd name="connsiteX22" fmla="*/ 186690 w 197167"/>
                  <a:gd name="connsiteY22" fmla="*/ 6572 h 101822"/>
                  <a:gd name="connsiteX23" fmla="*/ 169545 w 197167"/>
                  <a:gd name="connsiteY23" fmla="*/ 0 h 101822"/>
                  <a:gd name="connsiteX24" fmla="*/ 161925 w 197167"/>
                  <a:gd name="connsiteY24" fmla="*/ 20860 h 101822"/>
                  <a:gd name="connsiteX25" fmla="*/ 151447 w 197167"/>
                  <a:gd name="connsiteY25" fmla="*/ 14288 h 101822"/>
                  <a:gd name="connsiteX26" fmla="*/ 134303 w 197167"/>
                  <a:gd name="connsiteY26" fmla="*/ 14288 h 101822"/>
                  <a:gd name="connsiteX27" fmla="*/ 101917 w 197167"/>
                  <a:gd name="connsiteY27" fmla="*/ 17050 h 101822"/>
                  <a:gd name="connsiteX28" fmla="*/ 88583 w 197167"/>
                  <a:gd name="connsiteY28" fmla="*/ 31337 h 101822"/>
                  <a:gd name="connsiteX29" fmla="*/ 63817 w 197167"/>
                  <a:gd name="connsiteY29" fmla="*/ 45625 h 101822"/>
                  <a:gd name="connsiteX30" fmla="*/ 45720 w 197167"/>
                  <a:gd name="connsiteY30" fmla="*/ 56198 h 101822"/>
                  <a:gd name="connsiteX31" fmla="*/ 28575 w 197167"/>
                  <a:gd name="connsiteY31" fmla="*/ 66675 h 101822"/>
                  <a:gd name="connsiteX32" fmla="*/ 7620 w 197167"/>
                  <a:gd name="connsiteY32" fmla="*/ 70485 h 101822"/>
                  <a:gd name="connsiteX33" fmla="*/ 0 w 197167"/>
                  <a:gd name="connsiteY33" fmla="*/ 87535 h 101822"/>
                  <a:gd name="connsiteX34" fmla="*/ 14288 w 197167"/>
                  <a:gd name="connsiteY34" fmla="*/ 95250 h 101822"/>
                  <a:gd name="connsiteX35" fmla="*/ 42863 w 197167"/>
                  <a:gd name="connsiteY35" fmla="*/ 95250 h 101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97167" h="101822">
                    <a:moveTo>
                      <a:pt x="42863" y="95250"/>
                    </a:moveTo>
                    <a:lnTo>
                      <a:pt x="42863" y="87535"/>
                    </a:lnTo>
                    <a:lnTo>
                      <a:pt x="56197" y="87535"/>
                    </a:lnTo>
                    <a:lnTo>
                      <a:pt x="60008" y="101822"/>
                    </a:lnTo>
                    <a:lnTo>
                      <a:pt x="84772" y="101822"/>
                    </a:lnTo>
                    <a:lnTo>
                      <a:pt x="84772" y="84773"/>
                    </a:lnTo>
                    <a:lnTo>
                      <a:pt x="95250" y="87535"/>
                    </a:lnTo>
                    <a:lnTo>
                      <a:pt x="105728" y="84773"/>
                    </a:lnTo>
                    <a:lnTo>
                      <a:pt x="112395" y="70485"/>
                    </a:lnTo>
                    <a:lnTo>
                      <a:pt x="112395" y="59912"/>
                    </a:lnTo>
                    <a:lnTo>
                      <a:pt x="116205" y="52388"/>
                    </a:lnTo>
                    <a:lnTo>
                      <a:pt x="126683" y="49435"/>
                    </a:lnTo>
                    <a:lnTo>
                      <a:pt x="134303" y="56198"/>
                    </a:lnTo>
                    <a:lnTo>
                      <a:pt x="130492" y="74200"/>
                    </a:lnTo>
                    <a:lnTo>
                      <a:pt x="147638" y="77153"/>
                    </a:lnTo>
                    <a:lnTo>
                      <a:pt x="159067" y="66675"/>
                    </a:lnTo>
                    <a:lnTo>
                      <a:pt x="169545" y="56198"/>
                    </a:lnTo>
                    <a:lnTo>
                      <a:pt x="182880" y="52388"/>
                    </a:lnTo>
                    <a:lnTo>
                      <a:pt x="186690" y="41910"/>
                    </a:lnTo>
                    <a:lnTo>
                      <a:pt x="176213" y="28575"/>
                    </a:lnTo>
                    <a:lnTo>
                      <a:pt x="190500" y="24765"/>
                    </a:lnTo>
                    <a:lnTo>
                      <a:pt x="197167" y="14288"/>
                    </a:lnTo>
                    <a:lnTo>
                      <a:pt x="186690" y="6572"/>
                    </a:lnTo>
                    <a:lnTo>
                      <a:pt x="169545" y="0"/>
                    </a:lnTo>
                    <a:lnTo>
                      <a:pt x="161925" y="20860"/>
                    </a:lnTo>
                    <a:lnTo>
                      <a:pt x="151447" y="14288"/>
                    </a:lnTo>
                    <a:lnTo>
                      <a:pt x="134303" y="14288"/>
                    </a:lnTo>
                    <a:lnTo>
                      <a:pt x="101917" y="17050"/>
                    </a:lnTo>
                    <a:lnTo>
                      <a:pt x="88583" y="31337"/>
                    </a:lnTo>
                    <a:lnTo>
                      <a:pt x="63817" y="45625"/>
                    </a:lnTo>
                    <a:lnTo>
                      <a:pt x="45720" y="56198"/>
                    </a:lnTo>
                    <a:lnTo>
                      <a:pt x="28575" y="66675"/>
                    </a:lnTo>
                    <a:lnTo>
                      <a:pt x="7620" y="70485"/>
                    </a:lnTo>
                    <a:lnTo>
                      <a:pt x="0" y="87535"/>
                    </a:lnTo>
                    <a:lnTo>
                      <a:pt x="14288" y="95250"/>
                    </a:lnTo>
                    <a:lnTo>
                      <a:pt x="42863" y="952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7F0F4ADE-88A0-DCFD-79B1-E4BB5EABB895}"/>
                  </a:ext>
                </a:extLst>
              </p:cNvPr>
              <p:cNvSpPr/>
              <p:nvPr/>
            </p:nvSpPr>
            <p:spPr>
              <a:xfrm>
                <a:off x="2730486" y="1899316"/>
                <a:ext cx="48553" cy="34641"/>
              </a:xfrm>
              <a:custGeom>
                <a:avLst/>
                <a:gdLst>
                  <a:gd name="connsiteX0" fmla="*/ 6667 w 49529"/>
                  <a:gd name="connsiteY0" fmla="*/ 14288 h 35337"/>
                  <a:gd name="connsiteX1" fmla="*/ 0 w 49529"/>
                  <a:gd name="connsiteY1" fmla="*/ 28575 h 35337"/>
                  <a:gd name="connsiteX2" fmla="*/ 20955 w 49529"/>
                  <a:gd name="connsiteY2" fmla="*/ 35338 h 35337"/>
                  <a:gd name="connsiteX3" fmla="*/ 35242 w 49529"/>
                  <a:gd name="connsiteY3" fmla="*/ 32480 h 35337"/>
                  <a:gd name="connsiteX4" fmla="*/ 45720 w 49529"/>
                  <a:gd name="connsiteY4" fmla="*/ 14288 h 35337"/>
                  <a:gd name="connsiteX5" fmla="*/ 49530 w 49529"/>
                  <a:gd name="connsiteY5" fmla="*/ 3905 h 35337"/>
                  <a:gd name="connsiteX6" fmla="*/ 31433 w 49529"/>
                  <a:gd name="connsiteY6" fmla="*/ 0 h 35337"/>
                  <a:gd name="connsiteX7" fmla="*/ 6667 w 49529"/>
                  <a:gd name="connsiteY7" fmla="*/ 14288 h 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529" h="35337">
                    <a:moveTo>
                      <a:pt x="6667" y="14288"/>
                    </a:moveTo>
                    <a:lnTo>
                      <a:pt x="0" y="28575"/>
                    </a:lnTo>
                    <a:lnTo>
                      <a:pt x="20955" y="35338"/>
                    </a:lnTo>
                    <a:lnTo>
                      <a:pt x="35242" y="32480"/>
                    </a:lnTo>
                    <a:lnTo>
                      <a:pt x="45720" y="14288"/>
                    </a:lnTo>
                    <a:lnTo>
                      <a:pt x="49530" y="3905"/>
                    </a:lnTo>
                    <a:lnTo>
                      <a:pt x="31433" y="0"/>
                    </a:lnTo>
                    <a:lnTo>
                      <a:pt x="6667" y="1428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F1AC4EA3-2C02-5057-0EB8-B3FD098F0C15}"/>
                  </a:ext>
                </a:extLst>
              </p:cNvPr>
              <p:cNvSpPr/>
              <p:nvPr/>
            </p:nvSpPr>
            <p:spPr>
              <a:xfrm>
                <a:off x="2895755" y="1785493"/>
                <a:ext cx="97107" cy="44725"/>
              </a:xfrm>
              <a:custGeom>
                <a:avLst/>
                <a:gdLst>
                  <a:gd name="connsiteX0" fmla="*/ 28575 w 99060"/>
                  <a:gd name="connsiteY0" fmla="*/ 45625 h 45624"/>
                  <a:gd name="connsiteX1" fmla="*/ 39053 w 99060"/>
                  <a:gd name="connsiteY1" fmla="*/ 42863 h 45624"/>
                  <a:gd name="connsiteX2" fmla="*/ 57150 w 99060"/>
                  <a:gd name="connsiteY2" fmla="*/ 42863 h 45624"/>
                  <a:gd name="connsiteX3" fmla="*/ 78105 w 99060"/>
                  <a:gd name="connsiteY3" fmla="*/ 42863 h 45624"/>
                  <a:gd name="connsiteX4" fmla="*/ 88583 w 99060"/>
                  <a:gd name="connsiteY4" fmla="*/ 32385 h 45624"/>
                  <a:gd name="connsiteX5" fmla="*/ 88583 w 99060"/>
                  <a:gd name="connsiteY5" fmla="*/ 20860 h 45624"/>
                  <a:gd name="connsiteX6" fmla="*/ 70485 w 99060"/>
                  <a:gd name="connsiteY6" fmla="*/ 20860 h 45624"/>
                  <a:gd name="connsiteX7" fmla="*/ 78105 w 99060"/>
                  <a:gd name="connsiteY7" fmla="*/ 14288 h 45624"/>
                  <a:gd name="connsiteX8" fmla="*/ 99060 w 99060"/>
                  <a:gd name="connsiteY8" fmla="*/ 10478 h 45624"/>
                  <a:gd name="connsiteX9" fmla="*/ 95250 w 99060"/>
                  <a:gd name="connsiteY9" fmla="*/ 0 h 45624"/>
                  <a:gd name="connsiteX10" fmla="*/ 57150 w 99060"/>
                  <a:gd name="connsiteY10" fmla="*/ 0 h 45624"/>
                  <a:gd name="connsiteX11" fmla="*/ 24765 w 99060"/>
                  <a:gd name="connsiteY11" fmla="*/ 0 h 45624"/>
                  <a:gd name="connsiteX12" fmla="*/ 0 w 99060"/>
                  <a:gd name="connsiteY12" fmla="*/ 10478 h 45624"/>
                  <a:gd name="connsiteX13" fmla="*/ 7620 w 99060"/>
                  <a:gd name="connsiteY13" fmla="*/ 35147 h 45624"/>
                  <a:gd name="connsiteX14" fmla="*/ 28575 w 99060"/>
                  <a:gd name="connsiteY14" fmla="*/ 45625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9060" h="45624">
                    <a:moveTo>
                      <a:pt x="28575" y="45625"/>
                    </a:moveTo>
                    <a:lnTo>
                      <a:pt x="39053" y="42863"/>
                    </a:lnTo>
                    <a:lnTo>
                      <a:pt x="57150" y="42863"/>
                    </a:lnTo>
                    <a:lnTo>
                      <a:pt x="78105" y="42863"/>
                    </a:lnTo>
                    <a:lnTo>
                      <a:pt x="88583" y="32385"/>
                    </a:lnTo>
                    <a:lnTo>
                      <a:pt x="88583" y="20860"/>
                    </a:lnTo>
                    <a:lnTo>
                      <a:pt x="70485" y="20860"/>
                    </a:lnTo>
                    <a:lnTo>
                      <a:pt x="78105" y="14288"/>
                    </a:lnTo>
                    <a:lnTo>
                      <a:pt x="99060" y="10478"/>
                    </a:lnTo>
                    <a:lnTo>
                      <a:pt x="95250" y="0"/>
                    </a:lnTo>
                    <a:lnTo>
                      <a:pt x="57150" y="0"/>
                    </a:lnTo>
                    <a:lnTo>
                      <a:pt x="24765" y="0"/>
                    </a:lnTo>
                    <a:lnTo>
                      <a:pt x="0" y="10478"/>
                    </a:lnTo>
                    <a:lnTo>
                      <a:pt x="7620" y="35147"/>
                    </a:lnTo>
                    <a:lnTo>
                      <a:pt x="28575" y="456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2048B80A-D5D8-BA2E-D519-3058F4F88036}"/>
                  </a:ext>
                </a:extLst>
              </p:cNvPr>
              <p:cNvSpPr/>
              <p:nvPr/>
            </p:nvSpPr>
            <p:spPr>
              <a:xfrm>
                <a:off x="2895755" y="1744409"/>
                <a:ext cx="111113" cy="30813"/>
              </a:xfrm>
              <a:custGeom>
                <a:avLst/>
                <a:gdLst>
                  <a:gd name="connsiteX0" fmla="*/ 60008 w 113347"/>
                  <a:gd name="connsiteY0" fmla="*/ 27622 h 31432"/>
                  <a:gd name="connsiteX1" fmla="*/ 92392 w 113347"/>
                  <a:gd name="connsiteY1" fmla="*/ 27622 h 31432"/>
                  <a:gd name="connsiteX2" fmla="*/ 109538 w 113347"/>
                  <a:gd name="connsiteY2" fmla="*/ 24670 h 31432"/>
                  <a:gd name="connsiteX3" fmla="*/ 113348 w 113347"/>
                  <a:gd name="connsiteY3" fmla="*/ 14288 h 31432"/>
                  <a:gd name="connsiteX4" fmla="*/ 99060 w 113347"/>
                  <a:gd name="connsiteY4" fmla="*/ 3810 h 31432"/>
                  <a:gd name="connsiteX5" fmla="*/ 74295 w 113347"/>
                  <a:gd name="connsiteY5" fmla="*/ 0 h 31432"/>
                  <a:gd name="connsiteX6" fmla="*/ 42863 w 113347"/>
                  <a:gd name="connsiteY6" fmla="*/ 10382 h 31432"/>
                  <a:gd name="connsiteX7" fmla="*/ 14288 w 113347"/>
                  <a:gd name="connsiteY7" fmla="*/ 20860 h 31432"/>
                  <a:gd name="connsiteX8" fmla="*/ 0 w 113347"/>
                  <a:gd name="connsiteY8" fmla="*/ 31432 h 31432"/>
                  <a:gd name="connsiteX9" fmla="*/ 24765 w 113347"/>
                  <a:gd name="connsiteY9" fmla="*/ 31432 h 31432"/>
                  <a:gd name="connsiteX10" fmla="*/ 60008 w 113347"/>
                  <a:gd name="connsiteY10" fmla="*/ 27622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3347" h="31432">
                    <a:moveTo>
                      <a:pt x="60008" y="27622"/>
                    </a:moveTo>
                    <a:lnTo>
                      <a:pt x="92392" y="27622"/>
                    </a:lnTo>
                    <a:lnTo>
                      <a:pt x="109538" y="24670"/>
                    </a:lnTo>
                    <a:lnTo>
                      <a:pt x="113348" y="14288"/>
                    </a:lnTo>
                    <a:lnTo>
                      <a:pt x="99060" y="3810"/>
                    </a:lnTo>
                    <a:lnTo>
                      <a:pt x="74295" y="0"/>
                    </a:lnTo>
                    <a:lnTo>
                      <a:pt x="42863" y="10382"/>
                    </a:lnTo>
                    <a:lnTo>
                      <a:pt x="14288" y="20860"/>
                    </a:lnTo>
                    <a:lnTo>
                      <a:pt x="0" y="31432"/>
                    </a:lnTo>
                    <a:lnTo>
                      <a:pt x="24765" y="31432"/>
                    </a:lnTo>
                    <a:lnTo>
                      <a:pt x="60008" y="2762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7B85DD7C-D67C-5987-3F75-131D9EEEB9B8}"/>
                  </a:ext>
                </a:extLst>
              </p:cNvPr>
              <p:cNvSpPr/>
              <p:nvPr/>
            </p:nvSpPr>
            <p:spPr>
              <a:xfrm>
                <a:off x="3189877" y="2024529"/>
                <a:ext cx="165269" cy="134457"/>
              </a:xfrm>
              <a:custGeom>
                <a:avLst/>
                <a:gdLst>
                  <a:gd name="connsiteX0" fmla="*/ 165735 w 168592"/>
                  <a:gd name="connsiteY0" fmla="*/ 49435 h 137160"/>
                  <a:gd name="connsiteX1" fmla="*/ 151448 w 168592"/>
                  <a:gd name="connsiteY1" fmla="*/ 60007 h 137160"/>
                  <a:gd name="connsiteX2" fmla="*/ 140970 w 168592"/>
                  <a:gd name="connsiteY2" fmla="*/ 45720 h 137160"/>
                  <a:gd name="connsiteX3" fmla="*/ 130492 w 168592"/>
                  <a:gd name="connsiteY3" fmla="*/ 45720 h 137160"/>
                  <a:gd name="connsiteX4" fmla="*/ 112395 w 168592"/>
                  <a:gd name="connsiteY4" fmla="*/ 45720 h 137160"/>
                  <a:gd name="connsiteX5" fmla="*/ 119063 w 168592"/>
                  <a:gd name="connsiteY5" fmla="*/ 35147 h 137160"/>
                  <a:gd name="connsiteX6" fmla="*/ 137160 w 168592"/>
                  <a:gd name="connsiteY6" fmla="*/ 24670 h 137160"/>
                  <a:gd name="connsiteX7" fmla="*/ 151448 w 168592"/>
                  <a:gd name="connsiteY7" fmla="*/ 10382 h 137160"/>
                  <a:gd name="connsiteX8" fmla="*/ 161925 w 168592"/>
                  <a:gd name="connsiteY8" fmla="*/ 2857 h 137160"/>
                  <a:gd name="connsiteX9" fmla="*/ 116205 w 168592"/>
                  <a:gd name="connsiteY9" fmla="*/ 0 h 137160"/>
                  <a:gd name="connsiteX10" fmla="*/ 101917 w 168592"/>
                  <a:gd name="connsiteY10" fmla="*/ 6572 h 137160"/>
                  <a:gd name="connsiteX11" fmla="*/ 87630 w 168592"/>
                  <a:gd name="connsiteY11" fmla="*/ 6572 h 137160"/>
                  <a:gd name="connsiteX12" fmla="*/ 80963 w 168592"/>
                  <a:gd name="connsiteY12" fmla="*/ 0 h 137160"/>
                  <a:gd name="connsiteX13" fmla="*/ 56198 w 168592"/>
                  <a:gd name="connsiteY13" fmla="*/ 2857 h 137160"/>
                  <a:gd name="connsiteX14" fmla="*/ 35242 w 168592"/>
                  <a:gd name="connsiteY14" fmla="*/ 20860 h 137160"/>
                  <a:gd name="connsiteX15" fmla="*/ 60008 w 168592"/>
                  <a:gd name="connsiteY15" fmla="*/ 31432 h 137160"/>
                  <a:gd name="connsiteX16" fmla="*/ 66675 w 168592"/>
                  <a:gd name="connsiteY16" fmla="*/ 41910 h 137160"/>
                  <a:gd name="connsiteX17" fmla="*/ 49530 w 168592"/>
                  <a:gd name="connsiteY17" fmla="*/ 52388 h 137160"/>
                  <a:gd name="connsiteX18" fmla="*/ 31433 w 168592"/>
                  <a:gd name="connsiteY18" fmla="*/ 56198 h 137160"/>
                  <a:gd name="connsiteX19" fmla="*/ 20955 w 168592"/>
                  <a:gd name="connsiteY19" fmla="*/ 41910 h 137160"/>
                  <a:gd name="connsiteX20" fmla="*/ 6667 w 168592"/>
                  <a:gd name="connsiteY20" fmla="*/ 38100 h 137160"/>
                  <a:gd name="connsiteX21" fmla="*/ 0 w 168592"/>
                  <a:gd name="connsiteY21" fmla="*/ 56198 h 137160"/>
                  <a:gd name="connsiteX22" fmla="*/ 2858 w 168592"/>
                  <a:gd name="connsiteY22" fmla="*/ 70485 h 137160"/>
                  <a:gd name="connsiteX23" fmla="*/ 17145 w 168592"/>
                  <a:gd name="connsiteY23" fmla="*/ 80963 h 137160"/>
                  <a:gd name="connsiteX24" fmla="*/ 45720 w 168592"/>
                  <a:gd name="connsiteY24" fmla="*/ 84773 h 137160"/>
                  <a:gd name="connsiteX25" fmla="*/ 60008 w 168592"/>
                  <a:gd name="connsiteY25" fmla="*/ 98107 h 137160"/>
                  <a:gd name="connsiteX26" fmla="*/ 87630 w 168592"/>
                  <a:gd name="connsiteY26" fmla="*/ 116110 h 137160"/>
                  <a:gd name="connsiteX27" fmla="*/ 108585 w 168592"/>
                  <a:gd name="connsiteY27" fmla="*/ 137160 h 137160"/>
                  <a:gd name="connsiteX28" fmla="*/ 119063 w 168592"/>
                  <a:gd name="connsiteY28" fmla="*/ 119920 h 137160"/>
                  <a:gd name="connsiteX29" fmla="*/ 122873 w 168592"/>
                  <a:gd name="connsiteY29" fmla="*/ 112395 h 137160"/>
                  <a:gd name="connsiteX30" fmla="*/ 137160 w 168592"/>
                  <a:gd name="connsiteY30" fmla="*/ 119920 h 137160"/>
                  <a:gd name="connsiteX31" fmla="*/ 147638 w 168592"/>
                  <a:gd name="connsiteY31" fmla="*/ 116110 h 137160"/>
                  <a:gd name="connsiteX32" fmla="*/ 161925 w 168592"/>
                  <a:gd name="connsiteY32" fmla="*/ 95250 h 137160"/>
                  <a:gd name="connsiteX33" fmla="*/ 168592 w 168592"/>
                  <a:gd name="connsiteY33" fmla="*/ 66675 h 137160"/>
                  <a:gd name="connsiteX34" fmla="*/ 165735 w 168592"/>
                  <a:gd name="connsiteY34" fmla="*/ 49435 h 137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68592" h="137160">
                    <a:moveTo>
                      <a:pt x="165735" y="49435"/>
                    </a:moveTo>
                    <a:lnTo>
                      <a:pt x="151448" y="60007"/>
                    </a:lnTo>
                    <a:lnTo>
                      <a:pt x="140970" y="45720"/>
                    </a:lnTo>
                    <a:lnTo>
                      <a:pt x="130492" y="45720"/>
                    </a:lnTo>
                    <a:lnTo>
                      <a:pt x="112395" y="45720"/>
                    </a:lnTo>
                    <a:lnTo>
                      <a:pt x="119063" y="35147"/>
                    </a:lnTo>
                    <a:lnTo>
                      <a:pt x="137160" y="24670"/>
                    </a:lnTo>
                    <a:lnTo>
                      <a:pt x="151448" y="10382"/>
                    </a:lnTo>
                    <a:lnTo>
                      <a:pt x="161925" y="2857"/>
                    </a:lnTo>
                    <a:lnTo>
                      <a:pt x="116205" y="0"/>
                    </a:lnTo>
                    <a:lnTo>
                      <a:pt x="101917" y="6572"/>
                    </a:lnTo>
                    <a:lnTo>
                      <a:pt x="87630" y="6572"/>
                    </a:lnTo>
                    <a:lnTo>
                      <a:pt x="80963" y="0"/>
                    </a:lnTo>
                    <a:lnTo>
                      <a:pt x="56198" y="2857"/>
                    </a:lnTo>
                    <a:lnTo>
                      <a:pt x="35242" y="20860"/>
                    </a:lnTo>
                    <a:lnTo>
                      <a:pt x="60008" y="31432"/>
                    </a:lnTo>
                    <a:lnTo>
                      <a:pt x="66675" y="41910"/>
                    </a:lnTo>
                    <a:lnTo>
                      <a:pt x="49530" y="52388"/>
                    </a:lnTo>
                    <a:lnTo>
                      <a:pt x="31433" y="56198"/>
                    </a:lnTo>
                    <a:lnTo>
                      <a:pt x="20955" y="41910"/>
                    </a:lnTo>
                    <a:lnTo>
                      <a:pt x="6667" y="38100"/>
                    </a:lnTo>
                    <a:lnTo>
                      <a:pt x="0" y="56198"/>
                    </a:lnTo>
                    <a:lnTo>
                      <a:pt x="2858" y="70485"/>
                    </a:lnTo>
                    <a:lnTo>
                      <a:pt x="17145" y="80963"/>
                    </a:lnTo>
                    <a:lnTo>
                      <a:pt x="45720" y="84773"/>
                    </a:lnTo>
                    <a:lnTo>
                      <a:pt x="60008" y="98107"/>
                    </a:lnTo>
                    <a:lnTo>
                      <a:pt x="87630" y="116110"/>
                    </a:lnTo>
                    <a:lnTo>
                      <a:pt x="108585" y="137160"/>
                    </a:lnTo>
                    <a:lnTo>
                      <a:pt x="119063" y="119920"/>
                    </a:lnTo>
                    <a:lnTo>
                      <a:pt x="122873" y="112395"/>
                    </a:lnTo>
                    <a:lnTo>
                      <a:pt x="137160" y="119920"/>
                    </a:lnTo>
                    <a:lnTo>
                      <a:pt x="147638" y="116110"/>
                    </a:lnTo>
                    <a:lnTo>
                      <a:pt x="161925" y="95250"/>
                    </a:lnTo>
                    <a:lnTo>
                      <a:pt x="168592" y="66675"/>
                    </a:lnTo>
                    <a:lnTo>
                      <a:pt x="165735" y="4943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2F3FE128-FE1F-627E-C63D-CE75C898E4F5}"/>
                  </a:ext>
                </a:extLst>
              </p:cNvPr>
              <p:cNvSpPr/>
              <p:nvPr/>
            </p:nvSpPr>
            <p:spPr>
              <a:xfrm>
                <a:off x="3355147" y="1917150"/>
                <a:ext cx="79366" cy="58825"/>
              </a:xfrm>
              <a:custGeom>
                <a:avLst/>
                <a:gdLst>
                  <a:gd name="connsiteX0" fmla="*/ 80963 w 80962"/>
                  <a:gd name="connsiteY0" fmla="*/ 60007 h 60007"/>
                  <a:gd name="connsiteX1" fmla="*/ 80963 w 80962"/>
                  <a:gd name="connsiteY1" fmla="*/ 38957 h 60007"/>
                  <a:gd name="connsiteX2" fmla="*/ 78105 w 80962"/>
                  <a:gd name="connsiteY2" fmla="*/ 24670 h 60007"/>
                  <a:gd name="connsiteX3" fmla="*/ 60008 w 80962"/>
                  <a:gd name="connsiteY3" fmla="*/ 10382 h 60007"/>
                  <a:gd name="connsiteX4" fmla="*/ 45720 w 80962"/>
                  <a:gd name="connsiteY4" fmla="*/ 0 h 60007"/>
                  <a:gd name="connsiteX5" fmla="*/ 31433 w 80962"/>
                  <a:gd name="connsiteY5" fmla="*/ 10382 h 60007"/>
                  <a:gd name="connsiteX6" fmla="*/ 14288 w 80962"/>
                  <a:gd name="connsiteY6" fmla="*/ 20860 h 60007"/>
                  <a:gd name="connsiteX7" fmla="*/ 0 w 80962"/>
                  <a:gd name="connsiteY7" fmla="*/ 38957 h 60007"/>
                  <a:gd name="connsiteX8" fmla="*/ 20955 w 80962"/>
                  <a:gd name="connsiteY8" fmla="*/ 52388 h 60007"/>
                  <a:gd name="connsiteX9" fmla="*/ 49530 w 80962"/>
                  <a:gd name="connsiteY9" fmla="*/ 56197 h 60007"/>
                  <a:gd name="connsiteX10" fmla="*/ 80963 w 80962"/>
                  <a:gd name="connsiteY10" fmla="*/ 60007 h 60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0962" h="60007">
                    <a:moveTo>
                      <a:pt x="80963" y="60007"/>
                    </a:moveTo>
                    <a:lnTo>
                      <a:pt x="80963" y="38957"/>
                    </a:lnTo>
                    <a:lnTo>
                      <a:pt x="78105" y="24670"/>
                    </a:lnTo>
                    <a:lnTo>
                      <a:pt x="60008" y="10382"/>
                    </a:lnTo>
                    <a:lnTo>
                      <a:pt x="45720" y="0"/>
                    </a:lnTo>
                    <a:lnTo>
                      <a:pt x="31433" y="10382"/>
                    </a:lnTo>
                    <a:lnTo>
                      <a:pt x="14288" y="20860"/>
                    </a:lnTo>
                    <a:lnTo>
                      <a:pt x="0" y="38957"/>
                    </a:lnTo>
                    <a:lnTo>
                      <a:pt x="20955" y="52388"/>
                    </a:lnTo>
                    <a:lnTo>
                      <a:pt x="49530" y="56197"/>
                    </a:lnTo>
                    <a:lnTo>
                      <a:pt x="80963" y="6000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057384FA-2AA4-3CD3-5813-32A408953C11}"/>
                  </a:ext>
                </a:extLst>
              </p:cNvPr>
              <p:cNvSpPr/>
              <p:nvPr/>
            </p:nvSpPr>
            <p:spPr>
              <a:xfrm>
                <a:off x="3314063" y="1740581"/>
                <a:ext cx="55089" cy="17834"/>
              </a:xfrm>
              <a:custGeom>
                <a:avLst/>
                <a:gdLst>
                  <a:gd name="connsiteX0" fmla="*/ 56197 w 56197"/>
                  <a:gd name="connsiteY0" fmla="*/ 18193 h 18192"/>
                  <a:gd name="connsiteX1" fmla="*/ 31433 w 56197"/>
                  <a:gd name="connsiteY1" fmla="*/ 7715 h 18192"/>
                  <a:gd name="connsiteX2" fmla="*/ 0 w 56197"/>
                  <a:gd name="connsiteY2" fmla="*/ 0 h 18192"/>
                  <a:gd name="connsiteX3" fmla="*/ 31433 w 56197"/>
                  <a:gd name="connsiteY3" fmla="*/ 7715 h 18192"/>
                  <a:gd name="connsiteX4" fmla="*/ 56197 w 56197"/>
                  <a:gd name="connsiteY4" fmla="*/ 18193 h 18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197" h="18192">
                    <a:moveTo>
                      <a:pt x="56197" y="18193"/>
                    </a:moveTo>
                    <a:lnTo>
                      <a:pt x="31433" y="7715"/>
                    </a:lnTo>
                    <a:lnTo>
                      <a:pt x="0" y="0"/>
                    </a:lnTo>
                    <a:lnTo>
                      <a:pt x="31433" y="7715"/>
                    </a:lnTo>
                    <a:lnTo>
                      <a:pt x="56197" y="1819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F117914F-0A99-0801-235B-D6EF035F584C}"/>
                  </a:ext>
                </a:extLst>
              </p:cNvPr>
              <p:cNvSpPr/>
              <p:nvPr/>
            </p:nvSpPr>
            <p:spPr>
              <a:xfrm>
                <a:off x="3334605" y="1778865"/>
                <a:ext cx="55089" cy="16900"/>
              </a:xfrm>
              <a:custGeom>
                <a:avLst/>
                <a:gdLst>
                  <a:gd name="connsiteX0" fmla="*/ 6667 w 56197"/>
                  <a:gd name="connsiteY0" fmla="*/ 17240 h 17240"/>
                  <a:gd name="connsiteX1" fmla="*/ 0 w 56197"/>
                  <a:gd name="connsiteY1" fmla="*/ 0 h 17240"/>
                  <a:gd name="connsiteX2" fmla="*/ 6667 w 56197"/>
                  <a:gd name="connsiteY2" fmla="*/ 17240 h 17240"/>
                  <a:gd name="connsiteX3" fmla="*/ 35242 w 56197"/>
                  <a:gd name="connsiteY3" fmla="*/ 17240 h 17240"/>
                  <a:gd name="connsiteX4" fmla="*/ 56198 w 56197"/>
                  <a:gd name="connsiteY4" fmla="*/ 14288 h 17240"/>
                  <a:gd name="connsiteX5" fmla="*/ 35242 w 56197"/>
                  <a:gd name="connsiteY5" fmla="*/ 17240 h 17240"/>
                  <a:gd name="connsiteX6" fmla="*/ 6667 w 56197"/>
                  <a:gd name="connsiteY6" fmla="*/ 17240 h 1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197" h="17240">
                    <a:moveTo>
                      <a:pt x="6667" y="17240"/>
                    </a:moveTo>
                    <a:lnTo>
                      <a:pt x="0" y="0"/>
                    </a:lnTo>
                    <a:lnTo>
                      <a:pt x="6667" y="17240"/>
                    </a:lnTo>
                    <a:lnTo>
                      <a:pt x="35242" y="17240"/>
                    </a:lnTo>
                    <a:lnTo>
                      <a:pt x="56198" y="14288"/>
                    </a:lnTo>
                    <a:lnTo>
                      <a:pt x="35242" y="17240"/>
                    </a:lnTo>
                    <a:lnTo>
                      <a:pt x="6667" y="1724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83F19E0E-61DA-7B76-AF63-CBC5C7CC6C14}"/>
                  </a:ext>
                </a:extLst>
              </p:cNvPr>
              <p:cNvSpPr/>
              <p:nvPr/>
            </p:nvSpPr>
            <p:spPr>
              <a:xfrm>
                <a:off x="3306593" y="1740581"/>
                <a:ext cx="7470" cy="7563"/>
              </a:xfrm>
              <a:custGeom>
                <a:avLst/>
                <a:gdLst>
                  <a:gd name="connsiteX0" fmla="*/ 0 w 7620"/>
                  <a:gd name="connsiteY0" fmla="*/ 7715 h 7715"/>
                  <a:gd name="connsiteX1" fmla="*/ 0 w 7620"/>
                  <a:gd name="connsiteY1" fmla="*/ 7715 h 7715"/>
                  <a:gd name="connsiteX2" fmla="*/ 7620 w 7620"/>
                  <a:gd name="connsiteY2" fmla="*/ 0 h 7715"/>
                  <a:gd name="connsiteX3" fmla="*/ 0 w 7620"/>
                  <a:gd name="connsiteY3" fmla="*/ 7715 h 7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" h="7715">
                    <a:moveTo>
                      <a:pt x="0" y="7715"/>
                    </a:moveTo>
                    <a:lnTo>
                      <a:pt x="0" y="7715"/>
                    </a:lnTo>
                    <a:lnTo>
                      <a:pt x="7620" y="0"/>
                    </a:lnTo>
                    <a:lnTo>
                      <a:pt x="0" y="7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5" name="Freeform: Shape 424">
                <a:extLst>
                  <a:ext uri="{FF2B5EF4-FFF2-40B4-BE49-F238E27FC236}">
                    <a16:creationId xmlns:a16="http://schemas.microsoft.com/office/drawing/2014/main" id="{2E8A38EA-6838-9A52-62D4-7368273F8643}"/>
                  </a:ext>
                </a:extLst>
              </p:cNvPr>
              <p:cNvSpPr/>
              <p:nvPr/>
            </p:nvSpPr>
            <p:spPr>
              <a:xfrm>
                <a:off x="3348610" y="1581847"/>
                <a:ext cx="313731" cy="200752"/>
              </a:xfrm>
              <a:custGeom>
                <a:avLst/>
                <a:gdLst>
                  <a:gd name="connsiteX0" fmla="*/ 41910 w 320040"/>
                  <a:gd name="connsiteY0" fmla="*/ 130493 h 204787"/>
                  <a:gd name="connsiteX1" fmla="*/ 60008 w 320040"/>
                  <a:gd name="connsiteY1" fmla="*/ 126778 h 204787"/>
                  <a:gd name="connsiteX2" fmla="*/ 87630 w 320040"/>
                  <a:gd name="connsiteY2" fmla="*/ 130493 h 204787"/>
                  <a:gd name="connsiteX3" fmla="*/ 108585 w 320040"/>
                  <a:gd name="connsiteY3" fmla="*/ 126778 h 204787"/>
                  <a:gd name="connsiteX4" fmla="*/ 137160 w 320040"/>
                  <a:gd name="connsiteY4" fmla="*/ 126778 h 204787"/>
                  <a:gd name="connsiteX5" fmla="*/ 158115 w 320040"/>
                  <a:gd name="connsiteY5" fmla="*/ 130493 h 204787"/>
                  <a:gd name="connsiteX6" fmla="*/ 168592 w 320040"/>
                  <a:gd name="connsiteY6" fmla="*/ 141065 h 204787"/>
                  <a:gd name="connsiteX7" fmla="*/ 147638 w 320040"/>
                  <a:gd name="connsiteY7" fmla="*/ 144780 h 204787"/>
                  <a:gd name="connsiteX8" fmla="*/ 122873 w 320040"/>
                  <a:gd name="connsiteY8" fmla="*/ 144780 h 204787"/>
                  <a:gd name="connsiteX9" fmla="*/ 91440 w 320040"/>
                  <a:gd name="connsiteY9" fmla="*/ 144780 h 204787"/>
                  <a:gd name="connsiteX10" fmla="*/ 70485 w 320040"/>
                  <a:gd name="connsiteY10" fmla="*/ 151543 h 204787"/>
                  <a:gd name="connsiteX11" fmla="*/ 98108 w 320040"/>
                  <a:gd name="connsiteY11" fmla="*/ 172498 h 204787"/>
                  <a:gd name="connsiteX12" fmla="*/ 108585 w 320040"/>
                  <a:gd name="connsiteY12" fmla="*/ 169640 h 204787"/>
                  <a:gd name="connsiteX13" fmla="*/ 133350 w 320040"/>
                  <a:gd name="connsiteY13" fmla="*/ 172498 h 204787"/>
                  <a:gd name="connsiteX14" fmla="*/ 137160 w 320040"/>
                  <a:gd name="connsiteY14" fmla="*/ 180118 h 204787"/>
                  <a:gd name="connsiteX15" fmla="*/ 112395 w 320040"/>
                  <a:gd name="connsiteY15" fmla="*/ 176212 h 204787"/>
                  <a:gd name="connsiteX16" fmla="*/ 116205 w 320040"/>
                  <a:gd name="connsiteY16" fmla="*/ 193453 h 204787"/>
                  <a:gd name="connsiteX17" fmla="*/ 147638 w 320040"/>
                  <a:gd name="connsiteY17" fmla="*/ 204787 h 204787"/>
                  <a:gd name="connsiteX18" fmla="*/ 168592 w 320040"/>
                  <a:gd name="connsiteY18" fmla="*/ 197263 h 204787"/>
                  <a:gd name="connsiteX19" fmla="*/ 182880 w 320040"/>
                  <a:gd name="connsiteY19" fmla="*/ 193453 h 204787"/>
                  <a:gd name="connsiteX20" fmla="*/ 179070 w 320040"/>
                  <a:gd name="connsiteY20" fmla="*/ 182975 h 204787"/>
                  <a:gd name="connsiteX21" fmla="*/ 189548 w 320040"/>
                  <a:gd name="connsiteY21" fmla="*/ 176212 h 204787"/>
                  <a:gd name="connsiteX22" fmla="*/ 203835 w 320040"/>
                  <a:gd name="connsiteY22" fmla="*/ 193453 h 204787"/>
                  <a:gd name="connsiteX23" fmla="*/ 218123 w 320040"/>
                  <a:gd name="connsiteY23" fmla="*/ 204787 h 204787"/>
                  <a:gd name="connsiteX24" fmla="*/ 221933 w 320040"/>
                  <a:gd name="connsiteY24" fmla="*/ 182975 h 204787"/>
                  <a:gd name="connsiteX25" fmla="*/ 224790 w 320040"/>
                  <a:gd name="connsiteY25" fmla="*/ 186690 h 204787"/>
                  <a:gd name="connsiteX26" fmla="*/ 236220 w 320040"/>
                  <a:gd name="connsiteY26" fmla="*/ 193453 h 204787"/>
                  <a:gd name="connsiteX27" fmla="*/ 239078 w 320040"/>
                  <a:gd name="connsiteY27" fmla="*/ 190500 h 204787"/>
                  <a:gd name="connsiteX28" fmla="*/ 239078 w 320040"/>
                  <a:gd name="connsiteY28" fmla="*/ 186690 h 204787"/>
                  <a:gd name="connsiteX29" fmla="*/ 239078 w 320040"/>
                  <a:gd name="connsiteY29" fmla="*/ 180118 h 204787"/>
                  <a:gd name="connsiteX30" fmla="*/ 236220 w 320040"/>
                  <a:gd name="connsiteY30" fmla="*/ 169640 h 204787"/>
                  <a:gd name="connsiteX31" fmla="*/ 236220 w 320040"/>
                  <a:gd name="connsiteY31" fmla="*/ 161925 h 204787"/>
                  <a:gd name="connsiteX32" fmla="*/ 242888 w 320040"/>
                  <a:gd name="connsiteY32" fmla="*/ 144780 h 204787"/>
                  <a:gd name="connsiteX33" fmla="*/ 253365 w 320040"/>
                  <a:gd name="connsiteY33" fmla="*/ 144780 h 204787"/>
                  <a:gd name="connsiteX34" fmla="*/ 246698 w 320040"/>
                  <a:gd name="connsiteY34" fmla="*/ 161925 h 204787"/>
                  <a:gd name="connsiteX35" fmla="*/ 246698 w 320040"/>
                  <a:gd name="connsiteY35" fmla="*/ 172498 h 204787"/>
                  <a:gd name="connsiteX36" fmla="*/ 274320 w 320040"/>
                  <a:gd name="connsiteY36" fmla="*/ 147638 h 204787"/>
                  <a:gd name="connsiteX37" fmla="*/ 284798 w 320040"/>
                  <a:gd name="connsiteY37" fmla="*/ 144780 h 204787"/>
                  <a:gd name="connsiteX38" fmla="*/ 302895 w 320040"/>
                  <a:gd name="connsiteY38" fmla="*/ 147638 h 204787"/>
                  <a:gd name="connsiteX39" fmla="*/ 313373 w 320040"/>
                  <a:gd name="connsiteY39" fmla="*/ 141065 h 204787"/>
                  <a:gd name="connsiteX40" fmla="*/ 320040 w 320040"/>
                  <a:gd name="connsiteY40" fmla="*/ 130493 h 204787"/>
                  <a:gd name="connsiteX41" fmla="*/ 309563 w 320040"/>
                  <a:gd name="connsiteY41" fmla="*/ 120110 h 204787"/>
                  <a:gd name="connsiteX42" fmla="*/ 302895 w 320040"/>
                  <a:gd name="connsiteY42" fmla="*/ 120110 h 204787"/>
                  <a:gd name="connsiteX43" fmla="*/ 288608 w 320040"/>
                  <a:gd name="connsiteY43" fmla="*/ 116205 h 204787"/>
                  <a:gd name="connsiteX44" fmla="*/ 263842 w 320040"/>
                  <a:gd name="connsiteY44" fmla="*/ 120110 h 204787"/>
                  <a:gd name="connsiteX45" fmla="*/ 267653 w 320040"/>
                  <a:gd name="connsiteY45" fmla="*/ 101918 h 204787"/>
                  <a:gd name="connsiteX46" fmla="*/ 263842 w 320040"/>
                  <a:gd name="connsiteY46" fmla="*/ 91535 h 204787"/>
                  <a:gd name="connsiteX47" fmla="*/ 249555 w 320040"/>
                  <a:gd name="connsiteY47" fmla="*/ 80963 h 204787"/>
                  <a:gd name="connsiteX48" fmla="*/ 253365 w 320040"/>
                  <a:gd name="connsiteY48" fmla="*/ 62960 h 204787"/>
                  <a:gd name="connsiteX49" fmla="*/ 242888 w 320040"/>
                  <a:gd name="connsiteY49" fmla="*/ 60103 h 204787"/>
                  <a:gd name="connsiteX50" fmla="*/ 228600 w 320040"/>
                  <a:gd name="connsiteY50" fmla="*/ 66675 h 204787"/>
                  <a:gd name="connsiteX51" fmla="*/ 221933 w 320040"/>
                  <a:gd name="connsiteY51" fmla="*/ 84868 h 204787"/>
                  <a:gd name="connsiteX52" fmla="*/ 207645 w 320040"/>
                  <a:gd name="connsiteY52" fmla="*/ 74390 h 204787"/>
                  <a:gd name="connsiteX53" fmla="*/ 207645 w 320040"/>
                  <a:gd name="connsiteY53" fmla="*/ 60103 h 204787"/>
                  <a:gd name="connsiteX54" fmla="*/ 172403 w 320040"/>
                  <a:gd name="connsiteY54" fmla="*/ 52388 h 204787"/>
                  <a:gd name="connsiteX55" fmla="*/ 122873 w 320040"/>
                  <a:gd name="connsiteY55" fmla="*/ 3905 h 204787"/>
                  <a:gd name="connsiteX56" fmla="*/ 80963 w 320040"/>
                  <a:gd name="connsiteY56" fmla="*/ 0 h 204787"/>
                  <a:gd name="connsiteX57" fmla="*/ 73342 w 320040"/>
                  <a:gd name="connsiteY57" fmla="*/ 6668 h 204787"/>
                  <a:gd name="connsiteX58" fmla="*/ 98108 w 320040"/>
                  <a:gd name="connsiteY58" fmla="*/ 10573 h 204787"/>
                  <a:gd name="connsiteX59" fmla="*/ 101917 w 320040"/>
                  <a:gd name="connsiteY59" fmla="*/ 17240 h 204787"/>
                  <a:gd name="connsiteX60" fmla="*/ 73342 w 320040"/>
                  <a:gd name="connsiteY60" fmla="*/ 20955 h 204787"/>
                  <a:gd name="connsiteX61" fmla="*/ 60008 w 320040"/>
                  <a:gd name="connsiteY61" fmla="*/ 17240 h 204787"/>
                  <a:gd name="connsiteX62" fmla="*/ 45720 w 320040"/>
                  <a:gd name="connsiteY62" fmla="*/ 17240 h 204787"/>
                  <a:gd name="connsiteX63" fmla="*/ 41910 w 320040"/>
                  <a:gd name="connsiteY63" fmla="*/ 31528 h 204787"/>
                  <a:gd name="connsiteX64" fmla="*/ 60008 w 320040"/>
                  <a:gd name="connsiteY64" fmla="*/ 39148 h 204787"/>
                  <a:gd name="connsiteX65" fmla="*/ 73342 w 320040"/>
                  <a:gd name="connsiteY65" fmla="*/ 45815 h 204787"/>
                  <a:gd name="connsiteX66" fmla="*/ 62865 w 320040"/>
                  <a:gd name="connsiteY66" fmla="*/ 52388 h 204787"/>
                  <a:gd name="connsiteX67" fmla="*/ 41910 w 320040"/>
                  <a:gd name="connsiteY67" fmla="*/ 49530 h 204787"/>
                  <a:gd name="connsiteX68" fmla="*/ 24765 w 320040"/>
                  <a:gd name="connsiteY68" fmla="*/ 49530 h 204787"/>
                  <a:gd name="connsiteX69" fmla="*/ 27623 w 320040"/>
                  <a:gd name="connsiteY69" fmla="*/ 66675 h 204787"/>
                  <a:gd name="connsiteX70" fmla="*/ 41910 w 320040"/>
                  <a:gd name="connsiteY70" fmla="*/ 70580 h 204787"/>
                  <a:gd name="connsiteX71" fmla="*/ 62865 w 320040"/>
                  <a:gd name="connsiteY71" fmla="*/ 74390 h 204787"/>
                  <a:gd name="connsiteX72" fmla="*/ 52388 w 320040"/>
                  <a:gd name="connsiteY72" fmla="*/ 87630 h 204787"/>
                  <a:gd name="connsiteX73" fmla="*/ 24765 w 320040"/>
                  <a:gd name="connsiteY73" fmla="*/ 84868 h 204787"/>
                  <a:gd name="connsiteX74" fmla="*/ 14288 w 320040"/>
                  <a:gd name="connsiteY74" fmla="*/ 77248 h 204787"/>
                  <a:gd name="connsiteX75" fmla="*/ 0 w 320040"/>
                  <a:gd name="connsiteY75" fmla="*/ 77248 h 204787"/>
                  <a:gd name="connsiteX76" fmla="*/ 10478 w 320040"/>
                  <a:gd name="connsiteY76" fmla="*/ 95250 h 204787"/>
                  <a:gd name="connsiteX77" fmla="*/ 41910 w 320040"/>
                  <a:gd name="connsiteY77" fmla="*/ 130493 h 204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20040" h="204787">
                    <a:moveTo>
                      <a:pt x="41910" y="130493"/>
                    </a:moveTo>
                    <a:lnTo>
                      <a:pt x="60008" y="126778"/>
                    </a:lnTo>
                    <a:lnTo>
                      <a:pt x="87630" y="130493"/>
                    </a:lnTo>
                    <a:lnTo>
                      <a:pt x="108585" y="126778"/>
                    </a:lnTo>
                    <a:lnTo>
                      <a:pt x="137160" y="126778"/>
                    </a:lnTo>
                    <a:lnTo>
                      <a:pt x="158115" y="130493"/>
                    </a:lnTo>
                    <a:lnTo>
                      <a:pt x="168592" y="141065"/>
                    </a:lnTo>
                    <a:lnTo>
                      <a:pt x="147638" y="144780"/>
                    </a:lnTo>
                    <a:lnTo>
                      <a:pt x="122873" y="144780"/>
                    </a:lnTo>
                    <a:lnTo>
                      <a:pt x="91440" y="144780"/>
                    </a:lnTo>
                    <a:lnTo>
                      <a:pt x="70485" y="151543"/>
                    </a:lnTo>
                    <a:lnTo>
                      <a:pt x="98108" y="172498"/>
                    </a:lnTo>
                    <a:lnTo>
                      <a:pt x="108585" y="169640"/>
                    </a:lnTo>
                    <a:lnTo>
                      <a:pt x="133350" y="172498"/>
                    </a:lnTo>
                    <a:lnTo>
                      <a:pt x="137160" y="180118"/>
                    </a:lnTo>
                    <a:lnTo>
                      <a:pt x="112395" y="176212"/>
                    </a:lnTo>
                    <a:lnTo>
                      <a:pt x="116205" y="193453"/>
                    </a:lnTo>
                    <a:lnTo>
                      <a:pt x="147638" y="204787"/>
                    </a:lnTo>
                    <a:lnTo>
                      <a:pt x="168592" y="197263"/>
                    </a:lnTo>
                    <a:lnTo>
                      <a:pt x="182880" y="193453"/>
                    </a:lnTo>
                    <a:lnTo>
                      <a:pt x="179070" y="182975"/>
                    </a:lnTo>
                    <a:lnTo>
                      <a:pt x="189548" y="176212"/>
                    </a:lnTo>
                    <a:lnTo>
                      <a:pt x="203835" y="193453"/>
                    </a:lnTo>
                    <a:lnTo>
                      <a:pt x="218123" y="204787"/>
                    </a:lnTo>
                    <a:lnTo>
                      <a:pt x="221933" y="182975"/>
                    </a:lnTo>
                    <a:lnTo>
                      <a:pt x="224790" y="186690"/>
                    </a:lnTo>
                    <a:lnTo>
                      <a:pt x="236220" y="193453"/>
                    </a:lnTo>
                    <a:lnTo>
                      <a:pt x="239078" y="190500"/>
                    </a:lnTo>
                    <a:lnTo>
                      <a:pt x="239078" y="186690"/>
                    </a:lnTo>
                    <a:lnTo>
                      <a:pt x="239078" y="180118"/>
                    </a:lnTo>
                    <a:lnTo>
                      <a:pt x="236220" y="169640"/>
                    </a:lnTo>
                    <a:lnTo>
                      <a:pt x="236220" y="161925"/>
                    </a:lnTo>
                    <a:lnTo>
                      <a:pt x="242888" y="144780"/>
                    </a:lnTo>
                    <a:lnTo>
                      <a:pt x="253365" y="144780"/>
                    </a:lnTo>
                    <a:lnTo>
                      <a:pt x="246698" y="161925"/>
                    </a:lnTo>
                    <a:lnTo>
                      <a:pt x="246698" y="172498"/>
                    </a:lnTo>
                    <a:lnTo>
                      <a:pt x="274320" y="147638"/>
                    </a:lnTo>
                    <a:lnTo>
                      <a:pt x="284798" y="144780"/>
                    </a:lnTo>
                    <a:lnTo>
                      <a:pt x="302895" y="147638"/>
                    </a:lnTo>
                    <a:lnTo>
                      <a:pt x="313373" y="141065"/>
                    </a:lnTo>
                    <a:lnTo>
                      <a:pt x="320040" y="130493"/>
                    </a:lnTo>
                    <a:lnTo>
                      <a:pt x="309563" y="120110"/>
                    </a:lnTo>
                    <a:lnTo>
                      <a:pt x="302895" y="120110"/>
                    </a:lnTo>
                    <a:lnTo>
                      <a:pt x="288608" y="116205"/>
                    </a:lnTo>
                    <a:lnTo>
                      <a:pt x="263842" y="120110"/>
                    </a:lnTo>
                    <a:lnTo>
                      <a:pt x="267653" y="101918"/>
                    </a:lnTo>
                    <a:lnTo>
                      <a:pt x="263842" y="91535"/>
                    </a:lnTo>
                    <a:lnTo>
                      <a:pt x="249555" y="80963"/>
                    </a:lnTo>
                    <a:lnTo>
                      <a:pt x="253365" y="62960"/>
                    </a:lnTo>
                    <a:lnTo>
                      <a:pt x="242888" y="60103"/>
                    </a:lnTo>
                    <a:lnTo>
                      <a:pt x="228600" y="66675"/>
                    </a:lnTo>
                    <a:lnTo>
                      <a:pt x="221933" y="84868"/>
                    </a:lnTo>
                    <a:lnTo>
                      <a:pt x="207645" y="74390"/>
                    </a:lnTo>
                    <a:lnTo>
                      <a:pt x="207645" y="60103"/>
                    </a:lnTo>
                    <a:lnTo>
                      <a:pt x="172403" y="52388"/>
                    </a:lnTo>
                    <a:lnTo>
                      <a:pt x="122873" y="3905"/>
                    </a:lnTo>
                    <a:lnTo>
                      <a:pt x="80963" y="0"/>
                    </a:lnTo>
                    <a:lnTo>
                      <a:pt x="73342" y="6668"/>
                    </a:lnTo>
                    <a:lnTo>
                      <a:pt x="98108" y="10573"/>
                    </a:lnTo>
                    <a:lnTo>
                      <a:pt x="101917" y="17240"/>
                    </a:lnTo>
                    <a:lnTo>
                      <a:pt x="73342" y="20955"/>
                    </a:lnTo>
                    <a:lnTo>
                      <a:pt x="60008" y="17240"/>
                    </a:lnTo>
                    <a:lnTo>
                      <a:pt x="45720" y="17240"/>
                    </a:lnTo>
                    <a:lnTo>
                      <a:pt x="41910" y="31528"/>
                    </a:lnTo>
                    <a:lnTo>
                      <a:pt x="60008" y="39148"/>
                    </a:lnTo>
                    <a:lnTo>
                      <a:pt x="73342" y="45815"/>
                    </a:lnTo>
                    <a:lnTo>
                      <a:pt x="62865" y="52388"/>
                    </a:lnTo>
                    <a:lnTo>
                      <a:pt x="41910" y="49530"/>
                    </a:lnTo>
                    <a:lnTo>
                      <a:pt x="24765" y="49530"/>
                    </a:lnTo>
                    <a:lnTo>
                      <a:pt x="27623" y="66675"/>
                    </a:lnTo>
                    <a:lnTo>
                      <a:pt x="41910" y="70580"/>
                    </a:lnTo>
                    <a:lnTo>
                      <a:pt x="62865" y="74390"/>
                    </a:lnTo>
                    <a:lnTo>
                      <a:pt x="52388" y="87630"/>
                    </a:lnTo>
                    <a:lnTo>
                      <a:pt x="24765" y="84868"/>
                    </a:lnTo>
                    <a:lnTo>
                      <a:pt x="14288" y="77248"/>
                    </a:lnTo>
                    <a:lnTo>
                      <a:pt x="0" y="77248"/>
                    </a:lnTo>
                    <a:lnTo>
                      <a:pt x="10478" y="95250"/>
                    </a:lnTo>
                    <a:lnTo>
                      <a:pt x="41910" y="13049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6" name="Freeform: Shape 425">
                <a:extLst>
                  <a:ext uri="{FF2B5EF4-FFF2-40B4-BE49-F238E27FC236}">
                    <a16:creationId xmlns:a16="http://schemas.microsoft.com/office/drawing/2014/main" id="{6AF8B153-32BE-6C4B-D662-703E8F07E6E2}"/>
                  </a:ext>
                </a:extLst>
              </p:cNvPr>
              <p:cNvSpPr/>
              <p:nvPr/>
            </p:nvSpPr>
            <p:spPr>
              <a:xfrm>
                <a:off x="3248702" y="1657573"/>
                <a:ext cx="44819" cy="28012"/>
              </a:xfrm>
              <a:custGeom>
                <a:avLst/>
                <a:gdLst>
                  <a:gd name="connsiteX0" fmla="*/ 23813 w 45720"/>
                  <a:gd name="connsiteY0" fmla="*/ 21907 h 28575"/>
                  <a:gd name="connsiteX1" fmla="*/ 31433 w 45720"/>
                  <a:gd name="connsiteY1" fmla="*/ 28575 h 28575"/>
                  <a:gd name="connsiteX2" fmla="*/ 45720 w 45720"/>
                  <a:gd name="connsiteY2" fmla="*/ 28575 h 28575"/>
                  <a:gd name="connsiteX3" fmla="*/ 45720 w 45720"/>
                  <a:gd name="connsiteY3" fmla="*/ 10382 h 28575"/>
                  <a:gd name="connsiteX4" fmla="*/ 31433 w 45720"/>
                  <a:gd name="connsiteY4" fmla="*/ 0 h 28575"/>
                  <a:gd name="connsiteX5" fmla="*/ 13335 w 45720"/>
                  <a:gd name="connsiteY5" fmla="*/ 0 h 28575"/>
                  <a:gd name="connsiteX6" fmla="*/ 0 w 45720"/>
                  <a:gd name="connsiteY6" fmla="*/ 7620 h 28575"/>
                  <a:gd name="connsiteX7" fmla="*/ 6667 w 45720"/>
                  <a:gd name="connsiteY7" fmla="*/ 21907 h 28575"/>
                  <a:gd name="connsiteX8" fmla="*/ 23813 w 45720"/>
                  <a:gd name="connsiteY8" fmla="*/ 2190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720" h="28575">
                    <a:moveTo>
                      <a:pt x="23813" y="21907"/>
                    </a:moveTo>
                    <a:lnTo>
                      <a:pt x="31433" y="28575"/>
                    </a:lnTo>
                    <a:lnTo>
                      <a:pt x="45720" y="28575"/>
                    </a:lnTo>
                    <a:lnTo>
                      <a:pt x="45720" y="10382"/>
                    </a:lnTo>
                    <a:lnTo>
                      <a:pt x="31433" y="0"/>
                    </a:lnTo>
                    <a:lnTo>
                      <a:pt x="13335" y="0"/>
                    </a:lnTo>
                    <a:lnTo>
                      <a:pt x="0" y="7620"/>
                    </a:lnTo>
                    <a:lnTo>
                      <a:pt x="6667" y="21907"/>
                    </a:lnTo>
                    <a:lnTo>
                      <a:pt x="23813" y="2190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7" name="Freeform: Shape 426">
                <a:extLst>
                  <a:ext uri="{FF2B5EF4-FFF2-40B4-BE49-F238E27FC236}">
                    <a16:creationId xmlns:a16="http://schemas.microsoft.com/office/drawing/2014/main" id="{D6A20E20-4688-2F28-DF30-1488B5EFCAAE}"/>
                  </a:ext>
                </a:extLst>
              </p:cNvPr>
              <p:cNvSpPr/>
              <p:nvPr/>
            </p:nvSpPr>
            <p:spPr>
              <a:xfrm>
                <a:off x="3786528" y="2030971"/>
                <a:ext cx="121383" cy="48647"/>
              </a:xfrm>
              <a:custGeom>
                <a:avLst/>
                <a:gdLst>
                  <a:gd name="connsiteX0" fmla="*/ 7620 w 123824"/>
                  <a:gd name="connsiteY0" fmla="*/ 0 h 49625"/>
                  <a:gd name="connsiteX1" fmla="*/ 0 w 123824"/>
                  <a:gd name="connsiteY1" fmla="*/ 0 h 49625"/>
                  <a:gd name="connsiteX2" fmla="*/ 0 w 123824"/>
                  <a:gd name="connsiteY2" fmla="*/ 18098 h 49625"/>
                  <a:gd name="connsiteX3" fmla="*/ 18097 w 123824"/>
                  <a:gd name="connsiteY3" fmla="*/ 28575 h 49625"/>
                  <a:gd name="connsiteX4" fmla="*/ 24765 w 123824"/>
                  <a:gd name="connsiteY4" fmla="*/ 45815 h 49625"/>
                  <a:gd name="connsiteX5" fmla="*/ 45720 w 123824"/>
                  <a:gd name="connsiteY5" fmla="*/ 49625 h 49625"/>
                  <a:gd name="connsiteX6" fmla="*/ 57150 w 123824"/>
                  <a:gd name="connsiteY6" fmla="*/ 42863 h 49625"/>
                  <a:gd name="connsiteX7" fmla="*/ 80962 w 123824"/>
                  <a:gd name="connsiteY7" fmla="*/ 42863 h 49625"/>
                  <a:gd name="connsiteX8" fmla="*/ 105727 w 123824"/>
                  <a:gd name="connsiteY8" fmla="*/ 42863 h 49625"/>
                  <a:gd name="connsiteX9" fmla="*/ 123825 w 123824"/>
                  <a:gd name="connsiteY9" fmla="*/ 39148 h 49625"/>
                  <a:gd name="connsiteX10" fmla="*/ 109537 w 123824"/>
                  <a:gd name="connsiteY10" fmla="*/ 21050 h 49625"/>
                  <a:gd name="connsiteX11" fmla="*/ 74295 w 123824"/>
                  <a:gd name="connsiteY11" fmla="*/ 3810 h 49625"/>
                  <a:gd name="connsiteX12" fmla="*/ 39052 w 123824"/>
                  <a:gd name="connsiteY12" fmla="*/ 0 h 49625"/>
                  <a:gd name="connsiteX13" fmla="*/ 7620 w 123824"/>
                  <a:gd name="connsiteY13" fmla="*/ 0 h 4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824" h="49625">
                    <a:moveTo>
                      <a:pt x="7620" y="0"/>
                    </a:moveTo>
                    <a:lnTo>
                      <a:pt x="0" y="0"/>
                    </a:lnTo>
                    <a:lnTo>
                      <a:pt x="0" y="18098"/>
                    </a:lnTo>
                    <a:lnTo>
                      <a:pt x="18097" y="28575"/>
                    </a:lnTo>
                    <a:lnTo>
                      <a:pt x="24765" y="45815"/>
                    </a:lnTo>
                    <a:lnTo>
                      <a:pt x="45720" y="49625"/>
                    </a:lnTo>
                    <a:lnTo>
                      <a:pt x="57150" y="42863"/>
                    </a:lnTo>
                    <a:lnTo>
                      <a:pt x="80962" y="42863"/>
                    </a:lnTo>
                    <a:lnTo>
                      <a:pt x="105727" y="42863"/>
                    </a:lnTo>
                    <a:lnTo>
                      <a:pt x="123825" y="39148"/>
                    </a:lnTo>
                    <a:lnTo>
                      <a:pt x="109537" y="21050"/>
                    </a:lnTo>
                    <a:lnTo>
                      <a:pt x="74295" y="3810"/>
                    </a:lnTo>
                    <a:lnTo>
                      <a:pt x="39052" y="0"/>
                    </a:lnTo>
                    <a:lnTo>
                      <a:pt x="762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8" name="Freeform: Shape 427">
                <a:extLst>
                  <a:ext uri="{FF2B5EF4-FFF2-40B4-BE49-F238E27FC236}">
                    <a16:creationId xmlns:a16="http://schemas.microsoft.com/office/drawing/2014/main" id="{687269B7-503F-837F-7312-0FCD2FB7137D}"/>
                  </a:ext>
                </a:extLst>
              </p:cNvPr>
              <p:cNvSpPr/>
              <p:nvPr/>
            </p:nvSpPr>
            <p:spPr>
              <a:xfrm>
                <a:off x="3879900" y="2300820"/>
                <a:ext cx="62559" cy="51355"/>
              </a:xfrm>
              <a:custGeom>
                <a:avLst/>
                <a:gdLst>
                  <a:gd name="connsiteX0" fmla="*/ 45720 w 63817"/>
                  <a:gd name="connsiteY0" fmla="*/ 45815 h 52387"/>
                  <a:gd name="connsiteX1" fmla="*/ 60008 w 63817"/>
                  <a:gd name="connsiteY1" fmla="*/ 35338 h 52387"/>
                  <a:gd name="connsiteX2" fmla="*/ 63818 w 63817"/>
                  <a:gd name="connsiteY2" fmla="*/ 17240 h 52387"/>
                  <a:gd name="connsiteX3" fmla="*/ 63818 w 63817"/>
                  <a:gd name="connsiteY3" fmla="*/ 6763 h 52387"/>
                  <a:gd name="connsiteX4" fmla="*/ 42863 w 63817"/>
                  <a:gd name="connsiteY4" fmla="*/ 0 h 52387"/>
                  <a:gd name="connsiteX5" fmla="*/ 20955 w 63817"/>
                  <a:gd name="connsiteY5" fmla="*/ 3905 h 52387"/>
                  <a:gd name="connsiteX6" fmla="*/ 10478 w 63817"/>
                  <a:gd name="connsiteY6" fmla="*/ 6763 h 52387"/>
                  <a:gd name="connsiteX7" fmla="*/ 3810 w 63817"/>
                  <a:gd name="connsiteY7" fmla="*/ 21050 h 52387"/>
                  <a:gd name="connsiteX8" fmla="*/ 0 w 63817"/>
                  <a:gd name="connsiteY8" fmla="*/ 45815 h 52387"/>
                  <a:gd name="connsiteX9" fmla="*/ 24765 w 63817"/>
                  <a:gd name="connsiteY9" fmla="*/ 52388 h 52387"/>
                  <a:gd name="connsiteX10" fmla="*/ 45720 w 63817"/>
                  <a:gd name="connsiteY10" fmla="*/ 45815 h 5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3817" h="52387">
                    <a:moveTo>
                      <a:pt x="45720" y="45815"/>
                    </a:moveTo>
                    <a:lnTo>
                      <a:pt x="60008" y="35338"/>
                    </a:lnTo>
                    <a:lnTo>
                      <a:pt x="63818" y="17240"/>
                    </a:lnTo>
                    <a:lnTo>
                      <a:pt x="63818" y="6763"/>
                    </a:lnTo>
                    <a:lnTo>
                      <a:pt x="42863" y="0"/>
                    </a:lnTo>
                    <a:lnTo>
                      <a:pt x="20955" y="3905"/>
                    </a:lnTo>
                    <a:lnTo>
                      <a:pt x="10478" y="6763"/>
                    </a:lnTo>
                    <a:lnTo>
                      <a:pt x="3810" y="21050"/>
                    </a:lnTo>
                    <a:lnTo>
                      <a:pt x="0" y="45815"/>
                    </a:lnTo>
                    <a:lnTo>
                      <a:pt x="24765" y="52388"/>
                    </a:lnTo>
                    <a:lnTo>
                      <a:pt x="45720" y="458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9" name="Freeform: Shape 428">
                <a:extLst>
                  <a:ext uri="{FF2B5EF4-FFF2-40B4-BE49-F238E27FC236}">
                    <a16:creationId xmlns:a16="http://schemas.microsoft.com/office/drawing/2014/main" id="{B3D32BCE-621F-1910-CE81-FB48FDF9A25E}"/>
                  </a:ext>
                </a:extLst>
              </p:cNvPr>
              <p:cNvSpPr/>
              <p:nvPr/>
            </p:nvSpPr>
            <p:spPr>
              <a:xfrm>
                <a:off x="3607252" y="2414829"/>
                <a:ext cx="189546" cy="121385"/>
              </a:xfrm>
              <a:custGeom>
                <a:avLst/>
                <a:gdLst>
                  <a:gd name="connsiteX0" fmla="*/ 159068 w 193357"/>
                  <a:gd name="connsiteY0" fmla="*/ 105632 h 123825"/>
                  <a:gd name="connsiteX1" fmla="*/ 176213 w 193357"/>
                  <a:gd name="connsiteY1" fmla="*/ 109538 h 123825"/>
                  <a:gd name="connsiteX2" fmla="*/ 180023 w 193357"/>
                  <a:gd name="connsiteY2" fmla="*/ 105632 h 123825"/>
                  <a:gd name="connsiteX3" fmla="*/ 186690 w 193357"/>
                  <a:gd name="connsiteY3" fmla="*/ 105632 h 123825"/>
                  <a:gd name="connsiteX4" fmla="*/ 190500 w 193357"/>
                  <a:gd name="connsiteY4" fmla="*/ 98965 h 123825"/>
                  <a:gd name="connsiteX5" fmla="*/ 193358 w 193357"/>
                  <a:gd name="connsiteY5" fmla="*/ 98965 h 123825"/>
                  <a:gd name="connsiteX6" fmla="*/ 193358 w 193357"/>
                  <a:gd name="connsiteY6" fmla="*/ 91345 h 123825"/>
                  <a:gd name="connsiteX7" fmla="*/ 190500 w 193357"/>
                  <a:gd name="connsiteY7" fmla="*/ 84677 h 123825"/>
                  <a:gd name="connsiteX8" fmla="*/ 172403 w 193357"/>
                  <a:gd name="connsiteY8" fmla="*/ 80963 h 123825"/>
                  <a:gd name="connsiteX9" fmla="*/ 155258 w 193357"/>
                  <a:gd name="connsiteY9" fmla="*/ 80963 h 123825"/>
                  <a:gd name="connsiteX10" fmla="*/ 151448 w 193357"/>
                  <a:gd name="connsiteY10" fmla="*/ 66675 h 123825"/>
                  <a:gd name="connsiteX11" fmla="*/ 147638 w 193357"/>
                  <a:gd name="connsiteY11" fmla="*/ 56102 h 123825"/>
                  <a:gd name="connsiteX12" fmla="*/ 123825 w 193357"/>
                  <a:gd name="connsiteY12" fmla="*/ 53245 h 123825"/>
                  <a:gd name="connsiteX13" fmla="*/ 109538 w 193357"/>
                  <a:gd name="connsiteY13" fmla="*/ 38957 h 123825"/>
                  <a:gd name="connsiteX14" fmla="*/ 99060 w 193357"/>
                  <a:gd name="connsiteY14" fmla="*/ 35243 h 123825"/>
                  <a:gd name="connsiteX15" fmla="*/ 95250 w 193357"/>
                  <a:gd name="connsiteY15" fmla="*/ 28575 h 123825"/>
                  <a:gd name="connsiteX16" fmla="*/ 91440 w 193357"/>
                  <a:gd name="connsiteY16" fmla="*/ 24670 h 123825"/>
                  <a:gd name="connsiteX17" fmla="*/ 74295 w 193357"/>
                  <a:gd name="connsiteY17" fmla="*/ 20955 h 123825"/>
                  <a:gd name="connsiteX18" fmla="*/ 70485 w 193357"/>
                  <a:gd name="connsiteY18" fmla="*/ 14288 h 123825"/>
                  <a:gd name="connsiteX19" fmla="*/ 70485 w 193357"/>
                  <a:gd name="connsiteY19" fmla="*/ 0 h 123825"/>
                  <a:gd name="connsiteX20" fmla="*/ 49530 w 193357"/>
                  <a:gd name="connsiteY20" fmla="*/ 0 h 123825"/>
                  <a:gd name="connsiteX21" fmla="*/ 31433 w 193357"/>
                  <a:gd name="connsiteY21" fmla="*/ 10382 h 123825"/>
                  <a:gd name="connsiteX22" fmla="*/ 31433 w 193357"/>
                  <a:gd name="connsiteY22" fmla="*/ 28575 h 123825"/>
                  <a:gd name="connsiteX23" fmla="*/ 31433 w 193357"/>
                  <a:gd name="connsiteY23" fmla="*/ 38957 h 123825"/>
                  <a:gd name="connsiteX24" fmla="*/ 28575 w 193357"/>
                  <a:gd name="connsiteY24" fmla="*/ 45720 h 123825"/>
                  <a:gd name="connsiteX25" fmla="*/ 28575 w 193357"/>
                  <a:gd name="connsiteY25" fmla="*/ 66675 h 123825"/>
                  <a:gd name="connsiteX26" fmla="*/ 10478 w 193357"/>
                  <a:gd name="connsiteY26" fmla="*/ 84677 h 123825"/>
                  <a:gd name="connsiteX27" fmla="*/ 0 w 193357"/>
                  <a:gd name="connsiteY27" fmla="*/ 98965 h 123825"/>
                  <a:gd name="connsiteX28" fmla="*/ 10478 w 193357"/>
                  <a:gd name="connsiteY28" fmla="*/ 109538 h 123825"/>
                  <a:gd name="connsiteX29" fmla="*/ 18098 w 193357"/>
                  <a:gd name="connsiteY29" fmla="*/ 98965 h 123825"/>
                  <a:gd name="connsiteX30" fmla="*/ 24765 w 193357"/>
                  <a:gd name="connsiteY30" fmla="*/ 98965 h 123825"/>
                  <a:gd name="connsiteX31" fmla="*/ 45720 w 193357"/>
                  <a:gd name="connsiteY31" fmla="*/ 98965 h 123825"/>
                  <a:gd name="connsiteX32" fmla="*/ 42863 w 193357"/>
                  <a:gd name="connsiteY32" fmla="*/ 123825 h 123825"/>
                  <a:gd name="connsiteX33" fmla="*/ 70485 w 193357"/>
                  <a:gd name="connsiteY33" fmla="*/ 119920 h 123825"/>
                  <a:gd name="connsiteX34" fmla="*/ 91440 w 193357"/>
                  <a:gd name="connsiteY34" fmla="*/ 98965 h 123825"/>
                  <a:gd name="connsiteX35" fmla="*/ 101918 w 193357"/>
                  <a:gd name="connsiteY35" fmla="*/ 84677 h 123825"/>
                  <a:gd name="connsiteX36" fmla="*/ 105728 w 193357"/>
                  <a:gd name="connsiteY36" fmla="*/ 78105 h 123825"/>
                  <a:gd name="connsiteX37" fmla="*/ 112395 w 193357"/>
                  <a:gd name="connsiteY37" fmla="*/ 74295 h 123825"/>
                  <a:gd name="connsiteX38" fmla="*/ 120015 w 193357"/>
                  <a:gd name="connsiteY38" fmla="*/ 80963 h 123825"/>
                  <a:gd name="connsiteX39" fmla="*/ 134303 w 193357"/>
                  <a:gd name="connsiteY39" fmla="*/ 91345 h 123825"/>
                  <a:gd name="connsiteX40" fmla="*/ 147638 w 193357"/>
                  <a:gd name="connsiteY40" fmla="*/ 101918 h 123825"/>
                  <a:gd name="connsiteX41" fmla="*/ 159068 w 193357"/>
                  <a:gd name="connsiteY41" fmla="*/ 105632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93357" h="123825">
                    <a:moveTo>
                      <a:pt x="159068" y="105632"/>
                    </a:moveTo>
                    <a:lnTo>
                      <a:pt x="176213" y="109538"/>
                    </a:lnTo>
                    <a:lnTo>
                      <a:pt x="180023" y="105632"/>
                    </a:lnTo>
                    <a:lnTo>
                      <a:pt x="186690" y="105632"/>
                    </a:lnTo>
                    <a:lnTo>
                      <a:pt x="190500" y="98965"/>
                    </a:lnTo>
                    <a:lnTo>
                      <a:pt x="193358" y="98965"/>
                    </a:lnTo>
                    <a:lnTo>
                      <a:pt x="193358" y="91345"/>
                    </a:lnTo>
                    <a:lnTo>
                      <a:pt x="190500" y="84677"/>
                    </a:lnTo>
                    <a:lnTo>
                      <a:pt x="172403" y="80963"/>
                    </a:lnTo>
                    <a:lnTo>
                      <a:pt x="155258" y="80963"/>
                    </a:lnTo>
                    <a:lnTo>
                      <a:pt x="151448" y="66675"/>
                    </a:lnTo>
                    <a:lnTo>
                      <a:pt x="147638" y="56102"/>
                    </a:lnTo>
                    <a:lnTo>
                      <a:pt x="123825" y="53245"/>
                    </a:lnTo>
                    <a:lnTo>
                      <a:pt x="109538" y="38957"/>
                    </a:lnTo>
                    <a:lnTo>
                      <a:pt x="99060" y="35243"/>
                    </a:lnTo>
                    <a:lnTo>
                      <a:pt x="95250" y="28575"/>
                    </a:lnTo>
                    <a:lnTo>
                      <a:pt x="91440" y="24670"/>
                    </a:lnTo>
                    <a:lnTo>
                      <a:pt x="74295" y="20955"/>
                    </a:lnTo>
                    <a:lnTo>
                      <a:pt x="70485" y="14288"/>
                    </a:lnTo>
                    <a:lnTo>
                      <a:pt x="70485" y="0"/>
                    </a:lnTo>
                    <a:lnTo>
                      <a:pt x="49530" y="0"/>
                    </a:lnTo>
                    <a:lnTo>
                      <a:pt x="31433" y="10382"/>
                    </a:lnTo>
                    <a:lnTo>
                      <a:pt x="31433" y="28575"/>
                    </a:lnTo>
                    <a:lnTo>
                      <a:pt x="31433" y="38957"/>
                    </a:lnTo>
                    <a:lnTo>
                      <a:pt x="28575" y="45720"/>
                    </a:lnTo>
                    <a:lnTo>
                      <a:pt x="28575" y="66675"/>
                    </a:lnTo>
                    <a:lnTo>
                      <a:pt x="10478" y="84677"/>
                    </a:lnTo>
                    <a:lnTo>
                      <a:pt x="0" y="98965"/>
                    </a:lnTo>
                    <a:lnTo>
                      <a:pt x="10478" y="109538"/>
                    </a:lnTo>
                    <a:lnTo>
                      <a:pt x="18098" y="98965"/>
                    </a:lnTo>
                    <a:lnTo>
                      <a:pt x="24765" y="98965"/>
                    </a:lnTo>
                    <a:lnTo>
                      <a:pt x="45720" y="98965"/>
                    </a:lnTo>
                    <a:lnTo>
                      <a:pt x="42863" y="123825"/>
                    </a:lnTo>
                    <a:lnTo>
                      <a:pt x="70485" y="119920"/>
                    </a:lnTo>
                    <a:lnTo>
                      <a:pt x="91440" y="98965"/>
                    </a:lnTo>
                    <a:lnTo>
                      <a:pt x="101918" y="84677"/>
                    </a:lnTo>
                    <a:lnTo>
                      <a:pt x="105728" y="78105"/>
                    </a:lnTo>
                    <a:lnTo>
                      <a:pt x="112395" y="74295"/>
                    </a:lnTo>
                    <a:lnTo>
                      <a:pt x="120015" y="80963"/>
                    </a:lnTo>
                    <a:lnTo>
                      <a:pt x="134303" y="91345"/>
                    </a:lnTo>
                    <a:lnTo>
                      <a:pt x="147638" y="101918"/>
                    </a:lnTo>
                    <a:lnTo>
                      <a:pt x="159068" y="10563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0" name="Freeform: Shape 429">
                <a:extLst>
                  <a:ext uri="{FF2B5EF4-FFF2-40B4-BE49-F238E27FC236}">
                    <a16:creationId xmlns:a16="http://schemas.microsoft.com/office/drawing/2014/main" id="{359DBF93-5A5C-BE3D-8E9E-BEDB7E4B3272}"/>
                  </a:ext>
                </a:extLst>
              </p:cNvPr>
              <p:cNvSpPr/>
              <p:nvPr/>
            </p:nvSpPr>
            <p:spPr>
              <a:xfrm>
                <a:off x="3275780" y="2228082"/>
                <a:ext cx="117649" cy="62560"/>
              </a:xfrm>
              <a:custGeom>
                <a:avLst/>
                <a:gdLst>
                  <a:gd name="connsiteX0" fmla="*/ 35243 w 120015"/>
                  <a:gd name="connsiteY0" fmla="*/ 0 h 63817"/>
                  <a:gd name="connsiteX1" fmla="*/ 31433 w 120015"/>
                  <a:gd name="connsiteY1" fmla="*/ 18002 h 63817"/>
                  <a:gd name="connsiteX2" fmla="*/ 18098 w 120015"/>
                  <a:gd name="connsiteY2" fmla="*/ 28575 h 63817"/>
                  <a:gd name="connsiteX3" fmla="*/ 0 w 120015"/>
                  <a:gd name="connsiteY3" fmla="*/ 42863 h 63817"/>
                  <a:gd name="connsiteX4" fmla="*/ 10478 w 120015"/>
                  <a:gd name="connsiteY4" fmla="*/ 45625 h 63817"/>
                  <a:gd name="connsiteX5" fmla="*/ 31433 w 120015"/>
                  <a:gd name="connsiteY5" fmla="*/ 53340 h 63817"/>
                  <a:gd name="connsiteX6" fmla="*/ 49530 w 120015"/>
                  <a:gd name="connsiteY6" fmla="*/ 59912 h 63817"/>
                  <a:gd name="connsiteX7" fmla="*/ 78105 w 120015"/>
                  <a:gd name="connsiteY7" fmla="*/ 63818 h 63817"/>
                  <a:gd name="connsiteX8" fmla="*/ 99060 w 120015"/>
                  <a:gd name="connsiteY8" fmla="*/ 63818 h 63817"/>
                  <a:gd name="connsiteX9" fmla="*/ 112395 w 120015"/>
                  <a:gd name="connsiteY9" fmla="*/ 59912 h 63817"/>
                  <a:gd name="connsiteX10" fmla="*/ 120015 w 120015"/>
                  <a:gd name="connsiteY10" fmla="*/ 56102 h 63817"/>
                  <a:gd name="connsiteX11" fmla="*/ 116205 w 120015"/>
                  <a:gd name="connsiteY11" fmla="*/ 42863 h 63817"/>
                  <a:gd name="connsiteX12" fmla="*/ 105728 w 120015"/>
                  <a:gd name="connsiteY12" fmla="*/ 31337 h 63817"/>
                  <a:gd name="connsiteX13" fmla="*/ 84773 w 120015"/>
                  <a:gd name="connsiteY13" fmla="*/ 24765 h 63817"/>
                  <a:gd name="connsiteX14" fmla="*/ 66675 w 120015"/>
                  <a:gd name="connsiteY14" fmla="*/ 10478 h 63817"/>
                  <a:gd name="connsiteX15" fmla="*/ 49530 w 120015"/>
                  <a:gd name="connsiteY15" fmla="*/ 3715 h 63817"/>
                  <a:gd name="connsiteX16" fmla="*/ 35243 w 120015"/>
                  <a:gd name="connsiteY16" fmla="*/ 0 h 63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0015" h="63817">
                    <a:moveTo>
                      <a:pt x="35243" y="0"/>
                    </a:moveTo>
                    <a:lnTo>
                      <a:pt x="31433" y="18002"/>
                    </a:lnTo>
                    <a:lnTo>
                      <a:pt x="18098" y="28575"/>
                    </a:lnTo>
                    <a:lnTo>
                      <a:pt x="0" y="42863"/>
                    </a:lnTo>
                    <a:lnTo>
                      <a:pt x="10478" y="45625"/>
                    </a:lnTo>
                    <a:lnTo>
                      <a:pt x="31433" y="53340"/>
                    </a:lnTo>
                    <a:lnTo>
                      <a:pt x="49530" y="59912"/>
                    </a:lnTo>
                    <a:lnTo>
                      <a:pt x="78105" y="63818"/>
                    </a:lnTo>
                    <a:lnTo>
                      <a:pt x="99060" y="63818"/>
                    </a:lnTo>
                    <a:lnTo>
                      <a:pt x="112395" y="59912"/>
                    </a:lnTo>
                    <a:lnTo>
                      <a:pt x="120015" y="56102"/>
                    </a:lnTo>
                    <a:lnTo>
                      <a:pt x="116205" y="42863"/>
                    </a:lnTo>
                    <a:lnTo>
                      <a:pt x="105728" y="31337"/>
                    </a:lnTo>
                    <a:lnTo>
                      <a:pt x="84773" y="24765"/>
                    </a:lnTo>
                    <a:lnTo>
                      <a:pt x="66675" y="10478"/>
                    </a:lnTo>
                    <a:lnTo>
                      <a:pt x="49530" y="3715"/>
                    </a:lnTo>
                    <a:lnTo>
                      <a:pt x="3524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1" name="Freeform: Shape 430">
                <a:extLst>
                  <a:ext uri="{FF2B5EF4-FFF2-40B4-BE49-F238E27FC236}">
                    <a16:creationId xmlns:a16="http://schemas.microsoft.com/office/drawing/2014/main" id="{D0EE9032-9EA3-0E9B-DCC0-37319E36D8A4}"/>
                  </a:ext>
                </a:extLst>
              </p:cNvPr>
              <p:cNvSpPr/>
              <p:nvPr/>
            </p:nvSpPr>
            <p:spPr>
              <a:xfrm>
                <a:off x="3534422" y="2024529"/>
                <a:ext cx="794599" cy="566682"/>
              </a:xfrm>
              <a:custGeom>
                <a:avLst/>
                <a:gdLst>
                  <a:gd name="connsiteX0" fmla="*/ 521970 w 810577"/>
                  <a:gd name="connsiteY0" fmla="*/ 133350 h 578072"/>
                  <a:gd name="connsiteX1" fmla="*/ 511492 w 810577"/>
                  <a:gd name="connsiteY1" fmla="*/ 122873 h 578072"/>
                  <a:gd name="connsiteX2" fmla="*/ 493395 w 810577"/>
                  <a:gd name="connsiteY2" fmla="*/ 119920 h 578072"/>
                  <a:gd name="connsiteX3" fmla="*/ 465772 w 810577"/>
                  <a:gd name="connsiteY3" fmla="*/ 130397 h 578072"/>
                  <a:gd name="connsiteX4" fmla="*/ 447675 w 810577"/>
                  <a:gd name="connsiteY4" fmla="*/ 130397 h 578072"/>
                  <a:gd name="connsiteX5" fmla="*/ 458152 w 810577"/>
                  <a:gd name="connsiteY5" fmla="*/ 116110 h 578072"/>
                  <a:gd name="connsiteX6" fmla="*/ 454342 w 810577"/>
                  <a:gd name="connsiteY6" fmla="*/ 101822 h 578072"/>
                  <a:gd name="connsiteX7" fmla="*/ 433387 w 810577"/>
                  <a:gd name="connsiteY7" fmla="*/ 116110 h 578072"/>
                  <a:gd name="connsiteX8" fmla="*/ 419100 w 810577"/>
                  <a:gd name="connsiteY8" fmla="*/ 119920 h 578072"/>
                  <a:gd name="connsiteX9" fmla="*/ 430530 w 810577"/>
                  <a:gd name="connsiteY9" fmla="*/ 105632 h 578072"/>
                  <a:gd name="connsiteX10" fmla="*/ 441008 w 810577"/>
                  <a:gd name="connsiteY10" fmla="*/ 95250 h 578072"/>
                  <a:gd name="connsiteX11" fmla="*/ 422910 w 810577"/>
                  <a:gd name="connsiteY11" fmla="*/ 91345 h 578072"/>
                  <a:gd name="connsiteX12" fmla="*/ 398145 w 810577"/>
                  <a:gd name="connsiteY12" fmla="*/ 101822 h 578072"/>
                  <a:gd name="connsiteX13" fmla="*/ 401955 w 810577"/>
                  <a:gd name="connsiteY13" fmla="*/ 87535 h 578072"/>
                  <a:gd name="connsiteX14" fmla="*/ 419100 w 810577"/>
                  <a:gd name="connsiteY14" fmla="*/ 77057 h 578072"/>
                  <a:gd name="connsiteX15" fmla="*/ 405765 w 810577"/>
                  <a:gd name="connsiteY15" fmla="*/ 70485 h 578072"/>
                  <a:gd name="connsiteX16" fmla="*/ 377190 w 810577"/>
                  <a:gd name="connsiteY16" fmla="*/ 60007 h 578072"/>
                  <a:gd name="connsiteX17" fmla="*/ 349567 w 810577"/>
                  <a:gd name="connsiteY17" fmla="*/ 60007 h 578072"/>
                  <a:gd name="connsiteX18" fmla="*/ 324802 w 810577"/>
                  <a:gd name="connsiteY18" fmla="*/ 62770 h 578072"/>
                  <a:gd name="connsiteX19" fmla="*/ 317183 w 810577"/>
                  <a:gd name="connsiteY19" fmla="*/ 87535 h 578072"/>
                  <a:gd name="connsiteX20" fmla="*/ 296227 w 810577"/>
                  <a:gd name="connsiteY20" fmla="*/ 73247 h 578072"/>
                  <a:gd name="connsiteX21" fmla="*/ 279083 w 810577"/>
                  <a:gd name="connsiteY21" fmla="*/ 73247 h 578072"/>
                  <a:gd name="connsiteX22" fmla="*/ 271463 w 810577"/>
                  <a:gd name="connsiteY22" fmla="*/ 91345 h 578072"/>
                  <a:gd name="connsiteX23" fmla="*/ 254317 w 810577"/>
                  <a:gd name="connsiteY23" fmla="*/ 91345 h 578072"/>
                  <a:gd name="connsiteX24" fmla="*/ 254317 w 810577"/>
                  <a:gd name="connsiteY24" fmla="*/ 73247 h 578072"/>
                  <a:gd name="connsiteX25" fmla="*/ 260985 w 810577"/>
                  <a:gd name="connsiteY25" fmla="*/ 66675 h 578072"/>
                  <a:gd name="connsiteX26" fmla="*/ 260985 w 810577"/>
                  <a:gd name="connsiteY26" fmla="*/ 52388 h 578072"/>
                  <a:gd name="connsiteX27" fmla="*/ 257175 w 810577"/>
                  <a:gd name="connsiteY27" fmla="*/ 38100 h 578072"/>
                  <a:gd name="connsiteX28" fmla="*/ 246697 w 810577"/>
                  <a:gd name="connsiteY28" fmla="*/ 24670 h 578072"/>
                  <a:gd name="connsiteX29" fmla="*/ 236220 w 810577"/>
                  <a:gd name="connsiteY29" fmla="*/ 10382 h 578072"/>
                  <a:gd name="connsiteX30" fmla="*/ 215265 w 810577"/>
                  <a:gd name="connsiteY30" fmla="*/ 2857 h 578072"/>
                  <a:gd name="connsiteX31" fmla="*/ 190500 w 810577"/>
                  <a:gd name="connsiteY31" fmla="*/ 6572 h 578072"/>
                  <a:gd name="connsiteX32" fmla="*/ 148590 w 810577"/>
                  <a:gd name="connsiteY32" fmla="*/ 27623 h 578072"/>
                  <a:gd name="connsiteX33" fmla="*/ 127635 w 810577"/>
                  <a:gd name="connsiteY33" fmla="*/ 45720 h 578072"/>
                  <a:gd name="connsiteX34" fmla="*/ 123825 w 810577"/>
                  <a:gd name="connsiteY34" fmla="*/ 66675 h 578072"/>
                  <a:gd name="connsiteX35" fmla="*/ 138113 w 810577"/>
                  <a:gd name="connsiteY35" fmla="*/ 80963 h 578072"/>
                  <a:gd name="connsiteX36" fmla="*/ 117157 w 810577"/>
                  <a:gd name="connsiteY36" fmla="*/ 87535 h 578072"/>
                  <a:gd name="connsiteX37" fmla="*/ 134302 w 810577"/>
                  <a:gd name="connsiteY37" fmla="*/ 112395 h 578072"/>
                  <a:gd name="connsiteX38" fmla="*/ 144780 w 810577"/>
                  <a:gd name="connsiteY38" fmla="*/ 126682 h 578072"/>
                  <a:gd name="connsiteX39" fmla="*/ 120015 w 810577"/>
                  <a:gd name="connsiteY39" fmla="*/ 133350 h 578072"/>
                  <a:gd name="connsiteX40" fmla="*/ 95250 w 810577"/>
                  <a:gd name="connsiteY40" fmla="*/ 87535 h 578072"/>
                  <a:gd name="connsiteX41" fmla="*/ 95250 w 810577"/>
                  <a:gd name="connsiteY41" fmla="*/ 70485 h 578072"/>
                  <a:gd name="connsiteX42" fmla="*/ 95250 w 810577"/>
                  <a:gd name="connsiteY42" fmla="*/ 49435 h 578072"/>
                  <a:gd name="connsiteX43" fmla="*/ 113347 w 810577"/>
                  <a:gd name="connsiteY43" fmla="*/ 20860 h 578072"/>
                  <a:gd name="connsiteX44" fmla="*/ 134302 w 810577"/>
                  <a:gd name="connsiteY44" fmla="*/ 14288 h 578072"/>
                  <a:gd name="connsiteX45" fmla="*/ 144780 w 810577"/>
                  <a:gd name="connsiteY45" fmla="*/ 2857 h 578072"/>
                  <a:gd name="connsiteX46" fmla="*/ 92392 w 810577"/>
                  <a:gd name="connsiteY46" fmla="*/ 0 h 578072"/>
                  <a:gd name="connsiteX47" fmla="*/ 67627 w 810577"/>
                  <a:gd name="connsiteY47" fmla="*/ 2857 h 578072"/>
                  <a:gd name="connsiteX48" fmla="*/ 35242 w 810577"/>
                  <a:gd name="connsiteY48" fmla="*/ 24670 h 578072"/>
                  <a:gd name="connsiteX49" fmla="*/ 14288 w 810577"/>
                  <a:gd name="connsiteY49" fmla="*/ 52388 h 578072"/>
                  <a:gd name="connsiteX50" fmla="*/ 0 w 810577"/>
                  <a:gd name="connsiteY50" fmla="*/ 87535 h 578072"/>
                  <a:gd name="connsiteX51" fmla="*/ 0 w 810577"/>
                  <a:gd name="connsiteY51" fmla="*/ 126682 h 578072"/>
                  <a:gd name="connsiteX52" fmla="*/ 28575 w 810577"/>
                  <a:gd name="connsiteY52" fmla="*/ 137160 h 578072"/>
                  <a:gd name="connsiteX53" fmla="*/ 57150 w 810577"/>
                  <a:gd name="connsiteY53" fmla="*/ 133350 h 578072"/>
                  <a:gd name="connsiteX54" fmla="*/ 67627 w 810577"/>
                  <a:gd name="connsiteY54" fmla="*/ 144685 h 578072"/>
                  <a:gd name="connsiteX55" fmla="*/ 57150 w 810577"/>
                  <a:gd name="connsiteY55" fmla="*/ 151448 h 578072"/>
                  <a:gd name="connsiteX56" fmla="*/ 28575 w 810577"/>
                  <a:gd name="connsiteY56" fmla="*/ 147638 h 578072"/>
                  <a:gd name="connsiteX57" fmla="*/ 14288 w 810577"/>
                  <a:gd name="connsiteY57" fmla="*/ 147638 h 578072"/>
                  <a:gd name="connsiteX58" fmla="*/ 14288 w 810577"/>
                  <a:gd name="connsiteY58" fmla="*/ 165735 h 578072"/>
                  <a:gd name="connsiteX59" fmla="*/ 35242 w 810577"/>
                  <a:gd name="connsiteY59" fmla="*/ 180023 h 578072"/>
                  <a:gd name="connsiteX60" fmla="*/ 57150 w 810577"/>
                  <a:gd name="connsiteY60" fmla="*/ 186595 h 578072"/>
                  <a:gd name="connsiteX61" fmla="*/ 70485 w 810577"/>
                  <a:gd name="connsiteY61" fmla="*/ 176213 h 578072"/>
                  <a:gd name="connsiteX62" fmla="*/ 84772 w 810577"/>
                  <a:gd name="connsiteY62" fmla="*/ 182785 h 578072"/>
                  <a:gd name="connsiteX63" fmla="*/ 99060 w 810577"/>
                  <a:gd name="connsiteY63" fmla="*/ 193357 h 578072"/>
                  <a:gd name="connsiteX64" fmla="*/ 130492 w 810577"/>
                  <a:gd name="connsiteY64" fmla="*/ 193357 h 578072"/>
                  <a:gd name="connsiteX65" fmla="*/ 159067 w 810577"/>
                  <a:gd name="connsiteY65" fmla="*/ 200882 h 578072"/>
                  <a:gd name="connsiteX66" fmla="*/ 208597 w 810577"/>
                  <a:gd name="connsiteY66" fmla="*/ 207645 h 578072"/>
                  <a:gd name="connsiteX67" fmla="*/ 229552 w 810577"/>
                  <a:gd name="connsiteY67" fmla="*/ 203835 h 578072"/>
                  <a:gd name="connsiteX68" fmla="*/ 240030 w 810577"/>
                  <a:gd name="connsiteY68" fmla="*/ 193357 h 578072"/>
                  <a:gd name="connsiteX69" fmla="*/ 279083 w 810577"/>
                  <a:gd name="connsiteY69" fmla="*/ 203835 h 578072"/>
                  <a:gd name="connsiteX70" fmla="*/ 302895 w 810577"/>
                  <a:gd name="connsiteY70" fmla="*/ 203835 h 578072"/>
                  <a:gd name="connsiteX71" fmla="*/ 314325 w 810577"/>
                  <a:gd name="connsiteY71" fmla="*/ 197072 h 578072"/>
                  <a:gd name="connsiteX72" fmla="*/ 310515 w 810577"/>
                  <a:gd name="connsiteY72" fmla="*/ 186595 h 578072"/>
                  <a:gd name="connsiteX73" fmla="*/ 302895 w 810577"/>
                  <a:gd name="connsiteY73" fmla="*/ 176213 h 578072"/>
                  <a:gd name="connsiteX74" fmla="*/ 314325 w 810577"/>
                  <a:gd name="connsiteY74" fmla="*/ 172307 h 578072"/>
                  <a:gd name="connsiteX75" fmla="*/ 327660 w 810577"/>
                  <a:gd name="connsiteY75" fmla="*/ 186595 h 578072"/>
                  <a:gd name="connsiteX76" fmla="*/ 335280 w 810577"/>
                  <a:gd name="connsiteY76" fmla="*/ 197072 h 578072"/>
                  <a:gd name="connsiteX77" fmla="*/ 345758 w 810577"/>
                  <a:gd name="connsiteY77" fmla="*/ 211360 h 578072"/>
                  <a:gd name="connsiteX78" fmla="*/ 356235 w 810577"/>
                  <a:gd name="connsiteY78" fmla="*/ 200882 h 578072"/>
                  <a:gd name="connsiteX79" fmla="*/ 373380 w 810577"/>
                  <a:gd name="connsiteY79" fmla="*/ 218123 h 578072"/>
                  <a:gd name="connsiteX80" fmla="*/ 384810 w 810577"/>
                  <a:gd name="connsiteY80" fmla="*/ 225647 h 578072"/>
                  <a:gd name="connsiteX81" fmla="*/ 391477 w 810577"/>
                  <a:gd name="connsiteY81" fmla="*/ 236220 h 578072"/>
                  <a:gd name="connsiteX82" fmla="*/ 370522 w 810577"/>
                  <a:gd name="connsiteY82" fmla="*/ 250507 h 578072"/>
                  <a:gd name="connsiteX83" fmla="*/ 384810 w 810577"/>
                  <a:gd name="connsiteY83" fmla="*/ 263747 h 578072"/>
                  <a:gd name="connsiteX84" fmla="*/ 401955 w 810577"/>
                  <a:gd name="connsiteY84" fmla="*/ 250507 h 578072"/>
                  <a:gd name="connsiteX85" fmla="*/ 422910 w 810577"/>
                  <a:gd name="connsiteY85" fmla="*/ 250507 h 578072"/>
                  <a:gd name="connsiteX86" fmla="*/ 422910 w 810577"/>
                  <a:gd name="connsiteY86" fmla="*/ 260985 h 578072"/>
                  <a:gd name="connsiteX87" fmla="*/ 433387 w 810577"/>
                  <a:gd name="connsiteY87" fmla="*/ 274320 h 578072"/>
                  <a:gd name="connsiteX88" fmla="*/ 447675 w 810577"/>
                  <a:gd name="connsiteY88" fmla="*/ 267557 h 578072"/>
                  <a:gd name="connsiteX89" fmla="*/ 451485 w 810577"/>
                  <a:gd name="connsiteY89" fmla="*/ 281845 h 578072"/>
                  <a:gd name="connsiteX90" fmla="*/ 465772 w 810577"/>
                  <a:gd name="connsiteY90" fmla="*/ 281845 h 578072"/>
                  <a:gd name="connsiteX91" fmla="*/ 479108 w 810577"/>
                  <a:gd name="connsiteY91" fmla="*/ 302895 h 578072"/>
                  <a:gd name="connsiteX92" fmla="*/ 493395 w 810577"/>
                  <a:gd name="connsiteY92" fmla="*/ 334232 h 578072"/>
                  <a:gd name="connsiteX93" fmla="*/ 472440 w 810577"/>
                  <a:gd name="connsiteY93" fmla="*/ 356140 h 578072"/>
                  <a:gd name="connsiteX94" fmla="*/ 447675 w 810577"/>
                  <a:gd name="connsiteY94" fmla="*/ 369570 h 578072"/>
                  <a:gd name="connsiteX95" fmla="*/ 433387 w 810577"/>
                  <a:gd name="connsiteY95" fmla="*/ 391478 h 578072"/>
                  <a:gd name="connsiteX96" fmla="*/ 447675 w 810577"/>
                  <a:gd name="connsiteY96" fmla="*/ 401860 h 578072"/>
                  <a:gd name="connsiteX97" fmla="*/ 454342 w 810577"/>
                  <a:gd name="connsiteY97" fmla="*/ 408527 h 578072"/>
                  <a:gd name="connsiteX98" fmla="*/ 433387 w 810577"/>
                  <a:gd name="connsiteY98" fmla="*/ 416147 h 578072"/>
                  <a:gd name="connsiteX99" fmla="*/ 419100 w 810577"/>
                  <a:gd name="connsiteY99" fmla="*/ 422815 h 578072"/>
                  <a:gd name="connsiteX100" fmla="*/ 408622 w 810577"/>
                  <a:gd name="connsiteY100" fmla="*/ 433388 h 578072"/>
                  <a:gd name="connsiteX101" fmla="*/ 398145 w 810577"/>
                  <a:gd name="connsiteY101" fmla="*/ 426720 h 578072"/>
                  <a:gd name="connsiteX102" fmla="*/ 377190 w 810577"/>
                  <a:gd name="connsiteY102" fmla="*/ 419100 h 578072"/>
                  <a:gd name="connsiteX103" fmla="*/ 356235 w 810577"/>
                  <a:gd name="connsiteY103" fmla="*/ 416147 h 578072"/>
                  <a:gd name="connsiteX104" fmla="*/ 331470 w 810577"/>
                  <a:gd name="connsiteY104" fmla="*/ 433388 h 578072"/>
                  <a:gd name="connsiteX105" fmla="*/ 327660 w 810577"/>
                  <a:gd name="connsiteY105" fmla="*/ 454247 h 578072"/>
                  <a:gd name="connsiteX106" fmla="*/ 341947 w 810577"/>
                  <a:gd name="connsiteY106" fmla="*/ 472440 h 578072"/>
                  <a:gd name="connsiteX107" fmla="*/ 366712 w 810577"/>
                  <a:gd name="connsiteY107" fmla="*/ 476250 h 578072"/>
                  <a:gd name="connsiteX108" fmla="*/ 384810 w 810577"/>
                  <a:gd name="connsiteY108" fmla="*/ 468535 h 578072"/>
                  <a:gd name="connsiteX109" fmla="*/ 395287 w 810577"/>
                  <a:gd name="connsiteY109" fmla="*/ 461963 h 578072"/>
                  <a:gd name="connsiteX110" fmla="*/ 416242 w 810577"/>
                  <a:gd name="connsiteY110" fmla="*/ 461963 h 578072"/>
                  <a:gd name="connsiteX111" fmla="*/ 419100 w 810577"/>
                  <a:gd name="connsiteY111" fmla="*/ 458153 h 578072"/>
                  <a:gd name="connsiteX112" fmla="*/ 419100 w 810577"/>
                  <a:gd name="connsiteY112" fmla="*/ 454247 h 578072"/>
                  <a:gd name="connsiteX113" fmla="*/ 419100 w 810577"/>
                  <a:gd name="connsiteY113" fmla="*/ 439960 h 578072"/>
                  <a:gd name="connsiteX114" fmla="*/ 430530 w 810577"/>
                  <a:gd name="connsiteY114" fmla="*/ 447675 h 578072"/>
                  <a:gd name="connsiteX115" fmla="*/ 451485 w 810577"/>
                  <a:gd name="connsiteY115" fmla="*/ 454247 h 578072"/>
                  <a:gd name="connsiteX116" fmla="*/ 461962 w 810577"/>
                  <a:gd name="connsiteY116" fmla="*/ 464820 h 578072"/>
                  <a:gd name="connsiteX117" fmla="*/ 479108 w 810577"/>
                  <a:gd name="connsiteY117" fmla="*/ 482822 h 578072"/>
                  <a:gd name="connsiteX118" fmla="*/ 493395 w 810577"/>
                  <a:gd name="connsiteY118" fmla="*/ 497110 h 578072"/>
                  <a:gd name="connsiteX119" fmla="*/ 507683 w 810577"/>
                  <a:gd name="connsiteY119" fmla="*/ 493395 h 578072"/>
                  <a:gd name="connsiteX120" fmla="*/ 518160 w 810577"/>
                  <a:gd name="connsiteY120" fmla="*/ 503777 h 578072"/>
                  <a:gd name="connsiteX121" fmla="*/ 511492 w 810577"/>
                  <a:gd name="connsiteY121" fmla="*/ 511397 h 578072"/>
                  <a:gd name="connsiteX122" fmla="*/ 521970 w 810577"/>
                  <a:gd name="connsiteY122" fmla="*/ 524828 h 578072"/>
                  <a:gd name="connsiteX123" fmla="*/ 546735 w 810577"/>
                  <a:gd name="connsiteY123" fmla="*/ 553403 h 578072"/>
                  <a:gd name="connsiteX124" fmla="*/ 549593 w 810577"/>
                  <a:gd name="connsiteY124" fmla="*/ 535210 h 578072"/>
                  <a:gd name="connsiteX125" fmla="*/ 563880 w 810577"/>
                  <a:gd name="connsiteY125" fmla="*/ 535210 h 578072"/>
                  <a:gd name="connsiteX126" fmla="*/ 588645 w 810577"/>
                  <a:gd name="connsiteY126" fmla="*/ 553403 h 578072"/>
                  <a:gd name="connsiteX127" fmla="*/ 623887 w 810577"/>
                  <a:gd name="connsiteY127" fmla="*/ 567690 h 578072"/>
                  <a:gd name="connsiteX128" fmla="*/ 665797 w 810577"/>
                  <a:gd name="connsiteY128" fmla="*/ 578072 h 578072"/>
                  <a:gd name="connsiteX129" fmla="*/ 659130 w 810577"/>
                  <a:gd name="connsiteY129" fmla="*/ 563785 h 578072"/>
                  <a:gd name="connsiteX130" fmla="*/ 652462 w 810577"/>
                  <a:gd name="connsiteY130" fmla="*/ 549497 h 578072"/>
                  <a:gd name="connsiteX131" fmla="*/ 644843 w 810577"/>
                  <a:gd name="connsiteY131" fmla="*/ 539115 h 578072"/>
                  <a:gd name="connsiteX132" fmla="*/ 613410 w 810577"/>
                  <a:gd name="connsiteY132" fmla="*/ 514350 h 578072"/>
                  <a:gd name="connsiteX133" fmla="*/ 595312 w 810577"/>
                  <a:gd name="connsiteY133" fmla="*/ 497110 h 578072"/>
                  <a:gd name="connsiteX134" fmla="*/ 605790 w 810577"/>
                  <a:gd name="connsiteY134" fmla="*/ 489490 h 578072"/>
                  <a:gd name="connsiteX135" fmla="*/ 627697 w 810577"/>
                  <a:gd name="connsiteY135" fmla="*/ 511397 h 578072"/>
                  <a:gd name="connsiteX136" fmla="*/ 665797 w 810577"/>
                  <a:gd name="connsiteY136" fmla="*/ 532352 h 578072"/>
                  <a:gd name="connsiteX137" fmla="*/ 694372 w 810577"/>
                  <a:gd name="connsiteY137" fmla="*/ 546640 h 578072"/>
                  <a:gd name="connsiteX138" fmla="*/ 704850 w 810577"/>
                  <a:gd name="connsiteY138" fmla="*/ 535210 h 578072"/>
                  <a:gd name="connsiteX139" fmla="*/ 694372 w 810577"/>
                  <a:gd name="connsiteY139" fmla="*/ 511397 h 578072"/>
                  <a:gd name="connsiteX140" fmla="*/ 698183 w 810577"/>
                  <a:gd name="connsiteY140" fmla="*/ 507682 h 578072"/>
                  <a:gd name="connsiteX141" fmla="*/ 704850 w 810577"/>
                  <a:gd name="connsiteY141" fmla="*/ 507682 h 578072"/>
                  <a:gd name="connsiteX142" fmla="*/ 715327 w 810577"/>
                  <a:gd name="connsiteY142" fmla="*/ 511397 h 578072"/>
                  <a:gd name="connsiteX143" fmla="*/ 719137 w 810577"/>
                  <a:gd name="connsiteY143" fmla="*/ 500063 h 578072"/>
                  <a:gd name="connsiteX144" fmla="*/ 694372 w 810577"/>
                  <a:gd name="connsiteY144" fmla="*/ 476250 h 578072"/>
                  <a:gd name="connsiteX145" fmla="*/ 662940 w 810577"/>
                  <a:gd name="connsiteY145" fmla="*/ 451390 h 578072"/>
                  <a:gd name="connsiteX146" fmla="*/ 641033 w 810577"/>
                  <a:gd name="connsiteY146" fmla="*/ 429578 h 578072"/>
                  <a:gd name="connsiteX147" fmla="*/ 630555 w 810577"/>
                  <a:gd name="connsiteY147" fmla="*/ 404813 h 578072"/>
                  <a:gd name="connsiteX148" fmla="*/ 634365 w 810577"/>
                  <a:gd name="connsiteY148" fmla="*/ 391478 h 578072"/>
                  <a:gd name="connsiteX149" fmla="*/ 627697 w 810577"/>
                  <a:gd name="connsiteY149" fmla="*/ 373285 h 578072"/>
                  <a:gd name="connsiteX150" fmla="*/ 641033 w 810577"/>
                  <a:gd name="connsiteY150" fmla="*/ 366713 h 578072"/>
                  <a:gd name="connsiteX151" fmla="*/ 680085 w 810577"/>
                  <a:gd name="connsiteY151" fmla="*/ 391478 h 578072"/>
                  <a:gd name="connsiteX152" fmla="*/ 686752 w 810577"/>
                  <a:gd name="connsiteY152" fmla="*/ 404813 h 578072"/>
                  <a:gd name="connsiteX153" fmla="*/ 701040 w 810577"/>
                  <a:gd name="connsiteY153" fmla="*/ 422815 h 578072"/>
                  <a:gd name="connsiteX154" fmla="*/ 729615 w 810577"/>
                  <a:gd name="connsiteY154" fmla="*/ 437102 h 578072"/>
                  <a:gd name="connsiteX155" fmla="*/ 740093 w 810577"/>
                  <a:gd name="connsiteY155" fmla="*/ 422815 h 578072"/>
                  <a:gd name="connsiteX156" fmla="*/ 740093 w 810577"/>
                  <a:gd name="connsiteY156" fmla="*/ 408527 h 578072"/>
                  <a:gd name="connsiteX157" fmla="*/ 757237 w 810577"/>
                  <a:gd name="connsiteY157" fmla="*/ 408527 h 578072"/>
                  <a:gd name="connsiteX158" fmla="*/ 768668 w 810577"/>
                  <a:gd name="connsiteY158" fmla="*/ 398145 h 578072"/>
                  <a:gd name="connsiteX159" fmla="*/ 764858 w 810577"/>
                  <a:gd name="connsiteY159" fmla="*/ 381000 h 578072"/>
                  <a:gd name="connsiteX160" fmla="*/ 782002 w 810577"/>
                  <a:gd name="connsiteY160" fmla="*/ 381000 h 578072"/>
                  <a:gd name="connsiteX161" fmla="*/ 806768 w 810577"/>
                  <a:gd name="connsiteY161" fmla="*/ 377190 h 578072"/>
                  <a:gd name="connsiteX162" fmla="*/ 810577 w 810577"/>
                  <a:gd name="connsiteY162" fmla="*/ 373285 h 578072"/>
                  <a:gd name="connsiteX163" fmla="*/ 810577 w 810577"/>
                  <a:gd name="connsiteY163" fmla="*/ 366713 h 578072"/>
                  <a:gd name="connsiteX164" fmla="*/ 810577 w 810577"/>
                  <a:gd name="connsiteY164" fmla="*/ 358997 h 578072"/>
                  <a:gd name="connsiteX165" fmla="*/ 792480 w 810577"/>
                  <a:gd name="connsiteY165" fmla="*/ 345757 h 578072"/>
                  <a:gd name="connsiteX166" fmla="*/ 771525 w 810577"/>
                  <a:gd name="connsiteY166" fmla="*/ 341852 h 578072"/>
                  <a:gd name="connsiteX167" fmla="*/ 764858 w 810577"/>
                  <a:gd name="connsiteY167" fmla="*/ 334232 h 578072"/>
                  <a:gd name="connsiteX168" fmla="*/ 746760 w 810577"/>
                  <a:gd name="connsiteY168" fmla="*/ 320897 h 578072"/>
                  <a:gd name="connsiteX169" fmla="*/ 733425 w 810577"/>
                  <a:gd name="connsiteY169" fmla="*/ 317182 h 578072"/>
                  <a:gd name="connsiteX170" fmla="*/ 715327 w 810577"/>
                  <a:gd name="connsiteY170" fmla="*/ 317182 h 578072"/>
                  <a:gd name="connsiteX171" fmla="*/ 711518 w 810577"/>
                  <a:gd name="connsiteY171" fmla="*/ 306610 h 578072"/>
                  <a:gd name="connsiteX172" fmla="*/ 701040 w 810577"/>
                  <a:gd name="connsiteY172" fmla="*/ 299085 h 578072"/>
                  <a:gd name="connsiteX173" fmla="*/ 683895 w 810577"/>
                  <a:gd name="connsiteY173" fmla="*/ 296132 h 578072"/>
                  <a:gd name="connsiteX174" fmla="*/ 673418 w 810577"/>
                  <a:gd name="connsiteY174" fmla="*/ 292322 h 578072"/>
                  <a:gd name="connsiteX175" fmla="*/ 673418 w 810577"/>
                  <a:gd name="connsiteY175" fmla="*/ 281845 h 578072"/>
                  <a:gd name="connsiteX176" fmla="*/ 652462 w 810577"/>
                  <a:gd name="connsiteY176" fmla="*/ 271463 h 578072"/>
                  <a:gd name="connsiteX177" fmla="*/ 638175 w 810577"/>
                  <a:gd name="connsiteY177" fmla="*/ 274320 h 578072"/>
                  <a:gd name="connsiteX178" fmla="*/ 623887 w 810577"/>
                  <a:gd name="connsiteY178" fmla="*/ 274320 h 578072"/>
                  <a:gd name="connsiteX179" fmla="*/ 609600 w 810577"/>
                  <a:gd name="connsiteY179" fmla="*/ 263747 h 578072"/>
                  <a:gd name="connsiteX180" fmla="*/ 602933 w 810577"/>
                  <a:gd name="connsiteY180" fmla="*/ 253270 h 578072"/>
                  <a:gd name="connsiteX181" fmla="*/ 602933 w 810577"/>
                  <a:gd name="connsiteY181" fmla="*/ 246698 h 578072"/>
                  <a:gd name="connsiteX182" fmla="*/ 605790 w 810577"/>
                  <a:gd name="connsiteY182" fmla="*/ 242888 h 578072"/>
                  <a:gd name="connsiteX183" fmla="*/ 609600 w 810577"/>
                  <a:gd name="connsiteY183" fmla="*/ 238982 h 578072"/>
                  <a:gd name="connsiteX184" fmla="*/ 638175 w 810577"/>
                  <a:gd name="connsiteY184" fmla="*/ 242888 h 578072"/>
                  <a:gd name="connsiteX185" fmla="*/ 648652 w 810577"/>
                  <a:gd name="connsiteY185" fmla="*/ 242888 h 578072"/>
                  <a:gd name="connsiteX186" fmla="*/ 652462 w 810577"/>
                  <a:gd name="connsiteY186" fmla="*/ 242888 h 578072"/>
                  <a:gd name="connsiteX187" fmla="*/ 648652 w 810577"/>
                  <a:gd name="connsiteY187" fmla="*/ 236220 h 578072"/>
                  <a:gd name="connsiteX188" fmla="*/ 638175 w 810577"/>
                  <a:gd name="connsiteY188" fmla="*/ 225647 h 578072"/>
                  <a:gd name="connsiteX189" fmla="*/ 620077 w 810577"/>
                  <a:gd name="connsiteY189" fmla="*/ 225647 h 578072"/>
                  <a:gd name="connsiteX190" fmla="*/ 602933 w 810577"/>
                  <a:gd name="connsiteY190" fmla="*/ 225647 h 578072"/>
                  <a:gd name="connsiteX191" fmla="*/ 602933 w 810577"/>
                  <a:gd name="connsiteY191" fmla="*/ 215170 h 578072"/>
                  <a:gd name="connsiteX192" fmla="*/ 613410 w 810577"/>
                  <a:gd name="connsiteY192" fmla="*/ 215170 h 578072"/>
                  <a:gd name="connsiteX193" fmla="*/ 623887 w 810577"/>
                  <a:gd name="connsiteY193" fmla="*/ 215170 h 578072"/>
                  <a:gd name="connsiteX194" fmla="*/ 638175 w 810577"/>
                  <a:gd name="connsiteY194" fmla="*/ 215170 h 578072"/>
                  <a:gd name="connsiteX195" fmla="*/ 634365 w 810577"/>
                  <a:gd name="connsiteY195" fmla="*/ 203835 h 578072"/>
                  <a:gd name="connsiteX196" fmla="*/ 627697 w 810577"/>
                  <a:gd name="connsiteY196" fmla="*/ 193357 h 578072"/>
                  <a:gd name="connsiteX197" fmla="*/ 617220 w 810577"/>
                  <a:gd name="connsiteY197" fmla="*/ 190500 h 578072"/>
                  <a:gd name="connsiteX198" fmla="*/ 584835 w 810577"/>
                  <a:gd name="connsiteY198" fmla="*/ 197072 h 578072"/>
                  <a:gd name="connsiteX199" fmla="*/ 570547 w 810577"/>
                  <a:gd name="connsiteY199" fmla="*/ 190500 h 578072"/>
                  <a:gd name="connsiteX200" fmla="*/ 588645 w 810577"/>
                  <a:gd name="connsiteY200" fmla="*/ 182785 h 578072"/>
                  <a:gd name="connsiteX201" fmla="*/ 602933 w 810577"/>
                  <a:gd name="connsiteY201" fmla="*/ 176213 h 578072"/>
                  <a:gd name="connsiteX202" fmla="*/ 602933 w 810577"/>
                  <a:gd name="connsiteY202" fmla="*/ 168497 h 578072"/>
                  <a:gd name="connsiteX203" fmla="*/ 584835 w 810577"/>
                  <a:gd name="connsiteY203" fmla="*/ 161925 h 578072"/>
                  <a:gd name="connsiteX204" fmla="*/ 563880 w 810577"/>
                  <a:gd name="connsiteY204" fmla="*/ 161925 h 578072"/>
                  <a:gd name="connsiteX205" fmla="*/ 535305 w 810577"/>
                  <a:gd name="connsiteY205" fmla="*/ 172307 h 578072"/>
                  <a:gd name="connsiteX206" fmla="*/ 524827 w 810577"/>
                  <a:gd name="connsiteY206" fmla="*/ 172307 h 578072"/>
                  <a:gd name="connsiteX207" fmla="*/ 539115 w 810577"/>
                  <a:gd name="connsiteY207" fmla="*/ 158020 h 578072"/>
                  <a:gd name="connsiteX208" fmla="*/ 539115 w 810577"/>
                  <a:gd name="connsiteY208" fmla="*/ 147638 h 578072"/>
                  <a:gd name="connsiteX209" fmla="*/ 528637 w 810577"/>
                  <a:gd name="connsiteY209" fmla="*/ 151448 h 578072"/>
                  <a:gd name="connsiteX210" fmla="*/ 511492 w 810577"/>
                  <a:gd name="connsiteY210" fmla="*/ 158020 h 578072"/>
                  <a:gd name="connsiteX211" fmla="*/ 501015 w 810577"/>
                  <a:gd name="connsiteY211" fmla="*/ 151448 h 578072"/>
                  <a:gd name="connsiteX212" fmla="*/ 514350 w 810577"/>
                  <a:gd name="connsiteY212" fmla="*/ 140970 h 578072"/>
                  <a:gd name="connsiteX213" fmla="*/ 521970 w 810577"/>
                  <a:gd name="connsiteY213" fmla="*/ 133350 h 578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</a:cxnLst>
                <a:rect l="l" t="t" r="r" b="b"/>
                <a:pathLst>
                  <a:path w="810577" h="578072">
                    <a:moveTo>
                      <a:pt x="521970" y="133350"/>
                    </a:moveTo>
                    <a:lnTo>
                      <a:pt x="511492" y="122873"/>
                    </a:lnTo>
                    <a:lnTo>
                      <a:pt x="493395" y="119920"/>
                    </a:lnTo>
                    <a:lnTo>
                      <a:pt x="465772" y="130397"/>
                    </a:lnTo>
                    <a:lnTo>
                      <a:pt x="447675" y="130397"/>
                    </a:lnTo>
                    <a:lnTo>
                      <a:pt x="458152" y="116110"/>
                    </a:lnTo>
                    <a:lnTo>
                      <a:pt x="454342" y="101822"/>
                    </a:lnTo>
                    <a:lnTo>
                      <a:pt x="433387" y="116110"/>
                    </a:lnTo>
                    <a:lnTo>
                      <a:pt x="419100" y="119920"/>
                    </a:lnTo>
                    <a:lnTo>
                      <a:pt x="430530" y="105632"/>
                    </a:lnTo>
                    <a:lnTo>
                      <a:pt x="441008" y="95250"/>
                    </a:lnTo>
                    <a:lnTo>
                      <a:pt x="422910" y="91345"/>
                    </a:lnTo>
                    <a:lnTo>
                      <a:pt x="398145" y="101822"/>
                    </a:lnTo>
                    <a:lnTo>
                      <a:pt x="401955" y="87535"/>
                    </a:lnTo>
                    <a:lnTo>
                      <a:pt x="419100" y="77057"/>
                    </a:lnTo>
                    <a:lnTo>
                      <a:pt x="405765" y="70485"/>
                    </a:lnTo>
                    <a:lnTo>
                      <a:pt x="377190" y="60007"/>
                    </a:lnTo>
                    <a:lnTo>
                      <a:pt x="349567" y="60007"/>
                    </a:lnTo>
                    <a:lnTo>
                      <a:pt x="324802" y="62770"/>
                    </a:lnTo>
                    <a:lnTo>
                      <a:pt x="317183" y="87535"/>
                    </a:lnTo>
                    <a:lnTo>
                      <a:pt x="296227" y="73247"/>
                    </a:lnTo>
                    <a:lnTo>
                      <a:pt x="279083" y="73247"/>
                    </a:lnTo>
                    <a:lnTo>
                      <a:pt x="271463" y="91345"/>
                    </a:lnTo>
                    <a:lnTo>
                      <a:pt x="254317" y="91345"/>
                    </a:lnTo>
                    <a:lnTo>
                      <a:pt x="254317" y="73247"/>
                    </a:lnTo>
                    <a:lnTo>
                      <a:pt x="260985" y="66675"/>
                    </a:lnTo>
                    <a:lnTo>
                      <a:pt x="260985" y="52388"/>
                    </a:lnTo>
                    <a:lnTo>
                      <a:pt x="257175" y="38100"/>
                    </a:lnTo>
                    <a:lnTo>
                      <a:pt x="246697" y="24670"/>
                    </a:lnTo>
                    <a:lnTo>
                      <a:pt x="236220" y="10382"/>
                    </a:lnTo>
                    <a:lnTo>
                      <a:pt x="215265" y="2857"/>
                    </a:lnTo>
                    <a:lnTo>
                      <a:pt x="190500" y="6572"/>
                    </a:lnTo>
                    <a:lnTo>
                      <a:pt x="148590" y="27623"/>
                    </a:lnTo>
                    <a:lnTo>
                      <a:pt x="127635" y="45720"/>
                    </a:lnTo>
                    <a:lnTo>
                      <a:pt x="123825" y="66675"/>
                    </a:lnTo>
                    <a:lnTo>
                      <a:pt x="138113" y="80963"/>
                    </a:lnTo>
                    <a:lnTo>
                      <a:pt x="117157" y="87535"/>
                    </a:lnTo>
                    <a:lnTo>
                      <a:pt x="134302" y="112395"/>
                    </a:lnTo>
                    <a:lnTo>
                      <a:pt x="144780" y="126682"/>
                    </a:lnTo>
                    <a:lnTo>
                      <a:pt x="120015" y="133350"/>
                    </a:lnTo>
                    <a:lnTo>
                      <a:pt x="95250" y="87535"/>
                    </a:lnTo>
                    <a:lnTo>
                      <a:pt x="95250" y="70485"/>
                    </a:lnTo>
                    <a:lnTo>
                      <a:pt x="95250" y="49435"/>
                    </a:lnTo>
                    <a:lnTo>
                      <a:pt x="113347" y="20860"/>
                    </a:lnTo>
                    <a:lnTo>
                      <a:pt x="134302" y="14288"/>
                    </a:lnTo>
                    <a:lnTo>
                      <a:pt x="144780" y="2857"/>
                    </a:lnTo>
                    <a:lnTo>
                      <a:pt x="92392" y="0"/>
                    </a:lnTo>
                    <a:lnTo>
                      <a:pt x="67627" y="2857"/>
                    </a:lnTo>
                    <a:lnTo>
                      <a:pt x="35242" y="24670"/>
                    </a:lnTo>
                    <a:lnTo>
                      <a:pt x="14288" y="52388"/>
                    </a:lnTo>
                    <a:lnTo>
                      <a:pt x="0" y="87535"/>
                    </a:lnTo>
                    <a:lnTo>
                      <a:pt x="0" y="126682"/>
                    </a:lnTo>
                    <a:lnTo>
                      <a:pt x="28575" y="137160"/>
                    </a:lnTo>
                    <a:lnTo>
                      <a:pt x="57150" y="133350"/>
                    </a:lnTo>
                    <a:lnTo>
                      <a:pt x="67627" y="144685"/>
                    </a:lnTo>
                    <a:lnTo>
                      <a:pt x="57150" y="151448"/>
                    </a:lnTo>
                    <a:lnTo>
                      <a:pt x="28575" y="147638"/>
                    </a:lnTo>
                    <a:lnTo>
                      <a:pt x="14288" y="147638"/>
                    </a:lnTo>
                    <a:lnTo>
                      <a:pt x="14288" y="165735"/>
                    </a:lnTo>
                    <a:lnTo>
                      <a:pt x="35242" y="180023"/>
                    </a:lnTo>
                    <a:lnTo>
                      <a:pt x="57150" y="186595"/>
                    </a:lnTo>
                    <a:lnTo>
                      <a:pt x="70485" y="176213"/>
                    </a:lnTo>
                    <a:lnTo>
                      <a:pt x="84772" y="182785"/>
                    </a:lnTo>
                    <a:lnTo>
                      <a:pt x="99060" y="193357"/>
                    </a:lnTo>
                    <a:lnTo>
                      <a:pt x="130492" y="193357"/>
                    </a:lnTo>
                    <a:lnTo>
                      <a:pt x="159067" y="200882"/>
                    </a:lnTo>
                    <a:lnTo>
                      <a:pt x="208597" y="207645"/>
                    </a:lnTo>
                    <a:lnTo>
                      <a:pt x="229552" y="203835"/>
                    </a:lnTo>
                    <a:lnTo>
                      <a:pt x="240030" y="193357"/>
                    </a:lnTo>
                    <a:lnTo>
                      <a:pt x="279083" y="203835"/>
                    </a:lnTo>
                    <a:lnTo>
                      <a:pt x="302895" y="203835"/>
                    </a:lnTo>
                    <a:lnTo>
                      <a:pt x="314325" y="197072"/>
                    </a:lnTo>
                    <a:lnTo>
                      <a:pt x="310515" y="186595"/>
                    </a:lnTo>
                    <a:lnTo>
                      <a:pt x="302895" y="176213"/>
                    </a:lnTo>
                    <a:lnTo>
                      <a:pt x="314325" y="172307"/>
                    </a:lnTo>
                    <a:lnTo>
                      <a:pt x="327660" y="186595"/>
                    </a:lnTo>
                    <a:lnTo>
                      <a:pt x="335280" y="197072"/>
                    </a:lnTo>
                    <a:lnTo>
                      <a:pt x="345758" y="211360"/>
                    </a:lnTo>
                    <a:lnTo>
                      <a:pt x="356235" y="200882"/>
                    </a:lnTo>
                    <a:lnTo>
                      <a:pt x="373380" y="218123"/>
                    </a:lnTo>
                    <a:lnTo>
                      <a:pt x="384810" y="225647"/>
                    </a:lnTo>
                    <a:lnTo>
                      <a:pt x="391477" y="236220"/>
                    </a:lnTo>
                    <a:lnTo>
                      <a:pt x="370522" y="250507"/>
                    </a:lnTo>
                    <a:lnTo>
                      <a:pt x="384810" y="263747"/>
                    </a:lnTo>
                    <a:lnTo>
                      <a:pt x="401955" y="250507"/>
                    </a:lnTo>
                    <a:lnTo>
                      <a:pt x="422910" y="250507"/>
                    </a:lnTo>
                    <a:lnTo>
                      <a:pt x="422910" y="260985"/>
                    </a:lnTo>
                    <a:lnTo>
                      <a:pt x="433387" y="274320"/>
                    </a:lnTo>
                    <a:lnTo>
                      <a:pt x="447675" y="267557"/>
                    </a:lnTo>
                    <a:lnTo>
                      <a:pt x="451485" y="281845"/>
                    </a:lnTo>
                    <a:lnTo>
                      <a:pt x="465772" y="281845"/>
                    </a:lnTo>
                    <a:lnTo>
                      <a:pt x="479108" y="302895"/>
                    </a:lnTo>
                    <a:lnTo>
                      <a:pt x="493395" y="334232"/>
                    </a:lnTo>
                    <a:lnTo>
                      <a:pt x="472440" y="356140"/>
                    </a:lnTo>
                    <a:lnTo>
                      <a:pt x="447675" y="369570"/>
                    </a:lnTo>
                    <a:lnTo>
                      <a:pt x="433387" y="391478"/>
                    </a:lnTo>
                    <a:lnTo>
                      <a:pt x="447675" y="401860"/>
                    </a:lnTo>
                    <a:lnTo>
                      <a:pt x="454342" y="408527"/>
                    </a:lnTo>
                    <a:lnTo>
                      <a:pt x="433387" y="416147"/>
                    </a:lnTo>
                    <a:lnTo>
                      <a:pt x="419100" y="422815"/>
                    </a:lnTo>
                    <a:lnTo>
                      <a:pt x="408622" y="433388"/>
                    </a:lnTo>
                    <a:lnTo>
                      <a:pt x="398145" y="426720"/>
                    </a:lnTo>
                    <a:lnTo>
                      <a:pt x="377190" y="419100"/>
                    </a:lnTo>
                    <a:lnTo>
                      <a:pt x="356235" y="416147"/>
                    </a:lnTo>
                    <a:lnTo>
                      <a:pt x="331470" y="433388"/>
                    </a:lnTo>
                    <a:lnTo>
                      <a:pt x="327660" y="454247"/>
                    </a:lnTo>
                    <a:lnTo>
                      <a:pt x="341947" y="472440"/>
                    </a:lnTo>
                    <a:lnTo>
                      <a:pt x="366712" y="476250"/>
                    </a:lnTo>
                    <a:lnTo>
                      <a:pt x="384810" y="468535"/>
                    </a:lnTo>
                    <a:lnTo>
                      <a:pt x="395287" y="461963"/>
                    </a:lnTo>
                    <a:lnTo>
                      <a:pt x="416242" y="461963"/>
                    </a:lnTo>
                    <a:lnTo>
                      <a:pt x="419100" y="458153"/>
                    </a:lnTo>
                    <a:lnTo>
                      <a:pt x="419100" y="454247"/>
                    </a:lnTo>
                    <a:lnTo>
                      <a:pt x="419100" y="439960"/>
                    </a:lnTo>
                    <a:lnTo>
                      <a:pt x="430530" y="447675"/>
                    </a:lnTo>
                    <a:lnTo>
                      <a:pt x="451485" y="454247"/>
                    </a:lnTo>
                    <a:lnTo>
                      <a:pt x="461962" y="464820"/>
                    </a:lnTo>
                    <a:lnTo>
                      <a:pt x="479108" y="482822"/>
                    </a:lnTo>
                    <a:lnTo>
                      <a:pt x="493395" y="497110"/>
                    </a:lnTo>
                    <a:lnTo>
                      <a:pt x="507683" y="493395"/>
                    </a:lnTo>
                    <a:lnTo>
                      <a:pt x="518160" y="503777"/>
                    </a:lnTo>
                    <a:lnTo>
                      <a:pt x="511492" y="511397"/>
                    </a:lnTo>
                    <a:lnTo>
                      <a:pt x="521970" y="524828"/>
                    </a:lnTo>
                    <a:lnTo>
                      <a:pt x="546735" y="553403"/>
                    </a:lnTo>
                    <a:lnTo>
                      <a:pt x="549593" y="535210"/>
                    </a:lnTo>
                    <a:lnTo>
                      <a:pt x="563880" y="535210"/>
                    </a:lnTo>
                    <a:lnTo>
                      <a:pt x="588645" y="553403"/>
                    </a:lnTo>
                    <a:lnTo>
                      <a:pt x="623887" y="567690"/>
                    </a:lnTo>
                    <a:lnTo>
                      <a:pt x="665797" y="578072"/>
                    </a:lnTo>
                    <a:lnTo>
                      <a:pt x="659130" y="563785"/>
                    </a:lnTo>
                    <a:lnTo>
                      <a:pt x="652462" y="549497"/>
                    </a:lnTo>
                    <a:lnTo>
                      <a:pt x="644843" y="539115"/>
                    </a:lnTo>
                    <a:lnTo>
                      <a:pt x="613410" y="514350"/>
                    </a:lnTo>
                    <a:lnTo>
                      <a:pt x="595312" y="497110"/>
                    </a:lnTo>
                    <a:lnTo>
                      <a:pt x="605790" y="489490"/>
                    </a:lnTo>
                    <a:lnTo>
                      <a:pt x="627697" y="511397"/>
                    </a:lnTo>
                    <a:lnTo>
                      <a:pt x="665797" y="532352"/>
                    </a:lnTo>
                    <a:lnTo>
                      <a:pt x="694372" y="546640"/>
                    </a:lnTo>
                    <a:lnTo>
                      <a:pt x="704850" y="535210"/>
                    </a:lnTo>
                    <a:lnTo>
                      <a:pt x="694372" y="511397"/>
                    </a:lnTo>
                    <a:lnTo>
                      <a:pt x="698183" y="507682"/>
                    </a:lnTo>
                    <a:lnTo>
                      <a:pt x="704850" y="507682"/>
                    </a:lnTo>
                    <a:lnTo>
                      <a:pt x="715327" y="511397"/>
                    </a:lnTo>
                    <a:lnTo>
                      <a:pt x="719137" y="500063"/>
                    </a:lnTo>
                    <a:lnTo>
                      <a:pt x="694372" y="476250"/>
                    </a:lnTo>
                    <a:lnTo>
                      <a:pt x="662940" y="451390"/>
                    </a:lnTo>
                    <a:lnTo>
                      <a:pt x="641033" y="429578"/>
                    </a:lnTo>
                    <a:lnTo>
                      <a:pt x="630555" y="404813"/>
                    </a:lnTo>
                    <a:lnTo>
                      <a:pt x="634365" y="391478"/>
                    </a:lnTo>
                    <a:lnTo>
                      <a:pt x="627697" y="373285"/>
                    </a:lnTo>
                    <a:lnTo>
                      <a:pt x="641033" y="366713"/>
                    </a:lnTo>
                    <a:lnTo>
                      <a:pt x="680085" y="391478"/>
                    </a:lnTo>
                    <a:lnTo>
                      <a:pt x="686752" y="404813"/>
                    </a:lnTo>
                    <a:lnTo>
                      <a:pt x="701040" y="422815"/>
                    </a:lnTo>
                    <a:lnTo>
                      <a:pt x="729615" y="437102"/>
                    </a:lnTo>
                    <a:lnTo>
                      <a:pt x="740093" y="422815"/>
                    </a:lnTo>
                    <a:lnTo>
                      <a:pt x="740093" y="408527"/>
                    </a:lnTo>
                    <a:lnTo>
                      <a:pt x="757237" y="408527"/>
                    </a:lnTo>
                    <a:lnTo>
                      <a:pt x="768668" y="398145"/>
                    </a:lnTo>
                    <a:lnTo>
                      <a:pt x="764858" y="381000"/>
                    </a:lnTo>
                    <a:lnTo>
                      <a:pt x="782002" y="381000"/>
                    </a:lnTo>
                    <a:lnTo>
                      <a:pt x="806768" y="377190"/>
                    </a:lnTo>
                    <a:lnTo>
                      <a:pt x="810577" y="373285"/>
                    </a:lnTo>
                    <a:lnTo>
                      <a:pt x="810577" y="366713"/>
                    </a:lnTo>
                    <a:lnTo>
                      <a:pt x="810577" y="358997"/>
                    </a:lnTo>
                    <a:lnTo>
                      <a:pt x="792480" y="345757"/>
                    </a:lnTo>
                    <a:lnTo>
                      <a:pt x="771525" y="341852"/>
                    </a:lnTo>
                    <a:lnTo>
                      <a:pt x="764858" y="334232"/>
                    </a:lnTo>
                    <a:lnTo>
                      <a:pt x="746760" y="320897"/>
                    </a:lnTo>
                    <a:lnTo>
                      <a:pt x="733425" y="317182"/>
                    </a:lnTo>
                    <a:lnTo>
                      <a:pt x="715327" y="317182"/>
                    </a:lnTo>
                    <a:lnTo>
                      <a:pt x="711518" y="306610"/>
                    </a:lnTo>
                    <a:lnTo>
                      <a:pt x="701040" y="299085"/>
                    </a:lnTo>
                    <a:lnTo>
                      <a:pt x="683895" y="296132"/>
                    </a:lnTo>
                    <a:lnTo>
                      <a:pt x="673418" y="292322"/>
                    </a:lnTo>
                    <a:lnTo>
                      <a:pt x="673418" y="281845"/>
                    </a:lnTo>
                    <a:lnTo>
                      <a:pt x="652462" y="271463"/>
                    </a:lnTo>
                    <a:lnTo>
                      <a:pt x="638175" y="274320"/>
                    </a:lnTo>
                    <a:lnTo>
                      <a:pt x="623887" y="274320"/>
                    </a:lnTo>
                    <a:lnTo>
                      <a:pt x="609600" y="263747"/>
                    </a:lnTo>
                    <a:lnTo>
                      <a:pt x="602933" y="253270"/>
                    </a:lnTo>
                    <a:lnTo>
                      <a:pt x="602933" y="246698"/>
                    </a:lnTo>
                    <a:lnTo>
                      <a:pt x="605790" y="242888"/>
                    </a:lnTo>
                    <a:lnTo>
                      <a:pt x="609600" y="238982"/>
                    </a:lnTo>
                    <a:lnTo>
                      <a:pt x="638175" y="242888"/>
                    </a:lnTo>
                    <a:lnTo>
                      <a:pt x="648652" y="242888"/>
                    </a:lnTo>
                    <a:lnTo>
                      <a:pt x="652462" y="242888"/>
                    </a:lnTo>
                    <a:lnTo>
                      <a:pt x="648652" y="236220"/>
                    </a:lnTo>
                    <a:lnTo>
                      <a:pt x="638175" y="225647"/>
                    </a:lnTo>
                    <a:lnTo>
                      <a:pt x="620077" y="225647"/>
                    </a:lnTo>
                    <a:lnTo>
                      <a:pt x="602933" y="225647"/>
                    </a:lnTo>
                    <a:lnTo>
                      <a:pt x="602933" y="215170"/>
                    </a:lnTo>
                    <a:lnTo>
                      <a:pt x="613410" y="215170"/>
                    </a:lnTo>
                    <a:lnTo>
                      <a:pt x="623887" y="215170"/>
                    </a:lnTo>
                    <a:lnTo>
                      <a:pt x="638175" y="215170"/>
                    </a:lnTo>
                    <a:lnTo>
                      <a:pt x="634365" y="203835"/>
                    </a:lnTo>
                    <a:lnTo>
                      <a:pt x="627697" y="193357"/>
                    </a:lnTo>
                    <a:lnTo>
                      <a:pt x="617220" y="190500"/>
                    </a:lnTo>
                    <a:lnTo>
                      <a:pt x="584835" y="197072"/>
                    </a:lnTo>
                    <a:lnTo>
                      <a:pt x="570547" y="190500"/>
                    </a:lnTo>
                    <a:lnTo>
                      <a:pt x="588645" y="182785"/>
                    </a:lnTo>
                    <a:lnTo>
                      <a:pt x="602933" y="176213"/>
                    </a:lnTo>
                    <a:lnTo>
                      <a:pt x="602933" y="168497"/>
                    </a:lnTo>
                    <a:lnTo>
                      <a:pt x="584835" y="161925"/>
                    </a:lnTo>
                    <a:lnTo>
                      <a:pt x="563880" y="161925"/>
                    </a:lnTo>
                    <a:lnTo>
                      <a:pt x="535305" y="172307"/>
                    </a:lnTo>
                    <a:lnTo>
                      <a:pt x="524827" y="172307"/>
                    </a:lnTo>
                    <a:lnTo>
                      <a:pt x="539115" y="158020"/>
                    </a:lnTo>
                    <a:lnTo>
                      <a:pt x="539115" y="147638"/>
                    </a:lnTo>
                    <a:lnTo>
                      <a:pt x="528637" y="151448"/>
                    </a:lnTo>
                    <a:lnTo>
                      <a:pt x="511492" y="158020"/>
                    </a:lnTo>
                    <a:lnTo>
                      <a:pt x="501015" y="151448"/>
                    </a:lnTo>
                    <a:lnTo>
                      <a:pt x="514350" y="140970"/>
                    </a:lnTo>
                    <a:lnTo>
                      <a:pt x="521970" y="1333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2" name="Freeform: Shape 431">
                <a:extLst>
                  <a:ext uri="{FF2B5EF4-FFF2-40B4-BE49-F238E27FC236}">
                    <a16:creationId xmlns:a16="http://schemas.microsoft.com/office/drawing/2014/main" id="{46C1AF8A-B073-9BA9-0FB8-9C090F00293D}"/>
                  </a:ext>
                </a:extLst>
              </p:cNvPr>
              <p:cNvSpPr/>
              <p:nvPr/>
            </p:nvSpPr>
            <p:spPr>
              <a:xfrm>
                <a:off x="3690354" y="2542751"/>
                <a:ext cx="61625" cy="38283"/>
              </a:xfrm>
              <a:custGeom>
                <a:avLst/>
                <a:gdLst>
                  <a:gd name="connsiteX0" fmla="*/ 14288 w 62864"/>
                  <a:gd name="connsiteY0" fmla="*/ 10477 h 39052"/>
                  <a:gd name="connsiteX1" fmla="*/ 6667 w 62864"/>
                  <a:gd name="connsiteY1" fmla="*/ 18002 h 39052"/>
                  <a:gd name="connsiteX2" fmla="*/ 3810 w 62864"/>
                  <a:gd name="connsiteY2" fmla="*/ 20860 h 39052"/>
                  <a:gd name="connsiteX3" fmla="*/ 0 w 62864"/>
                  <a:gd name="connsiteY3" fmla="*/ 24765 h 39052"/>
                  <a:gd name="connsiteX4" fmla="*/ 10477 w 62864"/>
                  <a:gd name="connsiteY4" fmla="*/ 31432 h 39052"/>
                  <a:gd name="connsiteX5" fmla="*/ 17145 w 62864"/>
                  <a:gd name="connsiteY5" fmla="*/ 39052 h 39052"/>
                  <a:gd name="connsiteX6" fmla="*/ 39052 w 62864"/>
                  <a:gd name="connsiteY6" fmla="*/ 31432 h 39052"/>
                  <a:gd name="connsiteX7" fmla="*/ 52388 w 62864"/>
                  <a:gd name="connsiteY7" fmla="*/ 20860 h 39052"/>
                  <a:gd name="connsiteX8" fmla="*/ 62865 w 62864"/>
                  <a:gd name="connsiteY8" fmla="*/ 6572 h 39052"/>
                  <a:gd name="connsiteX9" fmla="*/ 60008 w 62864"/>
                  <a:gd name="connsiteY9" fmla="*/ 0 h 39052"/>
                  <a:gd name="connsiteX10" fmla="*/ 39052 w 62864"/>
                  <a:gd name="connsiteY10" fmla="*/ 0 h 39052"/>
                  <a:gd name="connsiteX11" fmla="*/ 14288 w 62864"/>
                  <a:gd name="connsiteY11" fmla="*/ 10477 h 3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2864" h="39052">
                    <a:moveTo>
                      <a:pt x="14288" y="10477"/>
                    </a:moveTo>
                    <a:lnTo>
                      <a:pt x="6667" y="18002"/>
                    </a:lnTo>
                    <a:lnTo>
                      <a:pt x="3810" y="20860"/>
                    </a:lnTo>
                    <a:lnTo>
                      <a:pt x="0" y="24765"/>
                    </a:lnTo>
                    <a:lnTo>
                      <a:pt x="10477" y="31432"/>
                    </a:lnTo>
                    <a:lnTo>
                      <a:pt x="17145" y="39052"/>
                    </a:lnTo>
                    <a:lnTo>
                      <a:pt x="39052" y="31432"/>
                    </a:lnTo>
                    <a:lnTo>
                      <a:pt x="52388" y="20860"/>
                    </a:lnTo>
                    <a:lnTo>
                      <a:pt x="62865" y="6572"/>
                    </a:lnTo>
                    <a:lnTo>
                      <a:pt x="60008" y="0"/>
                    </a:lnTo>
                    <a:lnTo>
                      <a:pt x="39052" y="0"/>
                    </a:lnTo>
                    <a:lnTo>
                      <a:pt x="14288" y="1047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37B44017-85F0-23E0-42CE-448C5F078C4A}"/>
                  </a:ext>
                </a:extLst>
              </p:cNvPr>
              <p:cNvSpPr/>
              <p:nvPr/>
            </p:nvSpPr>
            <p:spPr>
              <a:xfrm>
                <a:off x="3796798" y="2567028"/>
                <a:ext cx="28012" cy="38189"/>
              </a:xfrm>
              <a:custGeom>
                <a:avLst/>
                <a:gdLst>
                  <a:gd name="connsiteX0" fmla="*/ 28575 w 28575"/>
                  <a:gd name="connsiteY0" fmla="*/ 3810 h 38957"/>
                  <a:gd name="connsiteX1" fmla="*/ 14288 w 28575"/>
                  <a:gd name="connsiteY1" fmla="*/ 0 h 38957"/>
                  <a:gd name="connsiteX2" fmla="*/ 3810 w 28575"/>
                  <a:gd name="connsiteY2" fmla="*/ 10382 h 38957"/>
                  <a:gd name="connsiteX3" fmla="*/ 0 w 28575"/>
                  <a:gd name="connsiteY3" fmla="*/ 24670 h 38957"/>
                  <a:gd name="connsiteX4" fmla="*/ 14288 w 28575"/>
                  <a:gd name="connsiteY4" fmla="*/ 38957 h 38957"/>
                  <a:gd name="connsiteX5" fmla="*/ 28575 w 28575"/>
                  <a:gd name="connsiteY5" fmla="*/ 3810 h 3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75" h="38957">
                    <a:moveTo>
                      <a:pt x="28575" y="3810"/>
                    </a:moveTo>
                    <a:lnTo>
                      <a:pt x="14288" y="0"/>
                    </a:lnTo>
                    <a:lnTo>
                      <a:pt x="3810" y="10382"/>
                    </a:lnTo>
                    <a:lnTo>
                      <a:pt x="0" y="24670"/>
                    </a:lnTo>
                    <a:lnTo>
                      <a:pt x="14288" y="38957"/>
                    </a:lnTo>
                    <a:lnTo>
                      <a:pt x="28575" y="381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4" name="Freeform: Shape 433">
                <a:extLst>
                  <a:ext uri="{FF2B5EF4-FFF2-40B4-BE49-F238E27FC236}">
                    <a16:creationId xmlns:a16="http://schemas.microsoft.com/office/drawing/2014/main" id="{BB55007F-23C0-5B8F-CAEB-BE2341862983}"/>
                  </a:ext>
                </a:extLst>
              </p:cNvPr>
              <p:cNvSpPr/>
              <p:nvPr/>
            </p:nvSpPr>
            <p:spPr>
              <a:xfrm>
                <a:off x="2848135" y="1785493"/>
                <a:ext cx="37349" cy="24277"/>
              </a:xfrm>
              <a:custGeom>
                <a:avLst/>
                <a:gdLst>
                  <a:gd name="connsiteX0" fmla="*/ 17145 w 38100"/>
                  <a:gd name="connsiteY0" fmla="*/ 24765 h 24765"/>
                  <a:gd name="connsiteX1" fmla="*/ 38100 w 38100"/>
                  <a:gd name="connsiteY1" fmla="*/ 14288 h 24765"/>
                  <a:gd name="connsiteX2" fmla="*/ 27622 w 38100"/>
                  <a:gd name="connsiteY2" fmla="*/ 3810 h 24765"/>
                  <a:gd name="connsiteX3" fmla="*/ 13335 w 38100"/>
                  <a:gd name="connsiteY3" fmla="*/ 0 h 24765"/>
                  <a:gd name="connsiteX4" fmla="*/ 0 w 38100"/>
                  <a:gd name="connsiteY4" fmla="*/ 3810 h 24765"/>
                  <a:gd name="connsiteX5" fmla="*/ 2857 w 38100"/>
                  <a:gd name="connsiteY5" fmla="*/ 14288 h 24765"/>
                  <a:gd name="connsiteX6" fmla="*/ 17145 w 38100"/>
                  <a:gd name="connsiteY6" fmla="*/ 24765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100" h="24765">
                    <a:moveTo>
                      <a:pt x="17145" y="24765"/>
                    </a:moveTo>
                    <a:lnTo>
                      <a:pt x="38100" y="14288"/>
                    </a:lnTo>
                    <a:lnTo>
                      <a:pt x="27622" y="3810"/>
                    </a:lnTo>
                    <a:lnTo>
                      <a:pt x="13335" y="0"/>
                    </a:lnTo>
                    <a:lnTo>
                      <a:pt x="0" y="3810"/>
                    </a:lnTo>
                    <a:lnTo>
                      <a:pt x="2857" y="14288"/>
                    </a:lnTo>
                    <a:lnTo>
                      <a:pt x="17145" y="2476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5" name="Freeform: Shape 434">
                <a:extLst>
                  <a:ext uri="{FF2B5EF4-FFF2-40B4-BE49-F238E27FC236}">
                    <a16:creationId xmlns:a16="http://schemas.microsoft.com/office/drawing/2014/main" id="{7363CA0F-4E27-E376-AF08-DBCAD157E9CB}"/>
                  </a:ext>
                </a:extLst>
              </p:cNvPr>
              <p:cNvSpPr/>
              <p:nvPr/>
            </p:nvSpPr>
            <p:spPr>
              <a:xfrm>
                <a:off x="3952731" y="2304648"/>
                <a:ext cx="34547" cy="27078"/>
              </a:xfrm>
              <a:custGeom>
                <a:avLst/>
                <a:gdLst>
                  <a:gd name="connsiteX0" fmla="*/ 27622 w 35242"/>
                  <a:gd name="connsiteY0" fmla="*/ 27623 h 27622"/>
                  <a:gd name="connsiteX1" fmla="*/ 35242 w 35242"/>
                  <a:gd name="connsiteY1" fmla="*/ 20860 h 27622"/>
                  <a:gd name="connsiteX2" fmla="*/ 27622 w 35242"/>
                  <a:gd name="connsiteY2" fmla="*/ 10382 h 27622"/>
                  <a:gd name="connsiteX3" fmla="*/ 14288 w 35242"/>
                  <a:gd name="connsiteY3" fmla="*/ 0 h 27622"/>
                  <a:gd name="connsiteX4" fmla="*/ 0 w 35242"/>
                  <a:gd name="connsiteY4" fmla="*/ 2857 h 27622"/>
                  <a:gd name="connsiteX5" fmla="*/ 0 w 35242"/>
                  <a:gd name="connsiteY5" fmla="*/ 17145 h 27622"/>
                  <a:gd name="connsiteX6" fmla="*/ 10477 w 35242"/>
                  <a:gd name="connsiteY6" fmla="*/ 24670 h 27622"/>
                  <a:gd name="connsiteX7" fmla="*/ 27622 w 35242"/>
                  <a:gd name="connsiteY7" fmla="*/ 27623 h 2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42" h="27622">
                    <a:moveTo>
                      <a:pt x="27622" y="27623"/>
                    </a:moveTo>
                    <a:lnTo>
                      <a:pt x="35242" y="20860"/>
                    </a:lnTo>
                    <a:lnTo>
                      <a:pt x="27622" y="10382"/>
                    </a:lnTo>
                    <a:lnTo>
                      <a:pt x="14288" y="0"/>
                    </a:lnTo>
                    <a:lnTo>
                      <a:pt x="0" y="2857"/>
                    </a:lnTo>
                    <a:lnTo>
                      <a:pt x="0" y="17145"/>
                    </a:lnTo>
                    <a:lnTo>
                      <a:pt x="10477" y="24670"/>
                    </a:lnTo>
                    <a:lnTo>
                      <a:pt x="27622" y="2762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6" name="Freeform: Shape 435">
                <a:extLst>
                  <a:ext uri="{FF2B5EF4-FFF2-40B4-BE49-F238E27FC236}">
                    <a16:creationId xmlns:a16="http://schemas.microsoft.com/office/drawing/2014/main" id="{37C59B58-0D25-36B0-0930-EA2C7672C04B}"/>
                  </a:ext>
                </a:extLst>
              </p:cNvPr>
              <p:cNvSpPr/>
              <p:nvPr/>
            </p:nvSpPr>
            <p:spPr>
              <a:xfrm>
                <a:off x="4239383" y="3054436"/>
                <a:ext cx="65361" cy="30813"/>
              </a:xfrm>
              <a:custGeom>
                <a:avLst/>
                <a:gdLst>
                  <a:gd name="connsiteX0" fmla="*/ 14288 w 66675"/>
                  <a:gd name="connsiteY0" fmla="*/ 0 h 31432"/>
                  <a:gd name="connsiteX1" fmla="*/ 0 w 66675"/>
                  <a:gd name="connsiteY1" fmla="*/ 3715 h 31432"/>
                  <a:gd name="connsiteX2" fmla="*/ 14288 w 66675"/>
                  <a:gd name="connsiteY2" fmla="*/ 14288 h 31432"/>
                  <a:gd name="connsiteX3" fmla="*/ 31433 w 66675"/>
                  <a:gd name="connsiteY3" fmla="*/ 24670 h 31432"/>
                  <a:gd name="connsiteX4" fmla="*/ 60008 w 66675"/>
                  <a:gd name="connsiteY4" fmla="*/ 31432 h 31432"/>
                  <a:gd name="connsiteX5" fmla="*/ 66675 w 66675"/>
                  <a:gd name="connsiteY5" fmla="*/ 20955 h 31432"/>
                  <a:gd name="connsiteX6" fmla="*/ 38100 w 66675"/>
                  <a:gd name="connsiteY6" fmla="*/ 3715 h 31432"/>
                  <a:gd name="connsiteX7" fmla="*/ 24765 w 66675"/>
                  <a:gd name="connsiteY7" fmla="*/ 0 h 31432"/>
                  <a:gd name="connsiteX8" fmla="*/ 14288 w 66675"/>
                  <a:gd name="connsiteY8" fmla="*/ 0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675" h="31432">
                    <a:moveTo>
                      <a:pt x="14288" y="0"/>
                    </a:moveTo>
                    <a:lnTo>
                      <a:pt x="0" y="3715"/>
                    </a:lnTo>
                    <a:lnTo>
                      <a:pt x="14288" y="14288"/>
                    </a:lnTo>
                    <a:lnTo>
                      <a:pt x="31433" y="24670"/>
                    </a:lnTo>
                    <a:lnTo>
                      <a:pt x="60008" y="31432"/>
                    </a:lnTo>
                    <a:lnTo>
                      <a:pt x="66675" y="20955"/>
                    </a:lnTo>
                    <a:lnTo>
                      <a:pt x="38100" y="3715"/>
                    </a:lnTo>
                    <a:lnTo>
                      <a:pt x="24765" y="0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7" name="Freeform: Shape 436">
                <a:extLst>
                  <a:ext uri="{FF2B5EF4-FFF2-40B4-BE49-F238E27FC236}">
                    <a16:creationId xmlns:a16="http://schemas.microsoft.com/office/drawing/2014/main" id="{8E80618C-A3E3-0CE3-C2A4-03F79D184D24}"/>
                  </a:ext>
                </a:extLst>
              </p:cNvPr>
              <p:cNvSpPr/>
              <p:nvPr/>
            </p:nvSpPr>
            <p:spPr>
              <a:xfrm>
                <a:off x="2488651" y="3019887"/>
                <a:ext cx="124185" cy="85903"/>
              </a:xfrm>
              <a:custGeom>
                <a:avLst/>
                <a:gdLst>
                  <a:gd name="connsiteX0" fmla="*/ 99060 w 126682"/>
                  <a:gd name="connsiteY0" fmla="*/ 87630 h 87630"/>
                  <a:gd name="connsiteX1" fmla="*/ 116205 w 126682"/>
                  <a:gd name="connsiteY1" fmla="*/ 84773 h 87630"/>
                  <a:gd name="connsiteX2" fmla="*/ 126682 w 126682"/>
                  <a:gd name="connsiteY2" fmla="*/ 80963 h 87630"/>
                  <a:gd name="connsiteX3" fmla="*/ 123825 w 126682"/>
                  <a:gd name="connsiteY3" fmla="*/ 74200 h 87630"/>
                  <a:gd name="connsiteX4" fmla="*/ 116205 w 126682"/>
                  <a:gd name="connsiteY4" fmla="*/ 63818 h 87630"/>
                  <a:gd name="connsiteX5" fmla="*/ 99060 w 126682"/>
                  <a:gd name="connsiteY5" fmla="*/ 52388 h 87630"/>
                  <a:gd name="connsiteX6" fmla="*/ 88583 w 126682"/>
                  <a:gd name="connsiteY6" fmla="*/ 45625 h 87630"/>
                  <a:gd name="connsiteX7" fmla="*/ 74295 w 126682"/>
                  <a:gd name="connsiteY7" fmla="*/ 28575 h 87630"/>
                  <a:gd name="connsiteX8" fmla="*/ 56198 w 126682"/>
                  <a:gd name="connsiteY8" fmla="*/ 17050 h 87630"/>
                  <a:gd name="connsiteX9" fmla="*/ 42863 w 126682"/>
                  <a:gd name="connsiteY9" fmla="*/ 10382 h 87630"/>
                  <a:gd name="connsiteX10" fmla="*/ 20955 w 126682"/>
                  <a:gd name="connsiteY10" fmla="*/ 3810 h 87630"/>
                  <a:gd name="connsiteX11" fmla="*/ 0 w 126682"/>
                  <a:gd name="connsiteY11" fmla="*/ 0 h 87630"/>
                  <a:gd name="connsiteX12" fmla="*/ 0 w 126682"/>
                  <a:gd name="connsiteY12" fmla="*/ 17050 h 87630"/>
                  <a:gd name="connsiteX13" fmla="*/ 10477 w 126682"/>
                  <a:gd name="connsiteY13" fmla="*/ 24670 h 87630"/>
                  <a:gd name="connsiteX14" fmla="*/ 24765 w 126682"/>
                  <a:gd name="connsiteY14" fmla="*/ 31337 h 87630"/>
                  <a:gd name="connsiteX15" fmla="*/ 35243 w 126682"/>
                  <a:gd name="connsiteY15" fmla="*/ 31337 h 87630"/>
                  <a:gd name="connsiteX16" fmla="*/ 39052 w 126682"/>
                  <a:gd name="connsiteY16" fmla="*/ 41910 h 87630"/>
                  <a:gd name="connsiteX17" fmla="*/ 49530 w 126682"/>
                  <a:gd name="connsiteY17" fmla="*/ 41910 h 87630"/>
                  <a:gd name="connsiteX18" fmla="*/ 60008 w 126682"/>
                  <a:gd name="connsiteY18" fmla="*/ 56198 h 87630"/>
                  <a:gd name="connsiteX19" fmla="*/ 70485 w 126682"/>
                  <a:gd name="connsiteY19" fmla="*/ 66675 h 87630"/>
                  <a:gd name="connsiteX20" fmla="*/ 80963 w 126682"/>
                  <a:gd name="connsiteY20" fmla="*/ 66675 h 87630"/>
                  <a:gd name="connsiteX21" fmla="*/ 80963 w 126682"/>
                  <a:gd name="connsiteY21" fmla="*/ 80963 h 87630"/>
                  <a:gd name="connsiteX22" fmla="*/ 99060 w 126682"/>
                  <a:gd name="connsiteY22" fmla="*/ 87630 h 87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26682" h="87630">
                    <a:moveTo>
                      <a:pt x="99060" y="87630"/>
                    </a:moveTo>
                    <a:lnTo>
                      <a:pt x="116205" y="84773"/>
                    </a:lnTo>
                    <a:lnTo>
                      <a:pt x="126682" y="80963"/>
                    </a:lnTo>
                    <a:lnTo>
                      <a:pt x="123825" y="74200"/>
                    </a:lnTo>
                    <a:lnTo>
                      <a:pt x="116205" y="63818"/>
                    </a:lnTo>
                    <a:lnTo>
                      <a:pt x="99060" y="52388"/>
                    </a:lnTo>
                    <a:lnTo>
                      <a:pt x="88583" y="45625"/>
                    </a:lnTo>
                    <a:lnTo>
                      <a:pt x="74295" y="28575"/>
                    </a:lnTo>
                    <a:lnTo>
                      <a:pt x="56198" y="17050"/>
                    </a:lnTo>
                    <a:lnTo>
                      <a:pt x="42863" y="10382"/>
                    </a:lnTo>
                    <a:lnTo>
                      <a:pt x="20955" y="3810"/>
                    </a:lnTo>
                    <a:lnTo>
                      <a:pt x="0" y="0"/>
                    </a:lnTo>
                    <a:lnTo>
                      <a:pt x="0" y="17050"/>
                    </a:lnTo>
                    <a:lnTo>
                      <a:pt x="10477" y="24670"/>
                    </a:lnTo>
                    <a:lnTo>
                      <a:pt x="24765" y="31337"/>
                    </a:lnTo>
                    <a:lnTo>
                      <a:pt x="35243" y="31337"/>
                    </a:lnTo>
                    <a:lnTo>
                      <a:pt x="39052" y="41910"/>
                    </a:lnTo>
                    <a:lnTo>
                      <a:pt x="49530" y="41910"/>
                    </a:lnTo>
                    <a:lnTo>
                      <a:pt x="60008" y="56198"/>
                    </a:lnTo>
                    <a:lnTo>
                      <a:pt x="70485" y="66675"/>
                    </a:lnTo>
                    <a:lnTo>
                      <a:pt x="80963" y="66675"/>
                    </a:lnTo>
                    <a:lnTo>
                      <a:pt x="80963" y="80963"/>
                    </a:lnTo>
                    <a:lnTo>
                      <a:pt x="99060" y="8763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8" name="Freeform: Shape 437">
                <a:extLst>
                  <a:ext uri="{FF2B5EF4-FFF2-40B4-BE49-F238E27FC236}">
                    <a16:creationId xmlns:a16="http://schemas.microsoft.com/office/drawing/2014/main" id="{AF9E586D-0AA0-5950-DAF5-F344EF8E0150}"/>
                  </a:ext>
                </a:extLst>
              </p:cNvPr>
              <p:cNvSpPr/>
              <p:nvPr/>
            </p:nvSpPr>
            <p:spPr>
              <a:xfrm>
                <a:off x="1766881" y="2746304"/>
                <a:ext cx="66294" cy="45659"/>
              </a:xfrm>
              <a:custGeom>
                <a:avLst/>
                <a:gdLst>
                  <a:gd name="connsiteX0" fmla="*/ 49530 w 67627"/>
                  <a:gd name="connsiteY0" fmla="*/ 3715 h 46577"/>
                  <a:gd name="connsiteX1" fmla="*/ 35243 w 67627"/>
                  <a:gd name="connsiteY1" fmla="*/ 7620 h 46577"/>
                  <a:gd name="connsiteX2" fmla="*/ 24765 w 67627"/>
                  <a:gd name="connsiteY2" fmla="*/ 11430 h 46577"/>
                  <a:gd name="connsiteX3" fmla="*/ 24765 w 67627"/>
                  <a:gd name="connsiteY3" fmla="*/ 24670 h 46577"/>
                  <a:gd name="connsiteX4" fmla="*/ 14288 w 67627"/>
                  <a:gd name="connsiteY4" fmla="*/ 21907 h 46577"/>
                  <a:gd name="connsiteX5" fmla="*/ 7620 w 67627"/>
                  <a:gd name="connsiteY5" fmla="*/ 14288 h 46577"/>
                  <a:gd name="connsiteX6" fmla="*/ 0 w 67627"/>
                  <a:gd name="connsiteY6" fmla="*/ 21907 h 46577"/>
                  <a:gd name="connsiteX7" fmla="*/ 3810 w 67627"/>
                  <a:gd name="connsiteY7" fmla="*/ 35242 h 46577"/>
                  <a:gd name="connsiteX8" fmla="*/ 14288 w 67627"/>
                  <a:gd name="connsiteY8" fmla="*/ 46577 h 46577"/>
                  <a:gd name="connsiteX9" fmla="*/ 45720 w 67627"/>
                  <a:gd name="connsiteY9" fmla="*/ 42863 h 46577"/>
                  <a:gd name="connsiteX10" fmla="*/ 57150 w 67627"/>
                  <a:gd name="connsiteY10" fmla="*/ 28575 h 46577"/>
                  <a:gd name="connsiteX11" fmla="*/ 67627 w 67627"/>
                  <a:gd name="connsiteY11" fmla="*/ 18002 h 46577"/>
                  <a:gd name="connsiteX12" fmla="*/ 60007 w 67627"/>
                  <a:gd name="connsiteY12" fmla="*/ 0 h 46577"/>
                  <a:gd name="connsiteX13" fmla="*/ 49530 w 67627"/>
                  <a:gd name="connsiteY13" fmla="*/ 3715 h 46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7627" h="46577">
                    <a:moveTo>
                      <a:pt x="49530" y="3715"/>
                    </a:moveTo>
                    <a:lnTo>
                      <a:pt x="35243" y="7620"/>
                    </a:lnTo>
                    <a:lnTo>
                      <a:pt x="24765" y="11430"/>
                    </a:lnTo>
                    <a:lnTo>
                      <a:pt x="24765" y="24670"/>
                    </a:lnTo>
                    <a:lnTo>
                      <a:pt x="14288" y="21907"/>
                    </a:lnTo>
                    <a:lnTo>
                      <a:pt x="7620" y="14288"/>
                    </a:lnTo>
                    <a:lnTo>
                      <a:pt x="0" y="21907"/>
                    </a:lnTo>
                    <a:lnTo>
                      <a:pt x="3810" y="35242"/>
                    </a:lnTo>
                    <a:lnTo>
                      <a:pt x="14288" y="46577"/>
                    </a:lnTo>
                    <a:lnTo>
                      <a:pt x="45720" y="42863"/>
                    </a:lnTo>
                    <a:lnTo>
                      <a:pt x="57150" y="28575"/>
                    </a:lnTo>
                    <a:lnTo>
                      <a:pt x="67627" y="18002"/>
                    </a:lnTo>
                    <a:lnTo>
                      <a:pt x="60007" y="0"/>
                    </a:lnTo>
                    <a:lnTo>
                      <a:pt x="49530" y="3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9" name="Freeform: Shape 438">
                <a:extLst>
                  <a:ext uri="{FF2B5EF4-FFF2-40B4-BE49-F238E27FC236}">
                    <a16:creationId xmlns:a16="http://schemas.microsoft.com/office/drawing/2014/main" id="{C9D2ADA5-CB76-C5A9-5D39-7925F9D96D9B}"/>
                  </a:ext>
                </a:extLst>
              </p:cNvPr>
              <p:cNvSpPr/>
              <p:nvPr/>
            </p:nvSpPr>
            <p:spPr>
              <a:xfrm>
                <a:off x="1422337" y="2653771"/>
                <a:ext cx="44818" cy="27171"/>
              </a:xfrm>
              <a:custGeom>
                <a:avLst/>
                <a:gdLst>
                  <a:gd name="connsiteX0" fmla="*/ 13335 w 45719"/>
                  <a:gd name="connsiteY0" fmla="*/ 0 h 27717"/>
                  <a:gd name="connsiteX1" fmla="*/ 2857 w 45719"/>
                  <a:gd name="connsiteY1" fmla="*/ 0 h 27717"/>
                  <a:gd name="connsiteX2" fmla="*/ 0 w 45719"/>
                  <a:gd name="connsiteY2" fmla="*/ 10573 h 27717"/>
                  <a:gd name="connsiteX3" fmla="*/ 6668 w 45719"/>
                  <a:gd name="connsiteY3" fmla="*/ 17145 h 27717"/>
                  <a:gd name="connsiteX4" fmla="*/ 17145 w 45719"/>
                  <a:gd name="connsiteY4" fmla="*/ 27718 h 27717"/>
                  <a:gd name="connsiteX5" fmla="*/ 24765 w 45719"/>
                  <a:gd name="connsiteY5" fmla="*/ 23813 h 27717"/>
                  <a:gd name="connsiteX6" fmla="*/ 38100 w 45719"/>
                  <a:gd name="connsiteY6" fmla="*/ 27718 h 27717"/>
                  <a:gd name="connsiteX7" fmla="*/ 45720 w 45719"/>
                  <a:gd name="connsiteY7" fmla="*/ 13430 h 27717"/>
                  <a:gd name="connsiteX8" fmla="*/ 45720 w 45719"/>
                  <a:gd name="connsiteY8" fmla="*/ 6763 h 27717"/>
                  <a:gd name="connsiteX9" fmla="*/ 38100 w 45719"/>
                  <a:gd name="connsiteY9" fmla="*/ 0 h 27717"/>
                  <a:gd name="connsiteX10" fmla="*/ 13335 w 45719"/>
                  <a:gd name="connsiteY10" fmla="*/ 0 h 2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719" h="27717">
                    <a:moveTo>
                      <a:pt x="13335" y="0"/>
                    </a:moveTo>
                    <a:lnTo>
                      <a:pt x="2857" y="0"/>
                    </a:lnTo>
                    <a:lnTo>
                      <a:pt x="0" y="10573"/>
                    </a:lnTo>
                    <a:lnTo>
                      <a:pt x="6668" y="17145"/>
                    </a:lnTo>
                    <a:lnTo>
                      <a:pt x="17145" y="27718"/>
                    </a:lnTo>
                    <a:lnTo>
                      <a:pt x="24765" y="23813"/>
                    </a:lnTo>
                    <a:lnTo>
                      <a:pt x="38100" y="27718"/>
                    </a:lnTo>
                    <a:lnTo>
                      <a:pt x="45720" y="13430"/>
                    </a:lnTo>
                    <a:lnTo>
                      <a:pt x="45720" y="6763"/>
                    </a:lnTo>
                    <a:lnTo>
                      <a:pt x="38100" y="0"/>
                    </a:lnTo>
                    <a:lnTo>
                      <a:pt x="1333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0" name="Freeform: Shape 439">
                <a:extLst>
                  <a:ext uri="{FF2B5EF4-FFF2-40B4-BE49-F238E27FC236}">
                    <a16:creationId xmlns:a16="http://schemas.microsoft.com/office/drawing/2014/main" id="{D4D2CB48-7E12-D582-AA4F-16D8E8D400CC}"/>
                  </a:ext>
                </a:extLst>
              </p:cNvPr>
              <p:cNvSpPr/>
              <p:nvPr/>
            </p:nvSpPr>
            <p:spPr>
              <a:xfrm>
                <a:off x="2268292" y="2743502"/>
                <a:ext cx="41084" cy="69002"/>
              </a:xfrm>
              <a:custGeom>
                <a:avLst/>
                <a:gdLst>
                  <a:gd name="connsiteX0" fmla="*/ 27623 w 41910"/>
                  <a:gd name="connsiteY0" fmla="*/ 10477 h 70389"/>
                  <a:gd name="connsiteX1" fmla="*/ 17145 w 41910"/>
                  <a:gd name="connsiteY1" fmla="*/ 2858 h 70389"/>
                  <a:gd name="connsiteX2" fmla="*/ 0 w 41910"/>
                  <a:gd name="connsiteY2" fmla="*/ 0 h 70389"/>
                  <a:gd name="connsiteX3" fmla="*/ 0 w 41910"/>
                  <a:gd name="connsiteY3" fmla="*/ 14288 h 70389"/>
                  <a:gd name="connsiteX4" fmla="*/ 6667 w 41910"/>
                  <a:gd name="connsiteY4" fmla="*/ 27527 h 70389"/>
                  <a:gd name="connsiteX5" fmla="*/ 13335 w 41910"/>
                  <a:gd name="connsiteY5" fmla="*/ 38100 h 70389"/>
                  <a:gd name="connsiteX6" fmla="*/ 27623 w 41910"/>
                  <a:gd name="connsiteY6" fmla="*/ 56102 h 70389"/>
                  <a:gd name="connsiteX7" fmla="*/ 41910 w 41910"/>
                  <a:gd name="connsiteY7" fmla="*/ 70390 h 70389"/>
                  <a:gd name="connsiteX8" fmla="*/ 41910 w 41910"/>
                  <a:gd name="connsiteY8" fmla="*/ 52388 h 70389"/>
                  <a:gd name="connsiteX9" fmla="*/ 31433 w 41910"/>
                  <a:gd name="connsiteY9" fmla="*/ 35147 h 70389"/>
                  <a:gd name="connsiteX10" fmla="*/ 27623 w 41910"/>
                  <a:gd name="connsiteY10" fmla="*/ 10477 h 70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910" h="70389">
                    <a:moveTo>
                      <a:pt x="27623" y="10477"/>
                    </a:moveTo>
                    <a:lnTo>
                      <a:pt x="17145" y="2858"/>
                    </a:lnTo>
                    <a:lnTo>
                      <a:pt x="0" y="0"/>
                    </a:lnTo>
                    <a:lnTo>
                      <a:pt x="0" y="14288"/>
                    </a:lnTo>
                    <a:lnTo>
                      <a:pt x="6667" y="27527"/>
                    </a:lnTo>
                    <a:lnTo>
                      <a:pt x="13335" y="38100"/>
                    </a:lnTo>
                    <a:lnTo>
                      <a:pt x="27623" y="56102"/>
                    </a:lnTo>
                    <a:lnTo>
                      <a:pt x="41910" y="70390"/>
                    </a:lnTo>
                    <a:lnTo>
                      <a:pt x="41910" y="52388"/>
                    </a:lnTo>
                    <a:lnTo>
                      <a:pt x="31433" y="35147"/>
                    </a:lnTo>
                    <a:lnTo>
                      <a:pt x="27623" y="1047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1" name="Freeform: Shape 440">
                <a:extLst>
                  <a:ext uri="{FF2B5EF4-FFF2-40B4-BE49-F238E27FC236}">
                    <a16:creationId xmlns:a16="http://schemas.microsoft.com/office/drawing/2014/main" id="{9A646E93-4C5D-E916-BA24-7075A31AC559}"/>
                  </a:ext>
                </a:extLst>
              </p:cNvPr>
              <p:cNvSpPr/>
              <p:nvPr/>
            </p:nvSpPr>
            <p:spPr>
              <a:xfrm>
                <a:off x="2343923" y="2812506"/>
                <a:ext cx="38282" cy="65361"/>
              </a:xfrm>
              <a:custGeom>
                <a:avLst/>
                <a:gdLst>
                  <a:gd name="connsiteX0" fmla="*/ 10477 w 39052"/>
                  <a:gd name="connsiteY0" fmla="*/ 42005 h 66675"/>
                  <a:gd name="connsiteX1" fmla="*/ 20955 w 39052"/>
                  <a:gd name="connsiteY1" fmla="*/ 52388 h 66675"/>
                  <a:gd name="connsiteX2" fmla="*/ 31433 w 39052"/>
                  <a:gd name="connsiteY2" fmla="*/ 66675 h 66675"/>
                  <a:gd name="connsiteX3" fmla="*/ 39052 w 39052"/>
                  <a:gd name="connsiteY3" fmla="*/ 56293 h 66675"/>
                  <a:gd name="connsiteX4" fmla="*/ 39052 w 39052"/>
                  <a:gd name="connsiteY4" fmla="*/ 42005 h 66675"/>
                  <a:gd name="connsiteX5" fmla="*/ 24765 w 39052"/>
                  <a:gd name="connsiteY5" fmla="*/ 24860 h 66675"/>
                  <a:gd name="connsiteX6" fmla="*/ 14288 w 39052"/>
                  <a:gd name="connsiteY6" fmla="*/ 3905 h 66675"/>
                  <a:gd name="connsiteX7" fmla="*/ 0 w 39052"/>
                  <a:gd name="connsiteY7" fmla="*/ 0 h 66675"/>
                  <a:gd name="connsiteX8" fmla="*/ 0 w 39052"/>
                  <a:gd name="connsiteY8" fmla="*/ 14288 h 66675"/>
                  <a:gd name="connsiteX9" fmla="*/ 6668 w 39052"/>
                  <a:gd name="connsiteY9" fmla="*/ 27718 h 66675"/>
                  <a:gd name="connsiteX10" fmla="*/ 10477 w 39052"/>
                  <a:gd name="connsiteY10" fmla="*/ 4200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052" h="66675">
                    <a:moveTo>
                      <a:pt x="10477" y="42005"/>
                    </a:moveTo>
                    <a:lnTo>
                      <a:pt x="20955" y="52388"/>
                    </a:lnTo>
                    <a:lnTo>
                      <a:pt x="31433" y="66675"/>
                    </a:lnTo>
                    <a:lnTo>
                      <a:pt x="39052" y="56293"/>
                    </a:lnTo>
                    <a:lnTo>
                      <a:pt x="39052" y="42005"/>
                    </a:lnTo>
                    <a:lnTo>
                      <a:pt x="24765" y="24860"/>
                    </a:lnTo>
                    <a:lnTo>
                      <a:pt x="14288" y="3905"/>
                    </a:lnTo>
                    <a:lnTo>
                      <a:pt x="0" y="0"/>
                    </a:lnTo>
                    <a:lnTo>
                      <a:pt x="0" y="14288"/>
                    </a:lnTo>
                    <a:lnTo>
                      <a:pt x="6668" y="27718"/>
                    </a:lnTo>
                    <a:lnTo>
                      <a:pt x="10477" y="4200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2" name="Freeform: Shape 441">
                <a:extLst>
                  <a:ext uri="{FF2B5EF4-FFF2-40B4-BE49-F238E27FC236}">
                    <a16:creationId xmlns:a16="http://schemas.microsoft.com/office/drawing/2014/main" id="{731DD553-B11E-8986-3E9A-92F5BD251301}"/>
                  </a:ext>
                </a:extLst>
              </p:cNvPr>
              <p:cNvSpPr/>
              <p:nvPr/>
            </p:nvSpPr>
            <p:spPr>
              <a:xfrm>
                <a:off x="2350459" y="2898502"/>
                <a:ext cx="44818" cy="58731"/>
              </a:xfrm>
              <a:custGeom>
                <a:avLst/>
                <a:gdLst>
                  <a:gd name="connsiteX0" fmla="*/ 32385 w 45719"/>
                  <a:gd name="connsiteY0" fmla="*/ 28575 h 59912"/>
                  <a:gd name="connsiteX1" fmla="*/ 35242 w 45719"/>
                  <a:gd name="connsiteY1" fmla="*/ 14288 h 59912"/>
                  <a:gd name="connsiteX2" fmla="*/ 32385 w 45719"/>
                  <a:gd name="connsiteY2" fmla="*/ 7525 h 59912"/>
                  <a:gd name="connsiteX3" fmla="*/ 18097 w 45719"/>
                  <a:gd name="connsiteY3" fmla="*/ 7525 h 59912"/>
                  <a:gd name="connsiteX4" fmla="*/ 0 w 45719"/>
                  <a:gd name="connsiteY4" fmla="*/ 0 h 59912"/>
                  <a:gd name="connsiteX5" fmla="*/ 3810 w 45719"/>
                  <a:gd name="connsiteY5" fmla="*/ 21812 h 59912"/>
                  <a:gd name="connsiteX6" fmla="*/ 14288 w 45719"/>
                  <a:gd name="connsiteY6" fmla="*/ 35243 h 59912"/>
                  <a:gd name="connsiteX7" fmla="*/ 32385 w 45719"/>
                  <a:gd name="connsiteY7" fmla="*/ 57150 h 59912"/>
                  <a:gd name="connsiteX8" fmla="*/ 45720 w 45719"/>
                  <a:gd name="connsiteY8" fmla="*/ 59912 h 59912"/>
                  <a:gd name="connsiteX9" fmla="*/ 39052 w 45719"/>
                  <a:gd name="connsiteY9" fmla="*/ 38957 h 59912"/>
                  <a:gd name="connsiteX10" fmla="*/ 32385 w 45719"/>
                  <a:gd name="connsiteY10" fmla="*/ 28575 h 59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719" h="59912">
                    <a:moveTo>
                      <a:pt x="32385" y="28575"/>
                    </a:moveTo>
                    <a:lnTo>
                      <a:pt x="35242" y="14288"/>
                    </a:lnTo>
                    <a:lnTo>
                      <a:pt x="32385" y="7525"/>
                    </a:lnTo>
                    <a:lnTo>
                      <a:pt x="18097" y="7525"/>
                    </a:lnTo>
                    <a:lnTo>
                      <a:pt x="0" y="0"/>
                    </a:lnTo>
                    <a:lnTo>
                      <a:pt x="3810" y="21812"/>
                    </a:lnTo>
                    <a:lnTo>
                      <a:pt x="14288" y="35243"/>
                    </a:lnTo>
                    <a:lnTo>
                      <a:pt x="32385" y="57150"/>
                    </a:lnTo>
                    <a:lnTo>
                      <a:pt x="45720" y="59912"/>
                    </a:lnTo>
                    <a:lnTo>
                      <a:pt x="39052" y="38957"/>
                    </a:lnTo>
                    <a:lnTo>
                      <a:pt x="32385" y="2857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3" name="Freeform: Shape 442">
                <a:extLst>
                  <a:ext uri="{FF2B5EF4-FFF2-40B4-BE49-F238E27FC236}">
                    <a16:creationId xmlns:a16="http://schemas.microsoft.com/office/drawing/2014/main" id="{55925D9D-1F61-9D76-E6B3-40B9A156BC6A}"/>
                  </a:ext>
                </a:extLst>
              </p:cNvPr>
              <p:cNvSpPr/>
              <p:nvPr/>
            </p:nvSpPr>
            <p:spPr>
              <a:xfrm>
                <a:off x="1481162" y="2857325"/>
                <a:ext cx="55089" cy="34548"/>
              </a:xfrm>
              <a:custGeom>
                <a:avLst/>
                <a:gdLst>
                  <a:gd name="connsiteX0" fmla="*/ 23813 w 56197"/>
                  <a:gd name="connsiteY0" fmla="*/ 6667 h 35242"/>
                  <a:gd name="connsiteX1" fmla="*/ 10477 w 56197"/>
                  <a:gd name="connsiteY1" fmla="*/ 14288 h 35242"/>
                  <a:gd name="connsiteX2" fmla="*/ 0 w 56197"/>
                  <a:gd name="connsiteY2" fmla="*/ 31528 h 35242"/>
                  <a:gd name="connsiteX3" fmla="*/ 10477 w 56197"/>
                  <a:gd name="connsiteY3" fmla="*/ 35242 h 35242"/>
                  <a:gd name="connsiteX4" fmla="*/ 20955 w 56197"/>
                  <a:gd name="connsiteY4" fmla="*/ 24860 h 35242"/>
                  <a:gd name="connsiteX5" fmla="*/ 38100 w 56197"/>
                  <a:gd name="connsiteY5" fmla="*/ 20955 h 35242"/>
                  <a:gd name="connsiteX6" fmla="*/ 48578 w 56197"/>
                  <a:gd name="connsiteY6" fmla="*/ 17240 h 35242"/>
                  <a:gd name="connsiteX7" fmla="*/ 56198 w 56197"/>
                  <a:gd name="connsiteY7" fmla="*/ 6667 h 35242"/>
                  <a:gd name="connsiteX8" fmla="*/ 45720 w 56197"/>
                  <a:gd name="connsiteY8" fmla="*/ 0 h 35242"/>
                  <a:gd name="connsiteX9" fmla="*/ 23813 w 56197"/>
                  <a:gd name="connsiteY9" fmla="*/ 6667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6197" h="35242">
                    <a:moveTo>
                      <a:pt x="23813" y="6667"/>
                    </a:moveTo>
                    <a:lnTo>
                      <a:pt x="10477" y="14288"/>
                    </a:lnTo>
                    <a:lnTo>
                      <a:pt x="0" y="31528"/>
                    </a:lnTo>
                    <a:lnTo>
                      <a:pt x="10477" y="35242"/>
                    </a:lnTo>
                    <a:lnTo>
                      <a:pt x="20955" y="24860"/>
                    </a:lnTo>
                    <a:lnTo>
                      <a:pt x="38100" y="20955"/>
                    </a:lnTo>
                    <a:lnTo>
                      <a:pt x="48578" y="17240"/>
                    </a:lnTo>
                    <a:lnTo>
                      <a:pt x="56198" y="6667"/>
                    </a:lnTo>
                    <a:lnTo>
                      <a:pt x="45720" y="0"/>
                    </a:lnTo>
                    <a:lnTo>
                      <a:pt x="23813" y="666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4" name="Freeform: Shape 443">
                <a:extLst>
                  <a:ext uri="{FF2B5EF4-FFF2-40B4-BE49-F238E27FC236}">
                    <a16:creationId xmlns:a16="http://schemas.microsoft.com/office/drawing/2014/main" id="{25E8F7B6-CDAD-BAAD-494B-897A101546F2}"/>
                  </a:ext>
                </a:extLst>
              </p:cNvPr>
              <p:cNvSpPr/>
              <p:nvPr/>
            </p:nvSpPr>
            <p:spPr>
              <a:xfrm>
                <a:off x="2302839" y="2739768"/>
                <a:ext cx="27078" cy="52195"/>
              </a:xfrm>
              <a:custGeom>
                <a:avLst/>
                <a:gdLst>
                  <a:gd name="connsiteX0" fmla="*/ 17145 w 27622"/>
                  <a:gd name="connsiteY0" fmla="*/ 6668 h 53244"/>
                  <a:gd name="connsiteX1" fmla="*/ 0 w 27622"/>
                  <a:gd name="connsiteY1" fmla="*/ 0 h 53244"/>
                  <a:gd name="connsiteX2" fmla="*/ 0 w 27622"/>
                  <a:gd name="connsiteY2" fmla="*/ 14288 h 53244"/>
                  <a:gd name="connsiteX3" fmla="*/ 6668 w 27622"/>
                  <a:gd name="connsiteY3" fmla="*/ 28575 h 53244"/>
                  <a:gd name="connsiteX4" fmla="*/ 6668 w 27622"/>
                  <a:gd name="connsiteY4" fmla="*/ 38957 h 53244"/>
                  <a:gd name="connsiteX5" fmla="*/ 17145 w 27622"/>
                  <a:gd name="connsiteY5" fmla="*/ 53245 h 53244"/>
                  <a:gd name="connsiteX6" fmla="*/ 23813 w 27622"/>
                  <a:gd name="connsiteY6" fmla="*/ 41910 h 53244"/>
                  <a:gd name="connsiteX7" fmla="*/ 27623 w 27622"/>
                  <a:gd name="connsiteY7" fmla="*/ 28575 h 53244"/>
                  <a:gd name="connsiteX8" fmla="*/ 17145 w 27622"/>
                  <a:gd name="connsiteY8" fmla="*/ 6668 h 5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622" h="53244">
                    <a:moveTo>
                      <a:pt x="17145" y="6668"/>
                    </a:moveTo>
                    <a:lnTo>
                      <a:pt x="0" y="0"/>
                    </a:lnTo>
                    <a:lnTo>
                      <a:pt x="0" y="14288"/>
                    </a:lnTo>
                    <a:lnTo>
                      <a:pt x="6668" y="28575"/>
                    </a:lnTo>
                    <a:lnTo>
                      <a:pt x="6668" y="38957"/>
                    </a:lnTo>
                    <a:lnTo>
                      <a:pt x="17145" y="53245"/>
                    </a:lnTo>
                    <a:lnTo>
                      <a:pt x="23813" y="41910"/>
                    </a:lnTo>
                    <a:lnTo>
                      <a:pt x="27623" y="28575"/>
                    </a:lnTo>
                    <a:lnTo>
                      <a:pt x="17145" y="666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5" name="Freeform: Shape 444">
                <a:extLst>
                  <a:ext uri="{FF2B5EF4-FFF2-40B4-BE49-F238E27FC236}">
                    <a16:creationId xmlns:a16="http://schemas.microsoft.com/office/drawing/2014/main" id="{E5532082-9155-FEC9-E698-209DFEEAF7FF}"/>
                  </a:ext>
                </a:extLst>
              </p:cNvPr>
              <p:cNvSpPr/>
              <p:nvPr/>
            </p:nvSpPr>
            <p:spPr>
              <a:xfrm>
                <a:off x="2385008" y="2829313"/>
                <a:ext cx="24276" cy="34548"/>
              </a:xfrm>
              <a:custGeom>
                <a:avLst/>
                <a:gdLst>
                  <a:gd name="connsiteX0" fmla="*/ 24765 w 24764"/>
                  <a:gd name="connsiteY0" fmla="*/ 10573 h 35242"/>
                  <a:gd name="connsiteX1" fmla="*/ 10477 w 24764"/>
                  <a:gd name="connsiteY1" fmla="*/ 7715 h 35242"/>
                  <a:gd name="connsiteX2" fmla="*/ 0 w 24764"/>
                  <a:gd name="connsiteY2" fmla="*/ 0 h 35242"/>
                  <a:gd name="connsiteX3" fmla="*/ 0 w 24764"/>
                  <a:gd name="connsiteY3" fmla="*/ 22003 h 35242"/>
                  <a:gd name="connsiteX4" fmla="*/ 10477 w 24764"/>
                  <a:gd name="connsiteY4" fmla="*/ 35242 h 35242"/>
                  <a:gd name="connsiteX5" fmla="*/ 20955 w 24764"/>
                  <a:gd name="connsiteY5" fmla="*/ 28575 h 35242"/>
                  <a:gd name="connsiteX6" fmla="*/ 24765 w 24764"/>
                  <a:gd name="connsiteY6" fmla="*/ 1057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64" h="35242">
                    <a:moveTo>
                      <a:pt x="24765" y="10573"/>
                    </a:moveTo>
                    <a:lnTo>
                      <a:pt x="10477" y="7715"/>
                    </a:lnTo>
                    <a:lnTo>
                      <a:pt x="0" y="0"/>
                    </a:lnTo>
                    <a:lnTo>
                      <a:pt x="0" y="22003"/>
                    </a:lnTo>
                    <a:lnTo>
                      <a:pt x="10477" y="35242"/>
                    </a:lnTo>
                    <a:lnTo>
                      <a:pt x="20955" y="28575"/>
                    </a:lnTo>
                    <a:lnTo>
                      <a:pt x="24765" y="1057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6" name="Freeform: Shape 445">
                <a:extLst>
                  <a:ext uri="{FF2B5EF4-FFF2-40B4-BE49-F238E27FC236}">
                    <a16:creationId xmlns:a16="http://schemas.microsoft.com/office/drawing/2014/main" id="{36324588-BDCB-A415-D374-5BB1715CF44D}"/>
                  </a:ext>
                </a:extLst>
              </p:cNvPr>
              <p:cNvSpPr/>
              <p:nvPr/>
            </p:nvSpPr>
            <p:spPr>
              <a:xfrm>
                <a:off x="2329918" y="2788322"/>
                <a:ext cx="24276" cy="24183"/>
              </a:xfrm>
              <a:custGeom>
                <a:avLst/>
                <a:gdLst>
                  <a:gd name="connsiteX0" fmla="*/ 24765 w 24764"/>
                  <a:gd name="connsiteY0" fmla="*/ 10382 h 24669"/>
                  <a:gd name="connsiteX1" fmla="*/ 14288 w 24764"/>
                  <a:gd name="connsiteY1" fmla="*/ 0 h 24669"/>
                  <a:gd name="connsiteX2" fmla="*/ 6668 w 24764"/>
                  <a:gd name="connsiteY2" fmla="*/ 0 h 24669"/>
                  <a:gd name="connsiteX3" fmla="*/ 0 w 24764"/>
                  <a:gd name="connsiteY3" fmla="*/ 10382 h 24669"/>
                  <a:gd name="connsiteX4" fmla="*/ 3810 w 24764"/>
                  <a:gd name="connsiteY4" fmla="*/ 24670 h 24669"/>
                  <a:gd name="connsiteX5" fmla="*/ 14288 w 24764"/>
                  <a:gd name="connsiteY5" fmla="*/ 17145 h 24669"/>
                  <a:gd name="connsiteX6" fmla="*/ 24765 w 24764"/>
                  <a:gd name="connsiteY6" fmla="*/ 10382 h 24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64" h="24669">
                    <a:moveTo>
                      <a:pt x="24765" y="10382"/>
                    </a:moveTo>
                    <a:lnTo>
                      <a:pt x="14288" y="0"/>
                    </a:lnTo>
                    <a:lnTo>
                      <a:pt x="6668" y="0"/>
                    </a:lnTo>
                    <a:lnTo>
                      <a:pt x="0" y="10382"/>
                    </a:lnTo>
                    <a:lnTo>
                      <a:pt x="3810" y="24670"/>
                    </a:lnTo>
                    <a:lnTo>
                      <a:pt x="14288" y="17145"/>
                    </a:lnTo>
                    <a:lnTo>
                      <a:pt x="24765" y="103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7" name="Freeform: Shape 446">
                <a:extLst>
                  <a:ext uri="{FF2B5EF4-FFF2-40B4-BE49-F238E27FC236}">
                    <a16:creationId xmlns:a16="http://schemas.microsoft.com/office/drawing/2014/main" id="{C262BDD3-4E30-F93E-A5F0-68D56F8E309F}"/>
                  </a:ext>
                </a:extLst>
              </p:cNvPr>
              <p:cNvSpPr/>
              <p:nvPr/>
            </p:nvSpPr>
            <p:spPr>
              <a:xfrm>
                <a:off x="6454178" y="5162803"/>
                <a:ext cx="450055" cy="377227"/>
              </a:xfrm>
              <a:custGeom>
                <a:avLst/>
                <a:gdLst>
                  <a:gd name="connsiteX0" fmla="*/ 429578 w 459105"/>
                  <a:gd name="connsiteY0" fmla="*/ 120015 h 384809"/>
                  <a:gd name="connsiteX1" fmla="*/ 429578 w 459105"/>
                  <a:gd name="connsiteY1" fmla="*/ 56197 h 384809"/>
                  <a:gd name="connsiteX2" fmla="*/ 415290 w 459105"/>
                  <a:gd name="connsiteY2" fmla="*/ 14288 h 384809"/>
                  <a:gd name="connsiteX3" fmla="*/ 401003 w 459105"/>
                  <a:gd name="connsiteY3" fmla="*/ 3810 h 384809"/>
                  <a:gd name="connsiteX4" fmla="*/ 348615 w 459105"/>
                  <a:gd name="connsiteY4" fmla="*/ 0 h 384809"/>
                  <a:gd name="connsiteX5" fmla="*/ 344805 w 459105"/>
                  <a:gd name="connsiteY5" fmla="*/ 10478 h 384809"/>
                  <a:gd name="connsiteX6" fmla="*/ 327660 w 459105"/>
                  <a:gd name="connsiteY6" fmla="*/ 10478 h 384809"/>
                  <a:gd name="connsiteX7" fmla="*/ 260985 w 459105"/>
                  <a:gd name="connsiteY7" fmla="*/ 80963 h 384809"/>
                  <a:gd name="connsiteX8" fmla="*/ 246698 w 459105"/>
                  <a:gd name="connsiteY8" fmla="*/ 105728 h 384809"/>
                  <a:gd name="connsiteX9" fmla="*/ 211455 w 459105"/>
                  <a:gd name="connsiteY9" fmla="*/ 109538 h 384809"/>
                  <a:gd name="connsiteX10" fmla="*/ 194310 w 459105"/>
                  <a:gd name="connsiteY10" fmla="*/ 95250 h 384809"/>
                  <a:gd name="connsiteX11" fmla="*/ 177165 w 459105"/>
                  <a:gd name="connsiteY11" fmla="*/ 95250 h 384809"/>
                  <a:gd name="connsiteX12" fmla="*/ 170498 w 459105"/>
                  <a:gd name="connsiteY12" fmla="*/ 116205 h 384809"/>
                  <a:gd name="connsiteX13" fmla="*/ 145733 w 459105"/>
                  <a:gd name="connsiteY13" fmla="*/ 137160 h 384809"/>
                  <a:gd name="connsiteX14" fmla="*/ 117158 w 459105"/>
                  <a:gd name="connsiteY14" fmla="*/ 137160 h 384809"/>
                  <a:gd name="connsiteX15" fmla="*/ 117158 w 459105"/>
                  <a:gd name="connsiteY15" fmla="*/ 101918 h 384809"/>
                  <a:gd name="connsiteX16" fmla="*/ 96203 w 459105"/>
                  <a:gd name="connsiteY16" fmla="*/ 80963 h 384809"/>
                  <a:gd name="connsiteX17" fmla="*/ 96203 w 459105"/>
                  <a:gd name="connsiteY17" fmla="*/ 182880 h 384809"/>
                  <a:gd name="connsiteX18" fmla="*/ 67628 w 459105"/>
                  <a:gd name="connsiteY18" fmla="*/ 200978 h 384809"/>
                  <a:gd name="connsiteX19" fmla="*/ 39053 w 459105"/>
                  <a:gd name="connsiteY19" fmla="*/ 200978 h 384809"/>
                  <a:gd name="connsiteX20" fmla="*/ 24765 w 459105"/>
                  <a:gd name="connsiteY20" fmla="*/ 194310 h 384809"/>
                  <a:gd name="connsiteX21" fmla="*/ 14288 w 459105"/>
                  <a:gd name="connsiteY21" fmla="*/ 180022 h 384809"/>
                  <a:gd name="connsiteX22" fmla="*/ 10478 w 459105"/>
                  <a:gd name="connsiteY22" fmla="*/ 180022 h 384809"/>
                  <a:gd name="connsiteX23" fmla="*/ 3810 w 459105"/>
                  <a:gd name="connsiteY23" fmla="*/ 183833 h 384809"/>
                  <a:gd name="connsiteX24" fmla="*/ 0 w 459105"/>
                  <a:gd name="connsiteY24" fmla="*/ 190500 h 384809"/>
                  <a:gd name="connsiteX25" fmla="*/ 10478 w 459105"/>
                  <a:gd name="connsiteY25" fmla="*/ 215265 h 384809"/>
                  <a:gd name="connsiteX26" fmla="*/ 20955 w 459105"/>
                  <a:gd name="connsiteY26" fmla="*/ 254318 h 384809"/>
                  <a:gd name="connsiteX27" fmla="*/ 38100 w 459105"/>
                  <a:gd name="connsiteY27" fmla="*/ 279083 h 384809"/>
                  <a:gd name="connsiteX28" fmla="*/ 52388 w 459105"/>
                  <a:gd name="connsiteY28" fmla="*/ 303847 h 384809"/>
                  <a:gd name="connsiteX29" fmla="*/ 35243 w 459105"/>
                  <a:gd name="connsiteY29" fmla="*/ 324803 h 384809"/>
                  <a:gd name="connsiteX30" fmla="*/ 49530 w 459105"/>
                  <a:gd name="connsiteY30" fmla="*/ 349568 h 384809"/>
                  <a:gd name="connsiteX31" fmla="*/ 60008 w 459105"/>
                  <a:gd name="connsiteY31" fmla="*/ 370522 h 384809"/>
                  <a:gd name="connsiteX32" fmla="*/ 88583 w 459105"/>
                  <a:gd name="connsiteY32" fmla="*/ 384810 h 384809"/>
                  <a:gd name="connsiteX33" fmla="*/ 123825 w 459105"/>
                  <a:gd name="connsiteY33" fmla="*/ 374333 h 384809"/>
                  <a:gd name="connsiteX34" fmla="*/ 155258 w 459105"/>
                  <a:gd name="connsiteY34" fmla="*/ 363855 h 384809"/>
                  <a:gd name="connsiteX35" fmla="*/ 194310 w 459105"/>
                  <a:gd name="connsiteY35" fmla="*/ 363855 h 384809"/>
                  <a:gd name="connsiteX36" fmla="*/ 225743 w 459105"/>
                  <a:gd name="connsiteY36" fmla="*/ 367665 h 384809"/>
                  <a:gd name="connsiteX37" fmla="*/ 250508 w 459105"/>
                  <a:gd name="connsiteY37" fmla="*/ 357188 h 384809"/>
                  <a:gd name="connsiteX38" fmla="*/ 289560 w 459105"/>
                  <a:gd name="connsiteY38" fmla="*/ 350520 h 384809"/>
                  <a:gd name="connsiteX39" fmla="*/ 331470 w 459105"/>
                  <a:gd name="connsiteY39" fmla="*/ 311468 h 384809"/>
                  <a:gd name="connsiteX40" fmla="*/ 370523 w 459105"/>
                  <a:gd name="connsiteY40" fmla="*/ 282893 h 384809"/>
                  <a:gd name="connsiteX41" fmla="*/ 395288 w 459105"/>
                  <a:gd name="connsiteY41" fmla="*/ 251460 h 384809"/>
                  <a:gd name="connsiteX42" fmla="*/ 405765 w 459105"/>
                  <a:gd name="connsiteY42" fmla="*/ 230505 h 384809"/>
                  <a:gd name="connsiteX43" fmla="*/ 434340 w 459105"/>
                  <a:gd name="connsiteY43" fmla="*/ 195263 h 384809"/>
                  <a:gd name="connsiteX44" fmla="*/ 448628 w 459105"/>
                  <a:gd name="connsiteY44" fmla="*/ 184785 h 384809"/>
                  <a:gd name="connsiteX45" fmla="*/ 448628 w 459105"/>
                  <a:gd name="connsiteY45" fmla="*/ 160020 h 384809"/>
                  <a:gd name="connsiteX46" fmla="*/ 459105 w 459105"/>
                  <a:gd name="connsiteY46" fmla="*/ 141922 h 384809"/>
                  <a:gd name="connsiteX47" fmla="*/ 430530 w 459105"/>
                  <a:gd name="connsiteY47" fmla="*/ 138113 h 384809"/>
                  <a:gd name="connsiteX48" fmla="*/ 429578 w 459105"/>
                  <a:gd name="connsiteY48" fmla="*/ 120015 h 384809"/>
                  <a:gd name="connsiteX49" fmla="*/ 429578 w 459105"/>
                  <a:gd name="connsiteY49" fmla="*/ 120015 h 384809"/>
                  <a:gd name="connsiteX50" fmla="*/ 360998 w 459105"/>
                  <a:gd name="connsiteY50" fmla="*/ 227647 h 384809"/>
                  <a:gd name="connsiteX51" fmla="*/ 353378 w 459105"/>
                  <a:gd name="connsiteY51" fmla="*/ 231458 h 384809"/>
                  <a:gd name="connsiteX52" fmla="*/ 344805 w 459105"/>
                  <a:gd name="connsiteY52" fmla="*/ 240983 h 384809"/>
                  <a:gd name="connsiteX53" fmla="*/ 331470 w 459105"/>
                  <a:gd name="connsiteY53" fmla="*/ 222885 h 384809"/>
                  <a:gd name="connsiteX54" fmla="*/ 342900 w 459105"/>
                  <a:gd name="connsiteY54" fmla="*/ 206693 h 384809"/>
                  <a:gd name="connsiteX55" fmla="*/ 359093 w 459105"/>
                  <a:gd name="connsiteY55" fmla="*/ 204788 h 384809"/>
                  <a:gd name="connsiteX56" fmla="*/ 366713 w 459105"/>
                  <a:gd name="connsiteY56" fmla="*/ 220980 h 384809"/>
                  <a:gd name="connsiteX57" fmla="*/ 360998 w 459105"/>
                  <a:gd name="connsiteY57" fmla="*/ 227647 h 384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459105" h="384809">
                    <a:moveTo>
                      <a:pt x="429578" y="120015"/>
                    </a:moveTo>
                    <a:lnTo>
                      <a:pt x="429578" y="56197"/>
                    </a:lnTo>
                    <a:lnTo>
                      <a:pt x="415290" y="14288"/>
                    </a:lnTo>
                    <a:lnTo>
                      <a:pt x="401003" y="3810"/>
                    </a:lnTo>
                    <a:lnTo>
                      <a:pt x="348615" y="0"/>
                    </a:lnTo>
                    <a:lnTo>
                      <a:pt x="344805" y="10478"/>
                    </a:lnTo>
                    <a:lnTo>
                      <a:pt x="327660" y="10478"/>
                    </a:lnTo>
                    <a:lnTo>
                      <a:pt x="260985" y="80963"/>
                    </a:lnTo>
                    <a:lnTo>
                      <a:pt x="246698" y="105728"/>
                    </a:lnTo>
                    <a:lnTo>
                      <a:pt x="211455" y="109538"/>
                    </a:lnTo>
                    <a:lnTo>
                      <a:pt x="194310" y="95250"/>
                    </a:lnTo>
                    <a:lnTo>
                      <a:pt x="177165" y="95250"/>
                    </a:lnTo>
                    <a:lnTo>
                      <a:pt x="170498" y="116205"/>
                    </a:lnTo>
                    <a:lnTo>
                      <a:pt x="145733" y="137160"/>
                    </a:lnTo>
                    <a:lnTo>
                      <a:pt x="117158" y="137160"/>
                    </a:lnTo>
                    <a:lnTo>
                      <a:pt x="117158" y="101918"/>
                    </a:lnTo>
                    <a:lnTo>
                      <a:pt x="96203" y="80963"/>
                    </a:lnTo>
                    <a:lnTo>
                      <a:pt x="96203" y="182880"/>
                    </a:lnTo>
                    <a:lnTo>
                      <a:pt x="67628" y="200978"/>
                    </a:lnTo>
                    <a:lnTo>
                      <a:pt x="39053" y="200978"/>
                    </a:lnTo>
                    <a:lnTo>
                      <a:pt x="24765" y="194310"/>
                    </a:lnTo>
                    <a:lnTo>
                      <a:pt x="14288" y="180022"/>
                    </a:lnTo>
                    <a:lnTo>
                      <a:pt x="10478" y="180022"/>
                    </a:lnTo>
                    <a:lnTo>
                      <a:pt x="3810" y="183833"/>
                    </a:lnTo>
                    <a:lnTo>
                      <a:pt x="0" y="190500"/>
                    </a:lnTo>
                    <a:lnTo>
                      <a:pt x="10478" y="215265"/>
                    </a:lnTo>
                    <a:lnTo>
                      <a:pt x="20955" y="254318"/>
                    </a:lnTo>
                    <a:lnTo>
                      <a:pt x="38100" y="279083"/>
                    </a:lnTo>
                    <a:lnTo>
                      <a:pt x="52388" y="303847"/>
                    </a:lnTo>
                    <a:lnTo>
                      <a:pt x="35243" y="324803"/>
                    </a:lnTo>
                    <a:lnTo>
                      <a:pt x="49530" y="349568"/>
                    </a:lnTo>
                    <a:lnTo>
                      <a:pt x="60008" y="370522"/>
                    </a:lnTo>
                    <a:lnTo>
                      <a:pt x="88583" y="384810"/>
                    </a:lnTo>
                    <a:lnTo>
                      <a:pt x="123825" y="374333"/>
                    </a:lnTo>
                    <a:lnTo>
                      <a:pt x="155258" y="363855"/>
                    </a:lnTo>
                    <a:lnTo>
                      <a:pt x="194310" y="363855"/>
                    </a:lnTo>
                    <a:lnTo>
                      <a:pt x="225743" y="367665"/>
                    </a:lnTo>
                    <a:lnTo>
                      <a:pt x="250508" y="357188"/>
                    </a:lnTo>
                    <a:lnTo>
                      <a:pt x="289560" y="350520"/>
                    </a:lnTo>
                    <a:lnTo>
                      <a:pt x="331470" y="311468"/>
                    </a:lnTo>
                    <a:lnTo>
                      <a:pt x="370523" y="282893"/>
                    </a:lnTo>
                    <a:lnTo>
                      <a:pt x="395288" y="251460"/>
                    </a:lnTo>
                    <a:lnTo>
                      <a:pt x="405765" y="230505"/>
                    </a:lnTo>
                    <a:lnTo>
                      <a:pt x="434340" y="195263"/>
                    </a:lnTo>
                    <a:lnTo>
                      <a:pt x="448628" y="184785"/>
                    </a:lnTo>
                    <a:lnTo>
                      <a:pt x="448628" y="160020"/>
                    </a:lnTo>
                    <a:lnTo>
                      <a:pt x="459105" y="141922"/>
                    </a:lnTo>
                    <a:lnTo>
                      <a:pt x="430530" y="138113"/>
                    </a:lnTo>
                    <a:lnTo>
                      <a:pt x="429578" y="120015"/>
                    </a:lnTo>
                    <a:lnTo>
                      <a:pt x="429578" y="120015"/>
                    </a:lnTo>
                    <a:close/>
                    <a:moveTo>
                      <a:pt x="360998" y="227647"/>
                    </a:moveTo>
                    <a:lnTo>
                      <a:pt x="353378" y="231458"/>
                    </a:lnTo>
                    <a:lnTo>
                      <a:pt x="344805" y="240983"/>
                    </a:lnTo>
                    <a:lnTo>
                      <a:pt x="331470" y="222885"/>
                    </a:lnTo>
                    <a:lnTo>
                      <a:pt x="342900" y="206693"/>
                    </a:lnTo>
                    <a:lnTo>
                      <a:pt x="359093" y="204788"/>
                    </a:lnTo>
                    <a:lnTo>
                      <a:pt x="366713" y="220980"/>
                    </a:lnTo>
                    <a:lnTo>
                      <a:pt x="360998" y="22764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8" name="Freeform: Shape 447">
                <a:extLst>
                  <a:ext uri="{FF2B5EF4-FFF2-40B4-BE49-F238E27FC236}">
                    <a16:creationId xmlns:a16="http://schemas.microsoft.com/office/drawing/2014/main" id="{7FB8ADD2-591B-8EEE-33CC-15236C44F6AF}"/>
                  </a:ext>
                </a:extLst>
              </p:cNvPr>
              <p:cNvSpPr/>
              <p:nvPr/>
            </p:nvSpPr>
            <p:spPr>
              <a:xfrm>
                <a:off x="8707255" y="3901330"/>
                <a:ext cx="18674" cy="9337"/>
              </a:xfrm>
              <a:custGeom>
                <a:avLst/>
                <a:gdLst>
                  <a:gd name="connsiteX0" fmla="*/ 0 w 19050"/>
                  <a:gd name="connsiteY0" fmla="*/ 0 h 9525"/>
                  <a:gd name="connsiteX1" fmla="*/ 19050 w 19050"/>
                  <a:gd name="connsiteY1" fmla="*/ 0 h 9525"/>
                  <a:gd name="connsiteX2" fmla="*/ 19050 w 19050"/>
                  <a:gd name="connsiteY2" fmla="*/ 0 h 9525"/>
                  <a:gd name="connsiteX3" fmla="*/ 0 w 19050"/>
                  <a:gd name="connsiteY3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95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9" name="Freeform: Shape 448">
                <a:extLst>
                  <a:ext uri="{FF2B5EF4-FFF2-40B4-BE49-F238E27FC236}">
                    <a16:creationId xmlns:a16="http://schemas.microsoft.com/office/drawing/2014/main" id="{78ED241D-5F0B-5DD4-E5DB-E94929486AC2}"/>
                  </a:ext>
                </a:extLst>
              </p:cNvPr>
              <p:cNvSpPr/>
              <p:nvPr/>
            </p:nvSpPr>
            <p:spPr>
              <a:xfrm>
                <a:off x="8942554" y="4616569"/>
                <a:ext cx="28012" cy="24277"/>
              </a:xfrm>
              <a:custGeom>
                <a:avLst/>
                <a:gdLst>
                  <a:gd name="connsiteX0" fmla="*/ 28575 w 28575"/>
                  <a:gd name="connsiteY0" fmla="*/ 7525 h 24765"/>
                  <a:gd name="connsiteX1" fmla="*/ 11430 w 28575"/>
                  <a:gd name="connsiteY1" fmla="*/ 0 h 24765"/>
                  <a:gd name="connsiteX2" fmla="*/ 0 w 28575"/>
                  <a:gd name="connsiteY2" fmla="*/ 10478 h 24765"/>
                  <a:gd name="connsiteX3" fmla="*/ 11430 w 28575"/>
                  <a:gd name="connsiteY3" fmla="*/ 24765 h 24765"/>
                  <a:gd name="connsiteX4" fmla="*/ 24765 w 28575"/>
                  <a:gd name="connsiteY4" fmla="*/ 21812 h 24765"/>
                  <a:gd name="connsiteX5" fmla="*/ 28575 w 28575"/>
                  <a:gd name="connsiteY5" fmla="*/ 7525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75" h="24765">
                    <a:moveTo>
                      <a:pt x="28575" y="7525"/>
                    </a:moveTo>
                    <a:lnTo>
                      <a:pt x="11430" y="0"/>
                    </a:lnTo>
                    <a:lnTo>
                      <a:pt x="0" y="10478"/>
                    </a:lnTo>
                    <a:lnTo>
                      <a:pt x="11430" y="24765"/>
                    </a:lnTo>
                    <a:lnTo>
                      <a:pt x="24765" y="21812"/>
                    </a:lnTo>
                    <a:lnTo>
                      <a:pt x="28575" y="752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0" name="Freeform: Shape 449">
                <a:extLst>
                  <a:ext uri="{FF2B5EF4-FFF2-40B4-BE49-F238E27FC236}">
                    <a16:creationId xmlns:a16="http://schemas.microsoft.com/office/drawing/2014/main" id="{7BAA4873-B804-7773-2766-9FDD38EE8C27}"/>
                  </a:ext>
                </a:extLst>
              </p:cNvPr>
              <p:cNvSpPr/>
              <p:nvPr/>
            </p:nvSpPr>
            <p:spPr>
              <a:xfrm>
                <a:off x="8884663" y="4589491"/>
                <a:ext cx="44818" cy="48460"/>
              </a:xfrm>
              <a:custGeom>
                <a:avLst/>
                <a:gdLst>
                  <a:gd name="connsiteX0" fmla="*/ 24765 w 45719"/>
                  <a:gd name="connsiteY0" fmla="*/ 41910 h 49434"/>
                  <a:gd name="connsiteX1" fmla="*/ 35242 w 45719"/>
                  <a:gd name="connsiteY1" fmla="*/ 49435 h 49434"/>
                  <a:gd name="connsiteX2" fmla="*/ 45720 w 45719"/>
                  <a:gd name="connsiteY2" fmla="*/ 45720 h 49434"/>
                  <a:gd name="connsiteX3" fmla="*/ 41910 w 45719"/>
                  <a:gd name="connsiteY3" fmla="*/ 31432 h 49434"/>
                  <a:gd name="connsiteX4" fmla="*/ 31432 w 45719"/>
                  <a:gd name="connsiteY4" fmla="*/ 27622 h 49434"/>
                  <a:gd name="connsiteX5" fmla="*/ 24765 w 45719"/>
                  <a:gd name="connsiteY5" fmla="*/ 17145 h 49434"/>
                  <a:gd name="connsiteX6" fmla="*/ 20955 w 45719"/>
                  <a:gd name="connsiteY6" fmla="*/ 0 h 49434"/>
                  <a:gd name="connsiteX7" fmla="*/ 0 w 45719"/>
                  <a:gd name="connsiteY7" fmla="*/ 0 h 49434"/>
                  <a:gd name="connsiteX8" fmla="*/ 0 w 45719"/>
                  <a:gd name="connsiteY8" fmla="*/ 14288 h 49434"/>
                  <a:gd name="connsiteX9" fmla="*/ 10477 w 45719"/>
                  <a:gd name="connsiteY9" fmla="*/ 17145 h 49434"/>
                  <a:gd name="connsiteX10" fmla="*/ 20955 w 45719"/>
                  <a:gd name="connsiteY10" fmla="*/ 27622 h 49434"/>
                  <a:gd name="connsiteX11" fmla="*/ 24765 w 45719"/>
                  <a:gd name="connsiteY11" fmla="*/ 41910 h 49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5719" h="49434">
                    <a:moveTo>
                      <a:pt x="24765" y="41910"/>
                    </a:moveTo>
                    <a:lnTo>
                      <a:pt x="35242" y="49435"/>
                    </a:lnTo>
                    <a:lnTo>
                      <a:pt x="45720" y="45720"/>
                    </a:lnTo>
                    <a:lnTo>
                      <a:pt x="41910" y="31432"/>
                    </a:lnTo>
                    <a:lnTo>
                      <a:pt x="31432" y="27622"/>
                    </a:lnTo>
                    <a:lnTo>
                      <a:pt x="24765" y="17145"/>
                    </a:lnTo>
                    <a:lnTo>
                      <a:pt x="20955" y="0"/>
                    </a:lnTo>
                    <a:lnTo>
                      <a:pt x="0" y="0"/>
                    </a:lnTo>
                    <a:lnTo>
                      <a:pt x="0" y="14288"/>
                    </a:lnTo>
                    <a:lnTo>
                      <a:pt x="10477" y="17145"/>
                    </a:lnTo>
                    <a:lnTo>
                      <a:pt x="20955" y="27622"/>
                    </a:lnTo>
                    <a:lnTo>
                      <a:pt x="24765" y="419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1" name="Freeform: Shape 450">
                <a:extLst>
                  <a:ext uri="{FF2B5EF4-FFF2-40B4-BE49-F238E27FC236}">
                    <a16:creationId xmlns:a16="http://schemas.microsoft.com/office/drawing/2014/main" id="{ADEACC1E-546E-35C5-A44A-2BF5F9EDF5EA}"/>
                  </a:ext>
                </a:extLst>
              </p:cNvPr>
              <p:cNvSpPr/>
              <p:nvPr/>
            </p:nvSpPr>
            <p:spPr>
              <a:xfrm>
                <a:off x="5868733" y="3009617"/>
                <a:ext cx="352014" cy="296927"/>
              </a:xfrm>
              <a:custGeom>
                <a:avLst/>
                <a:gdLst>
                  <a:gd name="connsiteX0" fmla="*/ 327660 w 359092"/>
                  <a:gd name="connsiteY0" fmla="*/ 246602 h 302895"/>
                  <a:gd name="connsiteX1" fmla="*/ 323850 w 359092"/>
                  <a:gd name="connsiteY1" fmla="*/ 218027 h 302895"/>
                  <a:gd name="connsiteX2" fmla="*/ 330517 w 359092"/>
                  <a:gd name="connsiteY2" fmla="*/ 204788 h 302895"/>
                  <a:gd name="connsiteX3" fmla="*/ 327660 w 359092"/>
                  <a:gd name="connsiteY3" fmla="*/ 197072 h 302895"/>
                  <a:gd name="connsiteX4" fmla="*/ 327660 w 359092"/>
                  <a:gd name="connsiteY4" fmla="*/ 186690 h 302895"/>
                  <a:gd name="connsiteX5" fmla="*/ 327660 w 359092"/>
                  <a:gd name="connsiteY5" fmla="*/ 169545 h 302895"/>
                  <a:gd name="connsiteX6" fmla="*/ 299085 w 359092"/>
                  <a:gd name="connsiteY6" fmla="*/ 169545 h 302895"/>
                  <a:gd name="connsiteX7" fmla="*/ 313372 w 359092"/>
                  <a:gd name="connsiteY7" fmla="*/ 147638 h 302895"/>
                  <a:gd name="connsiteX8" fmla="*/ 330517 w 359092"/>
                  <a:gd name="connsiteY8" fmla="*/ 130397 h 302895"/>
                  <a:gd name="connsiteX9" fmla="*/ 338138 w 359092"/>
                  <a:gd name="connsiteY9" fmla="*/ 130397 h 302895"/>
                  <a:gd name="connsiteX10" fmla="*/ 341947 w 359092"/>
                  <a:gd name="connsiteY10" fmla="*/ 122777 h 302895"/>
                  <a:gd name="connsiteX11" fmla="*/ 341947 w 359092"/>
                  <a:gd name="connsiteY11" fmla="*/ 112395 h 302895"/>
                  <a:gd name="connsiteX12" fmla="*/ 348615 w 359092"/>
                  <a:gd name="connsiteY12" fmla="*/ 98108 h 302895"/>
                  <a:gd name="connsiteX13" fmla="*/ 359092 w 359092"/>
                  <a:gd name="connsiteY13" fmla="*/ 77152 h 302895"/>
                  <a:gd name="connsiteX14" fmla="*/ 355283 w 359092"/>
                  <a:gd name="connsiteY14" fmla="*/ 70390 h 302895"/>
                  <a:gd name="connsiteX15" fmla="*/ 323850 w 359092"/>
                  <a:gd name="connsiteY15" fmla="*/ 70390 h 302895"/>
                  <a:gd name="connsiteX16" fmla="*/ 317183 w 359092"/>
                  <a:gd name="connsiteY16" fmla="*/ 62865 h 302895"/>
                  <a:gd name="connsiteX17" fmla="*/ 306705 w 359092"/>
                  <a:gd name="connsiteY17" fmla="*/ 56102 h 302895"/>
                  <a:gd name="connsiteX18" fmla="*/ 296228 w 359092"/>
                  <a:gd name="connsiteY18" fmla="*/ 56102 h 302895"/>
                  <a:gd name="connsiteX19" fmla="*/ 284797 w 359092"/>
                  <a:gd name="connsiteY19" fmla="*/ 56102 h 302895"/>
                  <a:gd name="connsiteX20" fmla="*/ 271463 w 359092"/>
                  <a:gd name="connsiteY20" fmla="*/ 49435 h 302895"/>
                  <a:gd name="connsiteX21" fmla="*/ 267653 w 359092"/>
                  <a:gd name="connsiteY21" fmla="*/ 41815 h 302895"/>
                  <a:gd name="connsiteX22" fmla="*/ 246697 w 359092"/>
                  <a:gd name="connsiteY22" fmla="*/ 35147 h 302895"/>
                  <a:gd name="connsiteX23" fmla="*/ 221933 w 359092"/>
                  <a:gd name="connsiteY23" fmla="*/ 14288 h 302895"/>
                  <a:gd name="connsiteX24" fmla="*/ 203835 w 359092"/>
                  <a:gd name="connsiteY24" fmla="*/ 0 h 302895"/>
                  <a:gd name="connsiteX25" fmla="*/ 186690 w 359092"/>
                  <a:gd name="connsiteY25" fmla="*/ 6572 h 302895"/>
                  <a:gd name="connsiteX26" fmla="*/ 186690 w 359092"/>
                  <a:gd name="connsiteY26" fmla="*/ 31433 h 302895"/>
                  <a:gd name="connsiteX27" fmla="*/ 168593 w 359092"/>
                  <a:gd name="connsiteY27" fmla="*/ 39052 h 302895"/>
                  <a:gd name="connsiteX28" fmla="*/ 147638 w 359092"/>
                  <a:gd name="connsiteY28" fmla="*/ 49435 h 302895"/>
                  <a:gd name="connsiteX29" fmla="*/ 133350 w 359092"/>
                  <a:gd name="connsiteY29" fmla="*/ 60008 h 302895"/>
                  <a:gd name="connsiteX30" fmla="*/ 109538 w 359092"/>
                  <a:gd name="connsiteY30" fmla="*/ 62865 h 302895"/>
                  <a:gd name="connsiteX31" fmla="*/ 95250 w 359092"/>
                  <a:gd name="connsiteY31" fmla="*/ 52388 h 302895"/>
                  <a:gd name="connsiteX32" fmla="*/ 84772 w 359092"/>
                  <a:gd name="connsiteY32" fmla="*/ 52388 h 302895"/>
                  <a:gd name="connsiteX33" fmla="*/ 87630 w 359092"/>
                  <a:gd name="connsiteY33" fmla="*/ 62865 h 302895"/>
                  <a:gd name="connsiteX34" fmla="*/ 95250 w 359092"/>
                  <a:gd name="connsiteY34" fmla="*/ 80963 h 302895"/>
                  <a:gd name="connsiteX35" fmla="*/ 84772 w 359092"/>
                  <a:gd name="connsiteY35" fmla="*/ 91440 h 302895"/>
                  <a:gd name="connsiteX36" fmla="*/ 70485 w 359092"/>
                  <a:gd name="connsiteY36" fmla="*/ 87535 h 302895"/>
                  <a:gd name="connsiteX37" fmla="*/ 56197 w 359092"/>
                  <a:gd name="connsiteY37" fmla="*/ 95250 h 302895"/>
                  <a:gd name="connsiteX38" fmla="*/ 45720 w 359092"/>
                  <a:gd name="connsiteY38" fmla="*/ 84677 h 302895"/>
                  <a:gd name="connsiteX39" fmla="*/ 31433 w 359092"/>
                  <a:gd name="connsiteY39" fmla="*/ 84677 h 302895"/>
                  <a:gd name="connsiteX40" fmla="*/ 14288 w 359092"/>
                  <a:gd name="connsiteY40" fmla="*/ 87535 h 302895"/>
                  <a:gd name="connsiteX41" fmla="*/ 3810 w 359092"/>
                  <a:gd name="connsiteY41" fmla="*/ 91440 h 302895"/>
                  <a:gd name="connsiteX42" fmla="*/ 0 w 359092"/>
                  <a:gd name="connsiteY42" fmla="*/ 105727 h 302895"/>
                  <a:gd name="connsiteX43" fmla="*/ 10478 w 359092"/>
                  <a:gd name="connsiteY43" fmla="*/ 116110 h 302895"/>
                  <a:gd name="connsiteX44" fmla="*/ 31433 w 359092"/>
                  <a:gd name="connsiteY44" fmla="*/ 116110 h 302895"/>
                  <a:gd name="connsiteX45" fmla="*/ 45720 w 359092"/>
                  <a:gd name="connsiteY45" fmla="*/ 122777 h 302895"/>
                  <a:gd name="connsiteX46" fmla="*/ 62865 w 359092"/>
                  <a:gd name="connsiteY46" fmla="*/ 134302 h 302895"/>
                  <a:gd name="connsiteX47" fmla="*/ 74295 w 359092"/>
                  <a:gd name="connsiteY47" fmla="*/ 144685 h 302895"/>
                  <a:gd name="connsiteX48" fmla="*/ 77153 w 359092"/>
                  <a:gd name="connsiteY48" fmla="*/ 158115 h 302895"/>
                  <a:gd name="connsiteX49" fmla="*/ 98108 w 359092"/>
                  <a:gd name="connsiteY49" fmla="*/ 172402 h 302895"/>
                  <a:gd name="connsiteX50" fmla="*/ 112395 w 359092"/>
                  <a:gd name="connsiteY50" fmla="*/ 204788 h 302895"/>
                  <a:gd name="connsiteX51" fmla="*/ 98108 w 359092"/>
                  <a:gd name="connsiteY51" fmla="*/ 204788 h 302895"/>
                  <a:gd name="connsiteX52" fmla="*/ 98108 w 359092"/>
                  <a:gd name="connsiteY52" fmla="*/ 225647 h 302895"/>
                  <a:gd name="connsiteX53" fmla="*/ 87630 w 359092"/>
                  <a:gd name="connsiteY53" fmla="*/ 253365 h 302895"/>
                  <a:gd name="connsiteX54" fmla="*/ 87630 w 359092"/>
                  <a:gd name="connsiteY54" fmla="*/ 275177 h 302895"/>
                  <a:gd name="connsiteX55" fmla="*/ 112395 w 359092"/>
                  <a:gd name="connsiteY55" fmla="*/ 285750 h 302895"/>
                  <a:gd name="connsiteX56" fmla="*/ 140970 w 359092"/>
                  <a:gd name="connsiteY56" fmla="*/ 296227 h 302895"/>
                  <a:gd name="connsiteX57" fmla="*/ 161925 w 359092"/>
                  <a:gd name="connsiteY57" fmla="*/ 292322 h 302895"/>
                  <a:gd name="connsiteX58" fmla="*/ 186690 w 359092"/>
                  <a:gd name="connsiteY58" fmla="*/ 302895 h 302895"/>
                  <a:gd name="connsiteX59" fmla="*/ 214313 w 359092"/>
                  <a:gd name="connsiteY59" fmla="*/ 302895 h 302895"/>
                  <a:gd name="connsiteX60" fmla="*/ 214313 w 359092"/>
                  <a:gd name="connsiteY60" fmla="*/ 285750 h 302895"/>
                  <a:gd name="connsiteX61" fmla="*/ 225743 w 359092"/>
                  <a:gd name="connsiteY61" fmla="*/ 275177 h 302895"/>
                  <a:gd name="connsiteX62" fmla="*/ 242888 w 359092"/>
                  <a:gd name="connsiteY62" fmla="*/ 267652 h 302895"/>
                  <a:gd name="connsiteX63" fmla="*/ 263843 w 359092"/>
                  <a:gd name="connsiteY63" fmla="*/ 271463 h 302895"/>
                  <a:gd name="connsiteX64" fmla="*/ 281940 w 359092"/>
                  <a:gd name="connsiteY64" fmla="*/ 275177 h 302895"/>
                  <a:gd name="connsiteX65" fmla="*/ 302895 w 359092"/>
                  <a:gd name="connsiteY65" fmla="*/ 285750 h 302895"/>
                  <a:gd name="connsiteX66" fmla="*/ 320040 w 359092"/>
                  <a:gd name="connsiteY66" fmla="*/ 278035 h 302895"/>
                  <a:gd name="connsiteX67" fmla="*/ 327660 w 359092"/>
                  <a:gd name="connsiteY67" fmla="*/ 263747 h 302895"/>
                  <a:gd name="connsiteX68" fmla="*/ 341947 w 359092"/>
                  <a:gd name="connsiteY68" fmla="*/ 260890 h 302895"/>
                  <a:gd name="connsiteX69" fmla="*/ 341947 w 359092"/>
                  <a:gd name="connsiteY69" fmla="*/ 246602 h 302895"/>
                  <a:gd name="connsiteX70" fmla="*/ 327660 w 359092"/>
                  <a:gd name="connsiteY70" fmla="*/ 246602 h 302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359092" h="302895">
                    <a:moveTo>
                      <a:pt x="327660" y="246602"/>
                    </a:moveTo>
                    <a:lnTo>
                      <a:pt x="323850" y="218027"/>
                    </a:lnTo>
                    <a:lnTo>
                      <a:pt x="330517" y="204788"/>
                    </a:lnTo>
                    <a:lnTo>
                      <a:pt x="327660" y="197072"/>
                    </a:lnTo>
                    <a:lnTo>
                      <a:pt x="327660" y="186690"/>
                    </a:lnTo>
                    <a:lnTo>
                      <a:pt x="327660" y="169545"/>
                    </a:lnTo>
                    <a:lnTo>
                      <a:pt x="299085" y="169545"/>
                    </a:lnTo>
                    <a:lnTo>
                      <a:pt x="313372" y="147638"/>
                    </a:lnTo>
                    <a:lnTo>
                      <a:pt x="330517" y="130397"/>
                    </a:lnTo>
                    <a:lnTo>
                      <a:pt x="338138" y="130397"/>
                    </a:lnTo>
                    <a:lnTo>
                      <a:pt x="341947" y="122777"/>
                    </a:lnTo>
                    <a:lnTo>
                      <a:pt x="341947" y="112395"/>
                    </a:lnTo>
                    <a:lnTo>
                      <a:pt x="348615" y="98108"/>
                    </a:lnTo>
                    <a:lnTo>
                      <a:pt x="359092" y="77152"/>
                    </a:lnTo>
                    <a:lnTo>
                      <a:pt x="355283" y="70390"/>
                    </a:lnTo>
                    <a:lnTo>
                      <a:pt x="323850" y="70390"/>
                    </a:lnTo>
                    <a:lnTo>
                      <a:pt x="317183" y="62865"/>
                    </a:lnTo>
                    <a:lnTo>
                      <a:pt x="306705" y="56102"/>
                    </a:lnTo>
                    <a:lnTo>
                      <a:pt x="296228" y="56102"/>
                    </a:lnTo>
                    <a:lnTo>
                      <a:pt x="284797" y="56102"/>
                    </a:lnTo>
                    <a:lnTo>
                      <a:pt x="271463" y="49435"/>
                    </a:lnTo>
                    <a:lnTo>
                      <a:pt x="267653" y="41815"/>
                    </a:lnTo>
                    <a:lnTo>
                      <a:pt x="246697" y="35147"/>
                    </a:lnTo>
                    <a:lnTo>
                      <a:pt x="221933" y="14288"/>
                    </a:lnTo>
                    <a:lnTo>
                      <a:pt x="203835" y="0"/>
                    </a:lnTo>
                    <a:lnTo>
                      <a:pt x="186690" y="6572"/>
                    </a:lnTo>
                    <a:lnTo>
                      <a:pt x="186690" y="31433"/>
                    </a:lnTo>
                    <a:lnTo>
                      <a:pt x="168593" y="39052"/>
                    </a:lnTo>
                    <a:lnTo>
                      <a:pt x="147638" y="49435"/>
                    </a:lnTo>
                    <a:lnTo>
                      <a:pt x="133350" y="60008"/>
                    </a:lnTo>
                    <a:lnTo>
                      <a:pt x="109538" y="62865"/>
                    </a:lnTo>
                    <a:lnTo>
                      <a:pt x="95250" y="52388"/>
                    </a:lnTo>
                    <a:lnTo>
                      <a:pt x="84772" y="52388"/>
                    </a:lnTo>
                    <a:lnTo>
                      <a:pt x="87630" y="62865"/>
                    </a:lnTo>
                    <a:lnTo>
                      <a:pt x="95250" y="80963"/>
                    </a:lnTo>
                    <a:lnTo>
                      <a:pt x="84772" y="91440"/>
                    </a:lnTo>
                    <a:lnTo>
                      <a:pt x="70485" y="87535"/>
                    </a:lnTo>
                    <a:lnTo>
                      <a:pt x="56197" y="95250"/>
                    </a:lnTo>
                    <a:lnTo>
                      <a:pt x="45720" y="84677"/>
                    </a:lnTo>
                    <a:lnTo>
                      <a:pt x="31433" y="84677"/>
                    </a:lnTo>
                    <a:lnTo>
                      <a:pt x="14288" y="87535"/>
                    </a:lnTo>
                    <a:lnTo>
                      <a:pt x="3810" y="91440"/>
                    </a:lnTo>
                    <a:lnTo>
                      <a:pt x="0" y="105727"/>
                    </a:lnTo>
                    <a:lnTo>
                      <a:pt x="10478" y="116110"/>
                    </a:lnTo>
                    <a:lnTo>
                      <a:pt x="31433" y="116110"/>
                    </a:lnTo>
                    <a:lnTo>
                      <a:pt x="45720" y="122777"/>
                    </a:lnTo>
                    <a:lnTo>
                      <a:pt x="62865" y="134302"/>
                    </a:lnTo>
                    <a:lnTo>
                      <a:pt x="74295" y="144685"/>
                    </a:lnTo>
                    <a:lnTo>
                      <a:pt x="77153" y="158115"/>
                    </a:lnTo>
                    <a:lnTo>
                      <a:pt x="98108" y="172402"/>
                    </a:lnTo>
                    <a:lnTo>
                      <a:pt x="112395" y="204788"/>
                    </a:lnTo>
                    <a:lnTo>
                      <a:pt x="98108" y="204788"/>
                    </a:lnTo>
                    <a:lnTo>
                      <a:pt x="98108" y="225647"/>
                    </a:lnTo>
                    <a:lnTo>
                      <a:pt x="87630" y="253365"/>
                    </a:lnTo>
                    <a:lnTo>
                      <a:pt x="87630" y="275177"/>
                    </a:lnTo>
                    <a:lnTo>
                      <a:pt x="112395" y="285750"/>
                    </a:lnTo>
                    <a:lnTo>
                      <a:pt x="140970" y="296227"/>
                    </a:lnTo>
                    <a:lnTo>
                      <a:pt x="161925" y="292322"/>
                    </a:lnTo>
                    <a:lnTo>
                      <a:pt x="186690" y="302895"/>
                    </a:lnTo>
                    <a:lnTo>
                      <a:pt x="214313" y="302895"/>
                    </a:lnTo>
                    <a:lnTo>
                      <a:pt x="214313" y="285750"/>
                    </a:lnTo>
                    <a:lnTo>
                      <a:pt x="225743" y="275177"/>
                    </a:lnTo>
                    <a:lnTo>
                      <a:pt x="242888" y="267652"/>
                    </a:lnTo>
                    <a:lnTo>
                      <a:pt x="263843" y="271463"/>
                    </a:lnTo>
                    <a:lnTo>
                      <a:pt x="281940" y="275177"/>
                    </a:lnTo>
                    <a:lnTo>
                      <a:pt x="302895" y="285750"/>
                    </a:lnTo>
                    <a:lnTo>
                      <a:pt x="320040" y="278035"/>
                    </a:lnTo>
                    <a:lnTo>
                      <a:pt x="327660" y="263747"/>
                    </a:lnTo>
                    <a:lnTo>
                      <a:pt x="341947" y="260890"/>
                    </a:lnTo>
                    <a:lnTo>
                      <a:pt x="341947" y="246602"/>
                    </a:lnTo>
                    <a:lnTo>
                      <a:pt x="327660" y="24660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2" name="Freeform: Shape 451">
                <a:extLst>
                  <a:ext uri="{FF2B5EF4-FFF2-40B4-BE49-F238E27FC236}">
                    <a16:creationId xmlns:a16="http://schemas.microsoft.com/office/drawing/2014/main" id="{8F6EEAB0-45DF-CD0D-5DAB-0BBE5FA6C3FD}"/>
                  </a:ext>
                </a:extLst>
              </p:cNvPr>
              <p:cNvSpPr/>
              <p:nvPr/>
            </p:nvSpPr>
            <p:spPr>
              <a:xfrm>
                <a:off x="5744548" y="3265366"/>
                <a:ext cx="338007" cy="245571"/>
              </a:xfrm>
              <a:custGeom>
                <a:avLst/>
                <a:gdLst>
                  <a:gd name="connsiteX0" fmla="*/ 288607 w 344804"/>
                  <a:gd name="connsiteY0" fmla="*/ 31433 h 250507"/>
                  <a:gd name="connsiteX1" fmla="*/ 267653 w 344804"/>
                  <a:gd name="connsiteY1" fmla="*/ 35338 h 250507"/>
                  <a:gd name="connsiteX2" fmla="*/ 239078 w 344804"/>
                  <a:gd name="connsiteY2" fmla="*/ 24860 h 250507"/>
                  <a:gd name="connsiteX3" fmla="*/ 214313 w 344804"/>
                  <a:gd name="connsiteY3" fmla="*/ 14288 h 250507"/>
                  <a:gd name="connsiteX4" fmla="*/ 200978 w 344804"/>
                  <a:gd name="connsiteY4" fmla="*/ 14288 h 250507"/>
                  <a:gd name="connsiteX5" fmla="*/ 168592 w 344804"/>
                  <a:gd name="connsiteY5" fmla="*/ 10573 h 250507"/>
                  <a:gd name="connsiteX6" fmla="*/ 137160 w 344804"/>
                  <a:gd name="connsiteY6" fmla="*/ 14288 h 250507"/>
                  <a:gd name="connsiteX7" fmla="*/ 116205 w 344804"/>
                  <a:gd name="connsiteY7" fmla="*/ 6763 h 250507"/>
                  <a:gd name="connsiteX8" fmla="*/ 80963 w 344804"/>
                  <a:gd name="connsiteY8" fmla="*/ 2858 h 250507"/>
                  <a:gd name="connsiteX9" fmla="*/ 41910 w 344804"/>
                  <a:gd name="connsiteY9" fmla="*/ 0 h 250507"/>
                  <a:gd name="connsiteX10" fmla="*/ 27622 w 344804"/>
                  <a:gd name="connsiteY10" fmla="*/ 6763 h 250507"/>
                  <a:gd name="connsiteX11" fmla="*/ 6667 w 344804"/>
                  <a:gd name="connsiteY11" fmla="*/ 14288 h 250507"/>
                  <a:gd name="connsiteX12" fmla="*/ 0 w 344804"/>
                  <a:gd name="connsiteY12" fmla="*/ 21050 h 250507"/>
                  <a:gd name="connsiteX13" fmla="*/ 10478 w 344804"/>
                  <a:gd name="connsiteY13" fmla="*/ 39148 h 250507"/>
                  <a:gd name="connsiteX14" fmla="*/ 17145 w 344804"/>
                  <a:gd name="connsiteY14" fmla="*/ 49625 h 250507"/>
                  <a:gd name="connsiteX15" fmla="*/ 27622 w 344804"/>
                  <a:gd name="connsiteY15" fmla="*/ 52388 h 250507"/>
                  <a:gd name="connsiteX16" fmla="*/ 39053 w 344804"/>
                  <a:gd name="connsiteY16" fmla="*/ 62960 h 250507"/>
                  <a:gd name="connsiteX17" fmla="*/ 77153 w 344804"/>
                  <a:gd name="connsiteY17" fmla="*/ 60008 h 250507"/>
                  <a:gd name="connsiteX18" fmla="*/ 87630 w 344804"/>
                  <a:gd name="connsiteY18" fmla="*/ 74295 h 250507"/>
                  <a:gd name="connsiteX19" fmla="*/ 84772 w 344804"/>
                  <a:gd name="connsiteY19" fmla="*/ 84868 h 250507"/>
                  <a:gd name="connsiteX20" fmla="*/ 66675 w 344804"/>
                  <a:gd name="connsiteY20" fmla="*/ 87725 h 250507"/>
                  <a:gd name="connsiteX21" fmla="*/ 66675 w 344804"/>
                  <a:gd name="connsiteY21" fmla="*/ 130588 h 250507"/>
                  <a:gd name="connsiteX22" fmla="*/ 62865 w 344804"/>
                  <a:gd name="connsiteY22" fmla="*/ 137255 h 250507"/>
                  <a:gd name="connsiteX23" fmla="*/ 52388 w 344804"/>
                  <a:gd name="connsiteY23" fmla="*/ 144875 h 250507"/>
                  <a:gd name="connsiteX24" fmla="*/ 52388 w 344804"/>
                  <a:gd name="connsiteY24" fmla="*/ 151543 h 250507"/>
                  <a:gd name="connsiteX25" fmla="*/ 62865 w 344804"/>
                  <a:gd name="connsiteY25" fmla="*/ 165830 h 250507"/>
                  <a:gd name="connsiteX26" fmla="*/ 52388 w 344804"/>
                  <a:gd name="connsiteY26" fmla="*/ 172498 h 250507"/>
                  <a:gd name="connsiteX27" fmla="*/ 60007 w 344804"/>
                  <a:gd name="connsiteY27" fmla="*/ 193358 h 250507"/>
                  <a:gd name="connsiteX28" fmla="*/ 49530 w 344804"/>
                  <a:gd name="connsiteY28" fmla="*/ 201073 h 250507"/>
                  <a:gd name="connsiteX29" fmla="*/ 56197 w 344804"/>
                  <a:gd name="connsiteY29" fmla="*/ 218218 h 250507"/>
                  <a:gd name="connsiteX30" fmla="*/ 66675 w 344804"/>
                  <a:gd name="connsiteY30" fmla="*/ 218218 h 250507"/>
                  <a:gd name="connsiteX31" fmla="*/ 77153 w 344804"/>
                  <a:gd name="connsiteY31" fmla="*/ 225838 h 250507"/>
                  <a:gd name="connsiteX32" fmla="*/ 80963 w 344804"/>
                  <a:gd name="connsiteY32" fmla="*/ 240125 h 250507"/>
                  <a:gd name="connsiteX33" fmla="*/ 98107 w 344804"/>
                  <a:gd name="connsiteY33" fmla="*/ 250508 h 250507"/>
                  <a:gd name="connsiteX34" fmla="*/ 108585 w 344804"/>
                  <a:gd name="connsiteY34" fmla="*/ 246793 h 250507"/>
                  <a:gd name="connsiteX35" fmla="*/ 130492 w 344804"/>
                  <a:gd name="connsiteY35" fmla="*/ 236220 h 250507"/>
                  <a:gd name="connsiteX36" fmla="*/ 151447 w 344804"/>
                  <a:gd name="connsiteY36" fmla="*/ 232505 h 250507"/>
                  <a:gd name="connsiteX37" fmla="*/ 179070 w 344804"/>
                  <a:gd name="connsiteY37" fmla="*/ 232505 h 250507"/>
                  <a:gd name="connsiteX38" fmla="*/ 203835 w 344804"/>
                  <a:gd name="connsiteY38" fmla="*/ 221933 h 250507"/>
                  <a:gd name="connsiteX39" fmla="*/ 214313 w 344804"/>
                  <a:gd name="connsiteY39" fmla="*/ 204788 h 250507"/>
                  <a:gd name="connsiteX40" fmla="*/ 232410 w 344804"/>
                  <a:gd name="connsiteY40" fmla="*/ 201073 h 250507"/>
                  <a:gd name="connsiteX41" fmla="*/ 246697 w 344804"/>
                  <a:gd name="connsiteY41" fmla="*/ 180118 h 250507"/>
                  <a:gd name="connsiteX42" fmla="*/ 257175 w 344804"/>
                  <a:gd name="connsiteY42" fmla="*/ 168688 h 250507"/>
                  <a:gd name="connsiteX43" fmla="*/ 249555 w 344804"/>
                  <a:gd name="connsiteY43" fmla="*/ 151543 h 250507"/>
                  <a:gd name="connsiteX44" fmla="*/ 253365 w 344804"/>
                  <a:gd name="connsiteY44" fmla="*/ 133350 h 250507"/>
                  <a:gd name="connsiteX45" fmla="*/ 263842 w 344804"/>
                  <a:gd name="connsiteY45" fmla="*/ 120110 h 250507"/>
                  <a:gd name="connsiteX46" fmla="*/ 281940 w 344804"/>
                  <a:gd name="connsiteY46" fmla="*/ 102013 h 250507"/>
                  <a:gd name="connsiteX47" fmla="*/ 292417 w 344804"/>
                  <a:gd name="connsiteY47" fmla="*/ 84868 h 250507"/>
                  <a:gd name="connsiteX48" fmla="*/ 313372 w 344804"/>
                  <a:gd name="connsiteY48" fmla="*/ 84868 h 250507"/>
                  <a:gd name="connsiteX49" fmla="*/ 330517 w 344804"/>
                  <a:gd name="connsiteY49" fmla="*/ 74295 h 250507"/>
                  <a:gd name="connsiteX50" fmla="*/ 340995 w 344804"/>
                  <a:gd name="connsiteY50" fmla="*/ 66675 h 250507"/>
                  <a:gd name="connsiteX51" fmla="*/ 344805 w 344804"/>
                  <a:gd name="connsiteY51" fmla="*/ 49625 h 250507"/>
                  <a:gd name="connsiteX52" fmla="*/ 340995 w 344804"/>
                  <a:gd name="connsiteY52" fmla="*/ 42005 h 250507"/>
                  <a:gd name="connsiteX53" fmla="*/ 313372 w 344804"/>
                  <a:gd name="connsiteY53" fmla="*/ 42005 h 250507"/>
                  <a:gd name="connsiteX54" fmla="*/ 288607 w 344804"/>
                  <a:gd name="connsiteY54" fmla="*/ 31433 h 250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44804" h="250507">
                    <a:moveTo>
                      <a:pt x="288607" y="31433"/>
                    </a:moveTo>
                    <a:lnTo>
                      <a:pt x="267653" y="35338"/>
                    </a:lnTo>
                    <a:lnTo>
                      <a:pt x="239078" y="24860"/>
                    </a:lnTo>
                    <a:lnTo>
                      <a:pt x="214313" y="14288"/>
                    </a:lnTo>
                    <a:lnTo>
                      <a:pt x="200978" y="14288"/>
                    </a:lnTo>
                    <a:lnTo>
                      <a:pt x="168592" y="10573"/>
                    </a:lnTo>
                    <a:lnTo>
                      <a:pt x="137160" y="14288"/>
                    </a:lnTo>
                    <a:lnTo>
                      <a:pt x="116205" y="6763"/>
                    </a:lnTo>
                    <a:lnTo>
                      <a:pt x="80963" y="2858"/>
                    </a:lnTo>
                    <a:lnTo>
                      <a:pt x="41910" y="0"/>
                    </a:lnTo>
                    <a:lnTo>
                      <a:pt x="27622" y="6763"/>
                    </a:lnTo>
                    <a:lnTo>
                      <a:pt x="6667" y="14288"/>
                    </a:lnTo>
                    <a:lnTo>
                      <a:pt x="0" y="21050"/>
                    </a:lnTo>
                    <a:lnTo>
                      <a:pt x="10478" y="39148"/>
                    </a:lnTo>
                    <a:lnTo>
                      <a:pt x="17145" y="49625"/>
                    </a:lnTo>
                    <a:lnTo>
                      <a:pt x="27622" y="52388"/>
                    </a:lnTo>
                    <a:lnTo>
                      <a:pt x="39053" y="62960"/>
                    </a:lnTo>
                    <a:lnTo>
                      <a:pt x="77153" y="60008"/>
                    </a:lnTo>
                    <a:lnTo>
                      <a:pt x="87630" y="74295"/>
                    </a:lnTo>
                    <a:lnTo>
                      <a:pt x="84772" y="84868"/>
                    </a:lnTo>
                    <a:lnTo>
                      <a:pt x="66675" y="87725"/>
                    </a:lnTo>
                    <a:lnTo>
                      <a:pt x="66675" y="130588"/>
                    </a:lnTo>
                    <a:lnTo>
                      <a:pt x="62865" y="137255"/>
                    </a:lnTo>
                    <a:lnTo>
                      <a:pt x="52388" y="144875"/>
                    </a:lnTo>
                    <a:lnTo>
                      <a:pt x="52388" y="151543"/>
                    </a:lnTo>
                    <a:lnTo>
                      <a:pt x="62865" y="165830"/>
                    </a:lnTo>
                    <a:lnTo>
                      <a:pt x="52388" y="172498"/>
                    </a:lnTo>
                    <a:lnTo>
                      <a:pt x="60007" y="193358"/>
                    </a:lnTo>
                    <a:lnTo>
                      <a:pt x="49530" y="201073"/>
                    </a:lnTo>
                    <a:lnTo>
                      <a:pt x="56197" y="218218"/>
                    </a:lnTo>
                    <a:lnTo>
                      <a:pt x="66675" y="218218"/>
                    </a:lnTo>
                    <a:lnTo>
                      <a:pt x="77153" y="225838"/>
                    </a:lnTo>
                    <a:lnTo>
                      <a:pt x="80963" y="240125"/>
                    </a:lnTo>
                    <a:lnTo>
                      <a:pt x="98107" y="250508"/>
                    </a:lnTo>
                    <a:lnTo>
                      <a:pt x="108585" y="246793"/>
                    </a:lnTo>
                    <a:lnTo>
                      <a:pt x="130492" y="236220"/>
                    </a:lnTo>
                    <a:lnTo>
                      <a:pt x="151447" y="232505"/>
                    </a:lnTo>
                    <a:lnTo>
                      <a:pt x="179070" y="232505"/>
                    </a:lnTo>
                    <a:lnTo>
                      <a:pt x="203835" y="221933"/>
                    </a:lnTo>
                    <a:lnTo>
                      <a:pt x="214313" y="204788"/>
                    </a:lnTo>
                    <a:lnTo>
                      <a:pt x="232410" y="201073"/>
                    </a:lnTo>
                    <a:lnTo>
                      <a:pt x="246697" y="180118"/>
                    </a:lnTo>
                    <a:lnTo>
                      <a:pt x="257175" y="168688"/>
                    </a:lnTo>
                    <a:lnTo>
                      <a:pt x="249555" y="151543"/>
                    </a:lnTo>
                    <a:lnTo>
                      <a:pt x="253365" y="133350"/>
                    </a:lnTo>
                    <a:lnTo>
                      <a:pt x="263842" y="120110"/>
                    </a:lnTo>
                    <a:lnTo>
                      <a:pt x="281940" y="102013"/>
                    </a:lnTo>
                    <a:lnTo>
                      <a:pt x="292417" y="84868"/>
                    </a:lnTo>
                    <a:lnTo>
                      <a:pt x="313372" y="84868"/>
                    </a:lnTo>
                    <a:lnTo>
                      <a:pt x="330517" y="74295"/>
                    </a:lnTo>
                    <a:lnTo>
                      <a:pt x="340995" y="66675"/>
                    </a:lnTo>
                    <a:lnTo>
                      <a:pt x="344805" y="49625"/>
                    </a:lnTo>
                    <a:lnTo>
                      <a:pt x="340995" y="42005"/>
                    </a:lnTo>
                    <a:lnTo>
                      <a:pt x="313372" y="42005"/>
                    </a:lnTo>
                    <a:lnTo>
                      <a:pt x="288607" y="3143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3" name="Freeform: Shape 452">
                <a:extLst>
                  <a:ext uri="{FF2B5EF4-FFF2-40B4-BE49-F238E27FC236}">
                    <a16:creationId xmlns:a16="http://schemas.microsoft.com/office/drawing/2014/main" id="{3DF96407-6564-A1A8-F647-EC97DF62406E}"/>
                  </a:ext>
                </a:extLst>
              </p:cNvPr>
              <p:cNvSpPr/>
              <p:nvPr/>
            </p:nvSpPr>
            <p:spPr>
              <a:xfrm>
                <a:off x="6068550" y="2999252"/>
                <a:ext cx="103643" cy="65361"/>
              </a:xfrm>
              <a:custGeom>
                <a:avLst/>
                <a:gdLst>
                  <a:gd name="connsiteX0" fmla="*/ 42863 w 105727"/>
                  <a:gd name="connsiteY0" fmla="*/ 45720 h 66675"/>
                  <a:gd name="connsiteX1" fmla="*/ 63818 w 105727"/>
                  <a:gd name="connsiteY1" fmla="*/ 52388 h 66675"/>
                  <a:gd name="connsiteX2" fmla="*/ 67628 w 105727"/>
                  <a:gd name="connsiteY2" fmla="*/ 60008 h 66675"/>
                  <a:gd name="connsiteX3" fmla="*/ 80963 w 105727"/>
                  <a:gd name="connsiteY3" fmla="*/ 66675 h 66675"/>
                  <a:gd name="connsiteX4" fmla="*/ 92393 w 105727"/>
                  <a:gd name="connsiteY4" fmla="*/ 66675 h 66675"/>
                  <a:gd name="connsiteX5" fmla="*/ 92393 w 105727"/>
                  <a:gd name="connsiteY5" fmla="*/ 45720 h 66675"/>
                  <a:gd name="connsiteX6" fmla="*/ 102870 w 105727"/>
                  <a:gd name="connsiteY6" fmla="*/ 45720 h 66675"/>
                  <a:gd name="connsiteX7" fmla="*/ 105728 w 105727"/>
                  <a:gd name="connsiteY7" fmla="*/ 35338 h 66675"/>
                  <a:gd name="connsiteX8" fmla="*/ 99060 w 105727"/>
                  <a:gd name="connsiteY8" fmla="*/ 21050 h 66675"/>
                  <a:gd name="connsiteX9" fmla="*/ 88583 w 105727"/>
                  <a:gd name="connsiteY9" fmla="*/ 6763 h 66675"/>
                  <a:gd name="connsiteX10" fmla="*/ 88583 w 105727"/>
                  <a:gd name="connsiteY10" fmla="*/ 6763 h 66675"/>
                  <a:gd name="connsiteX11" fmla="*/ 67628 w 105727"/>
                  <a:gd name="connsiteY11" fmla="*/ 0 h 66675"/>
                  <a:gd name="connsiteX12" fmla="*/ 45720 w 105727"/>
                  <a:gd name="connsiteY12" fmla="*/ 2858 h 66675"/>
                  <a:gd name="connsiteX13" fmla="*/ 21908 w 105727"/>
                  <a:gd name="connsiteY13" fmla="*/ 2858 h 66675"/>
                  <a:gd name="connsiteX14" fmla="*/ 0 w 105727"/>
                  <a:gd name="connsiteY14" fmla="*/ 10573 h 66675"/>
                  <a:gd name="connsiteX15" fmla="*/ 18098 w 105727"/>
                  <a:gd name="connsiteY15" fmla="*/ 24860 h 66675"/>
                  <a:gd name="connsiteX16" fmla="*/ 42863 w 105727"/>
                  <a:gd name="connsiteY16" fmla="*/ 4572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5727" h="66675">
                    <a:moveTo>
                      <a:pt x="42863" y="45720"/>
                    </a:moveTo>
                    <a:lnTo>
                      <a:pt x="63818" y="52388"/>
                    </a:lnTo>
                    <a:lnTo>
                      <a:pt x="67628" y="60008"/>
                    </a:lnTo>
                    <a:lnTo>
                      <a:pt x="80963" y="66675"/>
                    </a:lnTo>
                    <a:lnTo>
                      <a:pt x="92393" y="66675"/>
                    </a:lnTo>
                    <a:lnTo>
                      <a:pt x="92393" y="45720"/>
                    </a:lnTo>
                    <a:lnTo>
                      <a:pt x="102870" y="45720"/>
                    </a:lnTo>
                    <a:lnTo>
                      <a:pt x="105728" y="35338"/>
                    </a:lnTo>
                    <a:lnTo>
                      <a:pt x="99060" y="21050"/>
                    </a:lnTo>
                    <a:lnTo>
                      <a:pt x="88583" y="6763"/>
                    </a:lnTo>
                    <a:lnTo>
                      <a:pt x="88583" y="6763"/>
                    </a:lnTo>
                    <a:lnTo>
                      <a:pt x="67628" y="0"/>
                    </a:lnTo>
                    <a:lnTo>
                      <a:pt x="45720" y="2858"/>
                    </a:lnTo>
                    <a:lnTo>
                      <a:pt x="21908" y="2858"/>
                    </a:lnTo>
                    <a:lnTo>
                      <a:pt x="0" y="10573"/>
                    </a:lnTo>
                    <a:lnTo>
                      <a:pt x="18098" y="24860"/>
                    </a:lnTo>
                    <a:lnTo>
                      <a:pt x="42863" y="4572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4" name="Freeform: Shape 453">
                <a:extLst>
                  <a:ext uri="{FF2B5EF4-FFF2-40B4-BE49-F238E27FC236}">
                    <a16:creationId xmlns:a16="http://schemas.microsoft.com/office/drawing/2014/main" id="{07B99C46-E236-60CA-018E-1019907C1FA7}"/>
                  </a:ext>
                </a:extLst>
              </p:cNvPr>
              <p:cNvSpPr/>
              <p:nvPr/>
            </p:nvSpPr>
            <p:spPr>
              <a:xfrm>
                <a:off x="6090026" y="2919885"/>
                <a:ext cx="102709" cy="96174"/>
              </a:xfrm>
              <a:custGeom>
                <a:avLst/>
                <a:gdLst>
                  <a:gd name="connsiteX0" fmla="*/ 45720 w 104774"/>
                  <a:gd name="connsiteY0" fmla="*/ 80963 h 98107"/>
                  <a:gd name="connsiteX1" fmla="*/ 59055 w 104774"/>
                  <a:gd name="connsiteY1" fmla="*/ 83820 h 98107"/>
                  <a:gd name="connsiteX2" fmla="*/ 66675 w 104774"/>
                  <a:gd name="connsiteY2" fmla="*/ 87725 h 98107"/>
                  <a:gd name="connsiteX3" fmla="*/ 66675 w 104774"/>
                  <a:gd name="connsiteY3" fmla="*/ 87725 h 98107"/>
                  <a:gd name="connsiteX4" fmla="*/ 77153 w 104774"/>
                  <a:gd name="connsiteY4" fmla="*/ 98108 h 98107"/>
                  <a:gd name="connsiteX5" fmla="*/ 77153 w 104774"/>
                  <a:gd name="connsiteY5" fmla="*/ 80963 h 98107"/>
                  <a:gd name="connsiteX6" fmla="*/ 77153 w 104774"/>
                  <a:gd name="connsiteY6" fmla="*/ 66675 h 98107"/>
                  <a:gd name="connsiteX7" fmla="*/ 87630 w 104774"/>
                  <a:gd name="connsiteY7" fmla="*/ 60008 h 98107"/>
                  <a:gd name="connsiteX8" fmla="*/ 98107 w 104774"/>
                  <a:gd name="connsiteY8" fmla="*/ 52388 h 98107"/>
                  <a:gd name="connsiteX9" fmla="*/ 98107 w 104774"/>
                  <a:gd name="connsiteY9" fmla="*/ 35338 h 98107"/>
                  <a:gd name="connsiteX10" fmla="*/ 104775 w 104774"/>
                  <a:gd name="connsiteY10" fmla="*/ 23813 h 98107"/>
                  <a:gd name="connsiteX11" fmla="*/ 94297 w 104774"/>
                  <a:gd name="connsiteY11" fmla="*/ 0 h 98107"/>
                  <a:gd name="connsiteX12" fmla="*/ 73342 w 104774"/>
                  <a:gd name="connsiteY12" fmla="*/ 2858 h 98107"/>
                  <a:gd name="connsiteX13" fmla="*/ 59055 w 104774"/>
                  <a:gd name="connsiteY13" fmla="*/ 13430 h 98107"/>
                  <a:gd name="connsiteX14" fmla="*/ 66675 w 104774"/>
                  <a:gd name="connsiteY14" fmla="*/ 35338 h 98107"/>
                  <a:gd name="connsiteX15" fmla="*/ 56197 w 104774"/>
                  <a:gd name="connsiteY15" fmla="*/ 42005 h 98107"/>
                  <a:gd name="connsiteX16" fmla="*/ 52388 w 104774"/>
                  <a:gd name="connsiteY16" fmla="*/ 31433 h 98107"/>
                  <a:gd name="connsiteX17" fmla="*/ 45720 w 104774"/>
                  <a:gd name="connsiteY17" fmla="*/ 21050 h 98107"/>
                  <a:gd name="connsiteX18" fmla="*/ 31432 w 104774"/>
                  <a:gd name="connsiteY18" fmla="*/ 27718 h 98107"/>
                  <a:gd name="connsiteX19" fmla="*/ 27622 w 104774"/>
                  <a:gd name="connsiteY19" fmla="*/ 38100 h 98107"/>
                  <a:gd name="connsiteX20" fmla="*/ 27622 w 104774"/>
                  <a:gd name="connsiteY20" fmla="*/ 56293 h 98107"/>
                  <a:gd name="connsiteX21" fmla="*/ 17145 w 104774"/>
                  <a:gd name="connsiteY21" fmla="*/ 70580 h 98107"/>
                  <a:gd name="connsiteX22" fmla="*/ 0 w 104774"/>
                  <a:gd name="connsiteY22" fmla="*/ 83820 h 98107"/>
                  <a:gd name="connsiteX23" fmla="*/ 23813 w 104774"/>
                  <a:gd name="connsiteY23" fmla="*/ 83820 h 98107"/>
                  <a:gd name="connsiteX24" fmla="*/ 45720 w 104774"/>
                  <a:gd name="connsiteY24" fmla="*/ 80963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04774" h="98107">
                    <a:moveTo>
                      <a:pt x="45720" y="80963"/>
                    </a:moveTo>
                    <a:lnTo>
                      <a:pt x="59055" y="83820"/>
                    </a:lnTo>
                    <a:lnTo>
                      <a:pt x="66675" y="87725"/>
                    </a:lnTo>
                    <a:lnTo>
                      <a:pt x="66675" y="87725"/>
                    </a:lnTo>
                    <a:lnTo>
                      <a:pt x="77153" y="98108"/>
                    </a:lnTo>
                    <a:lnTo>
                      <a:pt x="77153" y="80963"/>
                    </a:lnTo>
                    <a:lnTo>
                      <a:pt x="77153" y="66675"/>
                    </a:lnTo>
                    <a:lnTo>
                      <a:pt x="87630" y="60008"/>
                    </a:lnTo>
                    <a:lnTo>
                      <a:pt x="98107" y="52388"/>
                    </a:lnTo>
                    <a:lnTo>
                      <a:pt x="98107" y="35338"/>
                    </a:lnTo>
                    <a:lnTo>
                      <a:pt x="104775" y="23813"/>
                    </a:lnTo>
                    <a:lnTo>
                      <a:pt x="94297" y="0"/>
                    </a:lnTo>
                    <a:lnTo>
                      <a:pt x="73342" y="2858"/>
                    </a:lnTo>
                    <a:lnTo>
                      <a:pt x="59055" y="13430"/>
                    </a:lnTo>
                    <a:lnTo>
                      <a:pt x="66675" y="35338"/>
                    </a:lnTo>
                    <a:lnTo>
                      <a:pt x="56197" y="42005"/>
                    </a:lnTo>
                    <a:lnTo>
                      <a:pt x="52388" y="31433"/>
                    </a:lnTo>
                    <a:lnTo>
                      <a:pt x="45720" y="21050"/>
                    </a:lnTo>
                    <a:lnTo>
                      <a:pt x="31432" y="27718"/>
                    </a:lnTo>
                    <a:lnTo>
                      <a:pt x="27622" y="38100"/>
                    </a:lnTo>
                    <a:lnTo>
                      <a:pt x="27622" y="56293"/>
                    </a:lnTo>
                    <a:lnTo>
                      <a:pt x="17145" y="70580"/>
                    </a:lnTo>
                    <a:lnTo>
                      <a:pt x="0" y="83820"/>
                    </a:lnTo>
                    <a:lnTo>
                      <a:pt x="23813" y="83820"/>
                    </a:lnTo>
                    <a:lnTo>
                      <a:pt x="45720" y="809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5" name="Freeform: Shape 454">
                <a:extLst>
                  <a:ext uri="{FF2B5EF4-FFF2-40B4-BE49-F238E27FC236}">
                    <a16:creationId xmlns:a16="http://schemas.microsoft.com/office/drawing/2014/main" id="{AD1BB405-B385-56B0-D0DB-3F64C3B72F95}"/>
                  </a:ext>
                </a:extLst>
              </p:cNvPr>
              <p:cNvSpPr/>
              <p:nvPr/>
            </p:nvSpPr>
            <p:spPr>
              <a:xfrm>
                <a:off x="6134844" y="2999252"/>
                <a:ext cx="20542" cy="6629"/>
              </a:xfrm>
              <a:custGeom>
                <a:avLst/>
                <a:gdLst>
                  <a:gd name="connsiteX0" fmla="*/ 0 w 20955"/>
                  <a:gd name="connsiteY0" fmla="*/ 0 h 6762"/>
                  <a:gd name="connsiteX1" fmla="*/ 20955 w 20955"/>
                  <a:gd name="connsiteY1" fmla="*/ 6763 h 6762"/>
                  <a:gd name="connsiteX2" fmla="*/ 13335 w 20955"/>
                  <a:gd name="connsiteY2" fmla="*/ 2858 h 6762"/>
                  <a:gd name="connsiteX3" fmla="*/ 0 w 20955"/>
                  <a:gd name="connsiteY3" fmla="*/ 0 h 6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" h="6762">
                    <a:moveTo>
                      <a:pt x="0" y="0"/>
                    </a:moveTo>
                    <a:lnTo>
                      <a:pt x="20955" y="6763"/>
                    </a:lnTo>
                    <a:lnTo>
                      <a:pt x="13335" y="285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6" name="Freeform: Shape 455">
                <a:extLst>
                  <a:ext uri="{FF2B5EF4-FFF2-40B4-BE49-F238E27FC236}">
                    <a16:creationId xmlns:a16="http://schemas.microsoft.com/office/drawing/2014/main" id="{1C81B367-7AD4-2FF8-AC99-54DB7F1AE52D}"/>
                  </a:ext>
                </a:extLst>
              </p:cNvPr>
              <p:cNvSpPr/>
              <p:nvPr/>
            </p:nvSpPr>
            <p:spPr>
              <a:xfrm>
                <a:off x="6186199" y="3151451"/>
                <a:ext cx="323069" cy="303462"/>
              </a:xfrm>
              <a:custGeom>
                <a:avLst/>
                <a:gdLst>
                  <a:gd name="connsiteX0" fmla="*/ 280035 w 329565"/>
                  <a:gd name="connsiteY0" fmla="*/ 278130 h 309562"/>
                  <a:gd name="connsiteX1" fmla="*/ 294322 w 329565"/>
                  <a:gd name="connsiteY1" fmla="*/ 274415 h 309562"/>
                  <a:gd name="connsiteX2" fmla="*/ 290513 w 329565"/>
                  <a:gd name="connsiteY2" fmla="*/ 267748 h 309562"/>
                  <a:gd name="connsiteX3" fmla="*/ 283845 w 329565"/>
                  <a:gd name="connsiteY3" fmla="*/ 261080 h 309562"/>
                  <a:gd name="connsiteX4" fmla="*/ 273367 w 329565"/>
                  <a:gd name="connsiteY4" fmla="*/ 246793 h 309562"/>
                  <a:gd name="connsiteX5" fmla="*/ 280035 w 329565"/>
                  <a:gd name="connsiteY5" fmla="*/ 232505 h 309562"/>
                  <a:gd name="connsiteX6" fmla="*/ 294322 w 329565"/>
                  <a:gd name="connsiteY6" fmla="*/ 228600 h 309562"/>
                  <a:gd name="connsiteX7" fmla="*/ 308610 w 329565"/>
                  <a:gd name="connsiteY7" fmla="*/ 239173 h 309562"/>
                  <a:gd name="connsiteX8" fmla="*/ 319088 w 329565"/>
                  <a:gd name="connsiteY8" fmla="*/ 249555 h 309562"/>
                  <a:gd name="connsiteX9" fmla="*/ 329565 w 329565"/>
                  <a:gd name="connsiteY9" fmla="*/ 242888 h 309562"/>
                  <a:gd name="connsiteX10" fmla="*/ 321945 w 329565"/>
                  <a:gd name="connsiteY10" fmla="*/ 232505 h 309562"/>
                  <a:gd name="connsiteX11" fmla="*/ 308610 w 329565"/>
                  <a:gd name="connsiteY11" fmla="*/ 218218 h 309562"/>
                  <a:gd name="connsiteX12" fmla="*/ 283845 w 329565"/>
                  <a:gd name="connsiteY12" fmla="*/ 207740 h 309562"/>
                  <a:gd name="connsiteX13" fmla="*/ 265747 w 329565"/>
                  <a:gd name="connsiteY13" fmla="*/ 201073 h 309562"/>
                  <a:gd name="connsiteX14" fmla="*/ 255270 w 329565"/>
                  <a:gd name="connsiteY14" fmla="*/ 190500 h 309562"/>
                  <a:gd name="connsiteX15" fmla="*/ 262890 w 329565"/>
                  <a:gd name="connsiteY15" fmla="*/ 186785 h 309562"/>
                  <a:gd name="connsiteX16" fmla="*/ 255270 w 329565"/>
                  <a:gd name="connsiteY16" fmla="*/ 179165 h 309562"/>
                  <a:gd name="connsiteX17" fmla="*/ 227647 w 329565"/>
                  <a:gd name="connsiteY17" fmla="*/ 179165 h 309562"/>
                  <a:gd name="connsiteX18" fmla="*/ 209550 w 329565"/>
                  <a:gd name="connsiteY18" fmla="*/ 165830 h 309562"/>
                  <a:gd name="connsiteX19" fmla="*/ 199072 w 329565"/>
                  <a:gd name="connsiteY19" fmla="*/ 147638 h 309562"/>
                  <a:gd name="connsiteX20" fmla="*/ 195263 w 329565"/>
                  <a:gd name="connsiteY20" fmla="*/ 126778 h 309562"/>
                  <a:gd name="connsiteX21" fmla="*/ 178117 w 329565"/>
                  <a:gd name="connsiteY21" fmla="*/ 116205 h 309562"/>
                  <a:gd name="connsiteX22" fmla="*/ 160020 w 329565"/>
                  <a:gd name="connsiteY22" fmla="*/ 105823 h 309562"/>
                  <a:gd name="connsiteX23" fmla="*/ 146685 w 329565"/>
                  <a:gd name="connsiteY23" fmla="*/ 91535 h 309562"/>
                  <a:gd name="connsiteX24" fmla="*/ 146685 w 329565"/>
                  <a:gd name="connsiteY24" fmla="*/ 73342 h 309562"/>
                  <a:gd name="connsiteX25" fmla="*/ 146685 w 329565"/>
                  <a:gd name="connsiteY25" fmla="*/ 56293 h 309562"/>
                  <a:gd name="connsiteX26" fmla="*/ 167640 w 329565"/>
                  <a:gd name="connsiteY26" fmla="*/ 45815 h 309562"/>
                  <a:gd name="connsiteX27" fmla="*/ 178117 w 329565"/>
                  <a:gd name="connsiteY27" fmla="*/ 42005 h 309562"/>
                  <a:gd name="connsiteX28" fmla="*/ 181928 w 329565"/>
                  <a:gd name="connsiteY28" fmla="*/ 27718 h 309562"/>
                  <a:gd name="connsiteX29" fmla="*/ 192405 w 329565"/>
                  <a:gd name="connsiteY29" fmla="*/ 13430 h 309562"/>
                  <a:gd name="connsiteX30" fmla="*/ 163830 w 329565"/>
                  <a:gd name="connsiteY30" fmla="*/ 17240 h 309562"/>
                  <a:gd name="connsiteX31" fmla="*/ 146685 w 329565"/>
                  <a:gd name="connsiteY31" fmla="*/ 10573 h 309562"/>
                  <a:gd name="connsiteX32" fmla="*/ 146685 w 329565"/>
                  <a:gd name="connsiteY32" fmla="*/ 0 h 309562"/>
                  <a:gd name="connsiteX33" fmla="*/ 120015 w 329565"/>
                  <a:gd name="connsiteY33" fmla="*/ 0 h 309562"/>
                  <a:gd name="connsiteX34" fmla="*/ 116205 w 329565"/>
                  <a:gd name="connsiteY34" fmla="*/ 10573 h 309562"/>
                  <a:gd name="connsiteX35" fmla="*/ 99060 w 329565"/>
                  <a:gd name="connsiteY35" fmla="*/ 10573 h 309562"/>
                  <a:gd name="connsiteX36" fmla="*/ 91440 w 329565"/>
                  <a:gd name="connsiteY36" fmla="*/ 24860 h 309562"/>
                  <a:gd name="connsiteX37" fmla="*/ 74295 w 329565"/>
                  <a:gd name="connsiteY37" fmla="*/ 27718 h 309562"/>
                  <a:gd name="connsiteX38" fmla="*/ 63817 w 329565"/>
                  <a:gd name="connsiteY38" fmla="*/ 17240 h 309562"/>
                  <a:gd name="connsiteX39" fmla="*/ 63817 w 329565"/>
                  <a:gd name="connsiteY39" fmla="*/ 35242 h 309562"/>
                  <a:gd name="connsiteX40" fmla="*/ 56197 w 329565"/>
                  <a:gd name="connsiteY40" fmla="*/ 38100 h 309562"/>
                  <a:gd name="connsiteX41" fmla="*/ 56197 w 329565"/>
                  <a:gd name="connsiteY41" fmla="*/ 38100 h 309562"/>
                  <a:gd name="connsiteX42" fmla="*/ 56197 w 329565"/>
                  <a:gd name="connsiteY42" fmla="*/ 38100 h 309562"/>
                  <a:gd name="connsiteX43" fmla="*/ 45720 w 329565"/>
                  <a:gd name="connsiteY43" fmla="*/ 35242 h 309562"/>
                  <a:gd name="connsiteX44" fmla="*/ 35242 w 329565"/>
                  <a:gd name="connsiteY44" fmla="*/ 27718 h 309562"/>
                  <a:gd name="connsiteX45" fmla="*/ 28575 w 329565"/>
                  <a:gd name="connsiteY45" fmla="*/ 31528 h 309562"/>
                  <a:gd name="connsiteX46" fmla="*/ 28575 w 329565"/>
                  <a:gd name="connsiteY46" fmla="*/ 38100 h 309562"/>
                  <a:gd name="connsiteX47" fmla="*/ 3810 w 329565"/>
                  <a:gd name="connsiteY47" fmla="*/ 42005 h 309562"/>
                  <a:gd name="connsiteX48" fmla="*/ 3810 w 329565"/>
                  <a:gd name="connsiteY48" fmla="*/ 52388 h 309562"/>
                  <a:gd name="connsiteX49" fmla="*/ 6667 w 329565"/>
                  <a:gd name="connsiteY49" fmla="*/ 60103 h 309562"/>
                  <a:gd name="connsiteX50" fmla="*/ 0 w 329565"/>
                  <a:gd name="connsiteY50" fmla="*/ 73342 h 309562"/>
                  <a:gd name="connsiteX51" fmla="*/ 3810 w 329565"/>
                  <a:gd name="connsiteY51" fmla="*/ 101917 h 309562"/>
                  <a:gd name="connsiteX52" fmla="*/ 18097 w 329565"/>
                  <a:gd name="connsiteY52" fmla="*/ 101917 h 309562"/>
                  <a:gd name="connsiteX53" fmla="*/ 18097 w 329565"/>
                  <a:gd name="connsiteY53" fmla="*/ 116205 h 309562"/>
                  <a:gd name="connsiteX54" fmla="*/ 31433 w 329565"/>
                  <a:gd name="connsiteY54" fmla="*/ 112490 h 309562"/>
                  <a:gd name="connsiteX55" fmla="*/ 35242 w 329565"/>
                  <a:gd name="connsiteY55" fmla="*/ 101917 h 309562"/>
                  <a:gd name="connsiteX56" fmla="*/ 45720 w 329565"/>
                  <a:gd name="connsiteY56" fmla="*/ 91535 h 309562"/>
                  <a:gd name="connsiteX57" fmla="*/ 70485 w 329565"/>
                  <a:gd name="connsiteY57" fmla="*/ 98203 h 309562"/>
                  <a:gd name="connsiteX58" fmla="*/ 91440 w 329565"/>
                  <a:gd name="connsiteY58" fmla="*/ 105823 h 309562"/>
                  <a:gd name="connsiteX59" fmla="*/ 95250 w 329565"/>
                  <a:gd name="connsiteY59" fmla="*/ 119063 h 309562"/>
                  <a:gd name="connsiteX60" fmla="*/ 99060 w 329565"/>
                  <a:gd name="connsiteY60" fmla="*/ 147638 h 309562"/>
                  <a:gd name="connsiteX61" fmla="*/ 132397 w 329565"/>
                  <a:gd name="connsiteY61" fmla="*/ 161925 h 309562"/>
                  <a:gd name="connsiteX62" fmla="*/ 146685 w 329565"/>
                  <a:gd name="connsiteY62" fmla="*/ 168592 h 309562"/>
                  <a:gd name="connsiteX63" fmla="*/ 167640 w 329565"/>
                  <a:gd name="connsiteY63" fmla="*/ 197167 h 309562"/>
                  <a:gd name="connsiteX64" fmla="*/ 192405 w 329565"/>
                  <a:gd name="connsiteY64" fmla="*/ 197167 h 309562"/>
                  <a:gd name="connsiteX65" fmla="*/ 209550 w 329565"/>
                  <a:gd name="connsiteY65" fmla="*/ 222028 h 309562"/>
                  <a:gd name="connsiteX66" fmla="*/ 227647 w 329565"/>
                  <a:gd name="connsiteY66" fmla="*/ 222028 h 309562"/>
                  <a:gd name="connsiteX67" fmla="*/ 230505 w 329565"/>
                  <a:gd name="connsiteY67" fmla="*/ 232505 h 309562"/>
                  <a:gd name="connsiteX68" fmla="*/ 251460 w 329565"/>
                  <a:gd name="connsiteY68" fmla="*/ 239173 h 309562"/>
                  <a:gd name="connsiteX69" fmla="*/ 259080 w 329565"/>
                  <a:gd name="connsiteY69" fmla="*/ 261080 h 309562"/>
                  <a:gd name="connsiteX70" fmla="*/ 251460 w 329565"/>
                  <a:gd name="connsiteY70" fmla="*/ 284893 h 309562"/>
                  <a:gd name="connsiteX71" fmla="*/ 248603 w 329565"/>
                  <a:gd name="connsiteY71" fmla="*/ 299180 h 309562"/>
                  <a:gd name="connsiteX72" fmla="*/ 255270 w 329565"/>
                  <a:gd name="connsiteY72" fmla="*/ 309563 h 309562"/>
                  <a:gd name="connsiteX73" fmla="*/ 265747 w 329565"/>
                  <a:gd name="connsiteY73" fmla="*/ 302990 h 309562"/>
                  <a:gd name="connsiteX74" fmla="*/ 276225 w 329565"/>
                  <a:gd name="connsiteY74" fmla="*/ 288703 h 309562"/>
                  <a:gd name="connsiteX75" fmla="*/ 280035 w 329565"/>
                  <a:gd name="connsiteY75" fmla="*/ 278130 h 309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29565" h="309562">
                    <a:moveTo>
                      <a:pt x="280035" y="278130"/>
                    </a:moveTo>
                    <a:lnTo>
                      <a:pt x="294322" y="274415"/>
                    </a:lnTo>
                    <a:lnTo>
                      <a:pt x="290513" y="267748"/>
                    </a:lnTo>
                    <a:lnTo>
                      <a:pt x="283845" y="261080"/>
                    </a:lnTo>
                    <a:lnTo>
                      <a:pt x="273367" y="246793"/>
                    </a:lnTo>
                    <a:lnTo>
                      <a:pt x="280035" y="232505"/>
                    </a:lnTo>
                    <a:lnTo>
                      <a:pt x="294322" y="228600"/>
                    </a:lnTo>
                    <a:lnTo>
                      <a:pt x="308610" y="239173"/>
                    </a:lnTo>
                    <a:lnTo>
                      <a:pt x="319088" y="249555"/>
                    </a:lnTo>
                    <a:lnTo>
                      <a:pt x="329565" y="242888"/>
                    </a:lnTo>
                    <a:lnTo>
                      <a:pt x="321945" y="232505"/>
                    </a:lnTo>
                    <a:lnTo>
                      <a:pt x="308610" y="218218"/>
                    </a:lnTo>
                    <a:lnTo>
                      <a:pt x="283845" y="207740"/>
                    </a:lnTo>
                    <a:lnTo>
                      <a:pt x="265747" y="201073"/>
                    </a:lnTo>
                    <a:lnTo>
                      <a:pt x="255270" y="190500"/>
                    </a:lnTo>
                    <a:lnTo>
                      <a:pt x="262890" y="186785"/>
                    </a:lnTo>
                    <a:lnTo>
                      <a:pt x="255270" y="179165"/>
                    </a:lnTo>
                    <a:lnTo>
                      <a:pt x="227647" y="179165"/>
                    </a:lnTo>
                    <a:lnTo>
                      <a:pt x="209550" y="165830"/>
                    </a:lnTo>
                    <a:lnTo>
                      <a:pt x="199072" y="147638"/>
                    </a:lnTo>
                    <a:lnTo>
                      <a:pt x="195263" y="126778"/>
                    </a:lnTo>
                    <a:lnTo>
                      <a:pt x="178117" y="116205"/>
                    </a:lnTo>
                    <a:lnTo>
                      <a:pt x="160020" y="105823"/>
                    </a:lnTo>
                    <a:lnTo>
                      <a:pt x="146685" y="91535"/>
                    </a:lnTo>
                    <a:lnTo>
                      <a:pt x="146685" y="73342"/>
                    </a:lnTo>
                    <a:lnTo>
                      <a:pt x="146685" y="56293"/>
                    </a:lnTo>
                    <a:lnTo>
                      <a:pt x="167640" y="45815"/>
                    </a:lnTo>
                    <a:lnTo>
                      <a:pt x="178117" y="42005"/>
                    </a:lnTo>
                    <a:lnTo>
                      <a:pt x="181928" y="27718"/>
                    </a:lnTo>
                    <a:lnTo>
                      <a:pt x="192405" y="13430"/>
                    </a:lnTo>
                    <a:lnTo>
                      <a:pt x="163830" y="17240"/>
                    </a:lnTo>
                    <a:lnTo>
                      <a:pt x="146685" y="10573"/>
                    </a:lnTo>
                    <a:lnTo>
                      <a:pt x="146685" y="0"/>
                    </a:lnTo>
                    <a:lnTo>
                      <a:pt x="120015" y="0"/>
                    </a:lnTo>
                    <a:lnTo>
                      <a:pt x="116205" y="10573"/>
                    </a:lnTo>
                    <a:lnTo>
                      <a:pt x="99060" y="10573"/>
                    </a:lnTo>
                    <a:lnTo>
                      <a:pt x="91440" y="24860"/>
                    </a:lnTo>
                    <a:lnTo>
                      <a:pt x="74295" y="27718"/>
                    </a:lnTo>
                    <a:lnTo>
                      <a:pt x="63817" y="17240"/>
                    </a:lnTo>
                    <a:lnTo>
                      <a:pt x="63817" y="35242"/>
                    </a:lnTo>
                    <a:lnTo>
                      <a:pt x="56197" y="38100"/>
                    </a:lnTo>
                    <a:lnTo>
                      <a:pt x="56197" y="38100"/>
                    </a:lnTo>
                    <a:lnTo>
                      <a:pt x="56197" y="38100"/>
                    </a:lnTo>
                    <a:lnTo>
                      <a:pt x="45720" y="35242"/>
                    </a:lnTo>
                    <a:lnTo>
                      <a:pt x="35242" y="27718"/>
                    </a:lnTo>
                    <a:lnTo>
                      <a:pt x="28575" y="31528"/>
                    </a:lnTo>
                    <a:lnTo>
                      <a:pt x="28575" y="38100"/>
                    </a:lnTo>
                    <a:lnTo>
                      <a:pt x="3810" y="42005"/>
                    </a:lnTo>
                    <a:lnTo>
                      <a:pt x="3810" y="52388"/>
                    </a:lnTo>
                    <a:lnTo>
                      <a:pt x="6667" y="60103"/>
                    </a:lnTo>
                    <a:lnTo>
                      <a:pt x="0" y="73342"/>
                    </a:lnTo>
                    <a:lnTo>
                      <a:pt x="3810" y="101917"/>
                    </a:lnTo>
                    <a:lnTo>
                      <a:pt x="18097" y="101917"/>
                    </a:lnTo>
                    <a:lnTo>
                      <a:pt x="18097" y="116205"/>
                    </a:lnTo>
                    <a:lnTo>
                      <a:pt x="31433" y="112490"/>
                    </a:lnTo>
                    <a:lnTo>
                      <a:pt x="35242" y="101917"/>
                    </a:lnTo>
                    <a:lnTo>
                      <a:pt x="45720" y="91535"/>
                    </a:lnTo>
                    <a:lnTo>
                      <a:pt x="70485" y="98203"/>
                    </a:lnTo>
                    <a:lnTo>
                      <a:pt x="91440" y="105823"/>
                    </a:lnTo>
                    <a:lnTo>
                      <a:pt x="95250" y="119063"/>
                    </a:lnTo>
                    <a:lnTo>
                      <a:pt x="99060" y="147638"/>
                    </a:lnTo>
                    <a:lnTo>
                      <a:pt x="132397" y="161925"/>
                    </a:lnTo>
                    <a:lnTo>
                      <a:pt x="146685" y="168592"/>
                    </a:lnTo>
                    <a:lnTo>
                      <a:pt x="167640" y="197167"/>
                    </a:lnTo>
                    <a:lnTo>
                      <a:pt x="192405" y="197167"/>
                    </a:lnTo>
                    <a:lnTo>
                      <a:pt x="209550" y="222028"/>
                    </a:lnTo>
                    <a:lnTo>
                      <a:pt x="227647" y="222028"/>
                    </a:lnTo>
                    <a:lnTo>
                      <a:pt x="230505" y="232505"/>
                    </a:lnTo>
                    <a:lnTo>
                      <a:pt x="251460" y="239173"/>
                    </a:lnTo>
                    <a:lnTo>
                      <a:pt x="259080" y="261080"/>
                    </a:lnTo>
                    <a:lnTo>
                      <a:pt x="251460" y="284893"/>
                    </a:lnTo>
                    <a:lnTo>
                      <a:pt x="248603" y="299180"/>
                    </a:lnTo>
                    <a:lnTo>
                      <a:pt x="255270" y="309563"/>
                    </a:lnTo>
                    <a:lnTo>
                      <a:pt x="265747" y="302990"/>
                    </a:lnTo>
                    <a:lnTo>
                      <a:pt x="276225" y="288703"/>
                    </a:lnTo>
                    <a:lnTo>
                      <a:pt x="280035" y="27813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7" name="Freeform: Shape 456">
                <a:extLst>
                  <a:ext uri="{FF2B5EF4-FFF2-40B4-BE49-F238E27FC236}">
                    <a16:creationId xmlns:a16="http://schemas.microsoft.com/office/drawing/2014/main" id="{81C82DA0-9AB3-357E-E56E-0158D999FB04}"/>
                  </a:ext>
                </a:extLst>
              </p:cNvPr>
              <p:cNvSpPr/>
              <p:nvPr/>
            </p:nvSpPr>
            <p:spPr>
              <a:xfrm>
                <a:off x="6231018" y="3185998"/>
                <a:ext cx="10270" cy="2801"/>
              </a:xfrm>
              <a:custGeom>
                <a:avLst/>
                <a:gdLst>
                  <a:gd name="connsiteX0" fmla="*/ 10477 w 10477"/>
                  <a:gd name="connsiteY0" fmla="*/ 2858 h 2857"/>
                  <a:gd name="connsiteX1" fmla="*/ 10477 w 10477"/>
                  <a:gd name="connsiteY1" fmla="*/ 2858 h 2857"/>
                  <a:gd name="connsiteX2" fmla="*/ 0 w 10477"/>
                  <a:gd name="connsiteY2" fmla="*/ 0 h 2857"/>
                  <a:gd name="connsiteX3" fmla="*/ 10477 w 10477"/>
                  <a:gd name="connsiteY3" fmla="*/ 2858 h 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" h="2857">
                    <a:moveTo>
                      <a:pt x="10477" y="2858"/>
                    </a:moveTo>
                    <a:lnTo>
                      <a:pt x="10477" y="2858"/>
                    </a:lnTo>
                    <a:lnTo>
                      <a:pt x="0" y="0"/>
                    </a:lnTo>
                    <a:lnTo>
                      <a:pt x="10477" y="285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8" name="Freeform: Shape 457">
                <a:extLst>
                  <a:ext uri="{FF2B5EF4-FFF2-40B4-BE49-F238E27FC236}">
                    <a16:creationId xmlns:a16="http://schemas.microsoft.com/office/drawing/2014/main" id="{8A6B2747-A3DC-308B-6F06-8E431D4934B1}"/>
                  </a:ext>
                </a:extLst>
              </p:cNvPr>
              <p:cNvSpPr/>
              <p:nvPr/>
            </p:nvSpPr>
            <p:spPr>
              <a:xfrm>
                <a:off x="9122763" y="5159908"/>
                <a:ext cx="10270" cy="10271"/>
              </a:xfrm>
              <a:custGeom>
                <a:avLst/>
                <a:gdLst>
                  <a:gd name="connsiteX0" fmla="*/ 0 w 10477"/>
                  <a:gd name="connsiteY0" fmla="*/ 0 h 10477"/>
                  <a:gd name="connsiteX1" fmla="*/ 0 w 10477"/>
                  <a:gd name="connsiteY1" fmla="*/ 0 h 10477"/>
                  <a:gd name="connsiteX2" fmla="*/ 10477 w 10477"/>
                  <a:gd name="connsiteY2" fmla="*/ 10478 h 10477"/>
                  <a:gd name="connsiteX3" fmla="*/ 0 w 10477"/>
                  <a:gd name="connsiteY3" fmla="*/ 0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" h="10477">
                    <a:moveTo>
                      <a:pt x="0" y="0"/>
                    </a:moveTo>
                    <a:lnTo>
                      <a:pt x="0" y="0"/>
                    </a:lnTo>
                    <a:lnTo>
                      <a:pt x="10477" y="1047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9" name="Freeform: Shape 458">
                <a:extLst>
                  <a:ext uri="{FF2B5EF4-FFF2-40B4-BE49-F238E27FC236}">
                    <a16:creationId xmlns:a16="http://schemas.microsoft.com/office/drawing/2014/main" id="{8792357E-1BC0-9ED1-3189-9EFDE22274D5}"/>
                  </a:ext>
                </a:extLst>
              </p:cNvPr>
              <p:cNvSpPr/>
              <p:nvPr/>
            </p:nvSpPr>
            <p:spPr>
              <a:xfrm>
                <a:off x="9478511" y="4931143"/>
                <a:ext cx="16806" cy="10271"/>
              </a:xfrm>
              <a:custGeom>
                <a:avLst/>
                <a:gdLst>
                  <a:gd name="connsiteX0" fmla="*/ 0 w 17144"/>
                  <a:gd name="connsiteY0" fmla="*/ 0 h 10477"/>
                  <a:gd name="connsiteX1" fmla="*/ 0 w 17144"/>
                  <a:gd name="connsiteY1" fmla="*/ 0 h 10477"/>
                  <a:gd name="connsiteX2" fmla="*/ 17145 w 17144"/>
                  <a:gd name="connsiteY2" fmla="*/ 10478 h 10477"/>
                  <a:gd name="connsiteX3" fmla="*/ 0 w 17144"/>
                  <a:gd name="connsiteY3" fmla="*/ 0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4" h="10477">
                    <a:moveTo>
                      <a:pt x="0" y="0"/>
                    </a:moveTo>
                    <a:lnTo>
                      <a:pt x="0" y="0"/>
                    </a:lnTo>
                    <a:lnTo>
                      <a:pt x="17145" y="1047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0" name="Freeform: Shape 459">
                <a:extLst>
                  <a:ext uri="{FF2B5EF4-FFF2-40B4-BE49-F238E27FC236}">
                    <a16:creationId xmlns:a16="http://schemas.microsoft.com/office/drawing/2014/main" id="{4AC5905C-671C-01C1-EC37-1DB4D04F86EE}"/>
                  </a:ext>
                </a:extLst>
              </p:cNvPr>
              <p:cNvSpPr/>
              <p:nvPr/>
            </p:nvSpPr>
            <p:spPr>
              <a:xfrm>
                <a:off x="9785707" y="5529666"/>
                <a:ext cx="13071" cy="24370"/>
              </a:xfrm>
              <a:custGeom>
                <a:avLst/>
                <a:gdLst>
                  <a:gd name="connsiteX0" fmla="*/ 0 w 13334"/>
                  <a:gd name="connsiteY0" fmla="*/ 0 h 24860"/>
                  <a:gd name="connsiteX1" fmla="*/ 13335 w 13334"/>
                  <a:gd name="connsiteY1" fmla="*/ 6763 h 24860"/>
                  <a:gd name="connsiteX2" fmla="*/ 2857 w 13334"/>
                  <a:gd name="connsiteY2" fmla="*/ 24860 h 24860"/>
                  <a:gd name="connsiteX3" fmla="*/ 13335 w 13334"/>
                  <a:gd name="connsiteY3" fmla="*/ 6763 h 24860"/>
                  <a:gd name="connsiteX4" fmla="*/ 0 w 13334"/>
                  <a:gd name="connsiteY4" fmla="*/ 0 h 2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4" h="24860">
                    <a:moveTo>
                      <a:pt x="0" y="0"/>
                    </a:moveTo>
                    <a:lnTo>
                      <a:pt x="13335" y="6763"/>
                    </a:lnTo>
                    <a:lnTo>
                      <a:pt x="2857" y="24860"/>
                    </a:lnTo>
                    <a:lnTo>
                      <a:pt x="13335" y="676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1" name="Freeform: Shape 460">
                <a:extLst>
                  <a:ext uri="{FF2B5EF4-FFF2-40B4-BE49-F238E27FC236}">
                    <a16:creationId xmlns:a16="http://schemas.microsoft.com/office/drawing/2014/main" id="{99234D1B-56C5-4B47-04FF-EDF13DC3D82E}"/>
                  </a:ext>
                </a:extLst>
              </p:cNvPr>
              <p:cNvSpPr/>
              <p:nvPr/>
            </p:nvSpPr>
            <p:spPr>
              <a:xfrm>
                <a:off x="10006065" y="5664123"/>
                <a:ext cx="14005" cy="6629"/>
              </a:xfrm>
              <a:custGeom>
                <a:avLst/>
                <a:gdLst>
                  <a:gd name="connsiteX0" fmla="*/ 0 w 14287"/>
                  <a:gd name="connsiteY0" fmla="*/ 6763 h 6762"/>
                  <a:gd name="connsiteX1" fmla="*/ 10477 w 14287"/>
                  <a:gd name="connsiteY1" fmla="*/ 3905 h 6762"/>
                  <a:gd name="connsiteX2" fmla="*/ 14288 w 14287"/>
                  <a:gd name="connsiteY2" fmla="*/ 0 h 6762"/>
                  <a:gd name="connsiteX3" fmla="*/ 10477 w 14287"/>
                  <a:gd name="connsiteY3" fmla="*/ 3905 h 6762"/>
                  <a:gd name="connsiteX4" fmla="*/ 0 w 14287"/>
                  <a:gd name="connsiteY4" fmla="*/ 6763 h 6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7" h="6762">
                    <a:moveTo>
                      <a:pt x="0" y="6763"/>
                    </a:moveTo>
                    <a:lnTo>
                      <a:pt x="10477" y="3905"/>
                    </a:lnTo>
                    <a:lnTo>
                      <a:pt x="14288" y="0"/>
                    </a:lnTo>
                    <a:lnTo>
                      <a:pt x="10477" y="3905"/>
                    </a:lnTo>
                    <a:lnTo>
                      <a:pt x="0" y="67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2" name="Freeform: Shape 461">
                <a:extLst>
                  <a:ext uri="{FF2B5EF4-FFF2-40B4-BE49-F238E27FC236}">
                    <a16:creationId xmlns:a16="http://schemas.microsoft.com/office/drawing/2014/main" id="{9B349532-167B-8CCE-3957-374CC8947A3F}"/>
                  </a:ext>
                </a:extLst>
              </p:cNvPr>
              <p:cNvSpPr/>
              <p:nvPr/>
            </p:nvSpPr>
            <p:spPr>
              <a:xfrm>
                <a:off x="10006065" y="5062800"/>
                <a:ext cx="31747" cy="24370"/>
              </a:xfrm>
              <a:custGeom>
                <a:avLst/>
                <a:gdLst>
                  <a:gd name="connsiteX0" fmla="*/ 32385 w 32385"/>
                  <a:gd name="connsiteY0" fmla="*/ 24860 h 24860"/>
                  <a:gd name="connsiteX1" fmla="*/ 10477 w 32385"/>
                  <a:gd name="connsiteY1" fmla="*/ 17240 h 24860"/>
                  <a:gd name="connsiteX2" fmla="*/ 0 w 32385"/>
                  <a:gd name="connsiteY2" fmla="*/ 0 h 24860"/>
                  <a:gd name="connsiteX3" fmla="*/ 10477 w 32385"/>
                  <a:gd name="connsiteY3" fmla="*/ 17240 h 24860"/>
                  <a:gd name="connsiteX4" fmla="*/ 32385 w 32385"/>
                  <a:gd name="connsiteY4" fmla="*/ 24860 h 2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385" h="24860">
                    <a:moveTo>
                      <a:pt x="32385" y="24860"/>
                    </a:moveTo>
                    <a:lnTo>
                      <a:pt x="10477" y="17240"/>
                    </a:lnTo>
                    <a:lnTo>
                      <a:pt x="0" y="0"/>
                    </a:lnTo>
                    <a:lnTo>
                      <a:pt x="10477" y="17240"/>
                    </a:lnTo>
                    <a:lnTo>
                      <a:pt x="32385" y="2486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3" name="Freeform: Shape 462">
                <a:extLst>
                  <a:ext uri="{FF2B5EF4-FFF2-40B4-BE49-F238E27FC236}">
                    <a16:creationId xmlns:a16="http://schemas.microsoft.com/office/drawing/2014/main" id="{CDDD373E-CFC9-4291-175F-E2B5B2A5F10D}"/>
                  </a:ext>
                </a:extLst>
              </p:cNvPr>
              <p:cNvSpPr/>
              <p:nvPr/>
            </p:nvSpPr>
            <p:spPr>
              <a:xfrm>
                <a:off x="10192810" y="5335542"/>
                <a:ext cx="10270" cy="69095"/>
              </a:xfrm>
              <a:custGeom>
                <a:avLst/>
                <a:gdLst>
                  <a:gd name="connsiteX0" fmla="*/ 10477 w 10477"/>
                  <a:gd name="connsiteY0" fmla="*/ 32385 h 70484"/>
                  <a:gd name="connsiteX1" fmla="*/ 0 w 10477"/>
                  <a:gd name="connsiteY1" fmla="*/ 70485 h 70484"/>
                  <a:gd name="connsiteX2" fmla="*/ 10477 w 10477"/>
                  <a:gd name="connsiteY2" fmla="*/ 32385 h 70484"/>
                  <a:gd name="connsiteX3" fmla="*/ 6668 w 10477"/>
                  <a:gd name="connsiteY3" fmla="*/ 0 h 70484"/>
                  <a:gd name="connsiteX4" fmla="*/ 10477 w 10477"/>
                  <a:gd name="connsiteY4" fmla="*/ 32385 h 70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" h="70484">
                    <a:moveTo>
                      <a:pt x="10477" y="32385"/>
                    </a:moveTo>
                    <a:lnTo>
                      <a:pt x="0" y="70485"/>
                    </a:lnTo>
                    <a:lnTo>
                      <a:pt x="10477" y="32385"/>
                    </a:lnTo>
                    <a:lnTo>
                      <a:pt x="6668" y="0"/>
                    </a:lnTo>
                    <a:lnTo>
                      <a:pt x="10477" y="3238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4" name="Freeform: Shape 463">
                <a:extLst>
                  <a:ext uri="{FF2B5EF4-FFF2-40B4-BE49-F238E27FC236}">
                    <a16:creationId xmlns:a16="http://schemas.microsoft.com/office/drawing/2014/main" id="{C3511EF7-EBAD-AFC2-5AEC-3C3F9CD2B28A}"/>
                  </a:ext>
                </a:extLst>
              </p:cNvPr>
              <p:cNvSpPr/>
              <p:nvPr/>
            </p:nvSpPr>
            <p:spPr>
              <a:xfrm>
                <a:off x="9592426" y="4882683"/>
                <a:ext cx="16806" cy="3734"/>
              </a:xfrm>
              <a:custGeom>
                <a:avLst/>
                <a:gdLst>
                  <a:gd name="connsiteX0" fmla="*/ 0 w 17144"/>
                  <a:gd name="connsiteY0" fmla="*/ 0 h 3809"/>
                  <a:gd name="connsiteX1" fmla="*/ 0 w 17144"/>
                  <a:gd name="connsiteY1" fmla="*/ 0 h 3809"/>
                  <a:gd name="connsiteX2" fmla="*/ 17145 w 17144"/>
                  <a:gd name="connsiteY2" fmla="*/ 3810 h 3809"/>
                  <a:gd name="connsiteX3" fmla="*/ 0 w 17144"/>
                  <a:gd name="connsiteY3" fmla="*/ 0 h 3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4" h="3809">
                    <a:moveTo>
                      <a:pt x="0" y="0"/>
                    </a:moveTo>
                    <a:lnTo>
                      <a:pt x="0" y="0"/>
                    </a:lnTo>
                    <a:lnTo>
                      <a:pt x="17145" y="38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5" name="Freeform: Shape 464">
                <a:extLst>
                  <a:ext uri="{FF2B5EF4-FFF2-40B4-BE49-F238E27FC236}">
                    <a16:creationId xmlns:a16="http://schemas.microsoft.com/office/drawing/2014/main" id="{3D879993-DBE8-B5C2-475C-9A575C8EBBBF}"/>
                  </a:ext>
                </a:extLst>
              </p:cNvPr>
              <p:cNvSpPr/>
              <p:nvPr/>
            </p:nvSpPr>
            <p:spPr>
              <a:xfrm>
                <a:off x="9381404" y="5484940"/>
                <a:ext cx="34547" cy="30720"/>
              </a:xfrm>
              <a:custGeom>
                <a:avLst/>
                <a:gdLst>
                  <a:gd name="connsiteX0" fmla="*/ 10478 w 35242"/>
                  <a:gd name="connsiteY0" fmla="*/ 20860 h 31337"/>
                  <a:gd name="connsiteX1" fmla="*/ 0 w 35242"/>
                  <a:gd name="connsiteY1" fmla="*/ 31337 h 31337"/>
                  <a:gd name="connsiteX2" fmla="*/ 10478 w 35242"/>
                  <a:gd name="connsiteY2" fmla="*/ 20860 h 31337"/>
                  <a:gd name="connsiteX3" fmla="*/ 14288 w 35242"/>
                  <a:gd name="connsiteY3" fmla="*/ 6572 h 31337"/>
                  <a:gd name="connsiteX4" fmla="*/ 35243 w 35242"/>
                  <a:gd name="connsiteY4" fmla="*/ 0 h 31337"/>
                  <a:gd name="connsiteX5" fmla="*/ 14288 w 35242"/>
                  <a:gd name="connsiteY5" fmla="*/ 6572 h 31337"/>
                  <a:gd name="connsiteX6" fmla="*/ 10478 w 35242"/>
                  <a:gd name="connsiteY6" fmla="*/ 20860 h 31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242" h="31337">
                    <a:moveTo>
                      <a:pt x="10478" y="20860"/>
                    </a:moveTo>
                    <a:lnTo>
                      <a:pt x="0" y="31337"/>
                    </a:lnTo>
                    <a:lnTo>
                      <a:pt x="10478" y="20860"/>
                    </a:lnTo>
                    <a:lnTo>
                      <a:pt x="14288" y="6572"/>
                    </a:lnTo>
                    <a:lnTo>
                      <a:pt x="35243" y="0"/>
                    </a:lnTo>
                    <a:lnTo>
                      <a:pt x="14288" y="6572"/>
                    </a:lnTo>
                    <a:lnTo>
                      <a:pt x="10478" y="2086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6" name="Freeform: Shape 465">
                <a:extLst>
                  <a:ext uri="{FF2B5EF4-FFF2-40B4-BE49-F238E27FC236}">
                    <a16:creationId xmlns:a16="http://schemas.microsoft.com/office/drawing/2014/main" id="{723598B1-1130-6281-334B-388AB3E9EBEC}"/>
                  </a:ext>
                </a:extLst>
              </p:cNvPr>
              <p:cNvSpPr/>
              <p:nvPr/>
            </p:nvSpPr>
            <p:spPr>
              <a:xfrm>
                <a:off x="9505590" y="4951779"/>
                <a:ext cx="10270" cy="11205"/>
              </a:xfrm>
              <a:custGeom>
                <a:avLst/>
                <a:gdLst>
                  <a:gd name="connsiteX0" fmla="*/ 10477 w 10477"/>
                  <a:gd name="connsiteY0" fmla="*/ 11430 h 11430"/>
                  <a:gd name="connsiteX1" fmla="*/ 0 w 10477"/>
                  <a:gd name="connsiteY1" fmla="*/ 0 h 11430"/>
                  <a:gd name="connsiteX2" fmla="*/ 10477 w 10477"/>
                  <a:gd name="connsiteY2" fmla="*/ 11430 h 11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" h="11430">
                    <a:moveTo>
                      <a:pt x="10477" y="11430"/>
                    </a:moveTo>
                    <a:lnTo>
                      <a:pt x="0" y="0"/>
                    </a:lnTo>
                    <a:lnTo>
                      <a:pt x="10477" y="1143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7" name="Freeform: Shape 466">
                <a:extLst>
                  <a:ext uri="{FF2B5EF4-FFF2-40B4-BE49-F238E27FC236}">
                    <a16:creationId xmlns:a16="http://schemas.microsoft.com/office/drawing/2014/main" id="{5A21287F-EF4A-9988-BC22-A5A72B4AB6EE}"/>
                  </a:ext>
                </a:extLst>
              </p:cNvPr>
              <p:cNvSpPr/>
              <p:nvPr/>
            </p:nvSpPr>
            <p:spPr>
              <a:xfrm>
                <a:off x="9147039" y="4419552"/>
                <a:ext cx="27078" cy="26050"/>
              </a:xfrm>
              <a:custGeom>
                <a:avLst/>
                <a:gdLst>
                  <a:gd name="connsiteX0" fmla="*/ 10477 w 27622"/>
                  <a:gd name="connsiteY0" fmla="*/ 0 h 26574"/>
                  <a:gd name="connsiteX1" fmla="*/ 2857 w 27622"/>
                  <a:gd name="connsiteY1" fmla="*/ 3715 h 26574"/>
                  <a:gd name="connsiteX2" fmla="*/ 0 w 27622"/>
                  <a:gd name="connsiteY2" fmla="*/ 18002 h 26574"/>
                  <a:gd name="connsiteX3" fmla="*/ 20955 w 27622"/>
                  <a:gd name="connsiteY3" fmla="*/ 26575 h 26574"/>
                  <a:gd name="connsiteX4" fmla="*/ 27623 w 27622"/>
                  <a:gd name="connsiteY4" fmla="*/ 3715 h 26574"/>
                  <a:gd name="connsiteX5" fmla="*/ 10477 w 27622"/>
                  <a:gd name="connsiteY5" fmla="*/ 0 h 26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622" h="26574">
                    <a:moveTo>
                      <a:pt x="10477" y="0"/>
                    </a:moveTo>
                    <a:lnTo>
                      <a:pt x="2857" y="3715"/>
                    </a:lnTo>
                    <a:lnTo>
                      <a:pt x="0" y="18002"/>
                    </a:lnTo>
                    <a:lnTo>
                      <a:pt x="20955" y="26575"/>
                    </a:lnTo>
                    <a:lnTo>
                      <a:pt x="27623" y="3715"/>
                    </a:lnTo>
                    <a:lnTo>
                      <a:pt x="10477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8" name="Freeform: Shape 467">
                <a:extLst>
                  <a:ext uri="{FF2B5EF4-FFF2-40B4-BE49-F238E27FC236}">
                    <a16:creationId xmlns:a16="http://schemas.microsoft.com/office/drawing/2014/main" id="{BDF4FC8D-E93D-8DF9-A661-90599A959C34}"/>
                  </a:ext>
                </a:extLst>
              </p:cNvPr>
              <p:cNvSpPr/>
              <p:nvPr/>
            </p:nvSpPr>
            <p:spPr>
              <a:xfrm>
                <a:off x="9005113" y="4357832"/>
                <a:ext cx="266111" cy="162468"/>
              </a:xfrm>
              <a:custGeom>
                <a:avLst/>
                <a:gdLst>
                  <a:gd name="connsiteX0" fmla="*/ 144780 w 271462"/>
                  <a:gd name="connsiteY0" fmla="*/ 80963 h 165734"/>
                  <a:gd name="connsiteX1" fmla="*/ 134303 w 271462"/>
                  <a:gd name="connsiteY1" fmla="*/ 80963 h 165734"/>
                  <a:gd name="connsiteX2" fmla="*/ 120015 w 271462"/>
                  <a:gd name="connsiteY2" fmla="*/ 70485 h 165734"/>
                  <a:gd name="connsiteX3" fmla="*/ 105728 w 271462"/>
                  <a:gd name="connsiteY3" fmla="*/ 95250 h 165734"/>
                  <a:gd name="connsiteX4" fmla="*/ 91440 w 271462"/>
                  <a:gd name="connsiteY4" fmla="*/ 112490 h 165734"/>
                  <a:gd name="connsiteX5" fmla="*/ 70485 w 271462"/>
                  <a:gd name="connsiteY5" fmla="*/ 108585 h 165734"/>
                  <a:gd name="connsiteX6" fmla="*/ 49530 w 271462"/>
                  <a:gd name="connsiteY6" fmla="*/ 116300 h 165734"/>
                  <a:gd name="connsiteX7" fmla="*/ 39053 w 271462"/>
                  <a:gd name="connsiteY7" fmla="*/ 137160 h 165734"/>
                  <a:gd name="connsiteX8" fmla="*/ 45720 w 271462"/>
                  <a:gd name="connsiteY8" fmla="*/ 147638 h 165734"/>
                  <a:gd name="connsiteX9" fmla="*/ 49530 w 271462"/>
                  <a:gd name="connsiteY9" fmla="*/ 155353 h 165734"/>
                  <a:gd name="connsiteX10" fmla="*/ 35243 w 271462"/>
                  <a:gd name="connsiteY10" fmla="*/ 161925 h 165734"/>
                  <a:gd name="connsiteX11" fmla="*/ 24765 w 271462"/>
                  <a:gd name="connsiteY11" fmla="*/ 147638 h 165734"/>
                  <a:gd name="connsiteX12" fmla="*/ 18098 w 271462"/>
                  <a:gd name="connsiteY12" fmla="*/ 141065 h 165734"/>
                  <a:gd name="connsiteX13" fmla="*/ 0 w 271462"/>
                  <a:gd name="connsiteY13" fmla="*/ 147638 h 165734"/>
                  <a:gd name="connsiteX14" fmla="*/ 18098 w 271462"/>
                  <a:gd name="connsiteY14" fmla="*/ 165735 h 165734"/>
                  <a:gd name="connsiteX15" fmla="*/ 39053 w 271462"/>
                  <a:gd name="connsiteY15" fmla="*/ 165735 h 165734"/>
                  <a:gd name="connsiteX16" fmla="*/ 53340 w 271462"/>
                  <a:gd name="connsiteY16" fmla="*/ 161925 h 165734"/>
                  <a:gd name="connsiteX17" fmla="*/ 77153 w 271462"/>
                  <a:gd name="connsiteY17" fmla="*/ 151447 h 165734"/>
                  <a:gd name="connsiteX18" fmla="*/ 91440 w 271462"/>
                  <a:gd name="connsiteY18" fmla="*/ 147638 h 165734"/>
                  <a:gd name="connsiteX19" fmla="*/ 105728 w 271462"/>
                  <a:gd name="connsiteY19" fmla="*/ 161925 h 165734"/>
                  <a:gd name="connsiteX20" fmla="*/ 126682 w 271462"/>
                  <a:gd name="connsiteY20" fmla="*/ 151447 h 165734"/>
                  <a:gd name="connsiteX21" fmla="*/ 147638 w 271462"/>
                  <a:gd name="connsiteY21" fmla="*/ 130588 h 165734"/>
                  <a:gd name="connsiteX22" fmla="*/ 167640 w 271462"/>
                  <a:gd name="connsiteY22" fmla="*/ 105823 h 165734"/>
                  <a:gd name="connsiteX23" fmla="*/ 179070 w 271462"/>
                  <a:gd name="connsiteY23" fmla="*/ 89535 h 165734"/>
                  <a:gd name="connsiteX24" fmla="*/ 183832 w 271462"/>
                  <a:gd name="connsiteY24" fmla="*/ 70485 h 165734"/>
                  <a:gd name="connsiteX25" fmla="*/ 207645 w 271462"/>
                  <a:gd name="connsiteY25" fmla="*/ 66675 h 165734"/>
                  <a:gd name="connsiteX26" fmla="*/ 221932 w 271462"/>
                  <a:gd name="connsiteY26" fmla="*/ 77248 h 165734"/>
                  <a:gd name="connsiteX27" fmla="*/ 242888 w 271462"/>
                  <a:gd name="connsiteY27" fmla="*/ 77248 h 165734"/>
                  <a:gd name="connsiteX28" fmla="*/ 250507 w 271462"/>
                  <a:gd name="connsiteY28" fmla="*/ 70485 h 165734"/>
                  <a:gd name="connsiteX29" fmla="*/ 236220 w 271462"/>
                  <a:gd name="connsiteY29" fmla="*/ 60103 h 165734"/>
                  <a:gd name="connsiteX30" fmla="*/ 246698 w 271462"/>
                  <a:gd name="connsiteY30" fmla="*/ 52388 h 165734"/>
                  <a:gd name="connsiteX31" fmla="*/ 260985 w 271462"/>
                  <a:gd name="connsiteY31" fmla="*/ 52388 h 165734"/>
                  <a:gd name="connsiteX32" fmla="*/ 271463 w 271462"/>
                  <a:gd name="connsiteY32" fmla="*/ 49625 h 165734"/>
                  <a:gd name="connsiteX33" fmla="*/ 246698 w 271462"/>
                  <a:gd name="connsiteY33" fmla="*/ 35338 h 165734"/>
                  <a:gd name="connsiteX34" fmla="*/ 232410 w 271462"/>
                  <a:gd name="connsiteY34" fmla="*/ 27622 h 165734"/>
                  <a:gd name="connsiteX35" fmla="*/ 218123 w 271462"/>
                  <a:gd name="connsiteY35" fmla="*/ 13335 h 165734"/>
                  <a:gd name="connsiteX36" fmla="*/ 211455 w 271462"/>
                  <a:gd name="connsiteY36" fmla="*/ 2953 h 165734"/>
                  <a:gd name="connsiteX37" fmla="*/ 193357 w 271462"/>
                  <a:gd name="connsiteY37" fmla="*/ 0 h 165734"/>
                  <a:gd name="connsiteX38" fmla="*/ 180023 w 271462"/>
                  <a:gd name="connsiteY38" fmla="*/ 17240 h 165734"/>
                  <a:gd name="connsiteX39" fmla="*/ 169545 w 271462"/>
                  <a:gd name="connsiteY39" fmla="*/ 31528 h 165734"/>
                  <a:gd name="connsiteX40" fmla="*/ 161925 w 271462"/>
                  <a:gd name="connsiteY40" fmla="*/ 38100 h 165734"/>
                  <a:gd name="connsiteX41" fmla="*/ 155257 w 271462"/>
                  <a:gd name="connsiteY41" fmla="*/ 49625 h 165734"/>
                  <a:gd name="connsiteX42" fmla="*/ 172403 w 271462"/>
                  <a:gd name="connsiteY42" fmla="*/ 62960 h 165734"/>
                  <a:gd name="connsiteX43" fmla="*/ 169545 w 271462"/>
                  <a:gd name="connsiteY43" fmla="*/ 77248 h 165734"/>
                  <a:gd name="connsiteX44" fmla="*/ 165735 w 271462"/>
                  <a:gd name="connsiteY44" fmla="*/ 89535 h 165734"/>
                  <a:gd name="connsiteX45" fmla="*/ 144780 w 271462"/>
                  <a:gd name="connsiteY45" fmla="*/ 80963 h 16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271462" h="165734">
                    <a:moveTo>
                      <a:pt x="144780" y="80963"/>
                    </a:moveTo>
                    <a:lnTo>
                      <a:pt x="134303" y="80963"/>
                    </a:lnTo>
                    <a:lnTo>
                      <a:pt x="120015" y="70485"/>
                    </a:lnTo>
                    <a:lnTo>
                      <a:pt x="105728" y="95250"/>
                    </a:lnTo>
                    <a:lnTo>
                      <a:pt x="91440" y="112490"/>
                    </a:lnTo>
                    <a:lnTo>
                      <a:pt x="70485" y="108585"/>
                    </a:lnTo>
                    <a:lnTo>
                      <a:pt x="49530" y="116300"/>
                    </a:lnTo>
                    <a:lnTo>
                      <a:pt x="39053" y="137160"/>
                    </a:lnTo>
                    <a:lnTo>
                      <a:pt x="45720" y="147638"/>
                    </a:lnTo>
                    <a:lnTo>
                      <a:pt x="49530" y="155353"/>
                    </a:lnTo>
                    <a:lnTo>
                      <a:pt x="35243" y="161925"/>
                    </a:lnTo>
                    <a:lnTo>
                      <a:pt x="24765" y="147638"/>
                    </a:lnTo>
                    <a:lnTo>
                      <a:pt x="18098" y="141065"/>
                    </a:lnTo>
                    <a:lnTo>
                      <a:pt x="0" y="147638"/>
                    </a:lnTo>
                    <a:lnTo>
                      <a:pt x="18098" y="165735"/>
                    </a:lnTo>
                    <a:lnTo>
                      <a:pt x="39053" y="165735"/>
                    </a:lnTo>
                    <a:lnTo>
                      <a:pt x="53340" y="161925"/>
                    </a:lnTo>
                    <a:lnTo>
                      <a:pt x="77153" y="151447"/>
                    </a:lnTo>
                    <a:lnTo>
                      <a:pt x="91440" y="147638"/>
                    </a:lnTo>
                    <a:lnTo>
                      <a:pt x="105728" y="161925"/>
                    </a:lnTo>
                    <a:lnTo>
                      <a:pt x="126682" y="151447"/>
                    </a:lnTo>
                    <a:lnTo>
                      <a:pt x="147638" y="130588"/>
                    </a:lnTo>
                    <a:lnTo>
                      <a:pt x="167640" y="105823"/>
                    </a:lnTo>
                    <a:lnTo>
                      <a:pt x="179070" y="89535"/>
                    </a:lnTo>
                    <a:lnTo>
                      <a:pt x="183832" y="70485"/>
                    </a:lnTo>
                    <a:lnTo>
                      <a:pt x="207645" y="66675"/>
                    </a:lnTo>
                    <a:lnTo>
                      <a:pt x="221932" y="77248"/>
                    </a:lnTo>
                    <a:lnTo>
                      <a:pt x="242888" y="77248"/>
                    </a:lnTo>
                    <a:lnTo>
                      <a:pt x="250507" y="70485"/>
                    </a:lnTo>
                    <a:lnTo>
                      <a:pt x="236220" y="60103"/>
                    </a:lnTo>
                    <a:lnTo>
                      <a:pt x="246698" y="52388"/>
                    </a:lnTo>
                    <a:lnTo>
                      <a:pt x="260985" y="52388"/>
                    </a:lnTo>
                    <a:lnTo>
                      <a:pt x="271463" y="49625"/>
                    </a:lnTo>
                    <a:lnTo>
                      <a:pt x="246698" y="35338"/>
                    </a:lnTo>
                    <a:lnTo>
                      <a:pt x="232410" y="27622"/>
                    </a:lnTo>
                    <a:lnTo>
                      <a:pt x="218123" y="13335"/>
                    </a:lnTo>
                    <a:lnTo>
                      <a:pt x="211455" y="2953"/>
                    </a:lnTo>
                    <a:lnTo>
                      <a:pt x="193357" y="0"/>
                    </a:lnTo>
                    <a:lnTo>
                      <a:pt x="180023" y="17240"/>
                    </a:lnTo>
                    <a:lnTo>
                      <a:pt x="169545" y="31528"/>
                    </a:lnTo>
                    <a:lnTo>
                      <a:pt x="161925" y="38100"/>
                    </a:lnTo>
                    <a:lnTo>
                      <a:pt x="155257" y="49625"/>
                    </a:lnTo>
                    <a:lnTo>
                      <a:pt x="172403" y="62960"/>
                    </a:lnTo>
                    <a:lnTo>
                      <a:pt x="169545" y="77248"/>
                    </a:lnTo>
                    <a:lnTo>
                      <a:pt x="165735" y="89535"/>
                    </a:lnTo>
                    <a:lnTo>
                      <a:pt x="144780" y="809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9" name="Freeform: Shape 468">
                <a:extLst>
                  <a:ext uri="{FF2B5EF4-FFF2-40B4-BE49-F238E27FC236}">
                    <a16:creationId xmlns:a16="http://schemas.microsoft.com/office/drawing/2014/main" id="{AB595932-4ABD-D956-F229-FFF84FB8AD21}"/>
                  </a:ext>
                </a:extLst>
              </p:cNvPr>
              <p:cNvSpPr/>
              <p:nvPr/>
            </p:nvSpPr>
            <p:spPr>
              <a:xfrm>
                <a:off x="6643724" y="2684585"/>
                <a:ext cx="120450" cy="75725"/>
              </a:xfrm>
              <a:custGeom>
                <a:avLst/>
                <a:gdLst>
                  <a:gd name="connsiteX0" fmla="*/ 122872 w 122872"/>
                  <a:gd name="connsiteY0" fmla="*/ 6667 h 77247"/>
                  <a:gd name="connsiteX1" fmla="*/ 95250 w 122872"/>
                  <a:gd name="connsiteY1" fmla="*/ 10573 h 77247"/>
                  <a:gd name="connsiteX2" fmla="*/ 70485 w 122872"/>
                  <a:gd name="connsiteY2" fmla="*/ 0 h 77247"/>
                  <a:gd name="connsiteX3" fmla="*/ 31432 w 122872"/>
                  <a:gd name="connsiteY3" fmla="*/ 6667 h 77247"/>
                  <a:gd name="connsiteX4" fmla="*/ 3810 w 122872"/>
                  <a:gd name="connsiteY4" fmla="*/ 14288 h 77247"/>
                  <a:gd name="connsiteX5" fmla="*/ 0 w 122872"/>
                  <a:gd name="connsiteY5" fmla="*/ 35242 h 77247"/>
                  <a:gd name="connsiteX6" fmla="*/ 10477 w 122872"/>
                  <a:gd name="connsiteY6" fmla="*/ 52388 h 77247"/>
                  <a:gd name="connsiteX7" fmla="*/ 24765 w 122872"/>
                  <a:gd name="connsiteY7" fmla="*/ 52388 h 77247"/>
                  <a:gd name="connsiteX8" fmla="*/ 28575 w 122872"/>
                  <a:gd name="connsiteY8" fmla="*/ 62960 h 77247"/>
                  <a:gd name="connsiteX9" fmla="*/ 49530 w 122872"/>
                  <a:gd name="connsiteY9" fmla="*/ 62960 h 77247"/>
                  <a:gd name="connsiteX10" fmla="*/ 70485 w 122872"/>
                  <a:gd name="connsiteY10" fmla="*/ 70580 h 77247"/>
                  <a:gd name="connsiteX11" fmla="*/ 91440 w 122872"/>
                  <a:gd name="connsiteY11" fmla="*/ 77248 h 77247"/>
                  <a:gd name="connsiteX12" fmla="*/ 109538 w 122872"/>
                  <a:gd name="connsiteY12" fmla="*/ 77248 h 77247"/>
                  <a:gd name="connsiteX13" fmla="*/ 112395 w 122872"/>
                  <a:gd name="connsiteY13" fmla="*/ 56293 h 77247"/>
                  <a:gd name="connsiteX14" fmla="*/ 112395 w 122872"/>
                  <a:gd name="connsiteY14" fmla="*/ 27718 h 77247"/>
                  <a:gd name="connsiteX15" fmla="*/ 122872 w 122872"/>
                  <a:gd name="connsiteY15" fmla="*/ 6667 h 77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872" h="77247">
                    <a:moveTo>
                      <a:pt x="122872" y="6667"/>
                    </a:moveTo>
                    <a:lnTo>
                      <a:pt x="95250" y="10573"/>
                    </a:lnTo>
                    <a:lnTo>
                      <a:pt x="70485" y="0"/>
                    </a:lnTo>
                    <a:lnTo>
                      <a:pt x="31432" y="6667"/>
                    </a:lnTo>
                    <a:lnTo>
                      <a:pt x="3810" y="14288"/>
                    </a:lnTo>
                    <a:lnTo>
                      <a:pt x="0" y="35242"/>
                    </a:lnTo>
                    <a:lnTo>
                      <a:pt x="10477" y="52388"/>
                    </a:lnTo>
                    <a:lnTo>
                      <a:pt x="24765" y="52388"/>
                    </a:lnTo>
                    <a:lnTo>
                      <a:pt x="28575" y="62960"/>
                    </a:lnTo>
                    <a:lnTo>
                      <a:pt x="49530" y="62960"/>
                    </a:lnTo>
                    <a:lnTo>
                      <a:pt x="70485" y="70580"/>
                    </a:lnTo>
                    <a:lnTo>
                      <a:pt x="91440" y="77248"/>
                    </a:lnTo>
                    <a:lnTo>
                      <a:pt x="109538" y="77248"/>
                    </a:lnTo>
                    <a:lnTo>
                      <a:pt x="112395" y="56293"/>
                    </a:lnTo>
                    <a:lnTo>
                      <a:pt x="112395" y="27718"/>
                    </a:lnTo>
                    <a:lnTo>
                      <a:pt x="122872" y="666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0" name="Freeform: Shape 469">
                <a:extLst>
                  <a:ext uri="{FF2B5EF4-FFF2-40B4-BE49-F238E27FC236}">
                    <a16:creationId xmlns:a16="http://schemas.microsoft.com/office/drawing/2014/main" id="{49561F08-AFB8-272A-2FE2-55DB41D222FD}"/>
                  </a:ext>
                </a:extLst>
              </p:cNvPr>
              <p:cNvSpPr/>
              <p:nvPr/>
            </p:nvSpPr>
            <p:spPr>
              <a:xfrm>
                <a:off x="8742737" y="4364461"/>
                <a:ext cx="110178" cy="141833"/>
              </a:xfrm>
              <a:custGeom>
                <a:avLst/>
                <a:gdLst>
                  <a:gd name="connsiteX0" fmla="*/ 18097 w 112394"/>
                  <a:gd name="connsiteY0" fmla="*/ 3810 h 144684"/>
                  <a:gd name="connsiteX1" fmla="*/ 0 w 112394"/>
                  <a:gd name="connsiteY1" fmla="*/ 0 h 144684"/>
                  <a:gd name="connsiteX2" fmla="*/ 6668 w 112394"/>
                  <a:gd name="connsiteY2" fmla="*/ 18097 h 144684"/>
                  <a:gd name="connsiteX3" fmla="*/ 6668 w 112394"/>
                  <a:gd name="connsiteY3" fmla="*/ 45625 h 144684"/>
                  <a:gd name="connsiteX4" fmla="*/ 18097 w 112394"/>
                  <a:gd name="connsiteY4" fmla="*/ 74200 h 144684"/>
                  <a:gd name="connsiteX5" fmla="*/ 31432 w 112394"/>
                  <a:gd name="connsiteY5" fmla="*/ 91440 h 144684"/>
                  <a:gd name="connsiteX6" fmla="*/ 28575 w 112394"/>
                  <a:gd name="connsiteY6" fmla="*/ 105728 h 144684"/>
                  <a:gd name="connsiteX7" fmla="*/ 63818 w 112394"/>
                  <a:gd name="connsiteY7" fmla="*/ 126587 h 144684"/>
                  <a:gd name="connsiteX8" fmla="*/ 95250 w 112394"/>
                  <a:gd name="connsiteY8" fmla="*/ 144685 h 144684"/>
                  <a:gd name="connsiteX9" fmla="*/ 112395 w 112394"/>
                  <a:gd name="connsiteY9" fmla="*/ 144685 h 144684"/>
                  <a:gd name="connsiteX10" fmla="*/ 112395 w 112394"/>
                  <a:gd name="connsiteY10" fmla="*/ 137160 h 144684"/>
                  <a:gd name="connsiteX11" fmla="*/ 105727 w 112394"/>
                  <a:gd name="connsiteY11" fmla="*/ 123825 h 144684"/>
                  <a:gd name="connsiteX12" fmla="*/ 95250 w 112394"/>
                  <a:gd name="connsiteY12" fmla="*/ 109538 h 144684"/>
                  <a:gd name="connsiteX13" fmla="*/ 91440 w 112394"/>
                  <a:gd name="connsiteY13" fmla="*/ 70485 h 144684"/>
                  <a:gd name="connsiteX14" fmla="*/ 91440 w 112394"/>
                  <a:gd name="connsiteY14" fmla="*/ 53340 h 144684"/>
                  <a:gd name="connsiteX15" fmla="*/ 70485 w 112394"/>
                  <a:gd name="connsiteY15" fmla="*/ 24765 h 144684"/>
                  <a:gd name="connsiteX16" fmla="*/ 53340 w 112394"/>
                  <a:gd name="connsiteY16" fmla="*/ 10478 h 144684"/>
                  <a:gd name="connsiteX17" fmla="*/ 45720 w 112394"/>
                  <a:gd name="connsiteY17" fmla="*/ 18097 h 144684"/>
                  <a:gd name="connsiteX18" fmla="*/ 41910 w 112394"/>
                  <a:gd name="connsiteY18" fmla="*/ 28575 h 144684"/>
                  <a:gd name="connsiteX19" fmla="*/ 24765 w 112394"/>
                  <a:gd name="connsiteY19" fmla="*/ 24765 h 144684"/>
                  <a:gd name="connsiteX20" fmla="*/ 28575 w 112394"/>
                  <a:gd name="connsiteY20" fmla="*/ 10478 h 144684"/>
                  <a:gd name="connsiteX21" fmla="*/ 18097 w 112394"/>
                  <a:gd name="connsiteY21" fmla="*/ 3810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2394" h="144684">
                    <a:moveTo>
                      <a:pt x="18097" y="3810"/>
                    </a:moveTo>
                    <a:lnTo>
                      <a:pt x="0" y="0"/>
                    </a:lnTo>
                    <a:lnTo>
                      <a:pt x="6668" y="18097"/>
                    </a:lnTo>
                    <a:lnTo>
                      <a:pt x="6668" y="45625"/>
                    </a:lnTo>
                    <a:lnTo>
                      <a:pt x="18097" y="74200"/>
                    </a:lnTo>
                    <a:lnTo>
                      <a:pt x="31432" y="91440"/>
                    </a:lnTo>
                    <a:lnTo>
                      <a:pt x="28575" y="105728"/>
                    </a:lnTo>
                    <a:lnTo>
                      <a:pt x="63818" y="126587"/>
                    </a:lnTo>
                    <a:lnTo>
                      <a:pt x="95250" y="144685"/>
                    </a:lnTo>
                    <a:lnTo>
                      <a:pt x="112395" y="144685"/>
                    </a:lnTo>
                    <a:lnTo>
                      <a:pt x="112395" y="137160"/>
                    </a:lnTo>
                    <a:lnTo>
                      <a:pt x="105727" y="123825"/>
                    </a:lnTo>
                    <a:lnTo>
                      <a:pt x="95250" y="109538"/>
                    </a:lnTo>
                    <a:lnTo>
                      <a:pt x="91440" y="70485"/>
                    </a:lnTo>
                    <a:lnTo>
                      <a:pt x="91440" y="53340"/>
                    </a:lnTo>
                    <a:lnTo>
                      <a:pt x="70485" y="24765"/>
                    </a:lnTo>
                    <a:lnTo>
                      <a:pt x="53340" y="10478"/>
                    </a:lnTo>
                    <a:lnTo>
                      <a:pt x="45720" y="18097"/>
                    </a:lnTo>
                    <a:lnTo>
                      <a:pt x="41910" y="28575"/>
                    </a:lnTo>
                    <a:lnTo>
                      <a:pt x="24765" y="24765"/>
                    </a:lnTo>
                    <a:lnTo>
                      <a:pt x="28575" y="10478"/>
                    </a:lnTo>
                    <a:lnTo>
                      <a:pt x="18097" y="381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1" name="Freeform: Shape 470">
                <a:extLst>
                  <a:ext uri="{FF2B5EF4-FFF2-40B4-BE49-F238E27FC236}">
                    <a16:creationId xmlns:a16="http://schemas.microsoft.com/office/drawing/2014/main" id="{3AAD2EC4-B585-AE3C-7F96-E7B42176AD52}"/>
                  </a:ext>
                </a:extLst>
              </p:cNvPr>
              <p:cNvSpPr/>
              <p:nvPr/>
            </p:nvSpPr>
            <p:spPr>
              <a:xfrm>
                <a:off x="3134788" y="1872238"/>
                <a:ext cx="13071" cy="27078"/>
              </a:xfrm>
              <a:custGeom>
                <a:avLst/>
                <a:gdLst>
                  <a:gd name="connsiteX0" fmla="*/ 0 w 13334"/>
                  <a:gd name="connsiteY0" fmla="*/ 0 h 27622"/>
                  <a:gd name="connsiteX1" fmla="*/ 13335 w 13334"/>
                  <a:gd name="connsiteY1" fmla="*/ 27622 h 27622"/>
                  <a:gd name="connsiteX2" fmla="*/ 0 w 13334"/>
                  <a:gd name="connsiteY2" fmla="*/ 0 h 2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34" h="27622">
                    <a:moveTo>
                      <a:pt x="0" y="0"/>
                    </a:moveTo>
                    <a:lnTo>
                      <a:pt x="13335" y="2762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2" name="Freeform: Shape 471">
                <a:extLst>
                  <a:ext uri="{FF2B5EF4-FFF2-40B4-BE49-F238E27FC236}">
                    <a16:creationId xmlns:a16="http://schemas.microsoft.com/office/drawing/2014/main" id="{B42B1B46-3026-0CF5-2294-B6C865805F83}"/>
                  </a:ext>
                </a:extLst>
              </p:cNvPr>
              <p:cNvSpPr/>
              <p:nvPr/>
            </p:nvSpPr>
            <p:spPr>
              <a:xfrm>
                <a:off x="3244967" y="1864861"/>
                <a:ext cx="34547" cy="14005"/>
              </a:xfrm>
              <a:custGeom>
                <a:avLst/>
                <a:gdLst>
                  <a:gd name="connsiteX0" fmla="*/ 35242 w 35242"/>
                  <a:gd name="connsiteY0" fmla="*/ 14288 h 14287"/>
                  <a:gd name="connsiteX1" fmla="*/ 24765 w 35242"/>
                  <a:gd name="connsiteY1" fmla="*/ 3810 h 14287"/>
                  <a:gd name="connsiteX2" fmla="*/ 0 w 35242"/>
                  <a:gd name="connsiteY2" fmla="*/ 0 h 14287"/>
                  <a:gd name="connsiteX3" fmla="*/ 24765 w 35242"/>
                  <a:gd name="connsiteY3" fmla="*/ 3810 h 14287"/>
                  <a:gd name="connsiteX4" fmla="*/ 35242 w 35242"/>
                  <a:gd name="connsiteY4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42" h="14287">
                    <a:moveTo>
                      <a:pt x="35242" y="14288"/>
                    </a:moveTo>
                    <a:lnTo>
                      <a:pt x="24765" y="3810"/>
                    </a:lnTo>
                    <a:lnTo>
                      <a:pt x="0" y="0"/>
                    </a:lnTo>
                    <a:lnTo>
                      <a:pt x="24765" y="3810"/>
                    </a:lnTo>
                    <a:lnTo>
                      <a:pt x="35242" y="1428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3" name="Freeform: Shape 472">
                <a:extLst>
                  <a:ext uri="{FF2B5EF4-FFF2-40B4-BE49-F238E27FC236}">
                    <a16:creationId xmlns:a16="http://schemas.microsoft.com/office/drawing/2014/main" id="{7B2D203E-BED8-B9C4-670B-F5071825586E}"/>
                  </a:ext>
                </a:extLst>
              </p:cNvPr>
              <p:cNvSpPr/>
              <p:nvPr/>
            </p:nvSpPr>
            <p:spPr>
              <a:xfrm>
                <a:off x="3241233" y="1872238"/>
                <a:ext cx="10270" cy="14005"/>
              </a:xfrm>
              <a:custGeom>
                <a:avLst/>
                <a:gdLst>
                  <a:gd name="connsiteX0" fmla="*/ 0 w 10477"/>
                  <a:gd name="connsiteY0" fmla="*/ 0 h 14287"/>
                  <a:gd name="connsiteX1" fmla="*/ 10478 w 10477"/>
                  <a:gd name="connsiteY1" fmla="*/ 14288 h 14287"/>
                  <a:gd name="connsiteX2" fmla="*/ 0 w 10477"/>
                  <a:gd name="connsiteY2" fmla="*/ 0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" h="14287">
                    <a:moveTo>
                      <a:pt x="0" y="0"/>
                    </a:moveTo>
                    <a:lnTo>
                      <a:pt x="10478" y="1428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4" name="Freeform: Shape 473">
                <a:extLst>
                  <a:ext uri="{FF2B5EF4-FFF2-40B4-BE49-F238E27FC236}">
                    <a16:creationId xmlns:a16="http://schemas.microsoft.com/office/drawing/2014/main" id="{64EB8924-EBCD-A397-D36D-F868FD8810BD}"/>
                  </a:ext>
                </a:extLst>
              </p:cNvPr>
              <p:cNvSpPr/>
              <p:nvPr/>
            </p:nvSpPr>
            <p:spPr>
              <a:xfrm>
                <a:off x="3134788" y="1864861"/>
                <a:ext cx="193280" cy="97108"/>
              </a:xfrm>
              <a:custGeom>
                <a:avLst/>
                <a:gdLst>
                  <a:gd name="connsiteX0" fmla="*/ 161925 w 197167"/>
                  <a:gd name="connsiteY0" fmla="*/ 7525 h 99060"/>
                  <a:gd name="connsiteX1" fmla="*/ 147638 w 197167"/>
                  <a:gd name="connsiteY1" fmla="*/ 14288 h 99060"/>
                  <a:gd name="connsiteX2" fmla="*/ 137160 w 197167"/>
                  <a:gd name="connsiteY2" fmla="*/ 3810 h 99060"/>
                  <a:gd name="connsiteX3" fmla="*/ 112395 w 197167"/>
                  <a:gd name="connsiteY3" fmla="*/ 0 h 99060"/>
                  <a:gd name="connsiteX4" fmla="*/ 108585 w 197167"/>
                  <a:gd name="connsiteY4" fmla="*/ 7525 h 99060"/>
                  <a:gd name="connsiteX5" fmla="*/ 119063 w 197167"/>
                  <a:gd name="connsiteY5" fmla="*/ 21812 h 99060"/>
                  <a:gd name="connsiteX6" fmla="*/ 129540 w 197167"/>
                  <a:gd name="connsiteY6" fmla="*/ 35147 h 99060"/>
                  <a:gd name="connsiteX7" fmla="*/ 122872 w 197167"/>
                  <a:gd name="connsiteY7" fmla="*/ 46673 h 99060"/>
                  <a:gd name="connsiteX8" fmla="*/ 101917 w 197167"/>
                  <a:gd name="connsiteY8" fmla="*/ 28575 h 99060"/>
                  <a:gd name="connsiteX9" fmla="*/ 83820 w 197167"/>
                  <a:gd name="connsiteY9" fmla="*/ 14288 h 99060"/>
                  <a:gd name="connsiteX10" fmla="*/ 70485 w 197167"/>
                  <a:gd name="connsiteY10" fmla="*/ 18098 h 99060"/>
                  <a:gd name="connsiteX11" fmla="*/ 70485 w 197167"/>
                  <a:gd name="connsiteY11" fmla="*/ 28575 h 99060"/>
                  <a:gd name="connsiteX12" fmla="*/ 83820 w 197167"/>
                  <a:gd name="connsiteY12" fmla="*/ 42863 h 99060"/>
                  <a:gd name="connsiteX13" fmla="*/ 70485 w 197167"/>
                  <a:gd name="connsiteY13" fmla="*/ 46673 h 99060"/>
                  <a:gd name="connsiteX14" fmla="*/ 45720 w 197167"/>
                  <a:gd name="connsiteY14" fmla="*/ 24765 h 99060"/>
                  <a:gd name="connsiteX15" fmla="*/ 31433 w 197167"/>
                  <a:gd name="connsiteY15" fmla="*/ 11335 h 99060"/>
                  <a:gd name="connsiteX16" fmla="*/ 13335 w 197167"/>
                  <a:gd name="connsiteY16" fmla="*/ 0 h 99060"/>
                  <a:gd name="connsiteX17" fmla="*/ 0 w 197167"/>
                  <a:gd name="connsiteY17" fmla="*/ 7525 h 99060"/>
                  <a:gd name="connsiteX18" fmla="*/ 13335 w 197167"/>
                  <a:gd name="connsiteY18" fmla="*/ 35147 h 99060"/>
                  <a:gd name="connsiteX19" fmla="*/ 45720 w 197167"/>
                  <a:gd name="connsiteY19" fmla="*/ 59912 h 99060"/>
                  <a:gd name="connsiteX20" fmla="*/ 62865 w 197167"/>
                  <a:gd name="connsiteY20" fmla="*/ 67628 h 99060"/>
                  <a:gd name="connsiteX21" fmla="*/ 83820 w 197167"/>
                  <a:gd name="connsiteY21" fmla="*/ 59912 h 99060"/>
                  <a:gd name="connsiteX22" fmla="*/ 101917 w 197167"/>
                  <a:gd name="connsiteY22" fmla="*/ 59912 h 99060"/>
                  <a:gd name="connsiteX23" fmla="*/ 119063 w 197167"/>
                  <a:gd name="connsiteY23" fmla="*/ 63722 h 99060"/>
                  <a:gd name="connsiteX24" fmla="*/ 129540 w 197167"/>
                  <a:gd name="connsiteY24" fmla="*/ 63722 h 99060"/>
                  <a:gd name="connsiteX25" fmla="*/ 116205 w 197167"/>
                  <a:gd name="connsiteY25" fmla="*/ 78010 h 99060"/>
                  <a:gd name="connsiteX26" fmla="*/ 122872 w 197167"/>
                  <a:gd name="connsiteY26" fmla="*/ 99060 h 99060"/>
                  <a:gd name="connsiteX27" fmla="*/ 161925 w 197167"/>
                  <a:gd name="connsiteY27" fmla="*/ 95250 h 99060"/>
                  <a:gd name="connsiteX28" fmla="*/ 182880 w 197167"/>
                  <a:gd name="connsiteY28" fmla="*/ 92297 h 99060"/>
                  <a:gd name="connsiteX29" fmla="*/ 182880 w 197167"/>
                  <a:gd name="connsiteY29" fmla="*/ 70485 h 99060"/>
                  <a:gd name="connsiteX30" fmla="*/ 197167 w 197167"/>
                  <a:gd name="connsiteY30" fmla="*/ 63722 h 99060"/>
                  <a:gd name="connsiteX31" fmla="*/ 193358 w 197167"/>
                  <a:gd name="connsiteY31" fmla="*/ 49435 h 99060"/>
                  <a:gd name="connsiteX32" fmla="*/ 189547 w 197167"/>
                  <a:gd name="connsiteY32" fmla="*/ 18098 h 99060"/>
                  <a:gd name="connsiteX33" fmla="*/ 182880 w 197167"/>
                  <a:gd name="connsiteY33" fmla="*/ 7525 h 99060"/>
                  <a:gd name="connsiteX34" fmla="*/ 161925 w 197167"/>
                  <a:gd name="connsiteY34" fmla="*/ 7525 h 99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97167" h="99060">
                    <a:moveTo>
                      <a:pt x="161925" y="7525"/>
                    </a:moveTo>
                    <a:lnTo>
                      <a:pt x="147638" y="14288"/>
                    </a:lnTo>
                    <a:lnTo>
                      <a:pt x="137160" y="3810"/>
                    </a:lnTo>
                    <a:lnTo>
                      <a:pt x="112395" y="0"/>
                    </a:lnTo>
                    <a:lnTo>
                      <a:pt x="108585" y="7525"/>
                    </a:lnTo>
                    <a:lnTo>
                      <a:pt x="119063" y="21812"/>
                    </a:lnTo>
                    <a:lnTo>
                      <a:pt x="129540" y="35147"/>
                    </a:lnTo>
                    <a:lnTo>
                      <a:pt x="122872" y="46673"/>
                    </a:lnTo>
                    <a:lnTo>
                      <a:pt x="101917" y="28575"/>
                    </a:lnTo>
                    <a:lnTo>
                      <a:pt x="83820" y="14288"/>
                    </a:lnTo>
                    <a:lnTo>
                      <a:pt x="70485" y="18098"/>
                    </a:lnTo>
                    <a:lnTo>
                      <a:pt x="70485" y="28575"/>
                    </a:lnTo>
                    <a:lnTo>
                      <a:pt x="83820" y="42863"/>
                    </a:lnTo>
                    <a:lnTo>
                      <a:pt x="70485" y="46673"/>
                    </a:lnTo>
                    <a:lnTo>
                      <a:pt x="45720" y="24765"/>
                    </a:lnTo>
                    <a:lnTo>
                      <a:pt x="31433" y="11335"/>
                    </a:lnTo>
                    <a:lnTo>
                      <a:pt x="13335" y="0"/>
                    </a:lnTo>
                    <a:lnTo>
                      <a:pt x="0" y="7525"/>
                    </a:lnTo>
                    <a:lnTo>
                      <a:pt x="13335" y="35147"/>
                    </a:lnTo>
                    <a:lnTo>
                      <a:pt x="45720" y="59912"/>
                    </a:lnTo>
                    <a:lnTo>
                      <a:pt x="62865" y="67628"/>
                    </a:lnTo>
                    <a:lnTo>
                      <a:pt x="83820" y="59912"/>
                    </a:lnTo>
                    <a:lnTo>
                      <a:pt x="101917" y="59912"/>
                    </a:lnTo>
                    <a:lnTo>
                      <a:pt x="119063" y="63722"/>
                    </a:lnTo>
                    <a:lnTo>
                      <a:pt x="129540" y="63722"/>
                    </a:lnTo>
                    <a:lnTo>
                      <a:pt x="116205" y="78010"/>
                    </a:lnTo>
                    <a:lnTo>
                      <a:pt x="122872" y="99060"/>
                    </a:lnTo>
                    <a:lnTo>
                      <a:pt x="161925" y="95250"/>
                    </a:lnTo>
                    <a:lnTo>
                      <a:pt x="182880" y="92297"/>
                    </a:lnTo>
                    <a:lnTo>
                      <a:pt x="182880" y="70485"/>
                    </a:lnTo>
                    <a:lnTo>
                      <a:pt x="197167" y="63722"/>
                    </a:lnTo>
                    <a:lnTo>
                      <a:pt x="193358" y="49435"/>
                    </a:lnTo>
                    <a:lnTo>
                      <a:pt x="189547" y="18098"/>
                    </a:lnTo>
                    <a:lnTo>
                      <a:pt x="182880" y="7525"/>
                    </a:lnTo>
                    <a:lnTo>
                      <a:pt x="161925" y="7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5" name="Freeform: Shape 474">
                <a:extLst>
                  <a:ext uri="{FF2B5EF4-FFF2-40B4-BE49-F238E27FC236}">
                    <a16:creationId xmlns:a16="http://schemas.microsoft.com/office/drawing/2014/main" id="{9222D64A-CC6D-32C1-F937-9288F812D971}"/>
                  </a:ext>
                </a:extLst>
              </p:cNvPr>
              <p:cNvSpPr/>
              <p:nvPr/>
            </p:nvSpPr>
            <p:spPr>
              <a:xfrm>
                <a:off x="4363569" y="2995610"/>
                <a:ext cx="189546" cy="172740"/>
              </a:xfrm>
              <a:custGeom>
                <a:avLst/>
                <a:gdLst>
                  <a:gd name="connsiteX0" fmla="*/ 116205 w 193357"/>
                  <a:gd name="connsiteY0" fmla="*/ 0 h 176212"/>
                  <a:gd name="connsiteX1" fmla="*/ 95250 w 193357"/>
                  <a:gd name="connsiteY1" fmla="*/ 10477 h 176212"/>
                  <a:gd name="connsiteX2" fmla="*/ 70485 w 193357"/>
                  <a:gd name="connsiteY2" fmla="*/ 35147 h 176212"/>
                  <a:gd name="connsiteX3" fmla="*/ 52388 w 193357"/>
                  <a:gd name="connsiteY3" fmla="*/ 63722 h 176212"/>
                  <a:gd name="connsiteX4" fmla="*/ 39052 w 193357"/>
                  <a:gd name="connsiteY4" fmla="*/ 77152 h 176212"/>
                  <a:gd name="connsiteX5" fmla="*/ 27622 w 193357"/>
                  <a:gd name="connsiteY5" fmla="*/ 91440 h 176212"/>
                  <a:gd name="connsiteX6" fmla="*/ 3810 w 193357"/>
                  <a:gd name="connsiteY6" fmla="*/ 116110 h 176212"/>
                  <a:gd name="connsiteX7" fmla="*/ 0 w 193357"/>
                  <a:gd name="connsiteY7" fmla="*/ 140970 h 176212"/>
                  <a:gd name="connsiteX8" fmla="*/ 52388 w 193357"/>
                  <a:gd name="connsiteY8" fmla="*/ 144685 h 176212"/>
                  <a:gd name="connsiteX9" fmla="*/ 101917 w 193357"/>
                  <a:gd name="connsiteY9" fmla="*/ 137065 h 176212"/>
                  <a:gd name="connsiteX10" fmla="*/ 105727 w 193357"/>
                  <a:gd name="connsiteY10" fmla="*/ 158972 h 176212"/>
                  <a:gd name="connsiteX11" fmla="*/ 122872 w 193357"/>
                  <a:gd name="connsiteY11" fmla="*/ 165640 h 176212"/>
                  <a:gd name="connsiteX12" fmla="*/ 126682 w 193357"/>
                  <a:gd name="connsiteY12" fmla="*/ 155258 h 176212"/>
                  <a:gd name="connsiteX13" fmla="*/ 137160 w 193357"/>
                  <a:gd name="connsiteY13" fmla="*/ 144685 h 176212"/>
                  <a:gd name="connsiteX14" fmla="*/ 151447 w 193357"/>
                  <a:gd name="connsiteY14" fmla="*/ 158972 h 176212"/>
                  <a:gd name="connsiteX15" fmla="*/ 161925 w 193357"/>
                  <a:gd name="connsiteY15" fmla="*/ 176213 h 176212"/>
                  <a:gd name="connsiteX16" fmla="*/ 186690 w 193357"/>
                  <a:gd name="connsiteY16" fmla="*/ 169545 h 176212"/>
                  <a:gd name="connsiteX17" fmla="*/ 193357 w 193357"/>
                  <a:gd name="connsiteY17" fmla="*/ 151352 h 176212"/>
                  <a:gd name="connsiteX18" fmla="*/ 190500 w 193357"/>
                  <a:gd name="connsiteY18" fmla="*/ 130397 h 176212"/>
                  <a:gd name="connsiteX19" fmla="*/ 186690 w 193357"/>
                  <a:gd name="connsiteY19" fmla="*/ 116110 h 176212"/>
                  <a:gd name="connsiteX20" fmla="*/ 176213 w 193357"/>
                  <a:gd name="connsiteY20" fmla="*/ 112395 h 176212"/>
                  <a:gd name="connsiteX21" fmla="*/ 158115 w 193357"/>
                  <a:gd name="connsiteY21" fmla="*/ 95250 h 176212"/>
                  <a:gd name="connsiteX22" fmla="*/ 165735 w 193357"/>
                  <a:gd name="connsiteY22" fmla="*/ 80963 h 176212"/>
                  <a:gd name="connsiteX23" fmla="*/ 151447 w 193357"/>
                  <a:gd name="connsiteY23" fmla="*/ 77152 h 176212"/>
                  <a:gd name="connsiteX24" fmla="*/ 143827 w 193357"/>
                  <a:gd name="connsiteY24" fmla="*/ 66675 h 176212"/>
                  <a:gd name="connsiteX25" fmla="*/ 126682 w 193357"/>
                  <a:gd name="connsiteY25" fmla="*/ 77152 h 176212"/>
                  <a:gd name="connsiteX26" fmla="*/ 108585 w 193357"/>
                  <a:gd name="connsiteY26" fmla="*/ 60008 h 176212"/>
                  <a:gd name="connsiteX27" fmla="*/ 101917 w 193357"/>
                  <a:gd name="connsiteY27" fmla="*/ 35147 h 176212"/>
                  <a:gd name="connsiteX28" fmla="*/ 108585 w 193357"/>
                  <a:gd name="connsiteY28" fmla="*/ 14288 h 176212"/>
                  <a:gd name="connsiteX29" fmla="*/ 116205 w 193357"/>
                  <a:gd name="connsiteY29" fmla="*/ 0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93357" h="176212">
                    <a:moveTo>
                      <a:pt x="116205" y="0"/>
                    </a:moveTo>
                    <a:lnTo>
                      <a:pt x="95250" y="10477"/>
                    </a:lnTo>
                    <a:lnTo>
                      <a:pt x="70485" y="35147"/>
                    </a:lnTo>
                    <a:lnTo>
                      <a:pt x="52388" y="63722"/>
                    </a:lnTo>
                    <a:lnTo>
                      <a:pt x="39052" y="77152"/>
                    </a:lnTo>
                    <a:lnTo>
                      <a:pt x="27622" y="91440"/>
                    </a:lnTo>
                    <a:lnTo>
                      <a:pt x="3810" y="116110"/>
                    </a:lnTo>
                    <a:lnTo>
                      <a:pt x="0" y="140970"/>
                    </a:lnTo>
                    <a:lnTo>
                      <a:pt x="52388" y="144685"/>
                    </a:lnTo>
                    <a:lnTo>
                      <a:pt x="101917" y="137065"/>
                    </a:lnTo>
                    <a:lnTo>
                      <a:pt x="105727" y="158972"/>
                    </a:lnTo>
                    <a:lnTo>
                      <a:pt x="122872" y="165640"/>
                    </a:lnTo>
                    <a:lnTo>
                      <a:pt x="126682" y="155258"/>
                    </a:lnTo>
                    <a:lnTo>
                      <a:pt x="137160" y="144685"/>
                    </a:lnTo>
                    <a:lnTo>
                      <a:pt x="151447" y="158972"/>
                    </a:lnTo>
                    <a:lnTo>
                      <a:pt x="161925" y="176213"/>
                    </a:lnTo>
                    <a:lnTo>
                      <a:pt x="186690" y="169545"/>
                    </a:lnTo>
                    <a:lnTo>
                      <a:pt x="193357" y="151352"/>
                    </a:lnTo>
                    <a:lnTo>
                      <a:pt x="190500" y="130397"/>
                    </a:lnTo>
                    <a:lnTo>
                      <a:pt x="186690" y="116110"/>
                    </a:lnTo>
                    <a:lnTo>
                      <a:pt x="176213" y="112395"/>
                    </a:lnTo>
                    <a:lnTo>
                      <a:pt x="158115" y="95250"/>
                    </a:lnTo>
                    <a:lnTo>
                      <a:pt x="165735" y="80963"/>
                    </a:lnTo>
                    <a:lnTo>
                      <a:pt x="151447" y="77152"/>
                    </a:lnTo>
                    <a:lnTo>
                      <a:pt x="143827" y="66675"/>
                    </a:lnTo>
                    <a:lnTo>
                      <a:pt x="126682" y="77152"/>
                    </a:lnTo>
                    <a:lnTo>
                      <a:pt x="108585" y="60008"/>
                    </a:lnTo>
                    <a:lnTo>
                      <a:pt x="101917" y="35147"/>
                    </a:lnTo>
                    <a:lnTo>
                      <a:pt x="108585" y="14288"/>
                    </a:lnTo>
                    <a:lnTo>
                      <a:pt x="11620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6" name="Freeform: Shape 475">
                <a:extLst>
                  <a:ext uri="{FF2B5EF4-FFF2-40B4-BE49-F238E27FC236}">
                    <a16:creationId xmlns:a16="http://schemas.microsoft.com/office/drawing/2014/main" id="{C09B836F-EC90-7CBF-6B70-2377AE5530B9}"/>
                  </a:ext>
                </a:extLst>
              </p:cNvPr>
              <p:cNvSpPr/>
              <p:nvPr/>
            </p:nvSpPr>
            <p:spPr>
              <a:xfrm>
                <a:off x="3068493" y="2027331"/>
                <a:ext cx="66294" cy="48554"/>
              </a:xfrm>
              <a:custGeom>
                <a:avLst/>
                <a:gdLst>
                  <a:gd name="connsiteX0" fmla="*/ 24765 w 67627"/>
                  <a:gd name="connsiteY0" fmla="*/ 24765 h 49530"/>
                  <a:gd name="connsiteX1" fmla="*/ 39053 w 67627"/>
                  <a:gd name="connsiteY1" fmla="*/ 42863 h 49530"/>
                  <a:gd name="connsiteX2" fmla="*/ 49530 w 67627"/>
                  <a:gd name="connsiteY2" fmla="*/ 49530 h 49530"/>
                  <a:gd name="connsiteX3" fmla="*/ 60008 w 67627"/>
                  <a:gd name="connsiteY3" fmla="*/ 35243 h 49530"/>
                  <a:gd name="connsiteX4" fmla="*/ 67628 w 67627"/>
                  <a:gd name="connsiteY4" fmla="*/ 14288 h 49530"/>
                  <a:gd name="connsiteX5" fmla="*/ 63817 w 67627"/>
                  <a:gd name="connsiteY5" fmla="*/ 0 h 49530"/>
                  <a:gd name="connsiteX6" fmla="*/ 39053 w 67627"/>
                  <a:gd name="connsiteY6" fmla="*/ 0 h 49530"/>
                  <a:gd name="connsiteX7" fmla="*/ 10478 w 67627"/>
                  <a:gd name="connsiteY7" fmla="*/ 0 h 49530"/>
                  <a:gd name="connsiteX8" fmla="*/ 0 w 67627"/>
                  <a:gd name="connsiteY8" fmla="*/ 7525 h 49530"/>
                  <a:gd name="connsiteX9" fmla="*/ 10478 w 67627"/>
                  <a:gd name="connsiteY9" fmla="*/ 18002 h 49530"/>
                  <a:gd name="connsiteX10" fmla="*/ 24765 w 67627"/>
                  <a:gd name="connsiteY10" fmla="*/ 24765 h 4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627" h="49530">
                    <a:moveTo>
                      <a:pt x="24765" y="24765"/>
                    </a:moveTo>
                    <a:lnTo>
                      <a:pt x="39053" y="42863"/>
                    </a:lnTo>
                    <a:lnTo>
                      <a:pt x="49530" y="49530"/>
                    </a:lnTo>
                    <a:lnTo>
                      <a:pt x="60008" y="35243"/>
                    </a:lnTo>
                    <a:lnTo>
                      <a:pt x="67628" y="14288"/>
                    </a:lnTo>
                    <a:lnTo>
                      <a:pt x="63817" y="0"/>
                    </a:lnTo>
                    <a:lnTo>
                      <a:pt x="39053" y="0"/>
                    </a:lnTo>
                    <a:lnTo>
                      <a:pt x="10478" y="0"/>
                    </a:lnTo>
                    <a:lnTo>
                      <a:pt x="0" y="7525"/>
                    </a:lnTo>
                    <a:lnTo>
                      <a:pt x="10478" y="18002"/>
                    </a:lnTo>
                    <a:lnTo>
                      <a:pt x="24765" y="2476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7" name="Freeform: Shape 476">
                <a:extLst>
                  <a:ext uri="{FF2B5EF4-FFF2-40B4-BE49-F238E27FC236}">
                    <a16:creationId xmlns:a16="http://schemas.microsoft.com/office/drawing/2014/main" id="{BF9CFC0E-8190-22FE-FE5C-9C92ED3B3F90}"/>
                  </a:ext>
                </a:extLst>
              </p:cNvPr>
              <p:cNvSpPr/>
              <p:nvPr/>
            </p:nvSpPr>
            <p:spPr>
              <a:xfrm>
                <a:off x="2737021" y="1899316"/>
                <a:ext cx="24277" cy="14005"/>
              </a:xfrm>
              <a:custGeom>
                <a:avLst/>
                <a:gdLst>
                  <a:gd name="connsiteX0" fmla="*/ 18098 w 24765"/>
                  <a:gd name="connsiteY0" fmla="*/ 3905 h 14287"/>
                  <a:gd name="connsiteX1" fmla="*/ 0 w 24765"/>
                  <a:gd name="connsiteY1" fmla="*/ 14288 h 14287"/>
                  <a:gd name="connsiteX2" fmla="*/ 24765 w 24765"/>
                  <a:gd name="connsiteY2" fmla="*/ 0 h 14287"/>
                  <a:gd name="connsiteX3" fmla="*/ 18098 w 24765"/>
                  <a:gd name="connsiteY3" fmla="*/ 3905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5" h="14287">
                    <a:moveTo>
                      <a:pt x="18098" y="3905"/>
                    </a:moveTo>
                    <a:lnTo>
                      <a:pt x="0" y="14288"/>
                    </a:lnTo>
                    <a:lnTo>
                      <a:pt x="24765" y="0"/>
                    </a:lnTo>
                    <a:lnTo>
                      <a:pt x="18098" y="390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8" name="Freeform: Shape 477">
                <a:extLst>
                  <a:ext uri="{FF2B5EF4-FFF2-40B4-BE49-F238E27FC236}">
                    <a16:creationId xmlns:a16="http://schemas.microsoft.com/office/drawing/2014/main" id="{ED1F3727-9442-3E20-136A-94267CB58D6E}"/>
                  </a:ext>
                </a:extLst>
              </p:cNvPr>
              <p:cNvSpPr/>
              <p:nvPr/>
            </p:nvSpPr>
            <p:spPr>
              <a:xfrm>
                <a:off x="3389695" y="1764858"/>
                <a:ext cx="10270" cy="28012"/>
              </a:xfrm>
              <a:custGeom>
                <a:avLst/>
                <a:gdLst>
                  <a:gd name="connsiteX0" fmla="*/ 0 w 10477"/>
                  <a:gd name="connsiteY0" fmla="*/ 28575 h 28575"/>
                  <a:gd name="connsiteX1" fmla="*/ 10477 w 10477"/>
                  <a:gd name="connsiteY1" fmla="*/ 10573 h 28575"/>
                  <a:gd name="connsiteX2" fmla="*/ 0 w 10477"/>
                  <a:gd name="connsiteY2" fmla="*/ 0 h 28575"/>
                  <a:gd name="connsiteX3" fmla="*/ 10477 w 10477"/>
                  <a:gd name="connsiteY3" fmla="*/ 10573 h 28575"/>
                  <a:gd name="connsiteX4" fmla="*/ 0 w 10477"/>
                  <a:gd name="connsiteY4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" h="28575">
                    <a:moveTo>
                      <a:pt x="0" y="28575"/>
                    </a:moveTo>
                    <a:lnTo>
                      <a:pt x="10477" y="10573"/>
                    </a:lnTo>
                    <a:lnTo>
                      <a:pt x="0" y="0"/>
                    </a:lnTo>
                    <a:lnTo>
                      <a:pt x="10477" y="10573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9" name="Freeform: Shape 478">
                <a:extLst>
                  <a:ext uri="{FF2B5EF4-FFF2-40B4-BE49-F238E27FC236}">
                    <a16:creationId xmlns:a16="http://schemas.microsoft.com/office/drawing/2014/main" id="{42C9E9A5-2EFD-96B0-ACEF-874DBC3B7DF4}"/>
                  </a:ext>
                </a:extLst>
              </p:cNvPr>
              <p:cNvSpPr/>
              <p:nvPr/>
            </p:nvSpPr>
            <p:spPr>
              <a:xfrm>
                <a:off x="3306593" y="1740581"/>
                <a:ext cx="93372" cy="55183"/>
              </a:xfrm>
              <a:custGeom>
                <a:avLst/>
                <a:gdLst>
                  <a:gd name="connsiteX0" fmla="*/ 28575 w 95250"/>
                  <a:gd name="connsiteY0" fmla="*/ 39053 h 56292"/>
                  <a:gd name="connsiteX1" fmla="*/ 35242 w 95250"/>
                  <a:gd name="connsiteY1" fmla="*/ 56293 h 56292"/>
                  <a:gd name="connsiteX2" fmla="*/ 63817 w 95250"/>
                  <a:gd name="connsiteY2" fmla="*/ 56293 h 56292"/>
                  <a:gd name="connsiteX3" fmla="*/ 84773 w 95250"/>
                  <a:gd name="connsiteY3" fmla="*/ 53340 h 56292"/>
                  <a:gd name="connsiteX4" fmla="*/ 95250 w 95250"/>
                  <a:gd name="connsiteY4" fmla="*/ 35338 h 56292"/>
                  <a:gd name="connsiteX5" fmla="*/ 84773 w 95250"/>
                  <a:gd name="connsiteY5" fmla="*/ 24765 h 56292"/>
                  <a:gd name="connsiteX6" fmla="*/ 63817 w 95250"/>
                  <a:gd name="connsiteY6" fmla="*/ 18193 h 56292"/>
                  <a:gd name="connsiteX7" fmla="*/ 39053 w 95250"/>
                  <a:gd name="connsiteY7" fmla="*/ 7715 h 56292"/>
                  <a:gd name="connsiteX8" fmla="*/ 7620 w 95250"/>
                  <a:gd name="connsiteY8" fmla="*/ 0 h 56292"/>
                  <a:gd name="connsiteX9" fmla="*/ 0 w 95250"/>
                  <a:gd name="connsiteY9" fmla="*/ 7715 h 56292"/>
                  <a:gd name="connsiteX10" fmla="*/ 0 w 95250"/>
                  <a:gd name="connsiteY10" fmla="*/ 21050 h 56292"/>
                  <a:gd name="connsiteX11" fmla="*/ 11430 w 95250"/>
                  <a:gd name="connsiteY11" fmla="*/ 31528 h 56292"/>
                  <a:gd name="connsiteX12" fmla="*/ 28575 w 95250"/>
                  <a:gd name="connsiteY12" fmla="*/ 39053 h 5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56292">
                    <a:moveTo>
                      <a:pt x="28575" y="39053"/>
                    </a:moveTo>
                    <a:lnTo>
                      <a:pt x="35242" y="56293"/>
                    </a:lnTo>
                    <a:lnTo>
                      <a:pt x="63817" y="56293"/>
                    </a:lnTo>
                    <a:lnTo>
                      <a:pt x="84773" y="53340"/>
                    </a:lnTo>
                    <a:lnTo>
                      <a:pt x="95250" y="35338"/>
                    </a:lnTo>
                    <a:lnTo>
                      <a:pt x="84773" y="24765"/>
                    </a:lnTo>
                    <a:lnTo>
                      <a:pt x="63817" y="18193"/>
                    </a:lnTo>
                    <a:lnTo>
                      <a:pt x="39053" y="7715"/>
                    </a:lnTo>
                    <a:lnTo>
                      <a:pt x="7620" y="0"/>
                    </a:lnTo>
                    <a:lnTo>
                      <a:pt x="0" y="7715"/>
                    </a:lnTo>
                    <a:lnTo>
                      <a:pt x="0" y="21050"/>
                    </a:lnTo>
                    <a:lnTo>
                      <a:pt x="11430" y="31528"/>
                    </a:lnTo>
                    <a:lnTo>
                      <a:pt x="28575" y="3905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0" name="Freeform: Shape 479">
                <a:extLst>
                  <a:ext uri="{FF2B5EF4-FFF2-40B4-BE49-F238E27FC236}">
                    <a16:creationId xmlns:a16="http://schemas.microsoft.com/office/drawing/2014/main" id="{9A402BFB-5741-AC15-B611-47782D56136E}"/>
                  </a:ext>
                </a:extLst>
              </p:cNvPr>
              <p:cNvSpPr/>
              <p:nvPr/>
            </p:nvSpPr>
            <p:spPr>
              <a:xfrm>
                <a:off x="3810804" y="2570763"/>
                <a:ext cx="17740" cy="34454"/>
              </a:xfrm>
              <a:custGeom>
                <a:avLst/>
                <a:gdLst>
                  <a:gd name="connsiteX0" fmla="*/ 18097 w 18097"/>
                  <a:gd name="connsiteY0" fmla="*/ 13240 h 35147"/>
                  <a:gd name="connsiteX1" fmla="*/ 14288 w 18097"/>
                  <a:gd name="connsiteY1" fmla="*/ 0 h 35147"/>
                  <a:gd name="connsiteX2" fmla="*/ 0 w 18097"/>
                  <a:gd name="connsiteY2" fmla="*/ 35147 h 35147"/>
                  <a:gd name="connsiteX3" fmla="*/ 18097 w 18097"/>
                  <a:gd name="connsiteY3" fmla="*/ 13240 h 35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97" h="35147">
                    <a:moveTo>
                      <a:pt x="18097" y="13240"/>
                    </a:moveTo>
                    <a:lnTo>
                      <a:pt x="14288" y="0"/>
                    </a:lnTo>
                    <a:lnTo>
                      <a:pt x="0" y="35147"/>
                    </a:lnTo>
                    <a:lnTo>
                      <a:pt x="18097" y="1324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1" name="Freeform: Shape 480">
                <a:extLst>
                  <a:ext uri="{FF2B5EF4-FFF2-40B4-BE49-F238E27FC236}">
                    <a16:creationId xmlns:a16="http://schemas.microsoft.com/office/drawing/2014/main" id="{CF582C20-9CBE-113F-CAC1-1DC22D03B73F}"/>
                  </a:ext>
                </a:extLst>
              </p:cNvPr>
              <p:cNvSpPr/>
              <p:nvPr/>
            </p:nvSpPr>
            <p:spPr>
              <a:xfrm>
                <a:off x="2864941" y="1799500"/>
                <a:ext cx="20542" cy="10271"/>
              </a:xfrm>
              <a:custGeom>
                <a:avLst/>
                <a:gdLst>
                  <a:gd name="connsiteX0" fmla="*/ 18098 w 20955"/>
                  <a:gd name="connsiteY0" fmla="*/ 6572 h 10477"/>
                  <a:gd name="connsiteX1" fmla="*/ 20955 w 20955"/>
                  <a:gd name="connsiteY1" fmla="*/ 0 h 10477"/>
                  <a:gd name="connsiteX2" fmla="*/ 0 w 20955"/>
                  <a:gd name="connsiteY2" fmla="*/ 10478 h 10477"/>
                  <a:gd name="connsiteX3" fmla="*/ 18098 w 20955"/>
                  <a:gd name="connsiteY3" fmla="*/ 6572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" h="10477">
                    <a:moveTo>
                      <a:pt x="18098" y="6572"/>
                    </a:moveTo>
                    <a:lnTo>
                      <a:pt x="20955" y="0"/>
                    </a:lnTo>
                    <a:lnTo>
                      <a:pt x="0" y="10478"/>
                    </a:lnTo>
                    <a:lnTo>
                      <a:pt x="18098" y="657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2" name="Freeform: Shape 481">
                <a:extLst>
                  <a:ext uri="{FF2B5EF4-FFF2-40B4-BE49-F238E27FC236}">
                    <a16:creationId xmlns:a16="http://schemas.microsoft.com/office/drawing/2014/main" id="{7E8D176D-99AF-1884-30E2-5CE1360AB80A}"/>
                  </a:ext>
                </a:extLst>
              </p:cNvPr>
              <p:cNvSpPr/>
              <p:nvPr/>
            </p:nvSpPr>
            <p:spPr>
              <a:xfrm>
                <a:off x="2785575" y="3617476"/>
                <a:ext cx="831948" cy="529332"/>
              </a:xfrm>
              <a:custGeom>
                <a:avLst/>
                <a:gdLst>
                  <a:gd name="connsiteX0" fmla="*/ 510540 w 848677"/>
                  <a:gd name="connsiteY0" fmla="*/ 190500 h 539972"/>
                  <a:gd name="connsiteX1" fmla="*/ 496253 w 848677"/>
                  <a:gd name="connsiteY1" fmla="*/ 169450 h 539972"/>
                  <a:gd name="connsiteX2" fmla="*/ 482918 w 848677"/>
                  <a:gd name="connsiteY2" fmla="*/ 148590 h 539972"/>
                  <a:gd name="connsiteX3" fmla="*/ 464820 w 848677"/>
                  <a:gd name="connsiteY3" fmla="*/ 127635 h 539972"/>
                  <a:gd name="connsiteX4" fmla="*/ 454343 w 848677"/>
                  <a:gd name="connsiteY4" fmla="*/ 102775 h 539972"/>
                  <a:gd name="connsiteX5" fmla="*/ 429578 w 848677"/>
                  <a:gd name="connsiteY5" fmla="*/ 92297 h 539972"/>
                  <a:gd name="connsiteX6" fmla="*/ 415290 w 848677"/>
                  <a:gd name="connsiteY6" fmla="*/ 84773 h 539972"/>
                  <a:gd name="connsiteX7" fmla="*/ 401955 w 848677"/>
                  <a:gd name="connsiteY7" fmla="*/ 92297 h 539972"/>
                  <a:gd name="connsiteX8" fmla="*/ 398145 w 848677"/>
                  <a:gd name="connsiteY8" fmla="*/ 109538 h 539972"/>
                  <a:gd name="connsiteX9" fmla="*/ 377190 w 848677"/>
                  <a:gd name="connsiteY9" fmla="*/ 113348 h 539972"/>
                  <a:gd name="connsiteX10" fmla="*/ 348615 w 848677"/>
                  <a:gd name="connsiteY10" fmla="*/ 95250 h 539972"/>
                  <a:gd name="connsiteX11" fmla="*/ 344805 w 848677"/>
                  <a:gd name="connsiteY11" fmla="*/ 67628 h 539972"/>
                  <a:gd name="connsiteX12" fmla="*/ 327660 w 848677"/>
                  <a:gd name="connsiteY12" fmla="*/ 53340 h 539972"/>
                  <a:gd name="connsiteX13" fmla="*/ 292418 w 848677"/>
                  <a:gd name="connsiteY13" fmla="*/ 24765 h 539972"/>
                  <a:gd name="connsiteX14" fmla="*/ 257175 w 848677"/>
                  <a:gd name="connsiteY14" fmla="*/ 32385 h 539972"/>
                  <a:gd name="connsiteX15" fmla="*/ 242888 w 848677"/>
                  <a:gd name="connsiteY15" fmla="*/ 42863 h 539972"/>
                  <a:gd name="connsiteX16" fmla="*/ 161925 w 848677"/>
                  <a:gd name="connsiteY16" fmla="*/ 42863 h 539972"/>
                  <a:gd name="connsiteX17" fmla="*/ 134303 w 848677"/>
                  <a:gd name="connsiteY17" fmla="*/ 32385 h 539972"/>
                  <a:gd name="connsiteX18" fmla="*/ 88583 w 848677"/>
                  <a:gd name="connsiteY18" fmla="*/ 11335 h 539972"/>
                  <a:gd name="connsiteX19" fmla="*/ 56198 w 848677"/>
                  <a:gd name="connsiteY19" fmla="*/ 0 h 539972"/>
                  <a:gd name="connsiteX20" fmla="*/ 0 w 848677"/>
                  <a:gd name="connsiteY20" fmla="*/ 3810 h 539972"/>
                  <a:gd name="connsiteX21" fmla="*/ 14288 w 848677"/>
                  <a:gd name="connsiteY21" fmla="*/ 24765 h 539972"/>
                  <a:gd name="connsiteX22" fmla="*/ 20955 w 848677"/>
                  <a:gd name="connsiteY22" fmla="*/ 42863 h 539972"/>
                  <a:gd name="connsiteX23" fmla="*/ 28575 w 848677"/>
                  <a:gd name="connsiteY23" fmla="*/ 57150 h 539972"/>
                  <a:gd name="connsiteX24" fmla="*/ 39053 w 848677"/>
                  <a:gd name="connsiteY24" fmla="*/ 81915 h 539972"/>
                  <a:gd name="connsiteX25" fmla="*/ 53340 w 848677"/>
                  <a:gd name="connsiteY25" fmla="*/ 99060 h 539972"/>
                  <a:gd name="connsiteX26" fmla="*/ 66675 w 848677"/>
                  <a:gd name="connsiteY26" fmla="*/ 105728 h 539972"/>
                  <a:gd name="connsiteX27" fmla="*/ 74295 w 848677"/>
                  <a:gd name="connsiteY27" fmla="*/ 113348 h 539972"/>
                  <a:gd name="connsiteX28" fmla="*/ 80963 w 848677"/>
                  <a:gd name="connsiteY28" fmla="*/ 130397 h 539972"/>
                  <a:gd name="connsiteX29" fmla="*/ 84773 w 848677"/>
                  <a:gd name="connsiteY29" fmla="*/ 140875 h 539972"/>
                  <a:gd name="connsiteX30" fmla="*/ 80963 w 848677"/>
                  <a:gd name="connsiteY30" fmla="*/ 148590 h 539972"/>
                  <a:gd name="connsiteX31" fmla="*/ 74295 w 848677"/>
                  <a:gd name="connsiteY31" fmla="*/ 148590 h 539972"/>
                  <a:gd name="connsiteX32" fmla="*/ 66675 w 848677"/>
                  <a:gd name="connsiteY32" fmla="*/ 152400 h 539972"/>
                  <a:gd name="connsiteX33" fmla="*/ 70485 w 848677"/>
                  <a:gd name="connsiteY33" fmla="*/ 158972 h 539972"/>
                  <a:gd name="connsiteX34" fmla="*/ 84773 w 848677"/>
                  <a:gd name="connsiteY34" fmla="*/ 173260 h 539972"/>
                  <a:gd name="connsiteX35" fmla="*/ 99060 w 848677"/>
                  <a:gd name="connsiteY35" fmla="*/ 180023 h 539972"/>
                  <a:gd name="connsiteX36" fmla="*/ 116205 w 848677"/>
                  <a:gd name="connsiteY36" fmla="*/ 183737 h 539972"/>
                  <a:gd name="connsiteX37" fmla="*/ 126683 w 848677"/>
                  <a:gd name="connsiteY37" fmla="*/ 190500 h 539972"/>
                  <a:gd name="connsiteX38" fmla="*/ 140970 w 848677"/>
                  <a:gd name="connsiteY38" fmla="*/ 204788 h 539972"/>
                  <a:gd name="connsiteX39" fmla="*/ 144780 w 848677"/>
                  <a:gd name="connsiteY39" fmla="*/ 222885 h 539972"/>
                  <a:gd name="connsiteX40" fmla="*/ 147638 w 848677"/>
                  <a:gd name="connsiteY40" fmla="*/ 236125 h 539972"/>
                  <a:gd name="connsiteX41" fmla="*/ 161925 w 848677"/>
                  <a:gd name="connsiteY41" fmla="*/ 254222 h 539972"/>
                  <a:gd name="connsiteX42" fmla="*/ 176213 w 848677"/>
                  <a:gd name="connsiteY42" fmla="*/ 268510 h 539972"/>
                  <a:gd name="connsiteX43" fmla="*/ 190500 w 848677"/>
                  <a:gd name="connsiteY43" fmla="*/ 278987 h 539972"/>
                  <a:gd name="connsiteX44" fmla="*/ 200978 w 848677"/>
                  <a:gd name="connsiteY44" fmla="*/ 300038 h 539972"/>
                  <a:gd name="connsiteX45" fmla="*/ 215265 w 848677"/>
                  <a:gd name="connsiteY45" fmla="*/ 293275 h 539972"/>
                  <a:gd name="connsiteX46" fmla="*/ 211455 w 848677"/>
                  <a:gd name="connsiteY46" fmla="*/ 275272 h 539972"/>
                  <a:gd name="connsiteX47" fmla="*/ 207645 w 848677"/>
                  <a:gd name="connsiteY47" fmla="*/ 268510 h 539972"/>
                  <a:gd name="connsiteX48" fmla="*/ 200978 w 848677"/>
                  <a:gd name="connsiteY48" fmla="*/ 258128 h 539972"/>
                  <a:gd name="connsiteX49" fmla="*/ 186690 w 848677"/>
                  <a:gd name="connsiteY49" fmla="*/ 258128 h 539972"/>
                  <a:gd name="connsiteX50" fmla="*/ 182880 w 848677"/>
                  <a:gd name="connsiteY50" fmla="*/ 239935 h 539972"/>
                  <a:gd name="connsiteX51" fmla="*/ 172403 w 848677"/>
                  <a:gd name="connsiteY51" fmla="*/ 219075 h 539972"/>
                  <a:gd name="connsiteX52" fmla="*/ 159068 w 848677"/>
                  <a:gd name="connsiteY52" fmla="*/ 190500 h 539972"/>
                  <a:gd name="connsiteX53" fmla="*/ 140970 w 848677"/>
                  <a:gd name="connsiteY53" fmla="*/ 169450 h 539972"/>
                  <a:gd name="connsiteX54" fmla="*/ 126683 w 848677"/>
                  <a:gd name="connsiteY54" fmla="*/ 152400 h 539972"/>
                  <a:gd name="connsiteX55" fmla="*/ 112395 w 848677"/>
                  <a:gd name="connsiteY55" fmla="*/ 134303 h 539972"/>
                  <a:gd name="connsiteX56" fmla="*/ 99060 w 848677"/>
                  <a:gd name="connsiteY56" fmla="*/ 109538 h 539972"/>
                  <a:gd name="connsiteX57" fmla="*/ 80963 w 848677"/>
                  <a:gd name="connsiteY57" fmla="*/ 92297 h 539972"/>
                  <a:gd name="connsiteX58" fmla="*/ 70485 w 848677"/>
                  <a:gd name="connsiteY58" fmla="*/ 67628 h 539972"/>
                  <a:gd name="connsiteX59" fmla="*/ 63818 w 848677"/>
                  <a:gd name="connsiteY59" fmla="*/ 46673 h 539972"/>
                  <a:gd name="connsiteX60" fmla="*/ 66675 w 848677"/>
                  <a:gd name="connsiteY60" fmla="*/ 35147 h 539972"/>
                  <a:gd name="connsiteX61" fmla="*/ 88583 w 848677"/>
                  <a:gd name="connsiteY61" fmla="*/ 35147 h 539972"/>
                  <a:gd name="connsiteX62" fmla="*/ 112395 w 848677"/>
                  <a:gd name="connsiteY62" fmla="*/ 49435 h 539972"/>
                  <a:gd name="connsiteX63" fmla="*/ 116205 w 848677"/>
                  <a:gd name="connsiteY63" fmla="*/ 59912 h 539972"/>
                  <a:gd name="connsiteX64" fmla="*/ 126683 w 848677"/>
                  <a:gd name="connsiteY64" fmla="*/ 84773 h 539972"/>
                  <a:gd name="connsiteX65" fmla="*/ 137160 w 848677"/>
                  <a:gd name="connsiteY65" fmla="*/ 105728 h 539972"/>
                  <a:gd name="connsiteX66" fmla="*/ 155258 w 848677"/>
                  <a:gd name="connsiteY66" fmla="*/ 123825 h 539972"/>
                  <a:gd name="connsiteX67" fmla="*/ 176213 w 848677"/>
                  <a:gd name="connsiteY67" fmla="*/ 152400 h 539972"/>
                  <a:gd name="connsiteX68" fmla="*/ 194310 w 848677"/>
                  <a:gd name="connsiteY68" fmla="*/ 169450 h 539972"/>
                  <a:gd name="connsiteX69" fmla="*/ 221933 w 848677"/>
                  <a:gd name="connsiteY69" fmla="*/ 187547 h 539972"/>
                  <a:gd name="connsiteX70" fmla="*/ 221933 w 848677"/>
                  <a:gd name="connsiteY70" fmla="*/ 212312 h 539972"/>
                  <a:gd name="connsiteX71" fmla="*/ 236220 w 848677"/>
                  <a:gd name="connsiteY71" fmla="*/ 222885 h 539972"/>
                  <a:gd name="connsiteX72" fmla="*/ 257175 w 848677"/>
                  <a:gd name="connsiteY72" fmla="*/ 236125 h 539972"/>
                  <a:gd name="connsiteX73" fmla="*/ 275273 w 848677"/>
                  <a:gd name="connsiteY73" fmla="*/ 258128 h 539972"/>
                  <a:gd name="connsiteX74" fmla="*/ 296228 w 848677"/>
                  <a:gd name="connsiteY74" fmla="*/ 275272 h 539972"/>
                  <a:gd name="connsiteX75" fmla="*/ 313373 w 848677"/>
                  <a:gd name="connsiteY75" fmla="*/ 296228 h 539972"/>
                  <a:gd name="connsiteX76" fmla="*/ 338138 w 848677"/>
                  <a:gd name="connsiteY76" fmla="*/ 328613 h 539972"/>
                  <a:gd name="connsiteX77" fmla="*/ 338138 w 848677"/>
                  <a:gd name="connsiteY77" fmla="*/ 345662 h 539972"/>
                  <a:gd name="connsiteX78" fmla="*/ 327660 w 848677"/>
                  <a:gd name="connsiteY78" fmla="*/ 356235 h 539972"/>
                  <a:gd name="connsiteX79" fmla="*/ 327660 w 848677"/>
                  <a:gd name="connsiteY79" fmla="*/ 374237 h 539972"/>
                  <a:gd name="connsiteX80" fmla="*/ 338138 w 848677"/>
                  <a:gd name="connsiteY80" fmla="*/ 391478 h 539972"/>
                  <a:gd name="connsiteX81" fmla="*/ 359093 w 848677"/>
                  <a:gd name="connsiteY81" fmla="*/ 409575 h 539972"/>
                  <a:gd name="connsiteX82" fmla="*/ 383858 w 848677"/>
                  <a:gd name="connsiteY82" fmla="*/ 423863 h 539972"/>
                  <a:gd name="connsiteX83" fmla="*/ 408623 w 848677"/>
                  <a:gd name="connsiteY83" fmla="*/ 437197 h 539972"/>
                  <a:gd name="connsiteX84" fmla="*/ 433388 w 848677"/>
                  <a:gd name="connsiteY84" fmla="*/ 437197 h 539972"/>
                  <a:gd name="connsiteX85" fmla="*/ 447675 w 848677"/>
                  <a:gd name="connsiteY85" fmla="*/ 459010 h 539972"/>
                  <a:gd name="connsiteX86" fmla="*/ 464820 w 848677"/>
                  <a:gd name="connsiteY86" fmla="*/ 465772 h 539972"/>
                  <a:gd name="connsiteX87" fmla="*/ 496253 w 848677"/>
                  <a:gd name="connsiteY87" fmla="*/ 476250 h 539972"/>
                  <a:gd name="connsiteX88" fmla="*/ 524828 w 848677"/>
                  <a:gd name="connsiteY88" fmla="*/ 486728 h 539972"/>
                  <a:gd name="connsiteX89" fmla="*/ 549593 w 848677"/>
                  <a:gd name="connsiteY89" fmla="*/ 497110 h 539972"/>
                  <a:gd name="connsiteX90" fmla="*/ 578168 w 848677"/>
                  <a:gd name="connsiteY90" fmla="*/ 504825 h 539972"/>
                  <a:gd name="connsiteX91" fmla="*/ 595313 w 848677"/>
                  <a:gd name="connsiteY91" fmla="*/ 501015 h 539972"/>
                  <a:gd name="connsiteX92" fmla="*/ 609600 w 848677"/>
                  <a:gd name="connsiteY92" fmla="*/ 494347 h 539972"/>
                  <a:gd name="connsiteX93" fmla="*/ 626745 w 848677"/>
                  <a:gd name="connsiteY93" fmla="*/ 490538 h 539972"/>
                  <a:gd name="connsiteX94" fmla="*/ 641033 w 848677"/>
                  <a:gd name="connsiteY94" fmla="*/ 494347 h 539972"/>
                  <a:gd name="connsiteX95" fmla="*/ 655320 w 848677"/>
                  <a:gd name="connsiteY95" fmla="*/ 501015 h 539972"/>
                  <a:gd name="connsiteX96" fmla="*/ 672465 w 848677"/>
                  <a:gd name="connsiteY96" fmla="*/ 511397 h 539972"/>
                  <a:gd name="connsiteX97" fmla="*/ 690563 w 848677"/>
                  <a:gd name="connsiteY97" fmla="*/ 529590 h 539972"/>
                  <a:gd name="connsiteX98" fmla="*/ 701040 w 848677"/>
                  <a:gd name="connsiteY98" fmla="*/ 539972 h 539972"/>
                  <a:gd name="connsiteX99" fmla="*/ 704850 w 848677"/>
                  <a:gd name="connsiteY99" fmla="*/ 519113 h 539972"/>
                  <a:gd name="connsiteX100" fmla="*/ 707708 w 848677"/>
                  <a:gd name="connsiteY100" fmla="*/ 508635 h 539972"/>
                  <a:gd name="connsiteX101" fmla="*/ 715328 w 848677"/>
                  <a:gd name="connsiteY101" fmla="*/ 501015 h 539972"/>
                  <a:gd name="connsiteX102" fmla="*/ 718185 w 848677"/>
                  <a:gd name="connsiteY102" fmla="*/ 494347 h 539972"/>
                  <a:gd name="connsiteX103" fmla="*/ 725805 w 848677"/>
                  <a:gd name="connsiteY103" fmla="*/ 497110 h 539972"/>
                  <a:gd name="connsiteX104" fmla="*/ 746760 w 848677"/>
                  <a:gd name="connsiteY104" fmla="*/ 494347 h 539972"/>
                  <a:gd name="connsiteX105" fmla="*/ 753428 w 848677"/>
                  <a:gd name="connsiteY105" fmla="*/ 490538 h 539972"/>
                  <a:gd name="connsiteX106" fmla="*/ 746760 w 848677"/>
                  <a:gd name="connsiteY106" fmla="*/ 480060 h 539972"/>
                  <a:gd name="connsiteX107" fmla="*/ 732473 w 848677"/>
                  <a:gd name="connsiteY107" fmla="*/ 469487 h 539972"/>
                  <a:gd name="connsiteX108" fmla="*/ 729615 w 848677"/>
                  <a:gd name="connsiteY108" fmla="*/ 455200 h 539972"/>
                  <a:gd name="connsiteX109" fmla="*/ 732473 w 848677"/>
                  <a:gd name="connsiteY109" fmla="*/ 448628 h 539972"/>
                  <a:gd name="connsiteX110" fmla="*/ 763905 w 848677"/>
                  <a:gd name="connsiteY110" fmla="*/ 444722 h 539972"/>
                  <a:gd name="connsiteX111" fmla="*/ 785813 w 848677"/>
                  <a:gd name="connsiteY111" fmla="*/ 444722 h 539972"/>
                  <a:gd name="connsiteX112" fmla="*/ 796290 w 848677"/>
                  <a:gd name="connsiteY112" fmla="*/ 434340 h 539972"/>
                  <a:gd name="connsiteX113" fmla="*/ 802958 w 848677"/>
                  <a:gd name="connsiteY113" fmla="*/ 426625 h 539972"/>
                  <a:gd name="connsiteX114" fmla="*/ 810578 w 848677"/>
                  <a:gd name="connsiteY114" fmla="*/ 423863 h 539972"/>
                  <a:gd name="connsiteX115" fmla="*/ 817245 w 848677"/>
                  <a:gd name="connsiteY115" fmla="*/ 434340 h 539972"/>
                  <a:gd name="connsiteX116" fmla="*/ 823913 w 848677"/>
                  <a:gd name="connsiteY116" fmla="*/ 430435 h 539972"/>
                  <a:gd name="connsiteX117" fmla="*/ 823913 w 848677"/>
                  <a:gd name="connsiteY117" fmla="*/ 409575 h 539972"/>
                  <a:gd name="connsiteX118" fmla="*/ 827723 w 848677"/>
                  <a:gd name="connsiteY118" fmla="*/ 388525 h 539972"/>
                  <a:gd name="connsiteX119" fmla="*/ 831533 w 848677"/>
                  <a:gd name="connsiteY119" fmla="*/ 378047 h 539972"/>
                  <a:gd name="connsiteX120" fmla="*/ 842010 w 848677"/>
                  <a:gd name="connsiteY120" fmla="*/ 363760 h 539972"/>
                  <a:gd name="connsiteX121" fmla="*/ 848678 w 848677"/>
                  <a:gd name="connsiteY121" fmla="*/ 342900 h 539972"/>
                  <a:gd name="connsiteX122" fmla="*/ 827723 w 848677"/>
                  <a:gd name="connsiteY122" fmla="*/ 339090 h 539972"/>
                  <a:gd name="connsiteX123" fmla="*/ 796290 w 848677"/>
                  <a:gd name="connsiteY123" fmla="*/ 339090 h 539972"/>
                  <a:gd name="connsiteX124" fmla="*/ 778193 w 848677"/>
                  <a:gd name="connsiteY124" fmla="*/ 339090 h 539972"/>
                  <a:gd name="connsiteX125" fmla="*/ 753428 w 848677"/>
                  <a:gd name="connsiteY125" fmla="*/ 353378 h 539972"/>
                  <a:gd name="connsiteX126" fmla="*/ 746760 w 848677"/>
                  <a:gd name="connsiteY126" fmla="*/ 370522 h 539972"/>
                  <a:gd name="connsiteX127" fmla="*/ 746760 w 848677"/>
                  <a:gd name="connsiteY127" fmla="*/ 388525 h 539972"/>
                  <a:gd name="connsiteX128" fmla="*/ 732473 w 848677"/>
                  <a:gd name="connsiteY128" fmla="*/ 416147 h 539972"/>
                  <a:gd name="connsiteX129" fmla="*/ 697230 w 848677"/>
                  <a:gd name="connsiteY129" fmla="*/ 423863 h 539972"/>
                  <a:gd name="connsiteX130" fmla="*/ 661988 w 848677"/>
                  <a:gd name="connsiteY130" fmla="*/ 430435 h 539972"/>
                  <a:gd name="connsiteX131" fmla="*/ 634365 w 848677"/>
                  <a:gd name="connsiteY131" fmla="*/ 430435 h 539972"/>
                  <a:gd name="connsiteX132" fmla="*/ 612458 w 848677"/>
                  <a:gd name="connsiteY132" fmla="*/ 423863 h 539972"/>
                  <a:gd name="connsiteX133" fmla="*/ 595313 w 848677"/>
                  <a:gd name="connsiteY133" fmla="*/ 413385 h 539972"/>
                  <a:gd name="connsiteX134" fmla="*/ 581025 w 848677"/>
                  <a:gd name="connsiteY134" fmla="*/ 391478 h 539972"/>
                  <a:gd name="connsiteX135" fmla="*/ 566738 w 848677"/>
                  <a:gd name="connsiteY135" fmla="*/ 370522 h 539972"/>
                  <a:gd name="connsiteX136" fmla="*/ 549593 w 848677"/>
                  <a:gd name="connsiteY136" fmla="*/ 339090 h 539972"/>
                  <a:gd name="connsiteX137" fmla="*/ 542925 w 848677"/>
                  <a:gd name="connsiteY137" fmla="*/ 306610 h 539972"/>
                  <a:gd name="connsiteX138" fmla="*/ 542925 w 848677"/>
                  <a:gd name="connsiteY138" fmla="*/ 285750 h 539972"/>
                  <a:gd name="connsiteX139" fmla="*/ 542925 w 848677"/>
                  <a:gd name="connsiteY139" fmla="*/ 268510 h 539972"/>
                  <a:gd name="connsiteX140" fmla="*/ 545783 w 848677"/>
                  <a:gd name="connsiteY140" fmla="*/ 239935 h 539972"/>
                  <a:gd name="connsiteX141" fmla="*/ 553403 w 848677"/>
                  <a:gd name="connsiteY141" fmla="*/ 219075 h 539972"/>
                  <a:gd name="connsiteX142" fmla="*/ 560070 w 848677"/>
                  <a:gd name="connsiteY142" fmla="*/ 204788 h 539972"/>
                  <a:gd name="connsiteX143" fmla="*/ 539115 w 848677"/>
                  <a:gd name="connsiteY143" fmla="*/ 200978 h 539972"/>
                  <a:gd name="connsiteX144" fmla="*/ 510540 w 848677"/>
                  <a:gd name="connsiteY144" fmla="*/ 190500 h 539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848677" h="539972">
                    <a:moveTo>
                      <a:pt x="510540" y="190500"/>
                    </a:moveTo>
                    <a:lnTo>
                      <a:pt x="496253" y="169450"/>
                    </a:lnTo>
                    <a:lnTo>
                      <a:pt x="482918" y="148590"/>
                    </a:lnTo>
                    <a:lnTo>
                      <a:pt x="464820" y="127635"/>
                    </a:lnTo>
                    <a:lnTo>
                      <a:pt x="454343" y="102775"/>
                    </a:lnTo>
                    <a:lnTo>
                      <a:pt x="429578" y="92297"/>
                    </a:lnTo>
                    <a:lnTo>
                      <a:pt x="415290" y="84773"/>
                    </a:lnTo>
                    <a:lnTo>
                      <a:pt x="401955" y="92297"/>
                    </a:lnTo>
                    <a:lnTo>
                      <a:pt x="398145" y="109538"/>
                    </a:lnTo>
                    <a:lnTo>
                      <a:pt x="377190" y="113348"/>
                    </a:lnTo>
                    <a:lnTo>
                      <a:pt x="348615" y="95250"/>
                    </a:lnTo>
                    <a:lnTo>
                      <a:pt x="344805" y="67628"/>
                    </a:lnTo>
                    <a:lnTo>
                      <a:pt x="327660" y="53340"/>
                    </a:lnTo>
                    <a:lnTo>
                      <a:pt x="292418" y="24765"/>
                    </a:lnTo>
                    <a:lnTo>
                      <a:pt x="257175" y="32385"/>
                    </a:lnTo>
                    <a:lnTo>
                      <a:pt x="242888" y="42863"/>
                    </a:lnTo>
                    <a:lnTo>
                      <a:pt x="161925" y="42863"/>
                    </a:lnTo>
                    <a:lnTo>
                      <a:pt x="134303" y="32385"/>
                    </a:lnTo>
                    <a:lnTo>
                      <a:pt x="88583" y="11335"/>
                    </a:lnTo>
                    <a:lnTo>
                      <a:pt x="56198" y="0"/>
                    </a:lnTo>
                    <a:lnTo>
                      <a:pt x="0" y="3810"/>
                    </a:lnTo>
                    <a:lnTo>
                      <a:pt x="14288" y="24765"/>
                    </a:lnTo>
                    <a:lnTo>
                      <a:pt x="20955" y="42863"/>
                    </a:lnTo>
                    <a:lnTo>
                      <a:pt x="28575" y="57150"/>
                    </a:lnTo>
                    <a:lnTo>
                      <a:pt x="39053" y="81915"/>
                    </a:lnTo>
                    <a:lnTo>
                      <a:pt x="53340" y="99060"/>
                    </a:lnTo>
                    <a:lnTo>
                      <a:pt x="66675" y="105728"/>
                    </a:lnTo>
                    <a:lnTo>
                      <a:pt x="74295" y="113348"/>
                    </a:lnTo>
                    <a:lnTo>
                      <a:pt x="80963" y="130397"/>
                    </a:lnTo>
                    <a:lnTo>
                      <a:pt x="84773" y="140875"/>
                    </a:lnTo>
                    <a:lnTo>
                      <a:pt x="80963" y="148590"/>
                    </a:lnTo>
                    <a:lnTo>
                      <a:pt x="74295" y="148590"/>
                    </a:lnTo>
                    <a:lnTo>
                      <a:pt x="66675" y="152400"/>
                    </a:lnTo>
                    <a:lnTo>
                      <a:pt x="70485" y="158972"/>
                    </a:lnTo>
                    <a:lnTo>
                      <a:pt x="84773" y="173260"/>
                    </a:lnTo>
                    <a:lnTo>
                      <a:pt x="99060" y="180023"/>
                    </a:lnTo>
                    <a:lnTo>
                      <a:pt x="116205" y="183737"/>
                    </a:lnTo>
                    <a:lnTo>
                      <a:pt x="126683" y="190500"/>
                    </a:lnTo>
                    <a:lnTo>
                      <a:pt x="140970" y="204788"/>
                    </a:lnTo>
                    <a:lnTo>
                      <a:pt x="144780" y="222885"/>
                    </a:lnTo>
                    <a:lnTo>
                      <a:pt x="147638" y="236125"/>
                    </a:lnTo>
                    <a:lnTo>
                      <a:pt x="161925" y="254222"/>
                    </a:lnTo>
                    <a:lnTo>
                      <a:pt x="176213" y="268510"/>
                    </a:lnTo>
                    <a:lnTo>
                      <a:pt x="190500" y="278987"/>
                    </a:lnTo>
                    <a:lnTo>
                      <a:pt x="200978" y="300038"/>
                    </a:lnTo>
                    <a:lnTo>
                      <a:pt x="215265" y="293275"/>
                    </a:lnTo>
                    <a:lnTo>
                      <a:pt x="211455" y="275272"/>
                    </a:lnTo>
                    <a:lnTo>
                      <a:pt x="207645" y="268510"/>
                    </a:lnTo>
                    <a:lnTo>
                      <a:pt x="200978" y="258128"/>
                    </a:lnTo>
                    <a:lnTo>
                      <a:pt x="186690" y="258128"/>
                    </a:lnTo>
                    <a:lnTo>
                      <a:pt x="182880" y="239935"/>
                    </a:lnTo>
                    <a:lnTo>
                      <a:pt x="172403" y="219075"/>
                    </a:lnTo>
                    <a:lnTo>
                      <a:pt x="159068" y="190500"/>
                    </a:lnTo>
                    <a:lnTo>
                      <a:pt x="140970" y="169450"/>
                    </a:lnTo>
                    <a:lnTo>
                      <a:pt x="126683" y="152400"/>
                    </a:lnTo>
                    <a:lnTo>
                      <a:pt x="112395" y="134303"/>
                    </a:lnTo>
                    <a:lnTo>
                      <a:pt x="99060" y="109538"/>
                    </a:lnTo>
                    <a:lnTo>
                      <a:pt x="80963" y="92297"/>
                    </a:lnTo>
                    <a:lnTo>
                      <a:pt x="70485" y="67628"/>
                    </a:lnTo>
                    <a:lnTo>
                      <a:pt x="63818" y="46673"/>
                    </a:lnTo>
                    <a:lnTo>
                      <a:pt x="66675" y="35147"/>
                    </a:lnTo>
                    <a:lnTo>
                      <a:pt x="88583" y="35147"/>
                    </a:lnTo>
                    <a:lnTo>
                      <a:pt x="112395" y="49435"/>
                    </a:lnTo>
                    <a:lnTo>
                      <a:pt x="116205" y="59912"/>
                    </a:lnTo>
                    <a:lnTo>
                      <a:pt x="126683" y="84773"/>
                    </a:lnTo>
                    <a:lnTo>
                      <a:pt x="137160" y="105728"/>
                    </a:lnTo>
                    <a:lnTo>
                      <a:pt x="155258" y="123825"/>
                    </a:lnTo>
                    <a:lnTo>
                      <a:pt x="176213" y="152400"/>
                    </a:lnTo>
                    <a:lnTo>
                      <a:pt x="194310" y="169450"/>
                    </a:lnTo>
                    <a:lnTo>
                      <a:pt x="221933" y="187547"/>
                    </a:lnTo>
                    <a:lnTo>
                      <a:pt x="221933" y="212312"/>
                    </a:lnTo>
                    <a:lnTo>
                      <a:pt x="236220" y="222885"/>
                    </a:lnTo>
                    <a:lnTo>
                      <a:pt x="257175" y="236125"/>
                    </a:lnTo>
                    <a:lnTo>
                      <a:pt x="275273" y="258128"/>
                    </a:lnTo>
                    <a:lnTo>
                      <a:pt x="296228" y="275272"/>
                    </a:lnTo>
                    <a:lnTo>
                      <a:pt x="313373" y="296228"/>
                    </a:lnTo>
                    <a:lnTo>
                      <a:pt x="338138" y="328613"/>
                    </a:lnTo>
                    <a:lnTo>
                      <a:pt x="338138" y="345662"/>
                    </a:lnTo>
                    <a:lnTo>
                      <a:pt x="327660" y="356235"/>
                    </a:lnTo>
                    <a:lnTo>
                      <a:pt x="327660" y="374237"/>
                    </a:lnTo>
                    <a:lnTo>
                      <a:pt x="338138" y="391478"/>
                    </a:lnTo>
                    <a:lnTo>
                      <a:pt x="359093" y="409575"/>
                    </a:lnTo>
                    <a:lnTo>
                      <a:pt x="383858" y="423863"/>
                    </a:lnTo>
                    <a:lnTo>
                      <a:pt x="408623" y="437197"/>
                    </a:lnTo>
                    <a:lnTo>
                      <a:pt x="433388" y="437197"/>
                    </a:lnTo>
                    <a:lnTo>
                      <a:pt x="447675" y="459010"/>
                    </a:lnTo>
                    <a:lnTo>
                      <a:pt x="464820" y="465772"/>
                    </a:lnTo>
                    <a:lnTo>
                      <a:pt x="496253" y="476250"/>
                    </a:lnTo>
                    <a:lnTo>
                      <a:pt x="524828" y="486728"/>
                    </a:lnTo>
                    <a:lnTo>
                      <a:pt x="549593" y="497110"/>
                    </a:lnTo>
                    <a:lnTo>
                      <a:pt x="578168" y="504825"/>
                    </a:lnTo>
                    <a:lnTo>
                      <a:pt x="595313" y="501015"/>
                    </a:lnTo>
                    <a:lnTo>
                      <a:pt x="609600" y="494347"/>
                    </a:lnTo>
                    <a:lnTo>
                      <a:pt x="626745" y="490538"/>
                    </a:lnTo>
                    <a:lnTo>
                      <a:pt x="641033" y="494347"/>
                    </a:lnTo>
                    <a:lnTo>
                      <a:pt x="655320" y="501015"/>
                    </a:lnTo>
                    <a:lnTo>
                      <a:pt x="672465" y="511397"/>
                    </a:lnTo>
                    <a:lnTo>
                      <a:pt x="690563" y="529590"/>
                    </a:lnTo>
                    <a:lnTo>
                      <a:pt x="701040" y="539972"/>
                    </a:lnTo>
                    <a:lnTo>
                      <a:pt x="704850" y="519113"/>
                    </a:lnTo>
                    <a:lnTo>
                      <a:pt x="707708" y="508635"/>
                    </a:lnTo>
                    <a:lnTo>
                      <a:pt x="715328" y="501015"/>
                    </a:lnTo>
                    <a:lnTo>
                      <a:pt x="718185" y="494347"/>
                    </a:lnTo>
                    <a:lnTo>
                      <a:pt x="725805" y="497110"/>
                    </a:lnTo>
                    <a:lnTo>
                      <a:pt x="746760" y="494347"/>
                    </a:lnTo>
                    <a:lnTo>
                      <a:pt x="753428" y="490538"/>
                    </a:lnTo>
                    <a:lnTo>
                      <a:pt x="746760" y="480060"/>
                    </a:lnTo>
                    <a:lnTo>
                      <a:pt x="732473" y="469487"/>
                    </a:lnTo>
                    <a:lnTo>
                      <a:pt x="729615" y="455200"/>
                    </a:lnTo>
                    <a:lnTo>
                      <a:pt x="732473" y="448628"/>
                    </a:lnTo>
                    <a:lnTo>
                      <a:pt x="763905" y="444722"/>
                    </a:lnTo>
                    <a:lnTo>
                      <a:pt x="785813" y="444722"/>
                    </a:lnTo>
                    <a:lnTo>
                      <a:pt x="796290" y="434340"/>
                    </a:lnTo>
                    <a:lnTo>
                      <a:pt x="802958" y="426625"/>
                    </a:lnTo>
                    <a:lnTo>
                      <a:pt x="810578" y="423863"/>
                    </a:lnTo>
                    <a:lnTo>
                      <a:pt x="817245" y="434340"/>
                    </a:lnTo>
                    <a:lnTo>
                      <a:pt x="823913" y="430435"/>
                    </a:lnTo>
                    <a:lnTo>
                      <a:pt x="823913" y="409575"/>
                    </a:lnTo>
                    <a:lnTo>
                      <a:pt x="827723" y="388525"/>
                    </a:lnTo>
                    <a:lnTo>
                      <a:pt x="831533" y="378047"/>
                    </a:lnTo>
                    <a:lnTo>
                      <a:pt x="842010" y="363760"/>
                    </a:lnTo>
                    <a:lnTo>
                      <a:pt x="848678" y="342900"/>
                    </a:lnTo>
                    <a:lnTo>
                      <a:pt x="827723" y="339090"/>
                    </a:lnTo>
                    <a:lnTo>
                      <a:pt x="796290" y="339090"/>
                    </a:lnTo>
                    <a:lnTo>
                      <a:pt x="778193" y="339090"/>
                    </a:lnTo>
                    <a:lnTo>
                      <a:pt x="753428" y="353378"/>
                    </a:lnTo>
                    <a:lnTo>
                      <a:pt x="746760" y="370522"/>
                    </a:lnTo>
                    <a:lnTo>
                      <a:pt x="746760" y="388525"/>
                    </a:lnTo>
                    <a:lnTo>
                      <a:pt x="732473" y="416147"/>
                    </a:lnTo>
                    <a:lnTo>
                      <a:pt x="697230" y="423863"/>
                    </a:lnTo>
                    <a:lnTo>
                      <a:pt x="661988" y="430435"/>
                    </a:lnTo>
                    <a:lnTo>
                      <a:pt x="634365" y="430435"/>
                    </a:lnTo>
                    <a:lnTo>
                      <a:pt x="612458" y="423863"/>
                    </a:lnTo>
                    <a:lnTo>
                      <a:pt x="595313" y="413385"/>
                    </a:lnTo>
                    <a:lnTo>
                      <a:pt x="581025" y="391478"/>
                    </a:lnTo>
                    <a:lnTo>
                      <a:pt x="566738" y="370522"/>
                    </a:lnTo>
                    <a:lnTo>
                      <a:pt x="549593" y="339090"/>
                    </a:lnTo>
                    <a:lnTo>
                      <a:pt x="542925" y="306610"/>
                    </a:lnTo>
                    <a:lnTo>
                      <a:pt x="542925" y="285750"/>
                    </a:lnTo>
                    <a:lnTo>
                      <a:pt x="542925" y="268510"/>
                    </a:lnTo>
                    <a:lnTo>
                      <a:pt x="545783" y="239935"/>
                    </a:lnTo>
                    <a:lnTo>
                      <a:pt x="553403" y="219075"/>
                    </a:lnTo>
                    <a:lnTo>
                      <a:pt x="560070" y="204788"/>
                    </a:lnTo>
                    <a:lnTo>
                      <a:pt x="539115" y="200978"/>
                    </a:lnTo>
                    <a:lnTo>
                      <a:pt x="510540" y="19050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3" name="Freeform: Shape 482">
                <a:extLst>
                  <a:ext uri="{FF2B5EF4-FFF2-40B4-BE49-F238E27FC236}">
                    <a16:creationId xmlns:a16="http://schemas.microsoft.com/office/drawing/2014/main" id="{7E314759-D733-CBA0-A5B5-7710EC97BACC}"/>
                  </a:ext>
                </a:extLst>
              </p:cNvPr>
              <p:cNvSpPr/>
              <p:nvPr/>
            </p:nvSpPr>
            <p:spPr>
              <a:xfrm>
                <a:off x="3192679" y="3700578"/>
                <a:ext cx="48553" cy="42017"/>
              </a:xfrm>
              <a:custGeom>
                <a:avLst/>
                <a:gdLst>
                  <a:gd name="connsiteX0" fmla="*/ 39053 w 49529"/>
                  <a:gd name="connsiteY0" fmla="*/ 18002 h 42862"/>
                  <a:gd name="connsiteX1" fmla="*/ 49530 w 49529"/>
                  <a:gd name="connsiteY1" fmla="*/ 42863 h 42862"/>
                  <a:gd name="connsiteX2" fmla="*/ 39053 w 49529"/>
                  <a:gd name="connsiteY2" fmla="*/ 18002 h 42862"/>
                  <a:gd name="connsiteX3" fmla="*/ 0 w 49529"/>
                  <a:gd name="connsiteY3" fmla="*/ 0 h 42862"/>
                  <a:gd name="connsiteX4" fmla="*/ 0 w 49529"/>
                  <a:gd name="connsiteY4" fmla="*/ 0 h 42862"/>
                  <a:gd name="connsiteX5" fmla="*/ 14288 w 49529"/>
                  <a:gd name="connsiteY5" fmla="*/ 7525 h 42862"/>
                  <a:gd name="connsiteX6" fmla="*/ 39053 w 49529"/>
                  <a:gd name="connsiteY6" fmla="*/ 18002 h 4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529" h="42862">
                    <a:moveTo>
                      <a:pt x="39053" y="18002"/>
                    </a:moveTo>
                    <a:lnTo>
                      <a:pt x="49530" y="42863"/>
                    </a:lnTo>
                    <a:lnTo>
                      <a:pt x="39053" y="1800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4288" y="7525"/>
                    </a:lnTo>
                    <a:lnTo>
                      <a:pt x="39053" y="1800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4" name="Freeform: Shape 483">
                <a:extLst>
                  <a:ext uri="{FF2B5EF4-FFF2-40B4-BE49-F238E27FC236}">
                    <a16:creationId xmlns:a16="http://schemas.microsoft.com/office/drawing/2014/main" id="{A3077DBD-C365-D9D8-A7CE-F34D1F9DD4C5}"/>
                  </a:ext>
                </a:extLst>
              </p:cNvPr>
              <p:cNvSpPr/>
              <p:nvPr/>
            </p:nvSpPr>
            <p:spPr>
              <a:xfrm>
                <a:off x="1412066" y="2155251"/>
                <a:ext cx="1025228" cy="716079"/>
              </a:xfrm>
              <a:custGeom>
                <a:avLst/>
                <a:gdLst>
                  <a:gd name="connsiteX0" fmla="*/ 1017270 w 1045844"/>
                  <a:gd name="connsiteY0" fmla="*/ 666750 h 730472"/>
                  <a:gd name="connsiteX1" fmla="*/ 996315 w 1045844"/>
                  <a:gd name="connsiteY1" fmla="*/ 652463 h 730472"/>
                  <a:gd name="connsiteX2" fmla="*/ 978218 w 1045844"/>
                  <a:gd name="connsiteY2" fmla="*/ 631508 h 730472"/>
                  <a:gd name="connsiteX3" fmla="*/ 961073 w 1045844"/>
                  <a:gd name="connsiteY3" fmla="*/ 600075 h 730472"/>
                  <a:gd name="connsiteX4" fmla="*/ 946785 w 1045844"/>
                  <a:gd name="connsiteY4" fmla="*/ 585788 h 730472"/>
                  <a:gd name="connsiteX5" fmla="*/ 915353 w 1045844"/>
                  <a:gd name="connsiteY5" fmla="*/ 550545 h 730472"/>
                  <a:gd name="connsiteX6" fmla="*/ 894398 w 1045844"/>
                  <a:gd name="connsiteY6" fmla="*/ 529590 h 730472"/>
                  <a:gd name="connsiteX7" fmla="*/ 862013 w 1045844"/>
                  <a:gd name="connsiteY7" fmla="*/ 543877 h 730472"/>
                  <a:gd name="connsiteX8" fmla="*/ 859155 w 1045844"/>
                  <a:gd name="connsiteY8" fmla="*/ 554260 h 730472"/>
                  <a:gd name="connsiteX9" fmla="*/ 841058 w 1045844"/>
                  <a:gd name="connsiteY9" fmla="*/ 557213 h 730472"/>
                  <a:gd name="connsiteX10" fmla="*/ 820103 w 1045844"/>
                  <a:gd name="connsiteY10" fmla="*/ 539972 h 730472"/>
                  <a:gd name="connsiteX11" fmla="*/ 799148 w 1045844"/>
                  <a:gd name="connsiteY11" fmla="*/ 521970 h 730472"/>
                  <a:gd name="connsiteX12" fmla="*/ 784860 w 1045844"/>
                  <a:gd name="connsiteY12" fmla="*/ 504825 h 730472"/>
                  <a:gd name="connsiteX13" fmla="*/ 757238 w 1045844"/>
                  <a:gd name="connsiteY13" fmla="*/ 515302 h 730472"/>
                  <a:gd name="connsiteX14" fmla="*/ 739140 w 1045844"/>
                  <a:gd name="connsiteY14" fmla="*/ 508540 h 730472"/>
                  <a:gd name="connsiteX15" fmla="*/ 739140 w 1045844"/>
                  <a:gd name="connsiteY15" fmla="*/ 84773 h 730472"/>
                  <a:gd name="connsiteX16" fmla="*/ 703898 w 1045844"/>
                  <a:gd name="connsiteY16" fmla="*/ 70485 h 730472"/>
                  <a:gd name="connsiteX17" fmla="*/ 693420 w 1045844"/>
                  <a:gd name="connsiteY17" fmla="*/ 63722 h 730472"/>
                  <a:gd name="connsiteX18" fmla="*/ 641033 w 1045844"/>
                  <a:gd name="connsiteY18" fmla="*/ 70485 h 730472"/>
                  <a:gd name="connsiteX19" fmla="*/ 605790 w 1045844"/>
                  <a:gd name="connsiteY19" fmla="*/ 63722 h 730472"/>
                  <a:gd name="connsiteX20" fmla="*/ 559118 w 1045844"/>
                  <a:gd name="connsiteY20" fmla="*/ 53245 h 730472"/>
                  <a:gd name="connsiteX21" fmla="*/ 521018 w 1045844"/>
                  <a:gd name="connsiteY21" fmla="*/ 42863 h 730472"/>
                  <a:gd name="connsiteX22" fmla="*/ 471488 w 1045844"/>
                  <a:gd name="connsiteY22" fmla="*/ 42863 h 730472"/>
                  <a:gd name="connsiteX23" fmla="*/ 429577 w 1045844"/>
                  <a:gd name="connsiteY23" fmla="*/ 38957 h 730472"/>
                  <a:gd name="connsiteX24" fmla="*/ 429577 w 1045844"/>
                  <a:gd name="connsiteY24" fmla="*/ 28575 h 730472"/>
                  <a:gd name="connsiteX25" fmla="*/ 372427 w 1045844"/>
                  <a:gd name="connsiteY25" fmla="*/ 21907 h 730472"/>
                  <a:gd name="connsiteX26" fmla="*/ 359093 w 1045844"/>
                  <a:gd name="connsiteY26" fmla="*/ 14288 h 730472"/>
                  <a:gd name="connsiteX27" fmla="*/ 334327 w 1045844"/>
                  <a:gd name="connsiteY27" fmla="*/ 24670 h 730472"/>
                  <a:gd name="connsiteX28" fmla="*/ 326708 w 1045844"/>
                  <a:gd name="connsiteY28" fmla="*/ 14288 h 730472"/>
                  <a:gd name="connsiteX29" fmla="*/ 334327 w 1045844"/>
                  <a:gd name="connsiteY29" fmla="*/ 3810 h 730472"/>
                  <a:gd name="connsiteX30" fmla="*/ 309563 w 1045844"/>
                  <a:gd name="connsiteY30" fmla="*/ 0 h 730472"/>
                  <a:gd name="connsiteX31" fmla="*/ 278130 w 1045844"/>
                  <a:gd name="connsiteY31" fmla="*/ 18098 h 730472"/>
                  <a:gd name="connsiteX32" fmla="*/ 232410 w 1045844"/>
                  <a:gd name="connsiteY32" fmla="*/ 21907 h 730472"/>
                  <a:gd name="connsiteX33" fmla="*/ 224790 w 1045844"/>
                  <a:gd name="connsiteY33" fmla="*/ 35147 h 730472"/>
                  <a:gd name="connsiteX34" fmla="*/ 210503 w 1045844"/>
                  <a:gd name="connsiteY34" fmla="*/ 35147 h 730472"/>
                  <a:gd name="connsiteX35" fmla="*/ 182880 w 1045844"/>
                  <a:gd name="connsiteY35" fmla="*/ 49435 h 730472"/>
                  <a:gd name="connsiteX36" fmla="*/ 154305 w 1045844"/>
                  <a:gd name="connsiteY36" fmla="*/ 49435 h 730472"/>
                  <a:gd name="connsiteX37" fmla="*/ 129540 w 1045844"/>
                  <a:gd name="connsiteY37" fmla="*/ 74295 h 730472"/>
                  <a:gd name="connsiteX38" fmla="*/ 122873 w 1045844"/>
                  <a:gd name="connsiteY38" fmla="*/ 95250 h 730472"/>
                  <a:gd name="connsiteX39" fmla="*/ 101918 w 1045844"/>
                  <a:gd name="connsiteY39" fmla="*/ 113348 h 730472"/>
                  <a:gd name="connsiteX40" fmla="*/ 38100 w 1045844"/>
                  <a:gd name="connsiteY40" fmla="*/ 119920 h 730472"/>
                  <a:gd name="connsiteX41" fmla="*/ 35243 w 1045844"/>
                  <a:gd name="connsiteY41" fmla="*/ 144685 h 730472"/>
                  <a:gd name="connsiteX42" fmla="*/ 45720 w 1045844"/>
                  <a:gd name="connsiteY42" fmla="*/ 158972 h 730472"/>
                  <a:gd name="connsiteX43" fmla="*/ 66675 w 1045844"/>
                  <a:gd name="connsiteY43" fmla="*/ 158972 h 730472"/>
                  <a:gd name="connsiteX44" fmla="*/ 77153 w 1045844"/>
                  <a:gd name="connsiteY44" fmla="*/ 165735 h 730472"/>
                  <a:gd name="connsiteX45" fmla="*/ 87630 w 1045844"/>
                  <a:gd name="connsiteY45" fmla="*/ 177070 h 730472"/>
                  <a:gd name="connsiteX46" fmla="*/ 104775 w 1045844"/>
                  <a:gd name="connsiteY46" fmla="*/ 190500 h 730472"/>
                  <a:gd name="connsiteX47" fmla="*/ 116205 w 1045844"/>
                  <a:gd name="connsiteY47" fmla="*/ 212407 h 730472"/>
                  <a:gd name="connsiteX48" fmla="*/ 147638 w 1045844"/>
                  <a:gd name="connsiteY48" fmla="*/ 204788 h 730472"/>
                  <a:gd name="connsiteX49" fmla="*/ 161925 w 1045844"/>
                  <a:gd name="connsiteY49" fmla="*/ 208502 h 730472"/>
                  <a:gd name="connsiteX50" fmla="*/ 154305 w 1045844"/>
                  <a:gd name="connsiteY50" fmla="*/ 215265 h 730472"/>
                  <a:gd name="connsiteX51" fmla="*/ 154305 w 1045844"/>
                  <a:gd name="connsiteY51" fmla="*/ 229552 h 730472"/>
                  <a:gd name="connsiteX52" fmla="*/ 179070 w 1045844"/>
                  <a:gd name="connsiteY52" fmla="*/ 233363 h 730472"/>
                  <a:gd name="connsiteX53" fmla="*/ 189548 w 1045844"/>
                  <a:gd name="connsiteY53" fmla="*/ 225647 h 730472"/>
                  <a:gd name="connsiteX54" fmla="*/ 207645 w 1045844"/>
                  <a:gd name="connsiteY54" fmla="*/ 229552 h 730472"/>
                  <a:gd name="connsiteX55" fmla="*/ 200025 w 1045844"/>
                  <a:gd name="connsiteY55" fmla="*/ 239935 h 730472"/>
                  <a:gd name="connsiteX56" fmla="*/ 175260 w 1045844"/>
                  <a:gd name="connsiteY56" fmla="*/ 250507 h 730472"/>
                  <a:gd name="connsiteX57" fmla="*/ 154305 w 1045844"/>
                  <a:gd name="connsiteY57" fmla="*/ 254222 h 730472"/>
                  <a:gd name="connsiteX58" fmla="*/ 126683 w 1045844"/>
                  <a:gd name="connsiteY58" fmla="*/ 258127 h 730472"/>
                  <a:gd name="connsiteX59" fmla="*/ 108585 w 1045844"/>
                  <a:gd name="connsiteY59" fmla="*/ 247650 h 730472"/>
                  <a:gd name="connsiteX60" fmla="*/ 104775 w 1045844"/>
                  <a:gd name="connsiteY60" fmla="*/ 233363 h 730472"/>
                  <a:gd name="connsiteX61" fmla="*/ 91440 w 1045844"/>
                  <a:gd name="connsiteY61" fmla="*/ 229552 h 730472"/>
                  <a:gd name="connsiteX62" fmla="*/ 62865 w 1045844"/>
                  <a:gd name="connsiteY62" fmla="*/ 239935 h 730472"/>
                  <a:gd name="connsiteX63" fmla="*/ 38100 w 1045844"/>
                  <a:gd name="connsiteY63" fmla="*/ 247650 h 730472"/>
                  <a:gd name="connsiteX64" fmla="*/ 17145 w 1045844"/>
                  <a:gd name="connsiteY64" fmla="*/ 264795 h 730472"/>
                  <a:gd name="connsiteX65" fmla="*/ 0 w 1045844"/>
                  <a:gd name="connsiteY65" fmla="*/ 275177 h 730472"/>
                  <a:gd name="connsiteX66" fmla="*/ 6668 w 1045844"/>
                  <a:gd name="connsiteY66" fmla="*/ 289465 h 730472"/>
                  <a:gd name="connsiteX67" fmla="*/ 35243 w 1045844"/>
                  <a:gd name="connsiteY67" fmla="*/ 289465 h 730472"/>
                  <a:gd name="connsiteX68" fmla="*/ 35243 w 1045844"/>
                  <a:gd name="connsiteY68" fmla="*/ 296228 h 730472"/>
                  <a:gd name="connsiteX69" fmla="*/ 23813 w 1045844"/>
                  <a:gd name="connsiteY69" fmla="*/ 310515 h 730472"/>
                  <a:gd name="connsiteX70" fmla="*/ 38100 w 1045844"/>
                  <a:gd name="connsiteY70" fmla="*/ 324803 h 730472"/>
                  <a:gd name="connsiteX71" fmla="*/ 133350 w 1045844"/>
                  <a:gd name="connsiteY71" fmla="*/ 328613 h 730472"/>
                  <a:gd name="connsiteX72" fmla="*/ 151448 w 1045844"/>
                  <a:gd name="connsiteY72" fmla="*/ 318040 h 730472"/>
                  <a:gd name="connsiteX73" fmla="*/ 164782 w 1045844"/>
                  <a:gd name="connsiteY73" fmla="*/ 306610 h 730472"/>
                  <a:gd name="connsiteX74" fmla="*/ 182880 w 1045844"/>
                  <a:gd name="connsiteY74" fmla="*/ 306610 h 730472"/>
                  <a:gd name="connsiteX75" fmla="*/ 189548 w 1045844"/>
                  <a:gd name="connsiteY75" fmla="*/ 314325 h 730472"/>
                  <a:gd name="connsiteX76" fmla="*/ 179070 w 1045844"/>
                  <a:gd name="connsiteY76" fmla="*/ 324803 h 730472"/>
                  <a:gd name="connsiteX77" fmla="*/ 189548 w 1045844"/>
                  <a:gd name="connsiteY77" fmla="*/ 342900 h 730472"/>
                  <a:gd name="connsiteX78" fmla="*/ 193357 w 1045844"/>
                  <a:gd name="connsiteY78" fmla="*/ 366713 h 730472"/>
                  <a:gd name="connsiteX79" fmla="*/ 154305 w 1045844"/>
                  <a:gd name="connsiteY79" fmla="*/ 370427 h 730472"/>
                  <a:gd name="connsiteX80" fmla="*/ 140018 w 1045844"/>
                  <a:gd name="connsiteY80" fmla="*/ 378047 h 730472"/>
                  <a:gd name="connsiteX81" fmla="*/ 126683 w 1045844"/>
                  <a:gd name="connsiteY81" fmla="*/ 391478 h 730472"/>
                  <a:gd name="connsiteX82" fmla="*/ 101918 w 1045844"/>
                  <a:gd name="connsiteY82" fmla="*/ 388620 h 730472"/>
                  <a:gd name="connsiteX83" fmla="*/ 87630 w 1045844"/>
                  <a:gd name="connsiteY83" fmla="*/ 388620 h 730472"/>
                  <a:gd name="connsiteX84" fmla="*/ 80963 w 1045844"/>
                  <a:gd name="connsiteY84" fmla="*/ 399002 h 730472"/>
                  <a:gd name="connsiteX85" fmla="*/ 80963 w 1045844"/>
                  <a:gd name="connsiteY85" fmla="*/ 413290 h 730472"/>
                  <a:gd name="connsiteX86" fmla="*/ 59055 w 1045844"/>
                  <a:gd name="connsiteY86" fmla="*/ 426720 h 730472"/>
                  <a:gd name="connsiteX87" fmla="*/ 52388 w 1045844"/>
                  <a:gd name="connsiteY87" fmla="*/ 434340 h 730472"/>
                  <a:gd name="connsiteX88" fmla="*/ 41910 w 1045844"/>
                  <a:gd name="connsiteY88" fmla="*/ 455295 h 730472"/>
                  <a:gd name="connsiteX89" fmla="*/ 62865 w 1045844"/>
                  <a:gd name="connsiteY89" fmla="*/ 472440 h 730472"/>
                  <a:gd name="connsiteX90" fmla="*/ 70485 w 1045844"/>
                  <a:gd name="connsiteY90" fmla="*/ 459010 h 730472"/>
                  <a:gd name="connsiteX91" fmla="*/ 70485 w 1045844"/>
                  <a:gd name="connsiteY91" fmla="*/ 472440 h 730472"/>
                  <a:gd name="connsiteX92" fmla="*/ 83820 w 1045844"/>
                  <a:gd name="connsiteY92" fmla="*/ 483870 h 730472"/>
                  <a:gd name="connsiteX93" fmla="*/ 73343 w 1045844"/>
                  <a:gd name="connsiteY93" fmla="*/ 483870 h 730472"/>
                  <a:gd name="connsiteX94" fmla="*/ 70485 w 1045844"/>
                  <a:gd name="connsiteY94" fmla="*/ 494252 h 730472"/>
                  <a:gd name="connsiteX95" fmla="*/ 83820 w 1045844"/>
                  <a:gd name="connsiteY95" fmla="*/ 515302 h 730472"/>
                  <a:gd name="connsiteX96" fmla="*/ 98108 w 1045844"/>
                  <a:gd name="connsiteY96" fmla="*/ 529590 h 730472"/>
                  <a:gd name="connsiteX97" fmla="*/ 129540 w 1045844"/>
                  <a:gd name="connsiteY97" fmla="*/ 529590 h 730472"/>
                  <a:gd name="connsiteX98" fmla="*/ 137160 w 1045844"/>
                  <a:gd name="connsiteY98" fmla="*/ 521970 h 730472"/>
                  <a:gd name="connsiteX99" fmla="*/ 140018 w 1045844"/>
                  <a:gd name="connsiteY99" fmla="*/ 504825 h 730472"/>
                  <a:gd name="connsiteX100" fmla="*/ 151448 w 1045844"/>
                  <a:gd name="connsiteY100" fmla="*/ 504825 h 730472"/>
                  <a:gd name="connsiteX101" fmla="*/ 151448 w 1045844"/>
                  <a:gd name="connsiteY101" fmla="*/ 521970 h 730472"/>
                  <a:gd name="connsiteX102" fmla="*/ 154305 w 1045844"/>
                  <a:gd name="connsiteY102" fmla="*/ 536258 h 730472"/>
                  <a:gd name="connsiteX103" fmla="*/ 158115 w 1045844"/>
                  <a:gd name="connsiteY103" fmla="*/ 581977 h 730472"/>
                  <a:gd name="connsiteX104" fmla="*/ 175260 w 1045844"/>
                  <a:gd name="connsiteY104" fmla="*/ 579120 h 730472"/>
                  <a:gd name="connsiteX105" fmla="*/ 193357 w 1045844"/>
                  <a:gd name="connsiteY105" fmla="*/ 564833 h 730472"/>
                  <a:gd name="connsiteX106" fmla="*/ 221932 w 1045844"/>
                  <a:gd name="connsiteY106" fmla="*/ 567690 h 730472"/>
                  <a:gd name="connsiteX107" fmla="*/ 235268 w 1045844"/>
                  <a:gd name="connsiteY107" fmla="*/ 581977 h 730472"/>
                  <a:gd name="connsiteX108" fmla="*/ 242888 w 1045844"/>
                  <a:gd name="connsiteY108" fmla="*/ 579120 h 730472"/>
                  <a:gd name="connsiteX109" fmla="*/ 249555 w 1045844"/>
                  <a:gd name="connsiteY109" fmla="*/ 567690 h 730472"/>
                  <a:gd name="connsiteX110" fmla="*/ 260032 w 1045844"/>
                  <a:gd name="connsiteY110" fmla="*/ 579120 h 730472"/>
                  <a:gd name="connsiteX111" fmla="*/ 280988 w 1045844"/>
                  <a:gd name="connsiteY111" fmla="*/ 567690 h 730472"/>
                  <a:gd name="connsiteX112" fmla="*/ 299085 w 1045844"/>
                  <a:gd name="connsiteY112" fmla="*/ 564833 h 730472"/>
                  <a:gd name="connsiteX113" fmla="*/ 295275 w 1045844"/>
                  <a:gd name="connsiteY113" fmla="*/ 579120 h 730472"/>
                  <a:gd name="connsiteX114" fmla="*/ 280988 w 1045844"/>
                  <a:gd name="connsiteY114" fmla="*/ 585788 h 730472"/>
                  <a:gd name="connsiteX115" fmla="*/ 280988 w 1045844"/>
                  <a:gd name="connsiteY115" fmla="*/ 602933 h 730472"/>
                  <a:gd name="connsiteX116" fmla="*/ 274320 w 1045844"/>
                  <a:gd name="connsiteY116" fmla="*/ 624840 h 730472"/>
                  <a:gd name="connsiteX117" fmla="*/ 263843 w 1045844"/>
                  <a:gd name="connsiteY117" fmla="*/ 627602 h 730472"/>
                  <a:gd name="connsiteX118" fmla="*/ 245745 w 1045844"/>
                  <a:gd name="connsiteY118" fmla="*/ 645795 h 730472"/>
                  <a:gd name="connsiteX119" fmla="*/ 218123 w 1045844"/>
                  <a:gd name="connsiteY119" fmla="*/ 666750 h 730472"/>
                  <a:gd name="connsiteX120" fmla="*/ 200025 w 1045844"/>
                  <a:gd name="connsiteY120" fmla="*/ 674370 h 730472"/>
                  <a:gd name="connsiteX121" fmla="*/ 193357 w 1045844"/>
                  <a:gd name="connsiteY121" fmla="*/ 684752 h 730472"/>
                  <a:gd name="connsiteX122" fmla="*/ 175260 w 1045844"/>
                  <a:gd name="connsiteY122" fmla="*/ 684752 h 730472"/>
                  <a:gd name="connsiteX123" fmla="*/ 158115 w 1045844"/>
                  <a:gd name="connsiteY123" fmla="*/ 687610 h 730472"/>
                  <a:gd name="connsiteX124" fmla="*/ 147638 w 1045844"/>
                  <a:gd name="connsiteY124" fmla="*/ 695325 h 730472"/>
                  <a:gd name="connsiteX125" fmla="*/ 137160 w 1045844"/>
                  <a:gd name="connsiteY125" fmla="*/ 709613 h 730472"/>
                  <a:gd name="connsiteX126" fmla="*/ 133350 w 1045844"/>
                  <a:gd name="connsiteY126" fmla="*/ 722852 h 730472"/>
                  <a:gd name="connsiteX127" fmla="*/ 147638 w 1045844"/>
                  <a:gd name="connsiteY127" fmla="*/ 726758 h 730472"/>
                  <a:gd name="connsiteX128" fmla="*/ 158115 w 1045844"/>
                  <a:gd name="connsiteY128" fmla="*/ 720090 h 730472"/>
                  <a:gd name="connsiteX129" fmla="*/ 164782 w 1045844"/>
                  <a:gd name="connsiteY129" fmla="*/ 705802 h 730472"/>
                  <a:gd name="connsiteX130" fmla="*/ 172403 w 1045844"/>
                  <a:gd name="connsiteY130" fmla="*/ 701897 h 730472"/>
                  <a:gd name="connsiteX131" fmla="*/ 182880 w 1045844"/>
                  <a:gd name="connsiteY131" fmla="*/ 709613 h 730472"/>
                  <a:gd name="connsiteX132" fmla="*/ 197168 w 1045844"/>
                  <a:gd name="connsiteY132" fmla="*/ 701897 h 730472"/>
                  <a:gd name="connsiteX133" fmla="*/ 203835 w 1045844"/>
                  <a:gd name="connsiteY133" fmla="*/ 695325 h 730472"/>
                  <a:gd name="connsiteX134" fmla="*/ 228600 w 1045844"/>
                  <a:gd name="connsiteY134" fmla="*/ 695325 h 730472"/>
                  <a:gd name="connsiteX135" fmla="*/ 235268 w 1045844"/>
                  <a:gd name="connsiteY135" fmla="*/ 687610 h 730472"/>
                  <a:gd name="connsiteX136" fmla="*/ 256223 w 1045844"/>
                  <a:gd name="connsiteY136" fmla="*/ 677227 h 730472"/>
                  <a:gd name="connsiteX137" fmla="*/ 260032 w 1045844"/>
                  <a:gd name="connsiteY137" fmla="*/ 666750 h 730472"/>
                  <a:gd name="connsiteX138" fmla="*/ 270510 w 1045844"/>
                  <a:gd name="connsiteY138" fmla="*/ 656177 h 730472"/>
                  <a:gd name="connsiteX139" fmla="*/ 309563 w 1045844"/>
                  <a:gd name="connsiteY139" fmla="*/ 635222 h 730472"/>
                  <a:gd name="connsiteX140" fmla="*/ 344805 w 1045844"/>
                  <a:gd name="connsiteY140" fmla="*/ 614363 h 730472"/>
                  <a:gd name="connsiteX141" fmla="*/ 365760 w 1045844"/>
                  <a:gd name="connsiteY141" fmla="*/ 600075 h 730472"/>
                  <a:gd name="connsiteX142" fmla="*/ 383858 w 1045844"/>
                  <a:gd name="connsiteY142" fmla="*/ 585788 h 730472"/>
                  <a:gd name="connsiteX143" fmla="*/ 394335 w 1045844"/>
                  <a:gd name="connsiteY143" fmla="*/ 575215 h 730472"/>
                  <a:gd name="connsiteX144" fmla="*/ 390525 w 1045844"/>
                  <a:gd name="connsiteY144" fmla="*/ 567690 h 730472"/>
                  <a:gd name="connsiteX145" fmla="*/ 380048 w 1045844"/>
                  <a:gd name="connsiteY145" fmla="*/ 554260 h 730472"/>
                  <a:gd name="connsiteX146" fmla="*/ 386715 w 1045844"/>
                  <a:gd name="connsiteY146" fmla="*/ 539972 h 730472"/>
                  <a:gd name="connsiteX147" fmla="*/ 404813 w 1045844"/>
                  <a:gd name="connsiteY147" fmla="*/ 536258 h 730472"/>
                  <a:gd name="connsiteX148" fmla="*/ 415290 w 1045844"/>
                  <a:gd name="connsiteY148" fmla="*/ 525685 h 730472"/>
                  <a:gd name="connsiteX149" fmla="*/ 415290 w 1045844"/>
                  <a:gd name="connsiteY149" fmla="*/ 511397 h 730472"/>
                  <a:gd name="connsiteX150" fmla="*/ 429577 w 1045844"/>
                  <a:gd name="connsiteY150" fmla="*/ 497110 h 730472"/>
                  <a:gd name="connsiteX151" fmla="*/ 464820 w 1045844"/>
                  <a:gd name="connsiteY151" fmla="*/ 472440 h 730472"/>
                  <a:gd name="connsiteX152" fmla="*/ 481965 w 1045844"/>
                  <a:gd name="connsiteY152" fmla="*/ 469582 h 730472"/>
                  <a:gd name="connsiteX153" fmla="*/ 502920 w 1045844"/>
                  <a:gd name="connsiteY153" fmla="*/ 459010 h 730472"/>
                  <a:gd name="connsiteX154" fmla="*/ 500063 w 1045844"/>
                  <a:gd name="connsiteY154" fmla="*/ 465677 h 730472"/>
                  <a:gd name="connsiteX155" fmla="*/ 492443 w 1045844"/>
                  <a:gd name="connsiteY155" fmla="*/ 479965 h 730472"/>
                  <a:gd name="connsiteX156" fmla="*/ 475298 w 1045844"/>
                  <a:gd name="connsiteY156" fmla="*/ 483870 h 730472"/>
                  <a:gd name="connsiteX157" fmla="*/ 461010 w 1045844"/>
                  <a:gd name="connsiteY157" fmla="*/ 486727 h 730472"/>
                  <a:gd name="connsiteX158" fmla="*/ 454343 w 1045844"/>
                  <a:gd name="connsiteY158" fmla="*/ 494252 h 730472"/>
                  <a:gd name="connsiteX159" fmla="*/ 450533 w 1045844"/>
                  <a:gd name="connsiteY159" fmla="*/ 511397 h 730472"/>
                  <a:gd name="connsiteX160" fmla="*/ 442913 w 1045844"/>
                  <a:gd name="connsiteY160" fmla="*/ 525685 h 730472"/>
                  <a:gd name="connsiteX161" fmla="*/ 440055 w 1045844"/>
                  <a:gd name="connsiteY161" fmla="*/ 543877 h 730472"/>
                  <a:gd name="connsiteX162" fmla="*/ 450533 w 1045844"/>
                  <a:gd name="connsiteY162" fmla="*/ 557213 h 730472"/>
                  <a:gd name="connsiteX163" fmla="*/ 471488 w 1045844"/>
                  <a:gd name="connsiteY163" fmla="*/ 550545 h 730472"/>
                  <a:gd name="connsiteX164" fmla="*/ 489585 w 1045844"/>
                  <a:gd name="connsiteY164" fmla="*/ 536258 h 730472"/>
                  <a:gd name="connsiteX165" fmla="*/ 502920 w 1045844"/>
                  <a:gd name="connsiteY165" fmla="*/ 525685 h 730472"/>
                  <a:gd name="connsiteX166" fmla="*/ 517208 w 1045844"/>
                  <a:gd name="connsiteY166" fmla="*/ 521970 h 730472"/>
                  <a:gd name="connsiteX167" fmla="*/ 545783 w 1045844"/>
                  <a:gd name="connsiteY167" fmla="*/ 521970 h 730472"/>
                  <a:gd name="connsiteX168" fmla="*/ 552450 w 1045844"/>
                  <a:gd name="connsiteY168" fmla="*/ 519113 h 730472"/>
                  <a:gd name="connsiteX169" fmla="*/ 545783 w 1045844"/>
                  <a:gd name="connsiteY169" fmla="*/ 504825 h 730472"/>
                  <a:gd name="connsiteX170" fmla="*/ 538163 w 1045844"/>
                  <a:gd name="connsiteY170" fmla="*/ 494252 h 730472"/>
                  <a:gd name="connsiteX171" fmla="*/ 538163 w 1045844"/>
                  <a:gd name="connsiteY171" fmla="*/ 479965 h 730472"/>
                  <a:gd name="connsiteX172" fmla="*/ 559118 w 1045844"/>
                  <a:gd name="connsiteY172" fmla="*/ 479965 h 730472"/>
                  <a:gd name="connsiteX173" fmla="*/ 583883 w 1045844"/>
                  <a:gd name="connsiteY173" fmla="*/ 483870 h 730472"/>
                  <a:gd name="connsiteX174" fmla="*/ 605790 w 1045844"/>
                  <a:gd name="connsiteY174" fmla="*/ 494252 h 730472"/>
                  <a:gd name="connsiteX175" fmla="*/ 612458 w 1045844"/>
                  <a:gd name="connsiteY175" fmla="*/ 504825 h 730472"/>
                  <a:gd name="connsiteX176" fmla="*/ 637223 w 1045844"/>
                  <a:gd name="connsiteY176" fmla="*/ 508540 h 730472"/>
                  <a:gd name="connsiteX177" fmla="*/ 647700 w 1045844"/>
                  <a:gd name="connsiteY177" fmla="*/ 521970 h 730472"/>
                  <a:gd name="connsiteX178" fmla="*/ 664845 w 1045844"/>
                  <a:gd name="connsiteY178" fmla="*/ 521970 h 730472"/>
                  <a:gd name="connsiteX179" fmla="*/ 703898 w 1045844"/>
                  <a:gd name="connsiteY179" fmla="*/ 521970 h 730472"/>
                  <a:gd name="connsiteX180" fmla="*/ 728663 w 1045844"/>
                  <a:gd name="connsiteY180" fmla="*/ 525685 h 730472"/>
                  <a:gd name="connsiteX181" fmla="*/ 749618 w 1045844"/>
                  <a:gd name="connsiteY181" fmla="*/ 536258 h 730472"/>
                  <a:gd name="connsiteX182" fmla="*/ 770573 w 1045844"/>
                  <a:gd name="connsiteY182" fmla="*/ 532352 h 730472"/>
                  <a:gd name="connsiteX183" fmla="*/ 774383 w 1045844"/>
                  <a:gd name="connsiteY183" fmla="*/ 546640 h 730472"/>
                  <a:gd name="connsiteX184" fmla="*/ 816293 w 1045844"/>
                  <a:gd name="connsiteY184" fmla="*/ 571500 h 730472"/>
                  <a:gd name="connsiteX185" fmla="*/ 844868 w 1045844"/>
                  <a:gd name="connsiteY185" fmla="*/ 585788 h 730472"/>
                  <a:gd name="connsiteX186" fmla="*/ 865823 w 1045844"/>
                  <a:gd name="connsiteY186" fmla="*/ 592360 h 730472"/>
                  <a:gd name="connsiteX187" fmla="*/ 873443 w 1045844"/>
                  <a:gd name="connsiteY187" fmla="*/ 579120 h 730472"/>
                  <a:gd name="connsiteX188" fmla="*/ 880110 w 1045844"/>
                  <a:gd name="connsiteY188" fmla="*/ 585788 h 730472"/>
                  <a:gd name="connsiteX189" fmla="*/ 890588 w 1045844"/>
                  <a:gd name="connsiteY189" fmla="*/ 596265 h 730472"/>
                  <a:gd name="connsiteX190" fmla="*/ 897255 w 1045844"/>
                  <a:gd name="connsiteY190" fmla="*/ 589502 h 730472"/>
                  <a:gd name="connsiteX191" fmla="*/ 890588 w 1045844"/>
                  <a:gd name="connsiteY191" fmla="*/ 567690 h 730472"/>
                  <a:gd name="connsiteX192" fmla="*/ 897255 w 1045844"/>
                  <a:gd name="connsiteY192" fmla="*/ 560927 h 730472"/>
                  <a:gd name="connsiteX193" fmla="*/ 911543 w 1045844"/>
                  <a:gd name="connsiteY193" fmla="*/ 581977 h 730472"/>
                  <a:gd name="connsiteX194" fmla="*/ 919163 w 1045844"/>
                  <a:gd name="connsiteY194" fmla="*/ 592360 h 730472"/>
                  <a:gd name="connsiteX195" fmla="*/ 932498 w 1045844"/>
                  <a:gd name="connsiteY195" fmla="*/ 602933 h 730472"/>
                  <a:gd name="connsiteX196" fmla="*/ 950595 w 1045844"/>
                  <a:gd name="connsiteY196" fmla="*/ 624840 h 730472"/>
                  <a:gd name="connsiteX197" fmla="*/ 954405 w 1045844"/>
                  <a:gd name="connsiteY197" fmla="*/ 638175 h 730472"/>
                  <a:gd name="connsiteX198" fmla="*/ 971550 w 1045844"/>
                  <a:gd name="connsiteY198" fmla="*/ 652463 h 730472"/>
                  <a:gd name="connsiteX199" fmla="*/ 1000125 w 1045844"/>
                  <a:gd name="connsiteY199" fmla="*/ 677227 h 730472"/>
                  <a:gd name="connsiteX200" fmla="*/ 1002983 w 1045844"/>
                  <a:gd name="connsiteY200" fmla="*/ 681038 h 730472"/>
                  <a:gd name="connsiteX201" fmla="*/ 1013460 w 1045844"/>
                  <a:gd name="connsiteY201" fmla="*/ 691515 h 730472"/>
                  <a:gd name="connsiteX202" fmla="*/ 1024890 w 1045844"/>
                  <a:gd name="connsiteY202" fmla="*/ 695325 h 730472"/>
                  <a:gd name="connsiteX203" fmla="*/ 1021080 w 1045844"/>
                  <a:gd name="connsiteY203" fmla="*/ 712470 h 730472"/>
                  <a:gd name="connsiteX204" fmla="*/ 1013460 w 1045844"/>
                  <a:gd name="connsiteY204" fmla="*/ 730472 h 730472"/>
                  <a:gd name="connsiteX205" fmla="*/ 1038225 w 1045844"/>
                  <a:gd name="connsiteY205" fmla="*/ 722852 h 730472"/>
                  <a:gd name="connsiteX206" fmla="*/ 1045845 w 1045844"/>
                  <a:gd name="connsiteY206" fmla="*/ 695325 h 730472"/>
                  <a:gd name="connsiteX207" fmla="*/ 1042035 w 1045844"/>
                  <a:gd name="connsiteY207" fmla="*/ 681038 h 730472"/>
                  <a:gd name="connsiteX208" fmla="*/ 1017270 w 1045844"/>
                  <a:gd name="connsiteY208" fmla="*/ 666750 h 730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</a:cxnLst>
                <a:rect l="l" t="t" r="r" b="b"/>
                <a:pathLst>
                  <a:path w="1045844" h="730472">
                    <a:moveTo>
                      <a:pt x="1017270" y="666750"/>
                    </a:moveTo>
                    <a:lnTo>
                      <a:pt x="996315" y="652463"/>
                    </a:lnTo>
                    <a:lnTo>
                      <a:pt x="978218" y="631508"/>
                    </a:lnTo>
                    <a:lnTo>
                      <a:pt x="961073" y="600075"/>
                    </a:lnTo>
                    <a:lnTo>
                      <a:pt x="946785" y="585788"/>
                    </a:lnTo>
                    <a:lnTo>
                      <a:pt x="915353" y="550545"/>
                    </a:lnTo>
                    <a:lnTo>
                      <a:pt x="894398" y="529590"/>
                    </a:lnTo>
                    <a:lnTo>
                      <a:pt x="862013" y="543877"/>
                    </a:lnTo>
                    <a:lnTo>
                      <a:pt x="859155" y="554260"/>
                    </a:lnTo>
                    <a:lnTo>
                      <a:pt x="841058" y="557213"/>
                    </a:lnTo>
                    <a:lnTo>
                      <a:pt x="820103" y="539972"/>
                    </a:lnTo>
                    <a:lnTo>
                      <a:pt x="799148" y="521970"/>
                    </a:lnTo>
                    <a:lnTo>
                      <a:pt x="784860" y="504825"/>
                    </a:lnTo>
                    <a:lnTo>
                      <a:pt x="757238" y="515302"/>
                    </a:lnTo>
                    <a:lnTo>
                      <a:pt x="739140" y="508540"/>
                    </a:lnTo>
                    <a:lnTo>
                      <a:pt x="739140" y="84773"/>
                    </a:lnTo>
                    <a:lnTo>
                      <a:pt x="703898" y="70485"/>
                    </a:lnTo>
                    <a:lnTo>
                      <a:pt x="693420" y="63722"/>
                    </a:lnTo>
                    <a:lnTo>
                      <a:pt x="641033" y="70485"/>
                    </a:lnTo>
                    <a:lnTo>
                      <a:pt x="605790" y="63722"/>
                    </a:lnTo>
                    <a:lnTo>
                      <a:pt x="559118" y="53245"/>
                    </a:lnTo>
                    <a:lnTo>
                      <a:pt x="521018" y="42863"/>
                    </a:lnTo>
                    <a:lnTo>
                      <a:pt x="471488" y="42863"/>
                    </a:lnTo>
                    <a:lnTo>
                      <a:pt x="429577" y="38957"/>
                    </a:lnTo>
                    <a:lnTo>
                      <a:pt x="429577" y="28575"/>
                    </a:lnTo>
                    <a:lnTo>
                      <a:pt x="372427" y="21907"/>
                    </a:lnTo>
                    <a:lnTo>
                      <a:pt x="359093" y="14288"/>
                    </a:lnTo>
                    <a:lnTo>
                      <a:pt x="334327" y="24670"/>
                    </a:lnTo>
                    <a:lnTo>
                      <a:pt x="326708" y="14288"/>
                    </a:lnTo>
                    <a:lnTo>
                      <a:pt x="334327" y="3810"/>
                    </a:lnTo>
                    <a:lnTo>
                      <a:pt x="309563" y="0"/>
                    </a:lnTo>
                    <a:lnTo>
                      <a:pt x="278130" y="18098"/>
                    </a:lnTo>
                    <a:lnTo>
                      <a:pt x="232410" y="21907"/>
                    </a:lnTo>
                    <a:lnTo>
                      <a:pt x="224790" y="35147"/>
                    </a:lnTo>
                    <a:lnTo>
                      <a:pt x="210503" y="35147"/>
                    </a:lnTo>
                    <a:lnTo>
                      <a:pt x="182880" y="49435"/>
                    </a:lnTo>
                    <a:lnTo>
                      <a:pt x="154305" y="49435"/>
                    </a:lnTo>
                    <a:lnTo>
                      <a:pt x="129540" y="74295"/>
                    </a:lnTo>
                    <a:lnTo>
                      <a:pt x="122873" y="95250"/>
                    </a:lnTo>
                    <a:lnTo>
                      <a:pt x="101918" y="113348"/>
                    </a:lnTo>
                    <a:lnTo>
                      <a:pt x="38100" y="119920"/>
                    </a:lnTo>
                    <a:lnTo>
                      <a:pt x="35243" y="144685"/>
                    </a:lnTo>
                    <a:lnTo>
                      <a:pt x="45720" y="158972"/>
                    </a:lnTo>
                    <a:lnTo>
                      <a:pt x="66675" y="158972"/>
                    </a:lnTo>
                    <a:lnTo>
                      <a:pt x="77153" y="165735"/>
                    </a:lnTo>
                    <a:lnTo>
                      <a:pt x="87630" y="177070"/>
                    </a:lnTo>
                    <a:lnTo>
                      <a:pt x="104775" y="190500"/>
                    </a:lnTo>
                    <a:lnTo>
                      <a:pt x="116205" y="212407"/>
                    </a:lnTo>
                    <a:lnTo>
                      <a:pt x="147638" y="204788"/>
                    </a:lnTo>
                    <a:lnTo>
                      <a:pt x="161925" y="208502"/>
                    </a:lnTo>
                    <a:lnTo>
                      <a:pt x="154305" y="215265"/>
                    </a:lnTo>
                    <a:lnTo>
                      <a:pt x="154305" y="229552"/>
                    </a:lnTo>
                    <a:lnTo>
                      <a:pt x="179070" y="233363"/>
                    </a:lnTo>
                    <a:lnTo>
                      <a:pt x="189548" y="225647"/>
                    </a:lnTo>
                    <a:lnTo>
                      <a:pt x="207645" y="229552"/>
                    </a:lnTo>
                    <a:lnTo>
                      <a:pt x="200025" y="239935"/>
                    </a:lnTo>
                    <a:lnTo>
                      <a:pt x="175260" y="250507"/>
                    </a:lnTo>
                    <a:lnTo>
                      <a:pt x="154305" y="254222"/>
                    </a:lnTo>
                    <a:lnTo>
                      <a:pt x="126683" y="258127"/>
                    </a:lnTo>
                    <a:lnTo>
                      <a:pt x="108585" y="247650"/>
                    </a:lnTo>
                    <a:lnTo>
                      <a:pt x="104775" y="233363"/>
                    </a:lnTo>
                    <a:lnTo>
                      <a:pt x="91440" y="229552"/>
                    </a:lnTo>
                    <a:lnTo>
                      <a:pt x="62865" y="239935"/>
                    </a:lnTo>
                    <a:lnTo>
                      <a:pt x="38100" y="247650"/>
                    </a:lnTo>
                    <a:lnTo>
                      <a:pt x="17145" y="264795"/>
                    </a:lnTo>
                    <a:lnTo>
                      <a:pt x="0" y="275177"/>
                    </a:lnTo>
                    <a:lnTo>
                      <a:pt x="6668" y="289465"/>
                    </a:lnTo>
                    <a:lnTo>
                      <a:pt x="35243" y="289465"/>
                    </a:lnTo>
                    <a:lnTo>
                      <a:pt x="35243" y="296228"/>
                    </a:lnTo>
                    <a:lnTo>
                      <a:pt x="23813" y="310515"/>
                    </a:lnTo>
                    <a:lnTo>
                      <a:pt x="38100" y="324803"/>
                    </a:lnTo>
                    <a:lnTo>
                      <a:pt x="133350" y="328613"/>
                    </a:lnTo>
                    <a:lnTo>
                      <a:pt x="151448" y="318040"/>
                    </a:lnTo>
                    <a:lnTo>
                      <a:pt x="164782" y="306610"/>
                    </a:lnTo>
                    <a:lnTo>
                      <a:pt x="182880" y="306610"/>
                    </a:lnTo>
                    <a:lnTo>
                      <a:pt x="189548" y="314325"/>
                    </a:lnTo>
                    <a:lnTo>
                      <a:pt x="179070" y="324803"/>
                    </a:lnTo>
                    <a:lnTo>
                      <a:pt x="189548" y="342900"/>
                    </a:lnTo>
                    <a:lnTo>
                      <a:pt x="193357" y="366713"/>
                    </a:lnTo>
                    <a:lnTo>
                      <a:pt x="154305" y="370427"/>
                    </a:lnTo>
                    <a:lnTo>
                      <a:pt x="140018" y="378047"/>
                    </a:lnTo>
                    <a:lnTo>
                      <a:pt x="126683" y="391478"/>
                    </a:lnTo>
                    <a:lnTo>
                      <a:pt x="101918" y="388620"/>
                    </a:lnTo>
                    <a:lnTo>
                      <a:pt x="87630" y="388620"/>
                    </a:lnTo>
                    <a:lnTo>
                      <a:pt x="80963" y="399002"/>
                    </a:lnTo>
                    <a:lnTo>
                      <a:pt x="80963" y="413290"/>
                    </a:lnTo>
                    <a:lnTo>
                      <a:pt x="59055" y="426720"/>
                    </a:lnTo>
                    <a:lnTo>
                      <a:pt x="52388" y="434340"/>
                    </a:lnTo>
                    <a:lnTo>
                      <a:pt x="41910" y="455295"/>
                    </a:lnTo>
                    <a:lnTo>
                      <a:pt x="62865" y="472440"/>
                    </a:lnTo>
                    <a:lnTo>
                      <a:pt x="70485" y="459010"/>
                    </a:lnTo>
                    <a:lnTo>
                      <a:pt x="70485" y="472440"/>
                    </a:lnTo>
                    <a:lnTo>
                      <a:pt x="83820" y="483870"/>
                    </a:lnTo>
                    <a:lnTo>
                      <a:pt x="73343" y="483870"/>
                    </a:lnTo>
                    <a:lnTo>
                      <a:pt x="70485" y="494252"/>
                    </a:lnTo>
                    <a:lnTo>
                      <a:pt x="83820" y="515302"/>
                    </a:lnTo>
                    <a:lnTo>
                      <a:pt x="98108" y="529590"/>
                    </a:lnTo>
                    <a:lnTo>
                      <a:pt x="129540" y="529590"/>
                    </a:lnTo>
                    <a:lnTo>
                      <a:pt x="137160" y="521970"/>
                    </a:lnTo>
                    <a:lnTo>
                      <a:pt x="140018" y="504825"/>
                    </a:lnTo>
                    <a:lnTo>
                      <a:pt x="151448" y="504825"/>
                    </a:lnTo>
                    <a:lnTo>
                      <a:pt x="151448" y="521970"/>
                    </a:lnTo>
                    <a:lnTo>
                      <a:pt x="154305" y="536258"/>
                    </a:lnTo>
                    <a:lnTo>
                      <a:pt x="158115" y="581977"/>
                    </a:lnTo>
                    <a:lnTo>
                      <a:pt x="175260" y="579120"/>
                    </a:lnTo>
                    <a:lnTo>
                      <a:pt x="193357" y="564833"/>
                    </a:lnTo>
                    <a:lnTo>
                      <a:pt x="221932" y="567690"/>
                    </a:lnTo>
                    <a:lnTo>
                      <a:pt x="235268" y="581977"/>
                    </a:lnTo>
                    <a:lnTo>
                      <a:pt x="242888" y="579120"/>
                    </a:lnTo>
                    <a:lnTo>
                      <a:pt x="249555" y="567690"/>
                    </a:lnTo>
                    <a:lnTo>
                      <a:pt x="260032" y="579120"/>
                    </a:lnTo>
                    <a:lnTo>
                      <a:pt x="280988" y="567690"/>
                    </a:lnTo>
                    <a:lnTo>
                      <a:pt x="299085" y="564833"/>
                    </a:lnTo>
                    <a:lnTo>
                      <a:pt x="295275" y="579120"/>
                    </a:lnTo>
                    <a:lnTo>
                      <a:pt x="280988" y="585788"/>
                    </a:lnTo>
                    <a:lnTo>
                      <a:pt x="280988" y="602933"/>
                    </a:lnTo>
                    <a:lnTo>
                      <a:pt x="274320" y="624840"/>
                    </a:lnTo>
                    <a:lnTo>
                      <a:pt x="263843" y="627602"/>
                    </a:lnTo>
                    <a:lnTo>
                      <a:pt x="245745" y="645795"/>
                    </a:lnTo>
                    <a:lnTo>
                      <a:pt x="218123" y="666750"/>
                    </a:lnTo>
                    <a:lnTo>
                      <a:pt x="200025" y="674370"/>
                    </a:lnTo>
                    <a:lnTo>
                      <a:pt x="193357" y="684752"/>
                    </a:lnTo>
                    <a:lnTo>
                      <a:pt x="175260" y="684752"/>
                    </a:lnTo>
                    <a:lnTo>
                      <a:pt x="158115" y="687610"/>
                    </a:lnTo>
                    <a:lnTo>
                      <a:pt x="147638" y="695325"/>
                    </a:lnTo>
                    <a:lnTo>
                      <a:pt x="137160" y="709613"/>
                    </a:lnTo>
                    <a:lnTo>
                      <a:pt x="133350" y="722852"/>
                    </a:lnTo>
                    <a:lnTo>
                      <a:pt x="147638" y="726758"/>
                    </a:lnTo>
                    <a:lnTo>
                      <a:pt x="158115" y="720090"/>
                    </a:lnTo>
                    <a:lnTo>
                      <a:pt x="164782" y="705802"/>
                    </a:lnTo>
                    <a:lnTo>
                      <a:pt x="172403" y="701897"/>
                    </a:lnTo>
                    <a:lnTo>
                      <a:pt x="182880" y="709613"/>
                    </a:lnTo>
                    <a:lnTo>
                      <a:pt x="197168" y="701897"/>
                    </a:lnTo>
                    <a:lnTo>
                      <a:pt x="203835" y="695325"/>
                    </a:lnTo>
                    <a:lnTo>
                      <a:pt x="228600" y="695325"/>
                    </a:lnTo>
                    <a:lnTo>
                      <a:pt x="235268" y="687610"/>
                    </a:lnTo>
                    <a:lnTo>
                      <a:pt x="256223" y="677227"/>
                    </a:lnTo>
                    <a:lnTo>
                      <a:pt x="260032" y="666750"/>
                    </a:lnTo>
                    <a:lnTo>
                      <a:pt x="270510" y="656177"/>
                    </a:lnTo>
                    <a:lnTo>
                      <a:pt x="309563" y="635222"/>
                    </a:lnTo>
                    <a:lnTo>
                      <a:pt x="344805" y="614363"/>
                    </a:lnTo>
                    <a:lnTo>
                      <a:pt x="365760" y="600075"/>
                    </a:lnTo>
                    <a:lnTo>
                      <a:pt x="383858" y="585788"/>
                    </a:lnTo>
                    <a:lnTo>
                      <a:pt x="394335" y="575215"/>
                    </a:lnTo>
                    <a:lnTo>
                      <a:pt x="390525" y="567690"/>
                    </a:lnTo>
                    <a:lnTo>
                      <a:pt x="380048" y="554260"/>
                    </a:lnTo>
                    <a:lnTo>
                      <a:pt x="386715" y="539972"/>
                    </a:lnTo>
                    <a:lnTo>
                      <a:pt x="404813" y="536258"/>
                    </a:lnTo>
                    <a:lnTo>
                      <a:pt x="415290" y="525685"/>
                    </a:lnTo>
                    <a:lnTo>
                      <a:pt x="415290" y="511397"/>
                    </a:lnTo>
                    <a:lnTo>
                      <a:pt x="429577" y="497110"/>
                    </a:lnTo>
                    <a:lnTo>
                      <a:pt x="464820" y="472440"/>
                    </a:lnTo>
                    <a:lnTo>
                      <a:pt x="481965" y="469582"/>
                    </a:lnTo>
                    <a:lnTo>
                      <a:pt x="502920" y="459010"/>
                    </a:lnTo>
                    <a:lnTo>
                      <a:pt x="500063" y="465677"/>
                    </a:lnTo>
                    <a:lnTo>
                      <a:pt x="492443" y="479965"/>
                    </a:lnTo>
                    <a:lnTo>
                      <a:pt x="475298" y="483870"/>
                    </a:lnTo>
                    <a:lnTo>
                      <a:pt x="461010" y="486727"/>
                    </a:lnTo>
                    <a:lnTo>
                      <a:pt x="454343" y="494252"/>
                    </a:lnTo>
                    <a:lnTo>
                      <a:pt x="450533" y="511397"/>
                    </a:lnTo>
                    <a:lnTo>
                      <a:pt x="442913" y="525685"/>
                    </a:lnTo>
                    <a:lnTo>
                      <a:pt x="440055" y="543877"/>
                    </a:lnTo>
                    <a:lnTo>
                      <a:pt x="450533" y="557213"/>
                    </a:lnTo>
                    <a:lnTo>
                      <a:pt x="471488" y="550545"/>
                    </a:lnTo>
                    <a:lnTo>
                      <a:pt x="489585" y="536258"/>
                    </a:lnTo>
                    <a:lnTo>
                      <a:pt x="502920" y="525685"/>
                    </a:lnTo>
                    <a:lnTo>
                      <a:pt x="517208" y="521970"/>
                    </a:lnTo>
                    <a:lnTo>
                      <a:pt x="545783" y="521970"/>
                    </a:lnTo>
                    <a:lnTo>
                      <a:pt x="552450" y="519113"/>
                    </a:lnTo>
                    <a:lnTo>
                      <a:pt x="545783" y="504825"/>
                    </a:lnTo>
                    <a:lnTo>
                      <a:pt x="538163" y="494252"/>
                    </a:lnTo>
                    <a:lnTo>
                      <a:pt x="538163" y="479965"/>
                    </a:lnTo>
                    <a:lnTo>
                      <a:pt x="559118" y="479965"/>
                    </a:lnTo>
                    <a:lnTo>
                      <a:pt x="583883" y="483870"/>
                    </a:lnTo>
                    <a:lnTo>
                      <a:pt x="605790" y="494252"/>
                    </a:lnTo>
                    <a:lnTo>
                      <a:pt x="612458" y="504825"/>
                    </a:lnTo>
                    <a:lnTo>
                      <a:pt x="637223" y="508540"/>
                    </a:lnTo>
                    <a:lnTo>
                      <a:pt x="647700" y="521970"/>
                    </a:lnTo>
                    <a:lnTo>
                      <a:pt x="664845" y="521970"/>
                    </a:lnTo>
                    <a:lnTo>
                      <a:pt x="703898" y="521970"/>
                    </a:lnTo>
                    <a:lnTo>
                      <a:pt x="728663" y="525685"/>
                    </a:lnTo>
                    <a:lnTo>
                      <a:pt x="749618" y="536258"/>
                    </a:lnTo>
                    <a:lnTo>
                      <a:pt x="770573" y="532352"/>
                    </a:lnTo>
                    <a:lnTo>
                      <a:pt x="774383" y="546640"/>
                    </a:lnTo>
                    <a:lnTo>
                      <a:pt x="816293" y="571500"/>
                    </a:lnTo>
                    <a:lnTo>
                      <a:pt x="844868" y="585788"/>
                    </a:lnTo>
                    <a:lnTo>
                      <a:pt x="865823" y="592360"/>
                    </a:lnTo>
                    <a:lnTo>
                      <a:pt x="873443" y="579120"/>
                    </a:lnTo>
                    <a:lnTo>
                      <a:pt x="880110" y="585788"/>
                    </a:lnTo>
                    <a:lnTo>
                      <a:pt x="890588" y="596265"/>
                    </a:lnTo>
                    <a:lnTo>
                      <a:pt x="897255" y="589502"/>
                    </a:lnTo>
                    <a:lnTo>
                      <a:pt x="890588" y="567690"/>
                    </a:lnTo>
                    <a:lnTo>
                      <a:pt x="897255" y="560927"/>
                    </a:lnTo>
                    <a:lnTo>
                      <a:pt x="911543" y="581977"/>
                    </a:lnTo>
                    <a:lnTo>
                      <a:pt x="919163" y="592360"/>
                    </a:lnTo>
                    <a:lnTo>
                      <a:pt x="932498" y="602933"/>
                    </a:lnTo>
                    <a:lnTo>
                      <a:pt x="950595" y="624840"/>
                    </a:lnTo>
                    <a:lnTo>
                      <a:pt x="954405" y="638175"/>
                    </a:lnTo>
                    <a:lnTo>
                      <a:pt x="971550" y="652463"/>
                    </a:lnTo>
                    <a:lnTo>
                      <a:pt x="1000125" y="677227"/>
                    </a:lnTo>
                    <a:lnTo>
                      <a:pt x="1002983" y="681038"/>
                    </a:lnTo>
                    <a:lnTo>
                      <a:pt x="1013460" y="691515"/>
                    </a:lnTo>
                    <a:lnTo>
                      <a:pt x="1024890" y="695325"/>
                    </a:lnTo>
                    <a:lnTo>
                      <a:pt x="1021080" y="712470"/>
                    </a:lnTo>
                    <a:lnTo>
                      <a:pt x="1013460" y="730472"/>
                    </a:lnTo>
                    <a:lnTo>
                      <a:pt x="1038225" y="722852"/>
                    </a:lnTo>
                    <a:lnTo>
                      <a:pt x="1045845" y="695325"/>
                    </a:lnTo>
                    <a:lnTo>
                      <a:pt x="1042035" y="681038"/>
                    </a:lnTo>
                    <a:lnTo>
                      <a:pt x="1017270" y="6667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5" name="Freeform: Shape 484">
                <a:extLst>
                  <a:ext uri="{FF2B5EF4-FFF2-40B4-BE49-F238E27FC236}">
                    <a16:creationId xmlns:a16="http://schemas.microsoft.com/office/drawing/2014/main" id="{C87BEF35-131D-0B87-CB7E-A9FC90B043D3}"/>
                  </a:ext>
                </a:extLst>
              </p:cNvPr>
              <p:cNvSpPr/>
              <p:nvPr/>
            </p:nvSpPr>
            <p:spPr>
              <a:xfrm>
                <a:off x="2257087" y="2674406"/>
                <a:ext cx="31746" cy="14005"/>
              </a:xfrm>
              <a:custGeom>
                <a:avLst/>
                <a:gdLst>
                  <a:gd name="connsiteX0" fmla="*/ 14288 w 32384"/>
                  <a:gd name="connsiteY0" fmla="*/ 6668 h 14287"/>
                  <a:gd name="connsiteX1" fmla="*/ 0 w 32384"/>
                  <a:gd name="connsiteY1" fmla="*/ 14288 h 14287"/>
                  <a:gd name="connsiteX2" fmla="*/ 32385 w 32384"/>
                  <a:gd name="connsiteY2" fmla="*/ 0 h 14287"/>
                  <a:gd name="connsiteX3" fmla="*/ 14288 w 32384"/>
                  <a:gd name="connsiteY3" fmla="*/ 666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384" h="14287">
                    <a:moveTo>
                      <a:pt x="14288" y="6668"/>
                    </a:moveTo>
                    <a:lnTo>
                      <a:pt x="0" y="14288"/>
                    </a:lnTo>
                    <a:lnTo>
                      <a:pt x="32385" y="0"/>
                    </a:lnTo>
                    <a:lnTo>
                      <a:pt x="14288" y="666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6" name="Freeform: Shape 485">
                <a:extLst>
                  <a:ext uri="{FF2B5EF4-FFF2-40B4-BE49-F238E27FC236}">
                    <a16:creationId xmlns:a16="http://schemas.microsoft.com/office/drawing/2014/main" id="{25087EB1-815D-6C65-752B-C6560EBB432D}"/>
                  </a:ext>
                </a:extLst>
              </p:cNvPr>
              <p:cNvSpPr/>
              <p:nvPr/>
            </p:nvSpPr>
            <p:spPr>
              <a:xfrm>
                <a:off x="2195461" y="2666936"/>
                <a:ext cx="41084" cy="34548"/>
              </a:xfrm>
              <a:custGeom>
                <a:avLst/>
                <a:gdLst>
                  <a:gd name="connsiteX0" fmla="*/ 41910 w 41910"/>
                  <a:gd name="connsiteY0" fmla="*/ 35242 h 35242"/>
                  <a:gd name="connsiteX1" fmla="*/ 27623 w 41910"/>
                  <a:gd name="connsiteY1" fmla="*/ 21907 h 35242"/>
                  <a:gd name="connsiteX2" fmla="*/ 0 w 41910"/>
                  <a:gd name="connsiteY2" fmla="*/ 0 h 35242"/>
                  <a:gd name="connsiteX3" fmla="*/ 20955 w 41910"/>
                  <a:gd name="connsiteY3" fmla="*/ 18002 h 35242"/>
                  <a:gd name="connsiteX4" fmla="*/ 41910 w 41910"/>
                  <a:gd name="connsiteY4" fmla="*/ 35242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10" h="35242">
                    <a:moveTo>
                      <a:pt x="41910" y="35242"/>
                    </a:moveTo>
                    <a:lnTo>
                      <a:pt x="27623" y="21907"/>
                    </a:lnTo>
                    <a:lnTo>
                      <a:pt x="0" y="0"/>
                    </a:lnTo>
                    <a:lnTo>
                      <a:pt x="20955" y="18002"/>
                    </a:lnTo>
                    <a:lnTo>
                      <a:pt x="41910" y="3524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7" name="Freeform: Shape 486">
                <a:extLst>
                  <a:ext uri="{FF2B5EF4-FFF2-40B4-BE49-F238E27FC236}">
                    <a16:creationId xmlns:a16="http://schemas.microsoft.com/office/drawing/2014/main" id="{4F309D31-E45B-19DB-4EAC-2080AD649C08}"/>
                  </a:ext>
                </a:extLst>
              </p:cNvPr>
              <p:cNvSpPr/>
              <p:nvPr/>
            </p:nvSpPr>
            <p:spPr>
              <a:xfrm>
                <a:off x="2154377" y="2650129"/>
                <a:ext cx="27078" cy="10271"/>
              </a:xfrm>
              <a:custGeom>
                <a:avLst/>
                <a:gdLst>
                  <a:gd name="connsiteX0" fmla="*/ 13335 w 27622"/>
                  <a:gd name="connsiteY0" fmla="*/ 3715 h 10477"/>
                  <a:gd name="connsiteX1" fmla="*/ 0 w 27622"/>
                  <a:gd name="connsiteY1" fmla="*/ 10477 h 10477"/>
                  <a:gd name="connsiteX2" fmla="*/ 27622 w 27622"/>
                  <a:gd name="connsiteY2" fmla="*/ 0 h 10477"/>
                  <a:gd name="connsiteX3" fmla="*/ 13335 w 27622"/>
                  <a:gd name="connsiteY3" fmla="*/ 3715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22" h="10477">
                    <a:moveTo>
                      <a:pt x="13335" y="3715"/>
                    </a:moveTo>
                    <a:lnTo>
                      <a:pt x="0" y="10477"/>
                    </a:lnTo>
                    <a:lnTo>
                      <a:pt x="27622" y="0"/>
                    </a:lnTo>
                    <a:lnTo>
                      <a:pt x="13335" y="3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8" name="Freeform: Shape 487">
                <a:extLst>
                  <a:ext uri="{FF2B5EF4-FFF2-40B4-BE49-F238E27FC236}">
                    <a16:creationId xmlns:a16="http://schemas.microsoft.com/office/drawing/2014/main" id="{C18F6886-AD7B-961D-E7D8-2A24579483F2}"/>
                  </a:ext>
                </a:extLst>
              </p:cNvPr>
              <p:cNvSpPr/>
              <p:nvPr/>
            </p:nvSpPr>
            <p:spPr>
              <a:xfrm>
                <a:off x="2309376" y="2694948"/>
                <a:ext cx="61625" cy="79367"/>
              </a:xfrm>
              <a:custGeom>
                <a:avLst/>
                <a:gdLst>
                  <a:gd name="connsiteX0" fmla="*/ 45720 w 62864"/>
                  <a:gd name="connsiteY0" fmla="*/ 49530 h 80962"/>
                  <a:gd name="connsiteX1" fmla="*/ 62865 w 62864"/>
                  <a:gd name="connsiteY1" fmla="*/ 80963 h 80962"/>
                  <a:gd name="connsiteX2" fmla="*/ 45720 w 62864"/>
                  <a:gd name="connsiteY2" fmla="*/ 45720 h 80962"/>
                  <a:gd name="connsiteX3" fmla="*/ 17145 w 62864"/>
                  <a:gd name="connsiteY3" fmla="*/ 17145 h 80962"/>
                  <a:gd name="connsiteX4" fmla="*/ 0 w 62864"/>
                  <a:gd name="connsiteY4" fmla="*/ 0 h 80962"/>
                  <a:gd name="connsiteX5" fmla="*/ 31432 w 62864"/>
                  <a:gd name="connsiteY5" fmla="*/ 35242 h 80962"/>
                  <a:gd name="connsiteX6" fmla="*/ 45720 w 62864"/>
                  <a:gd name="connsiteY6" fmla="*/ 49530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80962">
                    <a:moveTo>
                      <a:pt x="45720" y="49530"/>
                    </a:moveTo>
                    <a:lnTo>
                      <a:pt x="62865" y="80963"/>
                    </a:lnTo>
                    <a:lnTo>
                      <a:pt x="45720" y="45720"/>
                    </a:lnTo>
                    <a:lnTo>
                      <a:pt x="17145" y="17145"/>
                    </a:lnTo>
                    <a:lnTo>
                      <a:pt x="0" y="0"/>
                    </a:lnTo>
                    <a:lnTo>
                      <a:pt x="31432" y="35242"/>
                    </a:lnTo>
                    <a:lnTo>
                      <a:pt x="45720" y="4953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9" name="Freeform: Shape 488">
                <a:extLst>
                  <a:ext uri="{FF2B5EF4-FFF2-40B4-BE49-F238E27FC236}">
                    <a16:creationId xmlns:a16="http://schemas.microsoft.com/office/drawing/2014/main" id="{36A968B7-9072-A39C-04DE-0DED7738517A}"/>
                  </a:ext>
                </a:extLst>
              </p:cNvPr>
              <p:cNvSpPr/>
              <p:nvPr/>
            </p:nvSpPr>
            <p:spPr>
              <a:xfrm>
                <a:off x="9515860" y="4959155"/>
                <a:ext cx="20542" cy="3828"/>
              </a:xfrm>
              <a:custGeom>
                <a:avLst/>
                <a:gdLst>
                  <a:gd name="connsiteX0" fmla="*/ 20955 w 20955"/>
                  <a:gd name="connsiteY0" fmla="*/ 0 h 3905"/>
                  <a:gd name="connsiteX1" fmla="*/ 0 w 20955"/>
                  <a:gd name="connsiteY1" fmla="*/ 3905 h 3905"/>
                  <a:gd name="connsiteX2" fmla="*/ 0 w 20955"/>
                  <a:gd name="connsiteY2" fmla="*/ 3905 h 3905"/>
                  <a:gd name="connsiteX3" fmla="*/ 20955 w 20955"/>
                  <a:gd name="connsiteY3" fmla="*/ 0 h 3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" h="3905">
                    <a:moveTo>
                      <a:pt x="20955" y="0"/>
                    </a:moveTo>
                    <a:lnTo>
                      <a:pt x="0" y="3905"/>
                    </a:lnTo>
                    <a:lnTo>
                      <a:pt x="0" y="3905"/>
                    </a:lnTo>
                    <a:lnTo>
                      <a:pt x="2095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0" name="Freeform: Shape 489">
                <a:extLst>
                  <a:ext uri="{FF2B5EF4-FFF2-40B4-BE49-F238E27FC236}">
                    <a16:creationId xmlns:a16="http://schemas.microsoft.com/office/drawing/2014/main" id="{5829700F-86B2-754C-76B8-CCE3D6F3D604}"/>
                  </a:ext>
                </a:extLst>
              </p:cNvPr>
              <p:cNvSpPr/>
              <p:nvPr/>
            </p:nvSpPr>
            <p:spPr>
              <a:xfrm>
                <a:off x="9844531" y="4993797"/>
                <a:ext cx="30812" cy="48554"/>
              </a:xfrm>
              <a:custGeom>
                <a:avLst/>
                <a:gdLst>
                  <a:gd name="connsiteX0" fmla="*/ 31432 w 31432"/>
                  <a:gd name="connsiteY0" fmla="*/ 0 h 49530"/>
                  <a:gd name="connsiteX1" fmla="*/ 17145 w 31432"/>
                  <a:gd name="connsiteY1" fmla="*/ 27527 h 49530"/>
                  <a:gd name="connsiteX2" fmla="*/ 0 w 31432"/>
                  <a:gd name="connsiteY2" fmla="*/ 49530 h 49530"/>
                  <a:gd name="connsiteX3" fmla="*/ 17145 w 31432"/>
                  <a:gd name="connsiteY3" fmla="*/ 27527 h 49530"/>
                  <a:gd name="connsiteX4" fmla="*/ 31432 w 31432"/>
                  <a:gd name="connsiteY4" fmla="*/ 0 h 4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432" h="49530">
                    <a:moveTo>
                      <a:pt x="31432" y="0"/>
                    </a:moveTo>
                    <a:lnTo>
                      <a:pt x="17145" y="27527"/>
                    </a:lnTo>
                    <a:lnTo>
                      <a:pt x="0" y="49530"/>
                    </a:lnTo>
                    <a:lnTo>
                      <a:pt x="17145" y="27527"/>
                    </a:lnTo>
                    <a:lnTo>
                      <a:pt x="31432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1" name="Freeform: Shape 490">
                <a:extLst>
                  <a:ext uri="{FF2B5EF4-FFF2-40B4-BE49-F238E27FC236}">
                    <a16:creationId xmlns:a16="http://schemas.microsoft.com/office/drawing/2014/main" id="{0A389716-2611-4C94-D0D6-5655A308A1C5}"/>
                  </a:ext>
                </a:extLst>
              </p:cNvPr>
              <p:cNvSpPr/>
              <p:nvPr/>
            </p:nvSpPr>
            <p:spPr>
              <a:xfrm>
                <a:off x="9450500" y="4931143"/>
                <a:ext cx="28012" cy="20542"/>
              </a:xfrm>
              <a:custGeom>
                <a:avLst/>
                <a:gdLst>
                  <a:gd name="connsiteX0" fmla="*/ 28575 w 28575"/>
                  <a:gd name="connsiteY0" fmla="*/ 0 h 20955"/>
                  <a:gd name="connsiteX1" fmla="*/ 0 w 28575"/>
                  <a:gd name="connsiteY1" fmla="*/ 20955 h 20955"/>
                  <a:gd name="connsiteX2" fmla="*/ 28575 w 28575"/>
                  <a:gd name="connsiteY2" fmla="*/ 0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0955">
                    <a:moveTo>
                      <a:pt x="28575" y="0"/>
                    </a:moveTo>
                    <a:lnTo>
                      <a:pt x="0" y="20955"/>
                    </a:lnTo>
                    <a:lnTo>
                      <a:pt x="2857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2" name="Freeform: Shape 491">
                <a:extLst>
                  <a:ext uri="{FF2B5EF4-FFF2-40B4-BE49-F238E27FC236}">
                    <a16:creationId xmlns:a16="http://schemas.microsoft.com/office/drawing/2014/main" id="{512A4082-8701-598F-0A37-0E8A2B6A3E52}"/>
                  </a:ext>
                </a:extLst>
              </p:cNvPr>
              <p:cNvSpPr/>
              <p:nvPr/>
            </p:nvSpPr>
            <p:spPr>
              <a:xfrm>
                <a:off x="9584956" y="4882683"/>
                <a:ext cx="7469" cy="7470"/>
              </a:xfrm>
              <a:custGeom>
                <a:avLst/>
                <a:gdLst>
                  <a:gd name="connsiteX0" fmla="*/ 7620 w 7619"/>
                  <a:gd name="connsiteY0" fmla="*/ 0 h 7620"/>
                  <a:gd name="connsiteX1" fmla="*/ 0 w 7619"/>
                  <a:gd name="connsiteY1" fmla="*/ 7620 h 7620"/>
                  <a:gd name="connsiteX2" fmla="*/ 7620 w 7619"/>
                  <a:gd name="connsiteY2" fmla="*/ 0 h 7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19" h="7620">
                    <a:moveTo>
                      <a:pt x="7620" y="0"/>
                    </a:moveTo>
                    <a:lnTo>
                      <a:pt x="0" y="7620"/>
                    </a:lnTo>
                    <a:lnTo>
                      <a:pt x="762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3" name="Freeform: Shape 492">
                <a:extLst>
                  <a:ext uri="{FF2B5EF4-FFF2-40B4-BE49-F238E27FC236}">
                    <a16:creationId xmlns:a16="http://schemas.microsoft.com/office/drawing/2014/main" id="{5B4B4CE8-9D90-1F5B-F54D-A87F05693B6D}"/>
                  </a:ext>
                </a:extLst>
              </p:cNvPr>
              <p:cNvSpPr/>
              <p:nvPr/>
            </p:nvSpPr>
            <p:spPr>
              <a:xfrm>
                <a:off x="9119027" y="5159908"/>
                <a:ext cx="3735" cy="13071"/>
              </a:xfrm>
              <a:custGeom>
                <a:avLst/>
                <a:gdLst>
                  <a:gd name="connsiteX0" fmla="*/ 3810 w 3810"/>
                  <a:gd name="connsiteY0" fmla="*/ 0 h 13334"/>
                  <a:gd name="connsiteX1" fmla="*/ 0 w 3810"/>
                  <a:gd name="connsiteY1" fmla="*/ 13335 h 13334"/>
                  <a:gd name="connsiteX2" fmla="*/ 3810 w 3810"/>
                  <a:gd name="connsiteY2" fmla="*/ 0 h 13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0" h="13334">
                    <a:moveTo>
                      <a:pt x="3810" y="0"/>
                    </a:moveTo>
                    <a:lnTo>
                      <a:pt x="0" y="13335"/>
                    </a:lnTo>
                    <a:lnTo>
                      <a:pt x="381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4" name="Freeform: Shape 493">
                <a:extLst>
                  <a:ext uri="{FF2B5EF4-FFF2-40B4-BE49-F238E27FC236}">
                    <a16:creationId xmlns:a16="http://schemas.microsoft.com/office/drawing/2014/main" id="{E9AC2F39-47C3-8F66-B332-09C44925BCC0}"/>
                  </a:ext>
                </a:extLst>
              </p:cNvPr>
              <p:cNvSpPr/>
              <p:nvPr/>
            </p:nvSpPr>
            <p:spPr>
              <a:xfrm>
                <a:off x="9612968" y="5453193"/>
                <a:ext cx="71896" cy="38189"/>
              </a:xfrm>
              <a:custGeom>
                <a:avLst/>
                <a:gdLst>
                  <a:gd name="connsiteX0" fmla="*/ 52388 w 73342"/>
                  <a:gd name="connsiteY0" fmla="*/ 14288 h 38957"/>
                  <a:gd name="connsiteX1" fmla="*/ 0 w 73342"/>
                  <a:gd name="connsiteY1" fmla="*/ 0 h 38957"/>
                  <a:gd name="connsiteX2" fmla="*/ 52388 w 73342"/>
                  <a:gd name="connsiteY2" fmla="*/ 14288 h 38957"/>
                  <a:gd name="connsiteX3" fmla="*/ 62865 w 73342"/>
                  <a:gd name="connsiteY3" fmla="*/ 24670 h 38957"/>
                  <a:gd name="connsiteX4" fmla="*/ 73342 w 73342"/>
                  <a:gd name="connsiteY4" fmla="*/ 38957 h 38957"/>
                  <a:gd name="connsiteX5" fmla="*/ 62865 w 73342"/>
                  <a:gd name="connsiteY5" fmla="*/ 24670 h 38957"/>
                  <a:gd name="connsiteX6" fmla="*/ 52388 w 73342"/>
                  <a:gd name="connsiteY6" fmla="*/ 14288 h 3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342" h="38957">
                    <a:moveTo>
                      <a:pt x="52388" y="14288"/>
                    </a:moveTo>
                    <a:lnTo>
                      <a:pt x="0" y="0"/>
                    </a:lnTo>
                    <a:lnTo>
                      <a:pt x="52388" y="14288"/>
                    </a:lnTo>
                    <a:lnTo>
                      <a:pt x="62865" y="24670"/>
                    </a:lnTo>
                    <a:lnTo>
                      <a:pt x="73342" y="38957"/>
                    </a:lnTo>
                    <a:lnTo>
                      <a:pt x="62865" y="24670"/>
                    </a:lnTo>
                    <a:lnTo>
                      <a:pt x="52388" y="1428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5" name="Freeform: Shape 494">
                <a:extLst>
                  <a:ext uri="{FF2B5EF4-FFF2-40B4-BE49-F238E27FC236}">
                    <a16:creationId xmlns:a16="http://schemas.microsoft.com/office/drawing/2014/main" id="{FC92C718-88E1-570E-8F34-6631727234DE}"/>
                  </a:ext>
                </a:extLst>
              </p:cNvPr>
              <p:cNvSpPr/>
              <p:nvPr/>
            </p:nvSpPr>
            <p:spPr>
              <a:xfrm>
                <a:off x="9204931" y="5101176"/>
                <a:ext cx="83101" cy="20542"/>
              </a:xfrm>
              <a:custGeom>
                <a:avLst/>
                <a:gdLst>
                  <a:gd name="connsiteX0" fmla="*/ 84772 w 84772"/>
                  <a:gd name="connsiteY0" fmla="*/ 0 h 20955"/>
                  <a:gd name="connsiteX1" fmla="*/ 42863 w 84772"/>
                  <a:gd name="connsiteY1" fmla="*/ 13240 h 20955"/>
                  <a:gd name="connsiteX2" fmla="*/ 0 w 84772"/>
                  <a:gd name="connsiteY2" fmla="*/ 20955 h 20955"/>
                  <a:gd name="connsiteX3" fmla="*/ 42863 w 84772"/>
                  <a:gd name="connsiteY3" fmla="*/ 13240 h 20955"/>
                  <a:gd name="connsiteX4" fmla="*/ 84772 w 84772"/>
                  <a:gd name="connsiteY4" fmla="*/ 0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772" h="20955">
                    <a:moveTo>
                      <a:pt x="84772" y="0"/>
                    </a:moveTo>
                    <a:lnTo>
                      <a:pt x="42863" y="13240"/>
                    </a:lnTo>
                    <a:lnTo>
                      <a:pt x="0" y="20955"/>
                    </a:lnTo>
                    <a:lnTo>
                      <a:pt x="42863" y="13240"/>
                    </a:lnTo>
                    <a:lnTo>
                      <a:pt x="84772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6" name="Freeform: Shape 495">
                <a:extLst>
                  <a:ext uri="{FF2B5EF4-FFF2-40B4-BE49-F238E27FC236}">
                    <a16:creationId xmlns:a16="http://schemas.microsoft.com/office/drawing/2014/main" id="{128758A2-6FDF-5CDA-4E12-90E5268FC290}"/>
                  </a:ext>
                </a:extLst>
              </p:cNvPr>
              <p:cNvSpPr/>
              <p:nvPr/>
            </p:nvSpPr>
            <p:spPr>
              <a:xfrm>
                <a:off x="9098485" y="4848041"/>
                <a:ext cx="1104595" cy="822711"/>
              </a:xfrm>
              <a:custGeom>
                <a:avLst/>
                <a:gdLst>
                  <a:gd name="connsiteX0" fmla="*/ 1122998 w 1126807"/>
                  <a:gd name="connsiteY0" fmla="*/ 497300 h 839247"/>
                  <a:gd name="connsiteX1" fmla="*/ 1120140 w 1126807"/>
                  <a:gd name="connsiteY1" fmla="*/ 476250 h 839247"/>
                  <a:gd name="connsiteX2" fmla="*/ 1116330 w 1126807"/>
                  <a:gd name="connsiteY2" fmla="*/ 448723 h 839247"/>
                  <a:gd name="connsiteX3" fmla="*/ 1109663 w 1126807"/>
                  <a:gd name="connsiteY3" fmla="*/ 426815 h 839247"/>
                  <a:gd name="connsiteX4" fmla="*/ 1098232 w 1126807"/>
                  <a:gd name="connsiteY4" fmla="*/ 402050 h 839247"/>
                  <a:gd name="connsiteX5" fmla="*/ 1077278 w 1126807"/>
                  <a:gd name="connsiteY5" fmla="*/ 378238 h 839247"/>
                  <a:gd name="connsiteX6" fmla="*/ 1052513 w 1126807"/>
                  <a:gd name="connsiteY6" fmla="*/ 360140 h 839247"/>
                  <a:gd name="connsiteX7" fmla="*/ 1045845 w 1126807"/>
                  <a:gd name="connsiteY7" fmla="*/ 331565 h 839247"/>
                  <a:gd name="connsiteX8" fmla="*/ 1024890 w 1126807"/>
                  <a:gd name="connsiteY8" fmla="*/ 331565 h 839247"/>
                  <a:gd name="connsiteX9" fmla="*/ 1017270 w 1126807"/>
                  <a:gd name="connsiteY9" fmla="*/ 321088 h 839247"/>
                  <a:gd name="connsiteX10" fmla="*/ 1017270 w 1126807"/>
                  <a:gd name="connsiteY10" fmla="*/ 303847 h 839247"/>
                  <a:gd name="connsiteX11" fmla="*/ 1000125 w 1126807"/>
                  <a:gd name="connsiteY11" fmla="*/ 285750 h 839247"/>
                  <a:gd name="connsiteX12" fmla="*/ 982028 w 1126807"/>
                  <a:gd name="connsiteY12" fmla="*/ 260985 h 839247"/>
                  <a:gd name="connsiteX13" fmla="*/ 958215 w 1126807"/>
                  <a:gd name="connsiteY13" fmla="*/ 243935 h 839247"/>
                  <a:gd name="connsiteX14" fmla="*/ 936307 w 1126807"/>
                  <a:gd name="connsiteY14" fmla="*/ 236315 h 839247"/>
                  <a:gd name="connsiteX15" fmla="*/ 925830 w 1126807"/>
                  <a:gd name="connsiteY15" fmla="*/ 219075 h 839247"/>
                  <a:gd name="connsiteX16" fmla="*/ 925830 w 1126807"/>
                  <a:gd name="connsiteY16" fmla="*/ 198215 h 839247"/>
                  <a:gd name="connsiteX17" fmla="*/ 919163 w 1126807"/>
                  <a:gd name="connsiteY17" fmla="*/ 180022 h 839247"/>
                  <a:gd name="connsiteX18" fmla="*/ 901065 w 1126807"/>
                  <a:gd name="connsiteY18" fmla="*/ 169640 h 839247"/>
                  <a:gd name="connsiteX19" fmla="*/ 901065 w 1126807"/>
                  <a:gd name="connsiteY19" fmla="*/ 144875 h 839247"/>
                  <a:gd name="connsiteX20" fmla="*/ 898207 w 1126807"/>
                  <a:gd name="connsiteY20" fmla="*/ 127635 h 839247"/>
                  <a:gd name="connsiteX21" fmla="*/ 890588 w 1126807"/>
                  <a:gd name="connsiteY21" fmla="*/ 109538 h 839247"/>
                  <a:gd name="connsiteX22" fmla="*/ 869632 w 1126807"/>
                  <a:gd name="connsiteY22" fmla="*/ 102965 h 839247"/>
                  <a:gd name="connsiteX23" fmla="*/ 852488 w 1126807"/>
                  <a:gd name="connsiteY23" fmla="*/ 95250 h 839247"/>
                  <a:gd name="connsiteX24" fmla="*/ 848678 w 1126807"/>
                  <a:gd name="connsiteY24" fmla="*/ 57150 h 839247"/>
                  <a:gd name="connsiteX25" fmla="*/ 842010 w 1126807"/>
                  <a:gd name="connsiteY25" fmla="*/ 35338 h 839247"/>
                  <a:gd name="connsiteX26" fmla="*/ 827723 w 1126807"/>
                  <a:gd name="connsiteY26" fmla="*/ 10573 h 839247"/>
                  <a:gd name="connsiteX27" fmla="*/ 817245 w 1126807"/>
                  <a:gd name="connsiteY27" fmla="*/ 0 h 839247"/>
                  <a:gd name="connsiteX28" fmla="*/ 809625 w 1126807"/>
                  <a:gd name="connsiteY28" fmla="*/ 18097 h 839247"/>
                  <a:gd name="connsiteX29" fmla="*/ 802957 w 1126807"/>
                  <a:gd name="connsiteY29" fmla="*/ 39148 h 839247"/>
                  <a:gd name="connsiteX30" fmla="*/ 792480 w 1126807"/>
                  <a:gd name="connsiteY30" fmla="*/ 70485 h 839247"/>
                  <a:gd name="connsiteX31" fmla="*/ 795338 w 1126807"/>
                  <a:gd name="connsiteY31" fmla="*/ 117253 h 839247"/>
                  <a:gd name="connsiteX32" fmla="*/ 792480 w 1126807"/>
                  <a:gd name="connsiteY32" fmla="*/ 148685 h 839247"/>
                  <a:gd name="connsiteX33" fmla="*/ 778193 w 1126807"/>
                  <a:gd name="connsiteY33" fmla="*/ 176213 h 839247"/>
                  <a:gd name="connsiteX34" fmla="*/ 761048 w 1126807"/>
                  <a:gd name="connsiteY34" fmla="*/ 198215 h 839247"/>
                  <a:gd name="connsiteX35" fmla="*/ 732473 w 1126807"/>
                  <a:gd name="connsiteY35" fmla="*/ 180022 h 839247"/>
                  <a:gd name="connsiteX36" fmla="*/ 711518 w 1126807"/>
                  <a:gd name="connsiteY36" fmla="*/ 169640 h 839247"/>
                  <a:gd name="connsiteX37" fmla="*/ 682943 w 1126807"/>
                  <a:gd name="connsiteY37" fmla="*/ 148685 h 839247"/>
                  <a:gd name="connsiteX38" fmla="*/ 655320 w 1126807"/>
                  <a:gd name="connsiteY38" fmla="*/ 138113 h 839247"/>
                  <a:gd name="connsiteX39" fmla="*/ 630555 w 1126807"/>
                  <a:gd name="connsiteY39" fmla="*/ 120110 h 839247"/>
                  <a:gd name="connsiteX40" fmla="*/ 620078 w 1126807"/>
                  <a:gd name="connsiteY40" fmla="*/ 109538 h 839247"/>
                  <a:gd name="connsiteX41" fmla="*/ 620078 w 1126807"/>
                  <a:gd name="connsiteY41" fmla="*/ 95250 h 839247"/>
                  <a:gd name="connsiteX42" fmla="*/ 633413 w 1126807"/>
                  <a:gd name="connsiteY42" fmla="*/ 84772 h 839247"/>
                  <a:gd name="connsiteX43" fmla="*/ 643890 w 1126807"/>
                  <a:gd name="connsiteY43" fmla="*/ 70485 h 839247"/>
                  <a:gd name="connsiteX44" fmla="*/ 655320 w 1126807"/>
                  <a:gd name="connsiteY44" fmla="*/ 53435 h 839247"/>
                  <a:gd name="connsiteX45" fmla="*/ 668655 w 1126807"/>
                  <a:gd name="connsiteY45" fmla="*/ 39148 h 839247"/>
                  <a:gd name="connsiteX46" fmla="*/ 655320 w 1126807"/>
                  <a:gd name="connsiteY46" fmla="*/ 32385 h 839247"/>
                  <a:gd name="connsiteX47" fmla="*/ 637223 w 1126807"/>
                  <a:gd name="connsiteY47" fmla="*/ 39148 h 839247"/>
                  <a:gd name="connsiteX48" fmla="*/ 622935 w 1126807"/>
                  <a:gd name="connsiteY48" fmla="*/ 39148 h 839247"/>
                  <a:gd name="connsiteX49" fmla="*/ 612457 w 1126807"/>
                  <a:gd name="connsiteY49" fmla="*/ 35338 h 839247"/>
                  <a:gd name="connsiteX50" fmla="*/ 598170 w 1126807"/>
                  <a:gd name="connsiteY50" fmla="*/ 32385 h 839247"/>
                  <a:gd name="connsiteX51" fmla="*/ 581025 w 1126807"/>
                  <a:gd name="connsiteY51" fmla="*/ 24860 h 839247"/>
                  <a:gd name="connsiteX52" fmla="*/ 566738 w 1126807"/>
                  <a:gd name="connsiteY52" fmla="*/ 18097 h 839247"/>
                  <a:gd name="connsiteX53" fmla="*/ 541973 w 1126807"/>
                  <a:gd name="connsiteY53" fmla="*/ 7715 h 839247"/>
                  <a:gd name="connsiteX54" fmla="*/ 531495 w 1126807"/>
                  <a:gd name="connsiteY54" fmla="*/ 10573 h 839247"/>
                  <a:gd name="connsiteX55" fmla="*/ 545782 w 1126807"/>
                  <a:gd name="connsiteY55" fmla="*/ 22003 h 839247"/>
                  <a:gd name="connsiteX56" fmla="*/ 541973 w 1126807"/>
                  <a:gd name="connsiteY56" fmla="*/ 32385 h 839247"/>
                  <a:gd name="connsiteX57" fmla="*/ 521018 w 1126807"/>
                  <a:gd name="connsiteY57" fmla="*/ 39148 h 839247"/>
                  <a:gd name="connsiteX58" fmla="*/ 503873 w 1126807"/>
                  <a:gd name="connsiteY58" fmla="*/ 35338 h 839247"/>
                  <a:gd name="connsiteX59" fmla="*/ 496253 w 1126807"/>
                  <a:gd name="connsiteY59" fmla="*/ 42863 h 839247"/>
                  <a:gd name="connsiteX60" fmla="*/ 481965 w 1126807"/>
                  <a:gd name="connsiteY60" fmla="*/ 49625 h 839247"/>
                  <a:gd name="connsiteX61" fmla="*/ 471488 w 1126807"/>
                  <a:gd name="connsiteY61" fmla="*/ 70485 h 839247"/>
                  <a:gd name="connsiteX62" fmla="*/ 450532 w 1126807"/>
                  <a:gd name="connsiteY62" fmla="*/ 92488 h 839247"/>
                  <a:gd name="connsiteX63" fmla="*/ 461010 w 1126807"/>
                  <a:gd name="connsiteY63" fmla="*/ 109538 h 839247"/>
                  <a:gd name="connsiteX64" fmla="*/ 446723 w 1126807"/>
                  <a:gd name="connsiteY64" fmla="*/ 113347 h 839247"/>
                  <a:gd name="connsiteX65" fmla="*/ 425768 w 1126807"/>
                  <a:gd name="connsiteY65" fmla="*/ 117253 h 839247"/>
                  <a:gd name="connsiteX66" fmla="*/ 425768 w 1126807"/>
                  <a:gd name="connsiteY66" fmla="*/ 117253 h 839247"/>
                  <a:gd name="connsiteX67" fmla="*/ 425768 w 1126807"/>
                  <a:gd name="connsiteY67" fmla="*/ 117253 h 839247"/>
                  <a:gd name="connsiteX68" fmla="*/ 415290 w 1126807"/>
                  <a:gd name="connsiteY68" fmla="*/ 105823 h 839247"/>
                  <a:gd name="connsiteX69" fmla="*/ 404813 w 1126807"/>
                  <a:gd name="connsiteY69" fmla="*/ 95250 h 839247"/>
                  <a:gd name="connsiteX70" fmla="*/ 387668 w 1126807"/>
                  <a:gd name="connsiteY70" fmla="*/ 84772 h 839247"/>
                  <a:gd name="connsiteX71" fmla="*/ 359093 w 1126807"/>
                  <a:gd name="connsiteY71" fmla="*/ 105823 h 839247"/>
                  <a:gd name="connsiteX72" fmla="*/ 348615 w 1126807"/>
                  <a:gd name="connsiteY72" fmla="*/ 105823 h 839247"/>
                  <a:gd name="connsiteX73" fmla="*/ 338138 w 1126807"/>
                  <a:gd name="connsiteY73" fmla="*/ 117253 h 839247"/>
                  <a:gd name="connsiteX74" fmla="*/ 320040 w 1126807"/>
                  <a:gd name="connsiteY74" fmla="*/ 127635 h 839247"/>
                  <a:gd name="connsiteX75" fmla="*/ 317182 w 1126807"/>
                  <a:gd name="connsiteY75" fmla="*/ 148685 h 839247"/>
                  <a:gd name="connsiteX76" fmla="*/ 309563 w 1126807"/>
                  <a:gd name="connsiteY76" fmla="*/ 155353 h 839247"/>
                  <a:gd name="connsiteX77" fmla="*/ 295275 w 1126807"/>
                  <a:gd name="connsiteY77" fmla="*/ 148685 h 839247"/>
                  <a:gd name="connsiteX78" fmla="*/ 295275 w 1126807"/>
                  <a:gd name="connsiteY78" fmla="*/ 169640 h 839247"/>
                  <a:gd name="connsiteX79" fmla="*/ 288607 w 1126807"/>
                  <a:gd name="connsiteY79" fmla="*/ 180022 h 839247"/>
                  <a:gd name="connsiteX80" fmla="*/ 281940 w 1126807"/>
                  <a:gd name="connsiteY80" fmla="*/ 173450 h 839247"/>
                  <a:gd name="connsiteX81" fmla="*/ 274320 w 1126807"/>
                  <a:gd name="connsiteY81" fmla="*/ 162973 h 839247"/>
                  <a:gd name="connsiteX82" fmla="*/ 257175 w 1126807"/>
                  <a:gd name="connsiteY82" fmla="*/ 173450 h 839247"/>
                  <a:gd name="connsiteX83" fmla="*/ 249555 w 1126807"/>
                  <a:gd name="connsiteY83" fmla="*/ 187738 h 839247"/>
                  <a:gd name="connsiteX84" fmla="*/ 253365 w 1126807"/>
                  <a:gd name="connsiteY84" fmla="*/ 208597 h 839247"/>
                  <a:gd name="connsiteX85" fmla="*/ 214313 w 1126807"/>
                  <a:gd name="connsiteY85" fmla="*/ 254413 h 839247"/>
                  <a:gd name="connsiteX86" fmla="*/ 193357 w 1126807"/>
                  <a:gd name="connsiteY86" fmla="*/ 258223 h 839247"/>
                  <a:gd name="connsiteX87" fmla="*/ 151448 w 1126807"/>
                  <a:gd name="connsiteY87" fmla="*/ 271463 h 839247"/>
                  <a:gd name="connsiteX88" fmla="*/ 108585 w 1126807"/>
                  <a:gd name="connsiteY88" fmla="*/ 279178 h 839247"/>
                  <a:gd name="connsiteX89" fmla="*/ 84773 w 1126807"/>
                  <a:gd name="connsiteY89" fmla="*/ 285750 h 839247"/>
                  <a:gd name="connsiteX90" fmla="*/ 60007 w 1126807"/>
                  <a:gd name="connsiteY90" fmla="*/ 314325 h 839247"/>
                  <a:gd name="connsiteX91" fmla="*/ 41910 w 1126807"/>
                  <a:gd name="connsiteY91" fmla="*/ 314325 h 839247"/>
                  <a:gd name="connsiteX92" fmla="*/ 35243 w 1126807"/>
                  <a:gd name="connsiteY92" fmla="*/ 328613 h 839247"/>
                  <a:gd name="connsiteX93" fmla="*/ 24765 w 1126807"/>
                  <a:gd name="connsiteY93" fmla="*/ 318135 h 839247"/>
                  <a:gd name="connsiteX94" fmla="*/ 20955 w 1126807"/>
                  <a:gd name="connsiteY94" fmla="*/ 331565 h 839247"/>
                  <a:gd name="connsiteX95" fmla="*/ 10478 w 1126807"/>
                  <a:gd name="connsiteY95" fmla="*/ 360140 h 839247"/>
                  <a:gd name="connsiteX96" fmla="*/ 10478 w 1126807"/>
                  <a:gd name="connsiteY96" fmla="*/ 384810 h 839247"/>
                  <a:gd name="connsiteX97" fmla="*/ 20955 w 1126807"/>
                  <a:gd name="connsiteY97" fmla="*/ 420148 h 839247"/>
                  <a:gd name="connsiteX98" fmla="*/ 35243 w 1126807"/>
                  <a:gd name="connsiteY98" fmla="*/ 430625 h 839247"/>
                  <a:gd name="connsiteX99" fmla="*/ 31432 w 1126807"/>
                  <a:gd name="connsiteY99" fmla="*/ 448723 h 839247"/>
                  <a:gd name="connsiteX100" fmla="*/ 17145 w 1126807"/>
                  <a:gd name="connsiteY100" fmla="*/ 448723 h 839247"/>
                  <a:gd name="connsiteX101" fmla="*/ 10478 w 1126807"/>
                  <a:gd name="connsiteY101" fmla="*/ 437197 h 839247"/>
                  <a:gd name="connsiteX102" fmla="*/ 0 w 1126807"/>
                  <a:gd name="connsiteY102" fmla="*/ 434435 h 839247"/>
                  <a:gd name="connsiteX103" fmla="*/ 6668 w 1126807"/>
                  <a:gd name="connsiteY103" fmla="*/ 448723 h 839247"/>
                  <a:gd name="connsiteX104" fmla="*/ 17145 w 1126807"/>
                  <a:gd name="connsiteY104" fmla="*/ 465772 h 839247"/>
                  <a:gd name="connsiteX105" fmla="*/ 31432 w 1126807"/>
                  <a:gd name="connsiteY105" fmla="*/ 494347 h 839247"/>
                  <a:gd name="connsiteX106" fmla="*/ 52388 w 1126807"/>
                  <a:gd name="connsiteY106" fmla="*/ 546735 h 839247"/>
                  <a:gd name="connsiteX107" fmla="*/ 52388 w 1126807"/>
                  <a:gd name="connsiteY107" fmla="*/ 579215 h 839247"/>
                  <a:gd name="connsiteX108" fmla="*/ 70485 w 1126807"/>
                  <a:gd name="connsiteY108" fmla="*/ 603028 h 839247"/>
                  <a:gd name="connsiteX109" fmla="*/ 70485 w 1126807"/>
                  <a:gd name="connsiteY109" fmla="*/ 627697 h 839247"/>
                  <a:gd name="connsiteX110" fmla="*/ 70485 w 1126807"/>
                  <a:gd name="connsiteY110" fmla="*/ 666750 h 839247"/>
                  <a:gd name="connsiteX111" fmla="*/ 49530 w 1126807"/>
                  <a:gd name="connsiteY111" fmla="*/ 677323 h 839247"/>
                  <a:gd name="connsiteX112" fmla="*/ 52388 w 1126807"/>
                  <a:gd name="connsiteY112" fmla="*/ 695325 h 839247"/>
                  <a:gd name="connsiteX113" fmla="*/ 74295 w 1126807"/>
                  <a:gd name="connsiteY113" fmla="*/ 705898 h 839247"/>
                  <a:gd name="connsiteX114" fmla="*/ 95250 w 1126807"/>
                  <a:gd name="connsiteY114" fmla="*/ 720185 h 839247"/>
                  <a:gd name="connsiteX115" fmla="*/ 140970 w 1126807"/>
                  <a:gd name="connsiteY115" fmla="*/ 716375 h 839247"/>
                  <a:gd name="connsiteX116" fmla="*/ 158115 w 1126807"/>
                  <a:gd name="connsiteY116" fmla="*/ 695325 h 839247"/>
                  <a:gd name="connsiteX117" fmla="*/ 176213 w 1126807"/>
                  <a:gd name="connsiteY117" fmla="*/ 695325 h 839247"/>
                  <a:gd name="connsiteX118" fmla="*/ 190500 w 1126807"/>
                  <a:gd name="connsiteY118" fmla="*/ 681038 h 839247"/>
                  <a:gd name="connsiteX119" fmla="*/ 288607 w 1126807"/>
                  <a:gd name="connsiteY119" fmla="*/ 681038 h 839247"/>
                  <a:gd name="connsiteX120" fmla="*/ 299085 w 1126807"/>
                  <a:gd name="connsiteY120" fmla="*/ 670560 h 839247"/>
                  <a:gd name="connsiteX121" fmla="*/ 302895 w 1126807"/>
                  <a:gd name="connsiteY121" fmla="*/ 656272 h 839247"/>
                  <a:gd name="connsiteX122" fmla="*/ 323850 w 1126807"/>
                  <a:gd name="connsiteY122" fmla="*/ 649700 h 839247"/>
                  <a:gd name="connsiteX123" fmla="*/ 352425 w 1126807"/>
                  <a:gd name="connsiteY123" fmla="*/ 631603 h 839247"/>
                  <a:gd name="connsiteX124" fmla="*/ 401003 w 1126807"/>
                  <a:gd name="connsiteY124" fmla="*/ 627697 h 839247"/>
                  <a:gd name="connsiteX125" fmla="*/ 433388 w 1126807"/>
                  <a:gd name="connsiteY125" fmla="*/ 614363 h 839247"/>
                  <a:gd name="connsiteX126" fmla="*/ 454343 w 1126807"/>
                  <a:gd name="connsiteY126" fmla="*/ 606838 h 839247"/>
                  <a:gd name="connsiteX127" fmla="*/ 524828 w 1126807"/>
                  <a:gd name="connsiteY127" fmla="*/ 617315 h 839247"/>
                  <a:gd name="connsiteX128" fmla="*/ 577215 w 1126807"/>
                  <a:gd name="connsiteY128" fmla="*/ 631603 h 839247"/>
                  <a:gd name="connsiteX129" fmla="*/ 587693 w 1126807"/>
                  <a:gd name="connsiteY129" fmla="*/ 641985 h 839247"/>
                  <a:gd name="connsiteX130" fmla="*/ 598170 w 1126807"/>
                  <a:gd name="connsiteY130" fmla="*/ 656272 h 839247"/>
                  <a:gd name="connsiteX131" fmla="*/ 616268 w 1126807"/>
                  <a:gd name="connsiteY131" fmla="*/ 681038 h 839247"/>
                  <a:gd name="connsiteX132" fmla="*/ 620078 w 1126807"/>
                  <a:gd name="connsiteY132" fmla="*/ 702088 h 839247"/>
                  <a:gd name="connsiteX133" fmla="*/ 633413 w 1126807"/>
                  <a:gd name="connsiteY133" fmla="*/ 709613 h 839247"/>
                  <a:gd name="connsiteX134" fmla="*/ 643890 w 1126807"/>
                  <a:gd name="connsiteY134" fmla="*/ 695325 h 839247"/>
                  <a:gd name="connsiteX135" fmla="*/ 661988 w 1126807"/>
                  <a:gd name="connsiteY135" fmla="*/ 681038 h 839247"/>
                  <a:gd name="connsiteX136" fmla="*/ 672465 w 1126807"/>
                  <a:gd name="connsiteY136" fmla="*/ 663035 h 839247"/>
                  <a:gd name="connsiteX137" fmla="*/ 686753 w 1126807"/>
                  <a:gd name="connsiteY137" fmla="*/ 645890 h 839247"/>
                  <a:gd name="connsiteX138" fmla="*/ 693420 w 1126807"/>
                  <a:gd name="connsiteY138" fmla="*/ 663035 h 839247"/>
                  <a:gd name="connsiteX139" fmla="*/ 690563 w 1126807"/>
                  <a:gd name="connsiteY139" fmla="*/ 673513 h 839247"/>
                  <a:gd name="connsiteX140" fmla="*/ 679132 w 1126807"/>
                  <a:gd name="connsiteY140" fmla="*/ 684847 h 839247"/>
                  <a:gd name="connsiteX141" fmla="*/ 668655 w 1126807"/>
                  <a:gd name="connsiteY141" fmla="*/ 720185 h 839247"/>
                  <a:gd name="connsiteX142" fmla="*/ 686753 w 1126807"/>
                  <a:gd name="connsiteY142" fmla="*/ 709613 h 839247"/>
                  <a:gd name="connsiteX143" fmla="*/ 701040 w 1126807"/>
                  <a:gd name="connsiteY143" fmla="*/ 695325 h 839247"/>
                  <a:gd name="connsiteX144" fmla="*/ 714375 w 1126807"/>
                  <a:gd name="connsiteY144" fmla="*/ 702088 h 839247"/>
                  <a:gd name="connsiteX145" fmla="*/ 703898 w 1126807"/>
                  <a:gd name="connsiteY145" fmla="*/ 720185 h 839247"/>
                  <a:gd name="connsiteX146" fmla="*/ 707707 w 1126807"/>
                  <a:gd name="connsiteY146" fmla="*/ 733425 h 839247"/>
                  <a:gd name="connsiteX147" fmla="*/ 721995 w 1126807"/>
                  <a:gd name="connsiteY147" fmla="*/ 733425 h 839247"/>
                  <a:gd name="connsiteX148" fmla="*/ 736282 w 1126807"/>
                  <a:gd name="connsiteY148" fmla="*/ 747713 h 839247"/>
                  <a:gd name="connsiteX149" fmla="*/ 749618 w 1126807"/>
                  <a:gd name="connsiteY149" fmla="*/ 765810 h 839247"/>
                  <a:gd name="connsiteX150" fmla="*/ 746760 w 1126807"/>
                  <a:gd name="connsiteY150" fmla="*/ 783050 h 839247"/>
                  <a:gd name="connsiteX151" fmla="*/ 757238 w 1126807"/>
                  <a:gd name="connsiteY151" fmla="*/ 797338 h 839247"/>
                  <a:gd name="connsiteX152" fmla="*/ 771525 w 1126807"/>
                  <a:gd name="connsiteY152" fmla="*/ 815435 h 839247"/>
                  <a:gd name="connsiteX153" fmla="*/ 792480 w 1126807"/>
                  <a:gd name="connsiteY153" fmla="*/ 818197 h 839247"/>
                  <a:gd name="connsiteX154" fmla="*/ 813435 w 1126807"/>
                  <a:gd name="connsiteY154" fmla="*/ 818197 h 839247"/>
                  <a:gd name="connsiteX155" fmla="*/ 834390 w 1126807"/>
                  <a:gd name="connsiteY155" fmla="*/ 828675 h 839247"/>
                  <a:gd name="connsiteX156" fmla="*/ 855345 w 1126807"/>
                  <a:gd name="connsiteY156" fmla="*/ 836390 h 839247"/>
                  <a:gd name="connsiteX157" fmla="*/ 880110 w 1126807"/>
                  <a:gd name="connsiteY157" fmla="*/ 811625 h 839247"/>
                  <a:gd name="connsiteX158" fmla="*/ 890588 w 1126807"/>
                  <a:gd name="connsiteY158" fmla="*/ 807815 h 839247"/>
                  <a:gd name="connsiteX159" fmla="*/ 898207 w 1126807"/>
                  <a:gd name="connsiteY159" fmla="*/ 815435 h 839247"/>
                  <a:gd name="connsiteX160" fmla="*/ 908685 w 1126807"/>
                  <a:gd name="connsiteY160" fmla="*/ 825913 h 839247"/>
                  <a:gd name="connsiteX161" fmla="*/ 915353 w 1126807"/>
                  <a:gd name="connsiteY161" fmla="*/ 832485 h 839247"/>
                  <a:gd name="connsiteX162" fmla="*/ 925830 w 1126807"/>
                  <a:gd name="connsiteY162" fmla="*/ 839248 h 839247"/>
                  <a:gd name="connsiteX163" fmla="*/ 936307 w 1126807"/>
                  <a:gd name="connsiteY163" fmla="*/ 836390 h 839247"/>
                  <a:gd name="connsiteX164" fmla="*/ 940118 w 1126807"/>
                  <a:gd name="connsiteY164" fmla="*/ 832485 h 839247"/>
                  <a:gd name="connsiteX165" fmla="*/ 961073 w 1126807"/>
                  <a:gd name="connsiteY165" fmla="*/ 818197 h 839247"/>
                  <a:gd name="connsiteX166" fmla="*/ 968693 w 1126807"/>
                  <a:gd name="connsiteY166" fmla="*/ 797338 h 839247"/>
                  <a:gd name="connsiteX167" fmla="*/ 996315 w 1126807"/>
                  <a:gd name="connsiteY167" fmla="*/ 801148 h 839247"/>
                  <a:gd name="connsiteX168" fmla="*/ 1014413 w 1126807"/>
                  <a:gd name="connsiteY168" fmla="*/ 801148 h 839247"/>
                  <a:gd name="connsiteX169" fmla="*/ 1024890 w 1126807"/>
                  <a:gd name="connsiteY169" fmla="*/ 793528 h 839247"/>
                  <a:gd name="connsiteX170" fmla="*/ 1024890 w 1126807"/>
                  <a:gd name="connsiteY170" fmla="*/ 762000 h 839247"/>
                  <a:gd name="connsiteX171" fmla="*/ 1039178 w 1126807"/>
                  <a:gd name="connsiteY171" fmla="*/ 737235 h 839247"/>
                  <a:gd name="connsiteX172" fmla="*/ 1049655 w 1126807"/>
                  <a:gd name="connsiteY172" fmla="*/ 709613 h 839247"/>
                  <a:gd name="connsiteX173" fmla="*/ 1066800 w 1126807"/>
                  <a:gd name="connsiteY173" fmla="*/ 670560 h 839247"/>
                  <a:gd name="connsiteX174" fmla="*/ 1077278 w 1126807"/>
                  <a:gd name="connsiteY174" fmla="*/ 649700 h 839247"/>
                  <a:gd name="connsiteX175" fmla="*/ 1098232 w 1126807"/>
                  <a:gd name="connsiteY175" fmla="*/ 631603 h 839247"/>
                  <a:gd name="connsiteX176" fmla="*/ 1112520 w 1126807"/>
                  <a:gd name="connsiteY176" fmla="*/ 600075 h 839247"/>
                  <a:gd name="connsiteX177" fmla="*/ 1116330 w 1126807"/>
                  <a:gd name="connsiteY177" fmla="*/ 567785 h 839247"/>
                  <a:gd name="connsiteX178" fmla="*/ 1126807 w 1126807"/>
                  <a:gd name="connsiteY178" fmla="*/ 529685 h 839247"/>
                  <a:gd name="connsiteX179" fmla="*/ 1122998 w 1126807"/>
                  <a:gd name="connsiteY179" fmla="*/ 497300 h 839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1126807" h="839247">
                    <a:moveTo>
                      <a:pt x="1122998" y="497300"/>
                    </a:moveTo>
                    <a:lnTo>
                      <a:pt x="1120140" y="476250"/>
                    </a:lnTo>
                    <a:lnTo>
                      <a:pt x="1116330" y="448723"/>
                    </a:lnTo>
                    <a:lnTo>
                      <a:pt x="1109663" y="426815"/>
                    </a:lnTo>
                    <a:lnTo>
                      <a:pt x="1098232" y="402050"/>
                    </a:lnTo>
                    <a:lnTo>
                      <a:pt x="1077278" y="378238"/>
                    </a:lnTo>
                    <a:lnTo>
                      <a:pt x="1052513" y="360140"/>
                    </a:lnTo>
                    <a:lnTo>
                      <a:pt x="1045845" y="331565"/>
                    </a:lnTo>
                    <a:lnTo>
                      <a:pt x="1024890" y="331565"/>
                    </a:lnTo>
                    <a:lnTo>
                      <a:pt x="1017270" y="321088"/>
                    </a:lnTo>
                    <a:lnTo>
                      <a:pt x="1017270" y="303847"/>
                    </a:lnTo>
                    <a:lnTo>
                      <a:pt x="1000125" y="285750"/>
                    </a:lnTo>
                    <a:lnTo>
                      <a:pt x="982028" y="260985"/>
                    </a:lnTo>
                    <a:lnTo>
                      <a:pt x="958215" y="243935"/>
                    </a:lnTo>
                    <a:lnTo>
                      <a:pt x="936307" y="236315"/>
                    </a:lnTo>
                    <a:lnTo>
                      <a:pt x="925830" y="219075"/>
                    </a:lnTo>
                    <a:lnTo>
                      <a:pt x="925830" y="198215"/>
                    </a:lnTo>
                    <a:lnTo>
                      <a:pt x="919163" y="180022"/>
                    </a:lnTo>
                    <a:lnTo>
                      <a:pt x="901065" y="169640"/>
                    </a:lnTo>
                    <a:lnTo>
                      <a:pt x="901065" y="144875"/>
                    </a:lnTo>
                    <a:lnTo>
                      <a:pt x="898207" y="127635"/>
                    </a:lnTo>
                    <a:lnTo>
                      <a:pt x="890588" y="109538"/>
                    </a:lnTo>
                    <a:lnTo>
                      <a:pt x="869632" y="102965"/>
                    </a:lnTo>
                    <a:lnTo>
                      <a:pt x="852488" y="95250"/>
                    </a:lnTo>
                    <a:lnTo>
                      <a:pt x="848678" y="57150"/>
                    </a:lnTo>
                    <a:lnTo>
                      <a:pt x="842010" y="35338"/>
                    </a:lnTo>
                    <a:lnTo>
                      <a:pt x="827723" y="10573"/>
                    </a:lnTo>
                    <a:lnTo>
                      <a:pt x="817245" y="0"/>
                    </a:lnTo>
                    <a:lnTo>
                      <a:pt x="809625" y="18097"/>
                    </a:lnTo>
                    <a:lnTo>
                      <a:pt x="802957" y="39148"/>
                    </a:lnTo>
                    <a:lnTo>
                      <a:pt x="792480" y="70485"/>
                    </a:lnTo>
                    <a:lnTo>
                      <a:pt x="795338" y="117253"/>
                    </a:lnTo>
                    <a:lnTo>
                      <a:pt x="792480" y="148685"/>
                    </a:lnTo>
                    <a:lnTo>
                      <a:pt x="778193" y="176213"/>
                    </a:lnTo>
                    <a:lnTo>
                      <a:pt x="761048" y="198215"/>
                    </a:lnTo>
                    <a:lnTo>
                      <a:pt x="732473" y="180022"/>
                    </a:lnTo>
                    <a:lnTo>
                      <a:pt x="711518" y="169640"/>
                    </a:lnTo>
                    <a:lnTo>
                      <a:pt x="682943" y="148685"/>
                    </a:lnTo>
                    <a:lnTo>
                      <a:pt x="655320" y="138113"/>
                    </a:lnTo>
                    <a:lnTo>
                      <a:pt x="630555" y="120110"/>
                    </a:lnTo>
                    <a:lnTo>
                      <a:pt x="620078" y="109538"/>
                    </a:lnTo>
                    <a:lnTo>
                      <a:pt x="620078" y="95250"/>
                    </a:lnTo>
                    <a:lnTo>
                      <a:pt x="633413" y="84772"/>
                    </a:lnTo>
                    <a:lnTo>
                      <a:pt x="643890" y="70485"/>
                    </a:lnTo>
                    <a:lnTo>
                      <a:pt x="655320" y="53435"/>
                    </a:lnTo>
                    <a:lnTo>
                      <a:pt x="668655" y="39148"/>
                    </a:lnTo>
                    <a:lnTo>
                      <a:pt x="655320" y="32385"/>
                    </a:lnTo>
                    <a:lnTo>
                      <a:pt x="637223" y="39148"/>
                    </a:lnTo>
                    <a:lnTo>
                      <a:pt x="622935" y="39148"/>
                    </a:lnTo>
                    <a:lnTo>
                      <a:pt x="612457" y="35338"/>
                    </a:lnTo>
                    <a:lnTo>
                      <a:pt x="598170" y="32385"/>
                    </a:lnTo>
                    <a:lnTo>
                      <a:pt x="581025" y="24860"/>
                    </a:lnTo>
                    <a:lnTo>
                      <a:pt x="566738" y="18097"/>
                    </a:lnTo>
                    <a:lnTo>
                      <a:pt x="541973" y="7715"/>
                    </a:lnTo>
                    <a:lnTo>
                      <a:pt x="531495" y="10573"/>
                    </a:lnTo>
                    <a:lnTo>
                      <a:pt x="545782" y="22003"/>
                    </a:lnTo>
                    <a:lnTo>
                      <a:pt x="541973" y="32385"/>
                    </a:lnTo>
                    <a:lnTo>
                      <a:pt x="521018" y="39148"/>
                    </a:lnTo>
                    <a:lnTo>
                      <a:pt x="503873" y="35338"/>
                    </a:lnTo>
                    <a:lnTo>
                      <a:pt x="496253" y="42863"/>
                    </a:lnTo>
                    <a:lnTo>
                      <a:pt x="481965" y="49625"/>
                    </a:lnTo>
                    <a:lnTo>
                      <a:pt x="471488" y="70485"/>
                    </a:lnTo>
                    <a:lnTo>
                      <a:pt x="450532" y="92488"/>
                    </a:lnTo>
                    <a:lnTo>
                      <a:pt x="461010" y="109538"/>
                    </a:lnTo>
                    <a:lnTo>
                      <a:pt x="446723" y="113347"/>
                    </a:lnTo>
                    <a:lnTo>
                      <a:pt x="425768" y="117253"/>
                    </a:lnTo>
                    <a:lnTo>
                      <a:pt x="425768" y="117253"/>
                    </a:lnTo>
                    <a:lnTo>
                      <a:pt x="425768" y="117253"/>
                    </a:lnTo>
                    <a:lnTo>
                      <a:pt x="415290" y="105823"/>
                    </a:lnTo>
                    <a:lnTo>
                      <a:pt x="404813" y="95250"/>
                    </a:lnTo>
                    <a:lnTo>
                      <a:pt x="387668" y="84772"/>
                    </a:lnTo>
                    <a:lnTo>
                      <a:pt x="359093" y="105823"/>
                    </a:lnTo>
                    <a:lnTo>
                      <a:pt x="348615" y="105823"/>
                    </a:lnTo>
                    <a:lnTo>
                      <a:pt x="338138" y="117253"/>
                    </a:lnTo>
                    <a:lnTo>
                      <a:pt x="320040" y="127635"/>
                    </a:lnTo>
                    <a:lnTo>
                      <a:pt x="317182" y="148685"/>
                    </a:lnTo>
                    <a:lnTo>
                      <a:pt x="309563" y="155353"/>
                    </a:lnTo>
                    <a:lnTo>
                      <a:pt x="295275" y="148685"/>
                    </a:lnTo>
                    <a:lnTo>
                      <a:pt x="295275" y="169640"/>
                    </a:lnTo>
                    <a:lnTo>
                      <a:pt x="288607" y="180022"/>
                    </a:lnTo>
                    <a:lnTo>
                      <a:pt x="281940" y="173450"/>
                    </a:lnTo>
                    <a:lnTo>
                      <a:pt x="274320" y="162973"/>
                    </a:lnTo>
                    <a:lnTo>
                      <a:pt x="257175" y="173450"/>
                    </a:lnTo>
                    <a:lnTo>
                      <a:pt x="249555" y="187738"/>
                    </a:lnTo>
                    <a:lnTo>
                      <a:pt x="253365" y="208597"/>
                    </a:lnTo>
                    <a:lnTo>
                      <a:pt x="214313" y="254413"/>
                    </a:lnTo>
                    <a:lnTo>
                      <a:pt x="193357" y="258223"/>
                    </a:lnTo>
                    <a:lnTo>
                      <a:pt x="151448" y="271463"/>
                    </a:lnTo>
                    <a:lnTo>
                      <a:pt x="108585" y="279178"/>
                    </a:lnTo>
                    <a:lnTo>
                      <a:pt x="84773" y="285750"/>
                    </a:lnTo>
                    <a:lnTo>
                      <a:pt x="60007" y="314325"/>
                    </a:lnTo>
                    <a:lnTo>
                      <a:pt x="41910" y="314325"/>
                    </a:lnTo>
                    <a:lnTo>
                      <a:pt x="35243" y="328613"/>
                    </a:lnTo>
                    <a:lnTo>
                      <a:pt x="24765" y="318135"/>
                    </a:lnTo>
                    <a:lnTo>
                      <a:pt x="20955" y="331565"/>
                    </a:lnTo>
                    <a:lnTo>
                      <a:pt x="10478" y="360140"/>
                    </a:lnTo>
                    <a:lnTo>
                      <a:pt x="10478" y="384810"/>
                    </a:lnTo>
                    <a:lnTo>
                      <a:pt x="20955" y="420148"/>
                    </a:lnTo>
                    <a:lnTo>
                      <a:pt x="35243" y="430625"/>
                    </a:lnTo>
                    <a:lnTo>
                      <a:pt x="31432" y="448723"/>
                    </a:lnTo>
                    <a:lnTo>
                      <a:pt x="17145" y="448723"/>
                    </a:lnTo>
                    <a:lnTo>
                      <a:pt x="10478" y="437197"/>
                    </a:lnTo>
                    <a:lnTo>
                      <a:pt x="0" y="434435"/>
                    </a:lnTo>
                    <a:lnTo>
                      <a:pt x="6668" y="448723"/>
                    </a:lnTo>
                    <a:lnTo>
                      <a:pt x="17145" y="465772"/>
                    </a:lnTo>
                    <a:lnTo>
                      <a:pt x="31432" y="494347"/>
                    </a:lnTo>
                    <a:lnTo>
                      <a:pt x="52388" y="546735"/>
                    </a:lnTo>
                    <a:lnTo>
                      <a:pt x="52388" y="579215"/>
                    </a:lnTo>
                    <a:lnTo>
                      <a:pt x="70485" y="603028"/>
                    </a:lnTo>
                    <a:lnTo>
                      <a:pt x="70485" y="627697"/>
                    </a:lnTo>
                    <a:lnTo>
                      <a:pt x="70485" y="666750"/>
                    </a:lnTo>
                    <a:lnTo>
                      <a:pt x="49530" y="677323"/>
                    </a:lnTo>
                    <a:lnTo>
                      <a:pt x="52388" y="695325"/>
                    </a:lnTo>
                    <a:lnTo>
                      <a:pt x="74295" y="705898"/>
                    </a:lnTo>
                    <a:lnTo>
                      <a:pt x="95250" y="720185"/>
                    </a:lnTo>
                    <a:lnTo>
                      <a:pt x="140970" y="716375"/>
                    </a:lnTo>
                    <a:lnTo>
                      <a:pt x="158115" y="695325"/>
                    </a:lnTo>
                    <a:lnTo>
                      <a:pt x="176213" y="695325"/>
                    </a:lnTo>
                    <a:lnTo>
                      <a:pt x="190500" y="681038"/>
                    </a:lnTo>
                    <a:lnTo>
                      <a:pt x="288607" y="681038"/>
                    </a:lnTo>
                    <a:lnTo>
                      <a:pt x="299085" y="670560"/>
                    </a:lnTo>
                    <a:lnTo>
                      <a:pt x="302895" y="656272"/>
                    </a:lnTo>
                    <a:lnTo>
                      <a:pt x="323850" y="649700"/>
                    </a:lnTo>
                    <a:lnTo>
                      <a:pt x="352425" y="631603"/>
                    </a:lnTo>
                    <a:lnTo>
                      <a:pt x="401003" y="627697"/>
                    </a:lnTo>
                    <a:lnTo>
                      <a:pt x="433388" y="614363"/>
                    </a:lnTo>
                    <a:lnTo>
                      <a:pt x="454343" y="606838"/>
                    </a:lnTo>
                    <a:lnTo>
                      <a:pt x="524828" y="617315"/>
                    </a:lnTo>
                    <a:lnTo>
                      <a:pt x="577215" y="631603"/>
                    </a:lnTo>
                    <a:lnTo>
                      <a:pt x="587693" y="641985"/>
                    </a:lnTo>
                    <a:lnTo>
                      <a:pt x="598170" y="656272"/>
                    </a:lnTo>
                    <a:lnTo>
                      <a:pt x="616268" y="681038"/>
                    </a:lnTo>
                    <a:lnTo>
                      <a:pt x="620078" y="702088"/>
                    </a:lnTo>
                    <a:lnTo>
                      <a:pt x="633413" y="709613"/>
                    </a:lnTo>
                    <a:lnTo>
                      <a:pt x="643890" y="695325"/>
                    </a:lnTo>
                    <a:lnTo>
                      <a:pt x="661988" y="681038"/>
                    </a:lnTo>
                    <a:lnTo>
                      <a:pt x="672465" y="663035"/>
                    </a:lnTo>
                    <a:lnTo>
                      <a:pt x="686753" y="645890"/>
                    </a:lnTo>
                    <a:lnTo>
                      <a:pt x="693420" y="663035"/>
                    </a:lnTo>
                    <a:lnTo>
                      <a:pt x="690563" y="673513"/>
                    </a:lnTo>
                    <a:lnTo>
                      <a:pt x="679132" y="684847"/>
                    </a:lnTo>
                    <a:lnTo>
                      <a:pt x="668655" y="720185"/>
                    </a:lnTo>
                    <a:lnTo>
                      <a:pt x="686753" y="709613"/>
                    </a:lnTo>
                    <a:lnTo>
                      <a:pt x="701040" y="695325"/>
                    </a:lnTo>
                    <a:lnTo>
                      <a:pt x="714375" y="702088"/>
                    </a:lnTo>
                    <a:lnTo>
                      <a:pt x="703898" y="720185"/>
                    </a:lnTo>
                    <a:lnTo>
                      <a:pt x="707707" y="733425"/>
                    </a:lnTo>
                    <a:lnTo>
                      <a:pt x="721995" y="733425"/>
                    </a:lnTo>
                    <a:lnTo>
                      <a:pt x="736282" y="747713"/>
                    </a:lnTo>
                    <a:lnTo>
                      <a:pt x="749618" y="765810"/>
                    </a:lnTo>
                    <a:lnTo>
                      <a:pt x="746760" y="783050"/>
                    </a:lnTo>
                    <a:lnTo>
                      <a:pt x="757238" y="797338"/>
                    </a:lnTo>
                    <a:lnTo>
                      <a:pt x="771525" y="815435"/>
                    </a:lnTo>
                    <a:lnTo>
                      <a:pt x="792480" y="818197"/>
                    </a:lnTo>
                    <a:lnTo>
                      <a:pt x="813435" y="818197"/>
                    </a:lnTo>
                    <a:lnTo>
                      <a:pt x="834390" y="828675"/>
                    </a:lnTo>
                    <a:lnTo>
                      <a:pt x="855345" y="836390"/>
                    </a:lnTo>
                    <a:lnTo>
                      <a:pt x="880110" y="811625"/>
                    </a:lnTo>
                    <a:lnTo>
                      <a:pt x="890588" y="807815"/>
                    </a:lnTo>
                    <a:lnTo>
                      <a:pt x="898207" y="815435"/>
                    </a:lnTo>
                    <a:lnTo>
                      <a:pt x="908685" y="825913"/>
                    </a:lnTo>
                    <a:lnTo>
                      <a:pt x="915353" y="832485"/>
                    </a:lnTo>
                    <a:lnTo>
                      <a:pt x="925830" y="839248"/>
                    </a:lnTo>
                    <a:lnTo>
                      <a:pt x="936307" y="836390"/>
                    </a:lnTo>
                    <a:lnTo>
                      <a:pt x="940118" y="832485"/>
                    </a:lnTo>
                    <a:lnTo>
                      <a:pt x="961073" y="818197"/>
                    </a:lnTo>
                    <a:lnTo>
                      <a:pt x="968693" y="797338"/>
                    </a:lnTo>
                    <a:lnTo>
                      <a:pt x="996315" y="801148"/>
                    </a:lnTo>
                    <a:lnTo>
                      <a:pt x="1014413" y="801148"/>
                    </a:lnTo>
                    <a:lnTo>
                      <a:pt x="1024890" y="793528"/>
                    </a:lnTo>
                    <a:lnTo>
                      <a:pt x="1024890" y="762000"/>
                    </a:lnTo>
                    <a:lnTo>
                      <a:pt x="1039178" y="737235"/>
                    </a:lnTo>
                    <a:lnTo>
                      <a:pt x="1049655" y="709613"/>
                    </a:lnTo>
                    <a:lnTo>
                      <a:pt x="1066800" y="670560"/>
                    </a:lnTo>
                    <a:lnTo>
                      <a:pt x="1077278" y="649700"/>
                    </a:lnTo>
                    <a:lnTo>
                      <a:pt x="1098232" y="631603"/>
                    </a:lnTo>
                    <a:lnTo>
                      <a:pt x="1112520" y="600075"/>
                    </a:lnTo>
                    <a:lnTo>
                      <a:pt x="1116330" y="567785"/>
                    </a:lnTo>
                    <a:lnTo>
                      <a:pt x="1126807" y="529685"/>
                    </a:lnTo>
                    <a:lnTo>
                      <a:pt x="1122998" y="49730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7" name="Freeform: Shape 496">
                <a:extLst>
                  <a:ext uri="{FF2B5EF4-FFF2-40B4-BE49-F238E27FC236}">
                    <a16:creationId xmlns:a16="http://schemas.microsoft.com/office/drawing/2014/main" id="{FE1D61E5-7427-277D-2271-28CC2C517AF0}"/>
                  </a:ext>
                </a:extLst>
              </p:cNvPr>
              <p:cNvSpPr/>
              <p:nvPr/>
            </p:nvSpPr>
            <p:spPr>
              <a:xfrm>
                <a:off x="10734370" y="5526024"/>
                <a:ext cx="152197" cy="235300"/>
              </a:xfrm>
              <a:custGeom>
                <a:avLst/>
                <a:gdLst>
                  <a:gd name="connsiteX0" fmla="*/ 134302 w 155257"/>
                  <a:gd name="connsiteY0" fmla="*/ 116205 h 240030"/>
                  <a:gd name="connsiteX1" fmla="*/ 113348 w 155257"/>
                  <a:gd name="connsiteY1" fmla="*/ 120015 h 240030"/>
                  <a:gd name="connsiteX2" fmla="*/ 92393 w 155257"/>
                  <a:gd name="connsiteY2" fmla="*/ 105728 h 240030"/>
                  <a:gd name="connsiteX3" fmla="*/ 80963 w 155257"/>
                  <a:gd name="connsiteY3" fmla="*/ 91440 h 240030"/>
                  <a:gd name="connsiteX4" fmla="*/ 78105 w 155257"/>
                  <a:gd name="connsiteY4" fmla="*/ 80963 h 240030"/>
                  <a:gd name="connsiteX5" fmla="*/ 67627 w 155257"/>
                  <a:gd name="connsiteY5" fmla="*/ 91440 h 240030"/>
                  <a:gd name="connsiteX6" fmla="*/ 60007 w 155257"/>
                  <a:gd name="connsiteY6" fmla="*/ 77153 h 240030"/>
                  <a:gd name="connsiteX7" fmla="*/ 49530 w 155257"/>
                  <a:gd name="connsiteY7" fmla="*/ 59912 h 240030"/>
                  <a:gd name="connsiteX8" fmla="*/ 53340 w 155257"/>
                  <a:gd name="connsiteY8" fmla="*/ 45625 h 240030"/>
                  <a:gd name="connsiteX9" fmla="*/ 39052 w 155257"/>
                  <a:gd name="connsiteY9" fmla="*/ 31337 h 240030"/>
                  <a:gd name="connsiteX10" fmla="*/ 18098 w 155257"/>
                  <a:gd name="connsiteY10" fmla="*/ 18002 h 240030"/>
                  <a:gd name="connsiteX11" fmla="*/ 0 w 155257"/>
                  <a:gd name="connsiteY11" fmla="*/ 0 h 240030"/>
                  <a:gd name="connsiteX12" fmla="*/ 3810 w 155257"/>
                  <a:gd name="connsiteY12" fmla="*/ 18002 h 240030"/>
                  <a:gd name="connsiteX13" fmla="*/ 14288 w 155257"/>
                  <a:gd name="connsiteY13" fmla="*/ 45625 h 240030"/>
                  <a:gd name="connsiteX14" fmla="*/ 35243 w 155257"/>
                  <a:gd name="connsiteY14" fmla="*/ 59912 h 240030"/>
                  <a:gd name="connsiteX15" fmla="*/ 53340 w 155257"/>
                  <a:gd name="connsiteY15" fmla="*/ 80963 h 240030"/>
                  <a:gd name="connsiteX16" fmla="*/ 49530 w 155257"/>
                  <a:gd name="connsiteY16" fmla="*/ 109538 h 240030"/>
                  <a:gd name="connsiteX17" fmla="*/ 49530 w 155257"/>
                  <a:gd name="connsiteY17" fmla="*/ 140875 h 240030"/>
                  <a:gd name="connsiteX18" fmla="*/ 39052 w 155257"/>
                  <a:gd name="connsiteY18" fmla="*/ 147638 h 240030"/>
                  <a:gd name="connsiteX19" fmla="*/ 24765 w 155257"/>
                  <a:gd name="connsiteY19" fmla="*/ 159068 h 240030"/>
                  <a:gd name="connsiteX20" fmla="*/ 35243 w 155257"/>
                  <a:gd name="connsiteY20" fmla="*/ 172403 h 240030"/>
                  <a:gd name="connsiteX21" fmla="*/ 53340 w 155257"/>
                  <a:gd name="connsiteY21" fmla="*/ 176213 h 240030"/>
                  <a:gd name="connsiteX22" fmla="*/ 63818 w 155257"/>
                  <a:gd name="connsiteY22" fmla="*/ 190500 h 240030"/>
                  <a:gd name="connsiteX23" fmla="*/ 63818 w 155257"/>
                  <a:gd name="connsiteY23" fmla="*/ 204788 h 240030"/>
                  <a:gd name="connsiteX24" fmla="*/ 53340 w 155257"/>
                  <a:gd name="connsiteY24" fmla="*/ 215265 h 240030"/>
                  <a:gd name="connsiteX25" fmla="*/ 57150 w 155257"/>
                  <a:gd name="connsiteY25" fmla="*/ 236125 h 240030"/>
                  <a:gd name="connsiteX26" fmla="*/ 70485 w 155257"/>
                  <a:gd name="connsiteY26" fmla="*/ 240030 h 240030"/>
                  <a:gd name="connsiteX27" fmla="*/ 88582 w 155257"/>
                  <a:gd name="connsiteY27" fmla="*/ 221837 h 240030"/>
                  <a:gd name="connsiteX28" fmla="*/ 102870 w 155257"/>
                  <a:gd name="connsiteY28" fmla="*/ 200978 h 240030"/>
                  <a:gd name="connsiteX29" fmla="*/ 113348 w 155257"/>
                  <a:gd name="connsiteY29" fmla="*/ 186690 h 240030"/>
                  <a:gd name="connsiteX30" fmla="*/ 113348 w 155257"/>
                  <a:gd name="connsiteY30" fmla="*/ 172403 h 240030"/>
                  <a:gd name="connsiteX31" fmla="*/ 113348 w 155257"/>
                  <a:gd name="connsiteY31" fmla="*/ 159068 h 240030"/>
                  <a:gd name="connsiteX32" fmla="*/ 140970 w 155257"/>
                  <a:gd name="connsiteY32" fmla="*/ 155162 h 240030"/>
                  <a:gd name="connsiteX33" fmla="*/ 140970 w 155257"/>
                  <a:gd name="connsiteY33" fmla="*/ 140875 h 240030"/>
                  <a:gd name="connsiteX34" fmla="*/ 155257 w 155257"/>
                  <a:gd name="connsiteY34" fmla="*/ 130493 h 240030"/>
                  <a:gd name="connsiteX35" fmla="*/ 155257 w 155257"/>
                  <a:gd name="connsiteY35" fmla="*/ 109538 h 240030"/>
                  <a:gd name="connsiteX36" fmla="*/ 144780 w 155257"/>
                  <a:gd name="connsiteY36" fmla="*/ 105728 h 240030"/>
                  <a:gd name="connsiteX37" fmla="*/ 134302 w 155257"/>
                  <a:gd name="connsiteY37" fmla="*/ 116205 h 24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55257" h="240030">
                    <a:moveTo>
                      <a:pt x="134302" y="116205"/>
                    </a:moveTo>
                    <a:lnTo>
                      <a:pt x="113348" y="120015"/>
                    </a:lnTo>
                    <a:lnTo>
                      <a:pt x="92393" y="105728"/>
                    </a:lnTo>
                    <a:lnTo>
                      <a:pt x="80963" y="91440"/>
                    </a:lnTo>
                    <a:lnTo>
                      <a:pt x="78105" y="80963"/>
                    </a:lnTo>
                    <a:lnTo>
                      <a:pt x="67627" y="91440"/>
                    </a:lnTo>
                    <a:lnTo>
                      <a:pt x="60007" y="77153"/>
                    </a:lnTo>
                    <a:lnTo>
                      <a:pt x="49530" y="59912"/>
                    </a:lnTo>
                    <a:lnTo>
                      <a:pt x="53340" y="45625"/>
                    </a:lnTo>
                    <a:lnTo>
                      <a:pt x="39052" y="31337"/>
                    </a:lnTo>
                    <a:lnTo>
                      <a:pt x="18098" y="18002"/>
                    </a:lnTo>
                    <a:lnTo>
                      <a:pt x="0" y="0"/>
                    </a:lnTo>
                    <a:lnTo>
                      <a:pt x="3810" y="18002"/>
                    </a:lnTo>
                    <a:lnTo>
                      <a:pt x="14288" y="45625"/>
                    </a:lnTo>
                    <a:lnTo>
                      <a:pt x="35243" y="59912"/>
                    </a:lnTo>
                    <a:lnTo>
                      <a:pt x="53340" y="80963"/>
                    </a:lnTo>
                    <a:lnTo>
                      <a:pt x="49530" y="109538"/>
                    </a:lnTo>
                    <a:lnTo>
                      <a:pt x="49530" y="140875"/>
                    </a:lnTo>
                    <a:lnTo>
                      <a:pt x="39052" y="147638"/>
                    </a:lnTo>
                    <a:lnTo>
                      <a:pt x="24765" y="159068"/>
                    </a:lnTo>
                    <a:lnTo>
                      <a:pt x="35243" y="172403"/>
                    </a:lnTo>
                    <a:lnTo>
                      <a:pt x="53340" y="176213"/>
                    </a:lnTo>
                    <a:lnTo>
                      <a:pt x="63818" y="190500"/>
                    </a:lnTo>
                    <a:lnTo>
                      <a:pt x="63818" y="204788"/>
                    </a:lnTo>
                    <a:lnTo>
                      <a:pt x="53340" y="215265"/>
                    </a:lnTo>
                    <a:lnTo>
                      <a:pt x="57150" y="236125"/>
                    </a:lnTo>
                    <a:lnTo>
                      <a:pt x="70485" y="240030"/>
                    </a:lnTo>
                    <a:lnTo>
                      <a:pt x="88582" y="221837"/>
                    </a:lnTo>
                    <a:lnTo>
                      <a:pt x="102870" y="200978"/>
                    </a:lnTo>
                    <a:lnTo>
                      <a:pt x="113348" y="186690"/>
                    </a:lnTo>
                    <a:lnTo>
                      <a:pt x="113348" y="172403"/>
                    </a:lnTo>
                    <a:lnTo>
                      <a:pt x="113348" y="159068"/>
                    </a:lnTo>
                    <a:lnTo>
                      <a:pt x="140970" y="155162"/>
                    </a:lnTo>
                    <a:lnTo>
                      <a:pt x="140970" y="140875"/>
                    </a:lnTo>
                    <a:lnTo>
                      <a:pt x="155257" y="130493"/>
                    </a:lnTo>
                    <a:lnTo>
                      <a:pt x="155257" y="109538"/>
                    </a:lnTo>
                    <a:lnTo>
                      <a:pt x="144780" y="105728"/>
                    </a:lnTo>
                    <a:lnTo>
                      <a:pt x="134302" y="1162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8" name="Freeform: Shape 497">
                <a:extLst>
                  <a:ext uri="{FF2B5EF4-FFF2-40B4-BE49-F238E27FC236}">
                    <a16:creationId xmlns:a16="http://schemas.microsoft.com/office/drawing/2014/main" id="{5D3012FE-DDFB-5ACA-1DD2-765E9E8B2DBF}"/>
                  </a:ext>
                </a:extLst>
              </p:cNvPr>
              <p:cNvSpPr/>
              <p:nvPr/>
            </p:nvSpPr>
            <p:spPr>
              <a:xfrm>
                <a:off x="10562565" y="5726777"/>
                <a:ext cx="210087" cy="199725"/>
              </a:xfrm>
              <a:custGeom>
                <a:avLst/>
                <a:gdLst>
                  <a:gd name="connsiteX0" fmla="*/ 186690 w 214312"/>
                  <a:gd name="connsiteY0" fmla="*/ 17050 h 203739"/>
                  <a:gd name="connsiteX1" fmla="*/ 175260 w 214312"/>
                  <a:gd name="connsiteY1" fmla="*/ 2762 h 203739"/>
                  <a:gd name="connsiteX2" fmla="*/ 161925 w 214312"/>
                  <a:gd name="connsiteY2" fmla="*/ 0 h 203739"/>
                  <a:gd name="connsiteX3" fmla="*/ 154305 w 214312"/>
                  <a:gd name="connsiteY3" fmla="*/ 17050 h 203739"/>
                  <a:gd name="connsiteX4" fmla="*/ 154305 w 214312"/>
                  <a:gd name="connsiteY4" fmla="*/ 35243 h 203739"/>
                  <a:gd name="connsiteX5" fmla="*/ 137160 w 214312"/>
                  <a:gd name="connsiteY5" fmla="*/ 45625 h 203739"/>
                  <a:gd name="connsiteX6" fmla="*/ 126683 w 214312"/>
                  <a:gd name="connsiteY6" fmla="*/ 62865 h 203739"/>
                  <a:gd name="connsiteX7" fmla="*/ 104775 w 214312"/>
                  <a:gd name="connsiteY7" fmla="*/ 91440 h 203739"/>
                  <a:gd name="connsiteX8" fmla="*/ 83820 w 214312"/>
                  <a:gd name="connsiteY8" fmla="*/ 91440 h 203739"/>
                  <a:gd name="connsiteX9" fmla="*/ 66675 w 214312"/>
                  <a:gd name="connsiteY9" fmla="*/ 112300 h 203739"/>
                  <a:gd name="connsiteX10" fmla="*/ 52388 w 214312"/>
                  <a:gd name="connsiteY10" fmla="*/ 112300 h 203739"/>
                  <a:gd name="connsiteX11" fmla="*/ 23813 w 214312"/>
                  <a:gd name="connsiteY11" fmla="*/ 140875 h 203739"/>
                  <a:gd name="connsiteX12" fmla="*/ 6668 w 214312"/>
                  <a:gd name="connsiteY12" fmla="*/ 161925 h 203739"/>
                  <a:gd name="connsiteX13" fmla="*/ 0 w 214312"/>
                  <a:gd name="connsiteY13" fmla="*/ 186690 h 203739"/>
                  <a:gd name="connsiteX14" fmla="*/ 27623 w 214312"/>
                  <a:gd name="connsiteY14" fmla="*/ 190500 h 203739"/>
                  <a:gd name="connsiteX15" fmla="*/ 38100 w 214312"/>
                  <a:gd name="connsiteY15" fmla="*/ 193262 h 203739"/>
                  <a:gd name="connsiteX16" fmla="*/ 52388 w 214312"/>
                  <a:gd name="connsiteY16" fmla="*/ 203740 h 203739"/>
                  <a:gd name="connsiteX17" fmla="*/ 83820 w 214312"/>
                  <a:gd name="connsiteY17" fmla="*/ 200978 h 203739"/>
                  <a:gd name="connsiteX18" fmla="*/ 101918 w 214312"/>
                  <a:gd name="connsiteY18" fmla="*/ 182880 h 203739"/>
                  <a:gd name="connsiteX19" fmla="*/ 122873 w 214312"/>
                  <a:gd name="connsiteY19" fmla="*/ 158115 h 203739"/>
                  <a:gd name="connsiteX20" fmla="*/ 129540 w 214312"/>
                  <a:gd name="connsiteY20" fmla="*/ 130493 h 203739"/>
                  <a:gd name="connsiteX21" fmla="*/ 140018 w 214312"/>
                  <a:gd name="connsiteY21" fmla="*/ 116205 h 203739"/>
                  <a:gd name="connsiteX22" fmla="*/ 158115 w 214312"/>
                  <a:gd name="connsiteY22" fmla="*/ 108490 h 203739"/>
                  <a:gd name="connsiteX23" fmla="*/ 175260 w 214312"/>
                  <a:gd name="connsiteY23" fmla="*/ 105728 h 203739"/>
                  <a:gd name="connsiteX24" fmla="*/ 175260 w 214312"/>
                  <a:gd name="connsiteY24" fmla="*/ 80963 h 203739"/>
                  <a:gd name="connsiteX25" fmla="*/ 193358 w 214312"/>
                  <a:gd name="connsiteY25" fmla="*/ 66675 h 203739"/>
                  <a:gd name="connsiteX26" fmla="*/ 203835 w 214312"/>
                  <a:gd name="connsiteY26" fmla="*/ 52388 h 203739"/>
                  <a:gd name="connsiteX27" fmla="*/ 214313 w 214312"/>
                  <a:gd name="connsiteY27" fmla="*/ 35243 h 203739"/>
                  <a:gd name="connsiteX28" fmla="*/ 214313 w 214312"/>
                  <a:gd name="connsiteY28" fmla="*/ 17050 h 203739"/>
                  <a:gd name="connsiteX29" fmla="*/ 203835 w 214312"/>
                  <a:gd name="connsiteY29" fmla="*/ 17050 h 203739"/>
                  <a:gd name="connsiteX30" fmla="*/ 186690 w 214312"/>
                  <a:gd name="connsiteY30" fmla="*/ 17050 h 203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14312" h="203739">
                    <a:moveTo>
                      <a:pt x="186690" y="17050"/>
                    </a:moveTo>
                    <a:lnTo>
                      <a:pt x="175260" y="2762"/>
                    </a:lnTo>
                    <a:lnTo>
                      <a:pt x="161925" y="0"/>
                    </a:lnTo>
                    <a:lnTo>
                      <a:pt x="154305" y="17050"/>
                    </a:lnTo>
                    <a:lnTo>
                      <a:pt x="154305" y="35243"/>
                    </a:lnTo>
                    <a:lnTo>
                      <a:pt x="137160" y="45625"/>
                    </a:lnTo>
                    <a:lnTo>
                      <a:pt x="126683" y="62865"/>
                    </a:lnTo>
                    <a:lnTo>
                      <a:pt x="104775" y="91440"/>
                    </a:lnTo>
                    <a:lnTo>
                      <a:pt x="83820" y="91440"/>
                    </a:lnTo>
                    <a:lnTo>
                      <a:pt x="66675" y="112300"/>
                    </a:lnTo>
                    <a:lnTo>
                      <a:pt x="52388" y="112300"/>
                    </a:lnTo>
                    <a:lnTo>
                      <a:pt x="23813" y="140875"/>
                    </a:lnTo>
                    <a:lnTo>
                      <a:pt x="6668" y="161925"/>
                    </a:lnTo>
                    <a:lnTo>
                      <a:pt x="0" y="186690"/>
                    </a:lnTo>
                    <a:lnTo>
                      <a:pt x="27623" y="190500"/>
                    </a:lnTo>
                    <a:lnTo>
                      <a:pt x="38100" y="193262"/>
                    </a:lnTo>
                    <a:lnTo>
                      <a:pt x="52388" y="203740"/>
                    </a:lnTo>
                    <a:lnTo>
                      <a:pt x="83820" y="200978"/>
                    </a:lnTo>
                    <a:lnTo>
                      <a:pt x="101918" y="182880"/>
                    </a:lnTo>
                    <a:lnTo>
                      <a:pt x="122873" y="158115"/>
                    </a:lnTo>
                    <a:lnTo>
                      <a:pt x="129540" y="130493"/>
                    </a:lnTo>
                    <a:lnTo>
                      <a:pt x="140018" y="116205"/>
                    </a:lnTo>
                    <a:lnTo>
                      <a:pt x="158115" y="108490"/>
                    </a:lnTo>
                    <a:lnTo>
                      <a:pt x="175260" y="105728"/>
                    </a:lnTo>
                    <a:lnTo>
                      <a:pt x="175260" y="80963"/>
                    </a:lnTo>
                    <a:lnTo>
                      <a:pt x="193358" y="66675"/>
                    </a:lnTo>
                    <a:lnTo>
                      <a:pt x="203835" y="52388"/>
                    </a:lnTo>
                    <a:lnTo>
                      <a:pt x="214313" y="35243"/>
                    </a:lnTo>
                    <a:lnTo>
                      <a:pt x="214313" y="17050"/>
                    </a:lnTo>
                    <a:lnTo>
                      <a:pt x="203835" y="17050"/>
                    </a:lnTo>
                    <a:lnTo>
                      <a:pt x="186690" y="1705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9" name="Freeform: Shape 498">
                <a:extLst>
                  <a:ext uri="{FF2B5EF4-FFF2-40B4-BE49-F238E27FC236}">
                    <a16:creationId xmlns:a16="http://schemas.microsoft.com/office/drawing/2014/main" id="{CE2B27C4-DD0D-C478-B2E7-DE340E72DBF3}"/>
                  </a:ext>
                </a:extLst>
              </p:cNvPr>
              <p:cNvSpPr/>
              <p:nvPr/>
            </p:nvSpPr>
            <p:spPr>
              <a:xfrm>
                <a:off x="7379499" y="3804222"/>
                <a:ext cx="13071" cy="21382"/>
              </a:xfrm>
              <a:custGeom>
                <a:avLst/>
                <a:gdLst>
                  <a:gd name="connsiteX0" fmla="*/ 0 w 13334"/>
                  <a:gd name="connsiteY0" fmla="*/ 0 h 21812"/>
                  <a:gd name="connsiteX1" fmla="*/ 6668 w 13334"/>
                  <a:gd name="connsiteY1" fmla="*/ 21812 h 21812"/>
                  <a:gd name="connsiteX2" fmla="*/ 13335 w 13334"/>
                  <a:gd name="connsiteY2" fmla="*/ 3810 h 21812"/>
                  <a:gd name="connsiteX3" fmla="*/ 0 w 13334"/>
                  <a:gd name="connsiteY3" fmla="*/ 0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4" h="21812">
                    <a:moveTo>
                      <a:pt x="0" y="0"/>
                    </a:moveTo>
                    <a:lnTo>
                      <a:pt x="6668" y="21812"/>
                    </a:lnTo>
                    <a:lnTo>
                      <a:pt x="13335" y="38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0" name="Freeform: Shape 499">
                <a:extLst>
                  <a:ext uri="{FF2B5EF4-FFF2-40B4-BE49-F238E27FC236}">
                    <a16:creationId xmlns:a16="http://schemas.microsoft.com/office/drawing/2014/main" id="{457F6A28-8440-DECC-1EC6-086A00EA6FD1}"/>
                  </a:ext>
                </a:extLst>
              </p:cNvPr>
              <p:cNvSpPr/>
              <p:nvPr/>
            </p:nvSpPr>
            <p:spPr>
              <a:xfrm>
                <a:off x="5779095" y="2857325"/>
                <a:ext cx="65361" cy="41177"/>
              </a:xfrm>
              <a:custGeom>
                <a:avLst/>
                <a:gdLst>
                  <a:gd name="connsiteX0" fmla="*/ 27623 w 66675"/>
                  <a:gd name="connsiteY0" fmla="*/ 31528 h 42005"/>
                  <a:gd name="connsiteX1" fmla="*/ 38100 w 66675"/>
                  <a:gd name="connsiteY1" fmla="*/ 42005 h 42005"/>
                  <a:gd name="connsiteX2" fmla="*/ 60008 w 66675"/>
                  <a:gd name="connsiteY2" fmla="*/ 42005 h 42005"/>
                  <a:gd name="connsiteX3" fmla="*/ 66675 w 66675"/>
                  <a:gd name="connsiteY3" fmla="*/ 28575 h 42005"/>
                  <a:gd name="connsiteX4" fmla="*/ 60008 w 66675"/>
                  <a:gd name="connsiteY4" fmla="*/ 14288 h 42005"/>
                  <a:gd name="connsiteX5" fmla="*/ 52388 w 66675"/>
                  <a:gd name="connsiteY5" fmla="*/ 3905 h 42005"/>
                  <a:gd name="connsiteX6" fmla="*/ 20955 w 66675"/>
                  <a:gd name="connsiteY6" fmla="*/ 0 h 42005"/>
                  <a:gd name="connsiteX7" fmla="*/ 6668 w 66675"/>
                  <a:gd name="connsiteY7" fmla="*/ 14288 h 42005"/>
                  <a:gd name="connsiteX8" fmla="*/ 0 w 66675"/>
                  <a:gd name="connsiteY8" fmla="*/ 31528 h 42005"/>
                  <a:gd name="connsiteX9" fmla="*/ 14288 w 66675"/>
                  <a:gd name="connsiteY9" fmla="*/ 39148 h 42005"/>
                  <a:gd name="connsiteX10" fmla="*/ 27623 w 66675"/>
                  <a:gd name="connsiteY10" fmla="*/ 31528 h 42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6675" h="42005">
                    <a:moveTo>
                      <a:pt x="27623" y="31528"/>
                    </a:moveTo>
                    <a:lnTo>
                      <a:pt x="38100" y="42005"/>
                    </a:lnTo>
                    <a:lnTo>
                      <a:pt x="60008" y="42005"/>
                    </a:lnTo>
                    <a:lnTo>
                      <a:pt x="66675" y="28575"/>
                    </a:lnTo>
                    <a:lnTo>
                      <a:pt x="60008" y="14288"/>
                    </a:lnTo>
                    <a:lnTo>
                      <a:pt x="52388" y="3905"/>
                    </a:lnTo>
                    <a:lnTo>
                      <a:pt x="20955" y="0"/>
                    </a:lnTo>
                    <a:lnTo>
                      <a:pt x="6668" y="14288"/>
                    </a:lnTo>
                    <a:lnTo>
                      <a:pt x="0" y="31528"/>
                    </a:lnTo>
                    <a:lnTo>
                      <a:pt x="14288" y="39148"/>
                    </a:lnTo>
                    <a:lnTo>
                      <a:pt x="27623" y="3152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1" name="Freeform: Shape 500">
                <a:extLst>
                  <a:ext uri="{FF2B5EF4-FFF2-40B4-BE49-F238E27FC236}">
                    <a16:creationId xmlns:a16="http://schemas.microsoft.com/office/drawing/2014/main" id="{08A520C8-C635-D52B-D931-BB76E4E1C881}"/>
                  </a:ext>
                </a:extLst>
              </p:cNvPr>
              <p:cNvSpPr/>
              <p:nvPr/>
            </p:nvSpPr>
            <p:spPr>
              <a:xfrm>
                <a:off x="6238488" y="3296179"/>
                <a:ext cx="23343" cy="44912"/>
              </a:xfrm>
              <a:custGeom>
                <a:avLst/>
                <a:gdLst>
                  <a:gd name="connsiteX0" fmla="*/ 6668 w 23812"/>
                  <a:gd name="connsiteY0" fmla="*/ 3905 h 45815"/>
                  <a:gd name="connsiteX1" fmla="*/ 0 w 23812"/>
                  <a:gd name="connsiteY1" fmla="*/ 10573 h 45815"/>
                  <a:gd name="connsiteX2" fmla="*/ 0 w 23812"/>
                  <a:gd name="connsiteY2" fmla="*/ 24860 h 45815"/>
                  <a:gd name="connsiteX3" fmla="*/ 0 w 23812"/>
                  <a:gd name="connsiteY3" fmla="*/ 39148 h 45815"/>
                  <a:gd name="connsiteX4" fmla="*/ 10477 w 23812"/>
                  <a:gd name="connsiteY4" fmla="*/ 45815 h 45815"/>
                  <a:gd name="connsiteX5" fmla="*/ 17145 w 23812"/>
                  <a:gd name="connsiteY5" fmla="*/ 31528 h 45815"/>
                  <a:gd name="connsiteX6" fmla="*/ 13335 w 23812"/>
                  <a:gd name="connsiteY6" fmla="*/ 20955 h 45815"/>
                  <a:gd name="connsiteX7" fmla="*/ 23813 w 23812"/>
                  <a:gd name="connsiteY7" fmla="*/ 18193 h 45815"/>
                  <a:gd name="connsiteX8" fmla="*/ 17145 w 23812"/>
                  <a:gd name="connsiteY8" fmla="*/ 0 h 45815"/>
                  <a:gd name="connsiteX9" fmla="*/ 6668 w 23812"/>
                  <a:gd name="connsiteY9" fmla="*/ 3905 h 4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812" h="45815">
                    <a:moveTo>
                      <a:pt x="6668" y="3905"/>
                    </a:moveTo>
                    <a:lnTo>
                      <a:pt x="0" y="10573"/>
                    </a:lnTo>
                    <a:lnTo>
                      <a:pt x="0" y="24860"/>
                    </a:lnTo>
                    <a:lnTo>
                      <a:pt x="0" y="39148"/>
                    </a:lnTo>
                    <a:lnTo>
                      <a:pt x="10477" y="45815"/>
                    </a:lnTo>
                    <a:lnTo>
                      <a:pt x="17145" y="31528"/>
                    </a:lnTo>
                    <a:lnTo>
                      <a:pt x="13335" y="20955"/>
                    </a:lnTo>
                    <a:lnTo>
                      <a:pt x="23813" y="18193"/>
                    </a:lnTo>
                    <a:lnTo>
                      <a:pt x="17145" y="0"/>
                    </a:lnTo>
                    <a:lnTo>
                      <a:pt x="6668" y="390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2" name="Freeform: Shape 501">
                <a:extLst>
                  <a:ext uri="{FF2B5EF4-FFF2-40B4-BE49-F238E27FC236}">
                    <a16:creationId xmlns:a16="http://schemas.microsoft.com/office/drawing/2014/main" id="{FE12D4BA-D3A2-8D41-1F0E-F2C0CDA4C9A7}"/>
                  </a:ext>
                </a:extLst>
              </p:cNvPr>
              <p:cNvSpPr/>
              <p:nvPr/>
            </p:nvSpPr>
            <p:spPr>
              <a:xfrm>
                <a:off x="6227283" y="3355097"/>
                <a:ext cx="34547" cy="65361"/>
              </a:xfrm>
              <a:custGeom>
                <a:avLst/>
                <a:gdLst>
                  <a:gd name="connsiteX0" fmla="*/ 32385 w 35242"/>
                  <a:gd name="connsiteY0" fmla="*/ 3715 h 66675"/>
                  <a:gd name="connsiteX1" fmla="*/ 18098 w 35242"/>
                  <a:gd name="connsiteY1" fmla="*/ 0 h 66675"/>
                  <a:gd name="connsiteX2" fmla="*/ 14288 w 35242"/>
                  <a:gd name="connsiteY2" fmla="*/ 6572 h 66675"/>
                  <a:gd name="connsiteX3" fmla="*/ 3810 w 35242"/>
                  <a:gd name="connsiteY3" fmla="*/ 6572 h 66675"/>
                  <a:gd name="connsiteX4" fmla="*/ 0 w 35242"/>
                  <a:gd name="connsiteY4" fmla="*/ 20860 h 66675"/>
                  <a:gd name="connsiteX5" fmla="*/ 7620 w 35242"/>
                  <a:gd name="connsiteY5" fmla="*/ 28575 h 66675"/>
                  <a:gd name="connsiteX6" fmla="*/ 7620 w 35242"/>
                  <a:gd name="connsiteY6" fmla="*/ 45720 h 66675"/>
                  <a:gd name="connsiteX7" fmla="*/ 7620 w 35242"/>
                  <a:gd name="connsiteY7" fmla="*/ 63722 h 66675"/>
                  <a:gd name="connsiteX8" fmla="*/ 18098 w 35242"/>
                  <a:gd name="connsiteY8" fmla="*/ 66675 h 66675"/>
                  <a:gd name="connsiteX9" fmla="*/ 24765 w 35242"/>
                  <a:gd name="connsiteY9" fmla="*/ 60008 h 66675"/>
                  <a:gd name="connsiteX10" fmla="*/ 35243 w 35242"/>
                  <a:gd name="connsiteY10" fmla="*/ 49435 h 66675"/>
                  <a:gd name="connsiteX11" fmla="*/ 32385 w 35242"/>
                  <a:gd name="connsiteY11" fmla="*/ 24765 h 66675"/>
                  <a:gd name="connsiteX12" fmla="*/ 35243 w 35242"/>
                  <a:gd name="connsiteY12" fmla="*/ 10477 h 66675"/>
                  <a:gd name="connsiteX13" fmla="*/ 32385 w 35242"/>
                  <a:gd name="connsiteY13" fmla="*/ 371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5242" h="66675">
                    <a:moveTo>
                      <a:pt x="32385" y="3715"/>
                    </a:moveTo>
                    <a:lnTo>
                      <a:pt x="18098" y="0"/>
                    </a:lnTo>
                    <a:lnTo>
                      <a:pt x="14288" y="6572"/>
                    </a:lnTo>
                    <a:lnTo>
                      <a:pt x="3810" y="6572"/>
                    </a:lnTo>
                    <a:lnTo>
                      <a:pt x="0" y="20860"/>
                    </a:lnTo>
                    <a:lnTo>
                      <a:pt x="7620" y="28575"/>
                    </a:lnTo>
                    <a:lnTo>
                      <a:pt x="7620" y="45720"/>
                    </a:lnTo>
                    <a:lnTo>
                      <a:pt x="7620" y="63722"/>
                    </a:lnTo>
                    <a:lnTo>
                      <a:pt x="18098" y="66675"/>
                    </a:lnTo>
                    <a:lnTo>
                      <a:pt x="24765" y="60008"/>
                    </a:lnTo>
                    <a:lnTo>
                      <a:pt x="35243" y="49435"/>
                    </a:lnTo>
                    <a:lnTo>
                      <a:pt x="32385" y="24765"/>
                    </a:lnTo>
                    <a:lnTo>
                      <a:pt x="35243" y="10477"/>
                    </a:lnTo>
                    <a:lnTo>
                      <a:pt x="32385" y="3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3" name="Freeform: Shape 502">
                <a:extLst>
                  <a:ext uri="{FF2B5EF4-FFF2-40B4-BE49-F238E27FC236}">
                    <a16:creationId xmlns:a16="http://schemas.microsoft.com/office/drawing/2014/main" id="{94788E7D-B041-58A2-3C98-B26E8C3E2A94}"/>
                  </a:ext>
                </a:extLst>
              </p:cNvPr>
              <p:cNvSpPr/>
              <p:nvPr/>
            </p:nvSpPr>
            <p:spPr>
              <a:xfrm>
                <a:off x="6346800" y="3452112"/>
                <a:ext cx="72831" cy="41177"/>
              </a:xfrm>
              <a:custGeom>
                <a:avLst/>
                <a:gdLst>
                  <a:gd name="connsiteX0" fmla="*/ 28575 w 74295"/>
                  <a:gd name="connsiteY0" fmla="*/ 0 h 42005"/>
                  <a:gd name="connsiteX1" fmla="*/ 3810 w 74295"/>
                  <a:gd name="connsiteY1" fmla="*/ 0 h 42005"/>
                  <a:gd name="connsiteX2" fmla="*/ 0 w 74295"/>
                  <a:gd name="connsiteY2" fmla="*/ 14288 h 42005"/>
                  <a:gd name="connsiteX3" fmla="*/ 18098 w 74295"/>
                  <a:gd name="connsiteY3" fmla="*/ 17145 h 42005"/>
                  <a:gd name="connsiteX4" fmla="*/ 28575 w 74295"/>
                  <a:gd name="connsiteY4" fmla="*/ 27718 h 42005"/>
                  <a:gd name="connsiteX5" fmla="*/ 45720 w 74295"/>
                  <a:gd name="connsiteY5" fmla="*/ 27718 h 42005"/>
                  <a:gd name="connsiteX6" fmla="*/ 60008 w 74295"/>
                  <a:gd name="connsiteY6" fmla="*/ 42005 h 42005"/>
                  <a:gd name="connsiteX7" fmla="*/ 66675 w 74295"/>
                  <a:gd name="connsiteY7" fmla="*/ 31433 h 42005"/>
                  <a:gd name="connsiteX8" fmla="*/ 63818 w 74295"/>
                  <a:gd name="connsiteY8" fmla="*/ 17145 h 42005"/>
                  <a:gd name="connsiteX9" fmla="*/ 74295 w 74295"/>
                  <a:gd name="connsiteY9" fmla="*/ 6763 h 42005"/>
                  <a:gd name="connsiteX10" fmla="*/ 74295 w 74295"/>
                  <a:gd name="connsiteY10" fmla="*/ 0 h 42005"/>
                  <a:gd name="connsiteX11" fmla="*/ 45720 w 74295"/>
                  <a:gd name="connsiteY11" fmla="*/ 0 h 42005"/>
                  <a:gd name="connsiteX12" fmla="*/ 28575 w 74295"/>
                  <a:gd name="connsiteY12" fmla="*/ 0 h 42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4295" h="42005">
                    <a:moveTo>
                      <a:pt x="28575" y="0"/>
                    </a:moveTo>
                    <a:lnTo>
                      <a:pt x="3810" y="0"/>
                    </a:lnTo>
                    <a:lnTo>
                      <a:pt x="0" y="14288"/>
                    </a:lnTo>
                    <a:lnTo>
                      <a:pt x="18098" y="17145"/>
                    </a:lnTo>
                    <a:lnTo>
                      <a:pt x="28575" y="27718"/>
                    </a:lnTo>
                    <a:lnTo>
                      <a:pt x="45720" y="27718"/>
                    </a:lnTo>
                    <a:lnTo>
                      <a:pt x="60008" y="42005"/>
                    </a:lnTo>
                    <a:lnTo>
                      <a:pt x="66675" y="31433"/>
                    </a:lnTo>
                    <a:lnTo>
                      <a:pt x="63818" y="17145"/>
                    </a:lnTo>
                    <a:lnTo>
                      <a:pt x="74295" y="6763"/>
                    </a:lnTo>
                    <a:lnTo>
                      <a:pt x="74295" y="0"/>
                    </a:lnTo>
                    <a:lnTo>
                      <a:pt x="45720" y="0"/>
                    </a:lnTo>
                    <a:lnTo>
                      <a:pt x="2857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4" name="Freeform: Shape 503">
                <a:extLst>
                  <a:ext uri="{FF2B5EF4-FFF2-40B4-BE49-F238E27FC236}">
                    <a16:creationId xmlns:a16="http://schemas.microsoft.com/office/drawing/2014/main" id="{1526B1A7-ED10-74C8-F2B9-95C2E7346BD1}"/>
                  </a:ext>
                </a:extLst>
              </p:cNvPr>
              <p:cNvSpPr/>
              <p:nvPr/>
            </p:nvSpPr>
            <p:spPr>
              <a:xfrm>
                <a:off x="9961247" y="5726777"/>
                <a:ext cx="99908" cy="99909"/>
              </a:xfrm>
              <a:custGeom>
                <a:avLst/>
                <a:gdLst>
                  <a:gd name="connsiteX0" fmla="*/ 70485 w 101917"/>
                  <a:gd name="connsiteY0" fmla="*/ 17050 h 101917"/>
                  <a:gd name="connsiteX1" fmla="*/ 45720 w 101917"/>
                  <a:gd name="connsiteY1" fmla="*/ 20955 h 101917"/>
                  <a:gd name="connsiteX2" fmla="*/ 20955 w 101917"/>
                  <a:gd name="connsiteY2" fmla="*/ 10478 h 101917"/>
                  <a:gd name="connsiteX3" fmla="*/ 3810 w 101917"/>
                  <a:gd name="connsiteY3" fmla="*/ 0 h 101917"/>
                  <a:gd name="connsiteX4" fmla="*/ 0 w 101917"/>
                  <a:gd name="connsiteY4" fmla="*/ 20955 h 101917"/>
                  <a:gd name="connsiteX5" fmla="*/ 14288 w 101917"/>
                  <a:gd name="connsiteY5" fmla="*/ 31337 h 101917"/>
                  <a:gd name="connsiteX6" fmla="*/ 20955 w 101917"/>
                  <a:gd name="connsiteY6" fmla="*/ 45625 h 101917"/>
                  <a:gd name="connsiteX7" fmla="*/ 18097 w 101917"/>
                  <a:gd name="connsiteY7" fmla="*/ 70390 h 101917"/>
                  <a:gd name="connsiteX8" fmla="*/ 28575 w 101917"/>
                  <a:gd name="connsiteY8" fmla="*/ 84677 h 101917"/>
                  <a:gd name="connsiteX9" fmla="*/ 42863 w 101917"/>
                  <a:gd name="connsiteY9" fmla="*/ 98012 h 101917"/>
                  <a:gd name="connsiteX10" fmla="*/ 56197 w 101917"/>
                  <a:gd name="connsiteY10" fmla="*/ 101918 h 101917"/>
                  <a:gd name="connsiteX11" fmla="*/ 70485 w 101917"/>
                  <a:gd name="connsiteY11" fmla="*/ 87630 h 101917"/>
                  <a:gd name="connsiteX12" fmla="*/ 74295 w 101917"/>
                  <a:gd name="connsiteY12" fmla="*/ 80963 h 101917"/>
                  <a:gd name="connsiteX13" fmla="*/ 84772 w 101917"/>
                  <a:gd name="connsiteY13" fmla="*/ 80963 h 101917"/>
                  <a:gd name="connsiteX14" fmla="*/ 91440 w 101917"/>
                  <a:gd name="connsiteY14" fmla="*/ 73343 h 101917"/>
                  <a:gd name="connsiteX15" fmla="*/ 95250 w 101917"/>
                  <a:gd name="connsiteY15" fmla="*/ 59912 h 101917"/>
                  <a:gd name="connsiteX16" fmla="*/ 101918 w 101917"/>
                  <a:gd name="connsiteY16" fmla="*/ 45625 h 101917"/>
                  <a:gd name="connsiteX17" fmla="*/ 101918 w 101917"/>
                  <a:gd name="connsiteY17" fmla="*/ 17050 h 101917"/>
                  <a:gd name="connsiteX18" fmla="*/ 91440 w 101917"/>
                  <a:gd name="connsiteY18" fmla="*/ 14288 h 101917"/>
                  <a:gd name="connsiteX19" fmla="*/ 70485 w 101917"/>
                  <a:gd name="connsiteY19" fmla="*/ 17050 h 101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1917" h="101917">
                    <a:moveTo>
                      <a:pt x="70485" y="17050"/>
                    </a:moveTo>
                    <a:lnTo>
                      <a:pt x="45720" y="20955"/>
                    </a:lnTo>
                    <a:lnTo>
                      <a:pt x="20955" y="10478"/>
                    </a:lnTo>
                    <a:lnTo>
                      <a:pt x="3810" y="0"/>
                    </a:lnTo>
                    <a:lnTo>
                      <a:pt x="0" y="20955"/>
                    </a:lnTo>
                    <a:lnTo>
                      <a:pt x="14288" y="31337"/>
                    </a:lnTo>
                    <a:lnTo>
                      <a:pt x="20955" y="45625"/>
                    </a:lnTo>
                    <a:lnTo>
                      <a:pt x="18097" y="70390"/>
                    </a:lnTo>
                    <a:lnTo>
                      <a:pt x="28575" y="84677"/>
                    </a:lnTo>
                    <a:lnTo>
                      <a:pt x="42863" y="98012"/>
                    </a:lnTo>
                    <a:lnTo>
                      <a:pt x="56197" y="101918"/>
                    </a:lnTo>
                    <a:lnTo>
                      <a:pt x="70485" y="87630"/>
                    </a:lnTo>
                    <a:lnTo>
                      <a:pt x="74295" y="80963"/>
                    </a:lnTo>
                    <a:lnTo>
                      <a:pt x="84772" y="80963"/>
                    </a:lnTo>
                    <a:lnTo>
                      <a:pt x="91440" y="73343"/>
                    </a:lnTo>
                    <a:lnTo>
                      <a:pt x="95250" y="59912"/>
                    </a:lnTo>
                    <a:lnTo>
                      <a:pt x="101918" y="45625"/>
                    </a:lnTo>
                    <a:lnTo>
                      <a:pt x="101918" y="17050"/>
                    </a:lnTo>
                    <a:lnTo>
                      <a:pt x="91440" y="14288"/>
                    </a:lnTo>
                    <a:lnTo>
                      <a:pt x="70485" y="170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5" name="Freeform: Shape 504">
                <a:extLst>
                  <a:ext uri="{FF2B5EF4-FFF2-40B4-BE49-F238E27FC236}">
                    <a16:creationId xmlns:a16="http://schemas.microsoft.com/office/drawing/2014/main" id="{D552D221-67D0-337A-C41C-F91979E87666}"/>
                  </a:ext>
                </a:extLst>
              </p:cNvPr>
              <p:cNvSpPr/>
              <p:nvPr/>
            </p:nvSpPr>
            <p:spPr>
              <a:xfrm>
                <a:off x="8974300" y="3990968"/>
                <a:ext cx="65361" cy="52289"/>
              </a:xfrm>
              <a:custGeom>
                <a:avLst/>
                <a:gdLst>
                  <a:gd name="connsiteX0" fmla="*/ 35243 w 66675"/>
                  <a:gd name="connsiteY0" fmla="*/ 0 h 53340"/>
                  <a:gd name="connsiteX1" fmla="*/ 17145 w 66675"/>
                  <a:gd name="connsiteY1" fmla="*/ 10478 h 53340"/>
                  <a:gd name="connsiteX2" fmla="*/ 0 w 66675"/>
                  <a:gd name="connsiteY2" fmla="*/ 18097 h 53340"/>
                  <a:gd name="connsiteX3" fmla="*/ 0 w 66675"/>
                  <a:gd name="connsiteY3" fmla="*/ 35147 h 53340"/>
                  <a:gd name="connsiteX4" fmla="*/ 10477 w 66675"/>
                  <a:gd name="connsiteY4" fmla="*/ 49435 h 53340"/>
                  <a:gd name="connsiteX5" fmla="*/ 27623 w 66675"/>
                  <a:gd name="connsiteY5" fmla="*/ 53340 h 53340"/>
                  <a:gd name="connsiteX6" fmla="*/ 38100 w 66675"/>
                  <a:gd name="connsiteY6" fmla="*/ 45625 h 53340"/>
                  <a:gd name="connsiteX7" fmla="*/ 52388 w 66675"/>
                  <a:gd name="connsiteY7" fmla="*/ 42863 h 53340"/>
                  <a:gd name="connsiteX8" fmla="*/ 52388 w 66675"/>
                  <a:gd name="connsiteY8" fmla="*/ 24765 h 53340"/>
                  <a:gd name="connsiteX9" fmla="*/ 60007 w 66675"/>
                  <a:gd name="connsiteY9" fmla="*/ 14288 h 53340"/>
                  <a:gd name="connsiteX10" fmla="*/ 66675 w 66675"/>
                  <a:gd name="connsiteY10" fmla="*/ 3810 h 53340"/>
                  <a:gd name="connsiteX11" fmla="*/ 52388 w 66675"/>
                  <a:gd name="connsiteY11" fmla="*/ 0 h 53340"/>
                  <a:gd name="connsiteX12" fmla="*/ 35243 w 66675"/>
                  <a:gd name="connsiteY12" fmla="*/ 0 h 53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6675" h="53340">
                    <a:moveTo>
                      <a:pt x="35243" y="0"/>
                    </a:moveTo>
                    <a:lnTo>
                      <a:pt x="17145" y="10478"/>
                    </a:lnTo>
                    <a:lnTo>
                      <a:pt x="0" y="18097"/>
                    </a:lnTo>
                    <a:lnTo>
                      <a:pt x="0" y="35147"/>
                    </a:lnTo>
                    <a:lnTo>
                      <a:pt x="10477" y="49435"/>
                    </a:lnTo>
                    <a:lnTo>
                      <a:pt x="27623" y="53340"/>
                    </a:lnTo>
                    <a:lnTo>
                      <a:pt x="38100" y="45625"/>
                    </a:lnTo>
                    <a:lnTo>
                      <a:pt x="52388" y="42863"/>
                    </a:lnTo>
                    <a:lnTo>
                      <a:pt x="52388" y="24765"/>
                    </a:lnTo>
                    <a:lnTo>
                      <a:pt x="60007" y="14288"/>
                    </a:lnTo>
                    <a:lnTo>
                      <a:pt x="66675" y="3810"/>
                    </a:lnTo>
                    <a:lnTo>
                      <a:pt x="52388" y="0"/>
                    </a:lnTo>
                    <a:lnTo>
                      <a:pt x="3524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6" name="Freeform: Shape 505">
                <a:extLst>
                  <a:ext uri="{FF2B5EF4-FFF2-40B4-BE49-F238E27FC236}">
                    <a16:creationId xmlns:a16="http://schemas.microsoft.com/office/drawing/2014/main" id="{27FFAABE-511D-56D0-6DD9-9A62A162C442}"/>
                  </a:ext>
                </a:extLst>
              </p:cNvPr>
              <p:cNvSpPr/>
              <p:nvPr/>
            </p:nvSpPr>
            <p:spPr>
              <a:xfrm>
                <a:off x="6564358" y="3109432"/>
                <a:ext cx="244635" cy="155933"/>
              </a:xfrm>
              <a:custGeom>
                <a:avLst/>
                <a:gdLst>
                  <a:gd name="connsiteX0" fmla="*/ 211455 w 249554"/>
                  <a:gd name="connsiteY0" fmla="*/ 49530 h 159067"/>
                  <a:gd name="connsiteX1" fmla="*/ 190500 w 249554"/>
                  <a:gd name="connsiteY1" fmla="*/ 28575 h 159067"/>
                  <a:gd name="connsiteX2" fmla="*/ 186690 w 249554"/>
                  <a:gd name="connsiteY2" fmla="*/ 18193 h 159067"/>
                  <a:gd name="connsiteX3" fmla="*/ 180022 w 249554"/>
                  <a:gd name="connsiteY3" fmla="*/ 0 h 159067"/>
                  <a:gd name="connsiteX4" fmla="*/ 158115 w 249554"/>
                  <a:gd name="connsiteY4" fmla="*/ 0 h 159067"/>
                  <a:gd name="connsiteX5" fmla="*/ 151447 w 249554"/>
                  <a:gd name="connsiteY5" fmla="*/ 14288 h 159067"/>
                  <a:gd name="connsiteX6" fmla="*/ 116205 w 249554"/>
                  <a:gd name="connsiteY6" fmla="*/ 14288 h 159067"/>
                  <a:gd name="connsiteX7" fmla="*/ 95250 w 249554"/>
                  <a:gd name="connsiteY7" fmla="*/ 3905 h 159067"/>
                  <a:gd name="connsiteX8" fmla="*/ 80963 w 249554"/>
                  <a:gd name="connsiteY8" fmla="*/ 7715 h 159067"/>
                  <a:gd name="connsiteX9" fmla="*/ 56197 w 249554"/>
                  <a:gd name="connsiteY9" fmla="*/ 18193 h 159067"/>
                  <a:gd name="connsiteX10" fmla="*/ 41910 w 249554"/>
                  <a:gd name="connsiteY10" fmla="*/ 28575 h 159067"/>
                  <a:gd name="connsiteX11" fmla="*/ 24765 w 249554"/>
                  <a:gd name="connsiteY11" fmla="*/ 53435 h 159067"/>
                  <a:gd name="connsiteX12" fmla="*/ 0 w 249554"/>
                  <a:gd name="connsiteY12" fmla="*/ 78105 h 159067"/>
                  <a:gd name="connsiteX13" fmla="*/ 3810 w 249554"/>
                  <a:gd name="connsiteY13" fmla="*/ 91535 h 159067"/>
                  <a:gd name="connsiteX14" fmla="*/ 14288 w 249554"/>
                  <a:gd name="connsiteY14" fmla="*/ 105823 h 159067"/>
                  <a:gd name="connsiteX15" fmla="*/ 28575 w 249554"/>
                  <a:gd name="connsiteY15" fmla="*/ 126778 h 159067"/>
                  <a:gd name="connsiteX16" fmla="*/ 56197 w 249554"/>
                  <a:gd name="connsiteY16" fmla="*/ 130492 h 159067"/>
                  <a:gd name="connsiteX17" fmla="*/ 56197 w 249554"/>
                  <a:gd name="connsiteY17" fmla="*/ 148685 h 159067"/>
                  <a:gd name="connsiteX18" fmla="*/ 77152 w 249554"/>
                  <a:gd name="connsiteY18" fmla="*/ 155353 h 159067"/>
                  <a:gd name="connsiteX19" fmla="*/ 126682 w 249554"/>
                  <a:gd name="connsiteY19" fmla="*/ 155353 h 159067"/>
                  <a:gd name="connsiteX20" fmla="*/ 147638 w 249554"/>
                  <a:gd name="connsiteY20" fmla="*/ 155353 h 159067"/>
                  <a:gd name="connsiteX21" fmla="*/ 161925 w 249554"/>
                  <a:gd name="connsiteY21" fmla="*/ 141065 h 159067"/>
                  <a:gd name="connsiteX22" fmla="*/ 186690 w 249554"/>
                  <a:gd name="connsiteY22" fmla="*/ 148685 h 159067"/>
                  <a:gd name="connsiteX23" fmla="*/ 207645 w 249554"/>
                  <a:gd name="connsiteY23" fmla="*/ 159067 h 159067"/>
                  <a:gd name="connsiteX24" fmla="*/ 218122 w 249554"/>
                  <a:gd name="connsiteY24" fmla="*/ 159067 h 159067"/>
                  <a:gd name="connsiteX25" fmla="*/ 221932 w 249554"/>
                  <a:gd name="connsiteY25" fmla="*/ 138113 h 159067"/>
                  <a:gd name="connsiteX26" fmla="*/ 228600 w 249554"/>
                  <a:gd name="connsiteY26" fmla="*/ 126778 h 159067"/>
                  <a:gd name="connsiteX27" fmla="*/ 242888 w 249554"/>
                  <a:gd name="connsiteY27" fmla="*/ 120110 h 159067"/>
                  <a:gd name="connsiteX28" fmla="*/ 249555 w 249554"/>
                  <a:gd name="connsiteY28" fmla="*/ 109538 h 159067"/>
                  <a:gd name="connsiteX29" fmla="*/ 239077 w 249554"/>
                  <a:gd name="connsiteY29" fmla="*/ 99155 h 159067"/>
                  <a:gd name="connsiteX30" fmla="*/ 232410 w 249554"/>
                  <a:gd name="connsiteY30" fmla="*/ 105823 h 159067"/>
                  <a:gd name="connsiteX31" fmla="*/ 215265 w 249554"/>
                  <a:gd name="connsiteY31" fmla="*/ 102965 h 159067"/>
                  <a:gd name="connsiteX32" fmla="*/ 211455 w 249554"/>
                  <a:gd name="connsiteY32" fmla="*/ 91535 h 159067"/>
                  <a:gd name="connsiteX33" fmla="*/ 207645 w 249554"/>
                  <a:gd name="connsiteY33" fmla="*/ 74390 h 159067"/>
                  <a:gd name="connsiteX34" fmla="*/ 215265 w 249554"/>
                  <a:gd name="connsiteY34" fmla="*/ 56293 h 159067"/>
                  <a:gd name="connsiteX35" fmla="*/ 211455 w 249554"/>
                  <a:gd name="connsiteY35" fmla="*/ 49530 h 159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49554" h="159067">
                    <a:moveTo>
                      <a:pt x="211455" y="49530"/>
                    </a:moveTo>
                    <a:lnTo>
                      <a:pt x="190500" y="28575"/>
                    </a:lnTo>
                    <a:lnTo>
                      <a:pt x="186690" y="18193"/>
                    </a:lnTo>
                    <a:lnTo>
                      <a:pt x="180022" y="0"/>
                    </a:lnTo>
                    <a:lnTo>
                      <a:pt x="158115" y="0"/>
                    </a:lnTo>
                    <a:lnTo>
                      <a:pt x="151447" y="14288"/>
                    </a:lnTo>
                    <a:lnTo>
                      <a:pt x="116205" y="14288"/>
                    </a:lnTo>
                    <a:lnTo>
                      <a:pt x="95250" y="3905"/>
                    </a:lnTo>
                    <a:lnTo>
                      <a:pt x="80963" y="7715"/>
                    </a:lnTo>
                    <a:lnTo>
                      <a:pt x="56197" y="18193"/>
                    </a:lnTo>
                    <a:lnTo>
                      <a:pt x="41910" y="28575"/>
                    </a:lnTo>
                    <a:lnTo>
                      <a:pt x="24765" y="53435"/>
                    </a:lnTo>
                    <a:lnTo>
                      <a:pt x="0" y="78105"/>
                    </a:lnTo>
                    <a:lnTo>
                      <a:pt x="3810" y="91535"/>
                    </a:lnTo>
                    <a:lnTo>
                      <a:pt x="14288" y="105823"/>
                    </a:lnTo>
                    <a:lnTo>
                      <a:pt x="28575" y="126778"/>
                    </a:lnTo>
                    <a:lnTo>
                      <a:pt x="56197" y="130492"/>
                    </a:lnTo>
                    <a:lnTo>
                      <a:pt x="56197" y="148685"/>
                    </a:lnTo>
                    <a:lnTo>
                      <a:pt x="77152" y="155353"/>
                    </a:lnTo>
                    <a:lnTo>
                      <a:pt x="126682" y="155353"/>
                    </a:lnTo>
                    <a:lnTo>
                      <a:pt x="147638" y="155353"/>
                    </a:lnTo>
                    <a:lnTo>
                      <a:pt x="161925" y="141065"/>
                    </a:lnTo>
                    <a:lnTo>
                      <a:pt x="186690" y="148685"/>
                    </a:lnTo>
                    <a:lnTo>
                      <a:pt x="207645" y="159067"/>
                    </a:lnTo>
                    <a:lnTo>
                      <a:pt x="218122" y="159067"/>
                    </a:lnTo>
                    <a:lnTo>
                      <a:pt x="221932" y="138113"/>
                    </a:lnTo>
                    <a:lnTo>
                      <a:pt x="228600" y="126778"/>
                    </a:lnTo>
                    <a:lnTo>
                      <a:pt x="242888" y="120110"/>
                    </a:lnTo>
                    <a:lnTo>
                      <a:pt x="249555" y="109538"/>
                    </a:lnTo>
                    <a:lnTo>
                      <a:pt x="239077" y="99155"/>
                    </a:lnTo>
                    <a:lnTo>
                      <a:pt x="232410" y="105823"/>
                    </a:lnTo>
                    <a:lnTo>
                      <a:pt x="215265" y="102965"/>
                    </a:lnTo>
                    <a:lnTo>
                      <a:pt x="211455" y="91535"/>
                    </a:lnTo>
                    <a:lnTo>
                      <a:pt x="207645" y="74390"/>
                    </a:lnTo>
                    <a:lnTo>
                      <a:pt x="215265" y="56293"/>
                    </a:lnTo>
                    <a:lnTo>
                      <a:pt x="211455" y="4953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7" name="Freeform: Shape 506">
                <a:extLst>
                  <a:ext uri="{FF2B5EF4-FFF2-40B4-BE49-F238E27FC236}">
                    <a16:creationId xmlns:a16="http://schemas.microsoft.com/office/drawing/2014/main" id="{1C7E0658-FE13-A8CC-C2F9-309C5C4F68BA}"/>
                  </a:ext>
                </a:extLst>
              </p:cNvPr>
              <p:cNvSpPr/>
              <p:nvPr/>
            </p:nvSpPr>
            <p:spPr>
              <a:xfrm>
                <a:off x="6643724" y="4213103"/>
                <a:ext cx="286653" cy="92439"/>
              </a:xfrm>
              <a:custGeom>
                <a:avLst/>
                <a:gdLst>
                  <a:gd name="connsiteX0" fmla="*/ 0 w 292417"/>
                  <a:gd name="connsiteY0" fmla="*/ 94297 h 94297"/>
                  <a:gd name="connsiteX1" fmla="*/ 27622 w 292417"/>
                  <a:gd name="connsiteY1" fmla="*/ 76200 h 94297"/>
                  <a:gd name="connsiteX2" fmla="*/ 48577 w 292417"/>
                  <a:gd name="connsiteY2" fmla="*/ 76200 h 94297"/>
                  <a:gd name="connsiteX3" fmla="*/ 67627 w 292417"/>
                  <a:gd name="connsiteY3" fmla="*/ 57150 h 94297"/>
                  <a:gd name="connsiteX4" fmla="*/ 79057 w 292417"/>
                  <a:gd name="connsiteY4" fmla="*/ 57150 h 94297"/>
                  <a:gd name="connsiteX5" fmla="*/ 100013 w 292417"/>
                  <a:gd name="connsiteY5" fmla="*/ 73343 h 94297"/>
                  <a:gd name="connsiteX6" fmla="*/ 126682 w 292417"/>
                  <a:gd name="connsiteY6" fmla="*/ 80010 h 94297"/>
                  <a:gd name="connsiteX7" fmla="*/ 140970 w 292417"/>
                  <a:gd name="connsiteY7" fmla="*/ 92393 h 94297"/>
                  <a:gd name="connsiteX8" fmla="*/ 180975 w 292417"/>
                  <a:gd name="connsiteY8" fmla="*/ 63818 h 94297"/>
                  <a:gd name="connsiteX9" fmla="*/ 200025 w 292417"/>
                  <a:gd name="connsiteY9" fmla="*/ 67628 h 94297"/>
                  <a:gd name="connsiteX10" fmla="*/ 214313 w 292417"/>
                  <a:gd name="connsiteY10" fmla="*/ 80010 h 94297"/>
                  <a:gd name="connsiteX11" fmla="*/ 235267 w 292417"/>
                  <a:gd name="connsiteY11" fmla="*/ 21907 h 94297"/>
                  <a:gd name="connsiteX12" fmla="*/ 249555 w 292417"/>
                  <a:gd name="connsiteY12" fmla="*/ 21907 h 94297"/>
                  <a:gd name="connsiteX13" fmla="*/ 263842 w 292417"/>
                  <a:gd name="connsiteY13" fmla="*/ 0 h 94297"/>
                  <a:gd name="connsiteX14" fmla="*/ 277177 w 292417"/>
                  <a:gd name="connsiteY14" fmla="*/ 46672 h 94297"/>
                  <a:gd name="connsiteX15" fmla="*/ 281940 w 292417"/>
                  <a:gd name="connsiteY15" fmla="*/ 63818 h 94297"/>
                  <a:gd name="connsiteX16" fmla="*/ 292417 w 292417"/>
                  <a:gd name="connsiteY16" fmla="*/ 76200 h 94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2417" h="94297">
                    <a:moveTo>
                      <a:pt x="0" y="94297"/>
                    </a:moveTo>
                    <a:lnTo>
                      <a:pt x="27622" y="76200"/>
                    </a:lnTo>
                    <a:lnTo>
                      <a:pt x="48577" y="76200"/>
                    </a:lnTo>
                    <a:lnTo>
                      <a:pt x="67627" y="57150"/>
                    </a:lnTo>
                    <a:cubicBezTo>
                      <a:pt x="67627" y="57150"/>
                      <a:pt x="69532" y="51435"/>
                      <a:pt x="79057" y="57150"/>
                    </a:cubicBezTo>
                    <a:cubicBezTo>
                      <a:pt x="88582" y="62865"/>
                      <a:pt x="100013" y="73343"/>
                      <a:pt x="100013" y="73343"/>
                    </a:cubicBezTo>
                    <a:lnTo>
                      <a:pt x="126682" y="80010"/>
                    </a:lnTo>
                    <a:lnTo>
                      <a:pt x="140970" y="92393"/>
                    </a:lnTo>
                    <a:lnTo>
                      <a:pt x="180975" y="63818"/>
                    </a:lnTo>
                    <a:lnTo>
                      <a:pt x="200025" y="67628"/>
                    </a:lnTo>
                    <a:lnTo>
                      <a:pt x="214313" y="80010"/>
                    </a:lnTo>
                    <a:lnTo>
                      <a:pt x="235267" y="21907"/>
                    </a:lnTo>
                    <a:lnTo>
                      <a:pt x="249555" y="21907"/>
                    </a:lnTo>
                    <a:lnTo>
                      <a:pt x="263842" y="0"/>
                    </a:lnTo>
                    <a:lnTo>
                      <a:pt x="277177" y="46672"/>
                    </a:lnTo>
                    <a:lnTo>
                      <a:pt x="281940" y="63818"/>
                    </a:lnTo>
                    <a:lnTo>
                      <a:pt x="292417" y="76200"/>
                    </a:lnTo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8" name="Freeform: Shape 507">
                <a:extLst>
                  <a:ext uri="{FF2B5EF4-FFF2-40B4-BE49-F238E27FC236}">
                    <a16:creationId xmlns:a16="http://schemas.microsoft.com/office/drawing/2014/main" id="{6F88BF3D-6B14-8CD0-D217-E46EE38389E1}"/>
                  </a:ext>
                </a:extLst>
              </p:cNvPr>
              <p:cNvSpPr/>
              <p:nvPr/>
            </p:nvSpPr>
            <p:spPr>
              <a:xfrm>
                <a:off x="8014432" y="2919885"/>
                <a:ext cx="1677902" cy="1057078"/>
              </a:xfrm>
              <a:custGeom>
                <a:avLst/>
                <a:gdLst>
                  <a:gd name="connsiteX0" fmla="*/ 1633538 w 1711642"/>
                  <a:gd name="connsiteY0" fmla="*/ 296323 h 1078325"/>
                  <a:gd name="connsiteX1" fmla="*/ 1644968 w 1711642"/>
                  <a:gd name="connsiteY1" fmla="*/ 306800 h 1078325"/>
                  <a:gd name="connsiteX2" fmla="*/ 1665922 w 1711642"/>
                  <a:gd name="connsiteY2" fmla="*/ 302895 h 1078325"/>
                  <a:gd name="connsiteX3" fmla="*/ 1686877 w 1711642"/>
                  <a:gd name="connsiteY3" fmla="*/ 263938 h 1078325"/>
                  <a:gd name="connsiteX4" fmla="*/ 1697355 w 1711642"/>
                  <a:gd name="connsiteY4" fmla="*/ 225838 h 1078325"/>
                  <a:gd name="connsiteX5" fmla="*/ 1711643 w 1711642"/>
                  <a:gd name="connsiteY5" fmla="*/ 218218 h 1078325"/>
                  <a:gd name="connsiteX6" fmla="*/ 1707832 w 1711642"/>
                  <a:gd name="connsiteY6" fmla="*/ 193358 h 1078325"/>
                  <a:gd name="connsiteX7" fmla="*/ 1680210 w 1711642"/>
                  <a:gd name="connsiteY7" fmla="*/ 197263 h 1078325"/>
                  <a:gd name="connsiteX8" fmla="*/ 1655445 w 1711642"/>
                  <a:gd name="connsiteY8" fmla="*/ 201073 h 1078325"/>
                  <a:gd name="connsiteX9" fmla="*/ 1644968 w 1711642"/>
                  <a:gd name="connsiteY9" fmla="*/ 214313 h 1078325"/>
                  <a:gd name="connsiteX10" fmla="*/ 1605915 w 1711642"/>
                  <a:gd name="connsiteY10" fmla="*/ 211550 h 1078325"/>
                  <a:gd name="connsiteX11" fmla="*/ 1599247 w 1711642"/>
                  <a:gd name="connsiteY11" fmla="*/ 176213 h 1078325"/>
                  <a:gd name="connsiteX12" fmla="*/ 1587818 w 1711642"/>
                  <a:gd name="connsiteY12" fmla="*/ 172498 h 1078325"/>
                  <a:gd name="connsiteX13" fmla="*/ 1564005 w 1711642"/>
                  <a:gd name="connsiteY13" fmla="*/ 158210 h 1078325"/>
                  <a:gd name="connsiteX14" fmla="*/ 1545907 w 1711642"/>
                  <a:gd name="connsiteY14" fmla="*/ 147638 h 1078325"/>
                  <a:gd name="connsiteX15" fmla="*/ 1517332 w 1711642"/>
                  <a:gd name="connsiteY15" fmla="*/ 147638 h 1078325"/>
                  <a:gd name="connsiteX16" fmla="*/ 1498282 w 1711642"/>
                  <a:gd name="connsiteY16" fmla="*/ 102013 h 1078325"/>
                  <a:gd name="connsiteX17" fmla="*/ 1493520 w 1711642"/>
                  <a:gd name="connsiteY17" fmla="*/ 91535 h 1078325"/>
                  <a:gd name="connsiteX18" fmla="*/ 1479232 w 1711642"/>
                  <a:gd name="connsiteY18" fmla="*/ 56293 h 1078325"/>
                  <a:gd name="connsiteX19" fmla="*/ 1458277 w 1711642"/>
                  <a:gd name="connsiteY19" fmla="*/ 21050 h 1078325"/>
                  <a:gd name="connsiteX20" fmla="*/ 1404938 w 1711642"/>
                  <a:gd name="connsiteY20" fmla="*/ 0 h 1078325"/>
                  <a:gd name="connsiteX21" fmla="*/ 1373505 w 1711642"/>
                  <a:gd name="connsiteY21" fmla="*/ 2858 h 1078325"/>
                  <a:gd name="connsiteX22" fmla="*/ 1327785 w 1711642"/>
                  <a:gd name="connsiteY22" fmla="*/ 6763 h 1078325"/>
                  <a:gd name="connsiteX23" fmla="*/ 1303020 w 1711642"/>
                  <a:gd name="connsiteY23" fmla="*/ 17145 h 1078325"/>
                  <a:gd name="connsiteX24" fmla="*/ 1299210 w 1711642"/>
                  <a:gd name="connsiteY24" fmla="*/ 31433 h 1078325"/>
                  <a:gd name="connsiteX25" fmla="*/ 1320165 w 1711642"/>
                  <a:gd name="connsiteY25" fmla="*/ 35338 h 1078325"/>
                  <a:gd name="connsiteX26" fmla="*/ 1320165 w 1711642"/>
                  <a:gd name="connsiteY26" fmla="*/ 60008 h 1078325"/>
                  <a:gd name="connsiteX27" fmla="*/ 1303020 w 1711642"/>
                  <a:gd name="connsiteY27" fmla="*/ 70580 h 1078325"/>
                  <a:gd name="connsiteX28" fmla="*/ 1284922 w 1711642"/>
                  <a:gd name="connsiteY28" fmla="*/ 102013 h 1078325"/>
                  <a:gd name="connsiteX29" fmla="*/ 1278255 w 1711642"/>
                  <a:gd name="connsiteY29" fmla="*/ 130588 h 1078325"/>
                  <a:gd name="connsiteX30" fmla="*/ 1257300 w 1711642"/>
                  <a:gd name="connsiteY30" fmla="*/ 133350 h 1078325"/>
                  <a:gd name="connsiteX31" fmla="*/ 1239202 w 1711642"/>
                  <a:gd name="connsiteY31" fmla="*/ 151543 h 1078325"/>
                  <a:gd name="connsiteX32" fmla="*/ 1207770 w 1711642"/>
                  <a:gd name="connsiteY32" fmla="*/ 133350 h 1078325"/>
                  <a:gd name="connsiteX33" fmla="*/ 1197293 w 1711642"/>
                  <a:gd name="connsiteY33" fmla="*/ 147638 h 1078325"/>
                  <a:gd name="connsiteX34" fmla="*/ 1183005 w 1711642"/>
                  <a:gd name="connsiteY34" fmla="*/ 179070 h 1078325"/>
                  <a:gd name="connsiteX35" fmla="*/ 1176338 w 1711642"/>
                  <a:gd name="connsiteY35" fmla="*/ 203930 h 1078325"/>
                  <a:gd name="connsiteX36" fmla="*/ 1225868 w 1711642"/>
                  <a:gd name="connsiteY36" fmla="*/ 207645 h 1078325"/>
                  <a:gd name="connsiteX37" fmla="*/ 1239202 w 1711642"/>
                  <a:gd name="connsiteY37" fmla="*/ 197263 h 1078325"/>
                  <a:gd name="connsiteX38" fmla="*/ 1257300 w 1711642"/>
                  <a:gd name="connsiteY38" fmla="*/ 201073 h 1078325"/>
                  <a:gd name="connsiteX39" fmla="*/ 1292543 w 1711642"/>
                  <a:gd name="connsiteY39" fmla="*/ 236220 h 1078325"/>
                  <a:gd name="connsiteX40" fmla="*/ 1296352 w 1711642"/>
                  <a:gd name="connsiteY40" fmla="*/ 253460 h 1078325"/>
                  <a:gd name="connsiteX41" fmla="*/ 1267777 w 1711642"/>
                  <a:gd name="connsiteY41" fmla="*/ 249650 h 1078325"/>
                  <a:gd name="connsiteX42" fmla="*/ 1246822 w 1711642"/>
                  <a:gd name="connsiteY42" fmla="*/ 249650 h 1078325"/>
                  <a:gd name="connsiteX43" fmla="*/ 1211580 w 1711642"/>
                  <a:gd name="connsiteY43" fmla="*/ 263938 h 1078325"/>
                  <a:gd name="connsiteX44" fmla="*/ 1180147 w 1711642"/>
                  <a:gd name="connsiteY44" fmla="*/ 288608 h 1078325"/>
                  <a:gd name="connsiteX45" fmla="*/ 1151572 w 1711642"/>
                  <a:gd name="connsiteY45" fmla="*/ 288608 h 1078325"/>
                  <a:gd name="connsiteX46" fmla="*/ 1126807 w 1711642"/>
                  <a:gd name="connsiteY46" fmla="*/ 313468 h 1078325"/>
                  <a:gd name="connsiteX47" fmla="*/ 1095375 w 1711642"/>
                  <a:gd name="connsiteY47" fmla="*/ 309563 h 1078325"/>
                  <a:gd name="connsiteX48" fmla="*/ 1070610 w 1711642"/>
                  <a:gd name="connsiteY48" fmla="*/ 309563 h 1078325"/>
                  <a:gd name="connsiteX49" fmla="*/ 1060132 w 1711642"/>
                  <a:gd name="connsiteY49" fmla="*/ 331470 h 1078325"/>
                  <a:gd name="connsiteX50" fmla="*/ 1070610 w 1711642"/>
                  <a:gd name="connsiteY50" fmla="*/ 352425 h 1078325"/>
                  <a:gd name="connsiteX51" fmla="*/ 1039177 w 1711642"/>
                  <a:gd name="connsiteY51" fmla="*/ 369570 h 1078325"/>
                  <a:gd name="connsiteX52" fmla="*/ 1039177 w 1711642"/>
                  <a:gd name="connsiteY52" fmla="*/ 380143 h 1078325"/>
                  <a:gd name="connsiteX53" fmla="*/ 1006793 w 1711642"/>
                  <a:gd name="connsiteY53" fmla="*/ 398145 h 1078325"/>
                  <a:gd name="connsiteX54" fmla="*/ 929640 w 1711642"/>
                  <a:gd name="connsiteY54" fmla="*/ 398145 h 1078325"/>
                  <a:gd name="connsiteX55" fmla="*/ 890588 w 1711642"/>
                  <a:gd name="connsiteY55" fmla="*/ 423005 h 1078325"/>
                  <a:gd name="connsiteX56" fmla="*/ 827722 w 1711642"/>
                  <a:gd name="connsiteY56" fmla="*/ 415385 h 1078325"/>
                  <a:gd name="connsiteX57" fmla="*/ 784860 w 1711642"/>
                  <a:gd name="connsiteY57" fmla="*/ 394430 h 1078325"/>
                  <a:gd name="connsiteX58" fmla="*/ 736282 w 1711642"/>
                  <a:gd name="connsiteY58" fmla="*/ 391573 h 1078325"/>
                  <a:gd name="connsiteX59" fmla="*/ 641032 w 1711642"/>
                  <a:gd name="connsiteY59" fmla="*/ 387763 h 1078325"/>
                  <a:gd name="connsiteX60" fmla="*/ 630555 w 1711642"/>
                  <a:gd name="connsiteY60" fmla="*/ 373475 h 1078325"/>
                  <a:gd name="connsiteX61" fmla="*/ 620077 w 1711642"/>
                  <a:gd name="connsiteY61" fmla="*/ 348710 h 1078325"/>
                  <a:gd name="connsiteX62" fmla="*/ 581025 w 1711642"/>
                  <a:gd name="connsiteY62" fmla="*/ 327755 h 1078325"/>
                  <a:gd name="connsiteX63" fmla="*/ 562927 w 1711642"/>
                  <a:gd name="connsiteY63" fmla="*/ 309563 h 1078325"/>
                  <a:gd name="connsiteX64" fmla="*/ 503872 w 1711642"/>
                  <a:gd name="connsiteY64" fmla="*/ 306800 h 1078325"/>
                  <a:gd name="connsiteX65" fmla="*/ 489585 w 1711642"/>
                  <a:gd name="connsiteY65" fmla="*/ 299180 h 1078325"/>
                  <a:gd name="connsiteX66" fmla="*/ 481965 w 1711642"/>
                  <a:gd name="connsiteY66" fmla="*/ 278225 h 1078325"/>
                  <a:gd name="connsiteX67" fmla="*/ 493395 w 1711642"/>
                  <a:gd name="connsiteY67" fmla="*/ 263938 h 1078325"/>
                  <a:gd name="connsiteX68" fmla="*/ 493395 w 1711642"/>
                  <a:gd name="connsiteY68" fmla="*/ 249650 h 1078325"/>
                  <a:gd name="connsiteX69" fmla="*/ 479107 w 1711642"/>
                  <a:gd name="connsiteY69" fmla="*/ 228600 h 1078325"/>
                  <a:gd name="connsiteX70" fmla="*/ 454343 w 1711642"/>
                  <a:gd name="connsiteY70" fmla="*/ 203930 h 1078325"/>
                  <a:gd name="connsiteX71" fmla="*/ 425768 w 1711642"/>
                  <a:gd name="connsiteY71" fmla="*/ 201073 h 1078325"/>
                  <a:gd name="connsiteX72" fmla="*/ 408622 w 1711642"/>
                  <a:gd name="connsiteY72" fmla="*/ 182975 h 1078325"/>
                  <a:gd name="connsiteX73" fmla="*/ 401002 w 1711642"/>
                  <a:gd name="connsiteY73" fmla="*/ 165830 h 1078325"/>
                  <a:gd name="connsiteX74" fmla="*/ 373380 w 1711642"/>
                  <a:gd name="connsiteY74" fmla="*/ 165830 h 1078325"/>
                  <a:gd name="connsiteX75" fmla="*/ 369570 w 1711642"/>
                  <a:gd name="connsiteY75" fmla="*/ 182975 h 1078325"/>
                  <a:gd name="connsiteX76" fmla="*/ 348615 w 1711642"/>
                  <a:gd name="connsiteY76" fmla="*/ 182975 h 1078325"/>
                  <a:gd name="connsiteX77" fmla="*/ 341947 w 1711642"/>
                  <a:gd name="connsiteY77" fmla="*/ 207645 h 1078325"/>
                  <a:gd name="connsiteX78" fmla="*/ 341947 w 1711642"/>
                  <a:gd name="connsiteY78" fmla="*/ 232505 h 1078325"/>
                  <a:gd name="connsiteX79" fmla="*/ 323850 w 1711642"/>
                  <a:gd name="connsiteY79" fmla="*/ 236220 h 1078325"/>
                  <a:gd name="connsiteX80" fmla="*/ 299085 w 1711642"/>
                  <a:gd name="connsiteY80" fmla="*/ 236220 h 1078325"/>
                  <a:gd name="connsiteX81" fmla="*/ 267652 w 1711642"/>
                  <a:gd name="connsiteY81" fmla="*/ 232505 h 1078325"/>
                  <a:gd name="connsiteX82" fmla="*/ 249555 w 1711642"/>
                  <a:gd name="connsiteY82" fmla="*/ 274320 h 1078325"/>
                  <a:gd name="connsiteX83" fmla="*/ 242888 w 1711642"/>
                  <a:gd name="connsiteY83" fmla="*/ 299180 h 1078325"/>
                  <a:gd name="connsiteX84" fmla="*/ 211455 w 1711642"/>
                  <a:gd name="connsiteY84" fmla="*/ 299180 h 1078325"/>
                  <a:gd name="connsiteX85" fmla="*/ 190500 w 1711642"/>
                  <a:gd name="connsiteY85" fmla="*/ 309563 h 1078325"/>
                  <a:gd name="connsiteX86" fmla="*/ 193357 w 1711642"/>
                  <a:gd name="connsiteY86" fmla="*/ 342043 h 1078325"/>
                  <a:gd name="connsiteX87" fmla="*/ 203835 w 1711642"/>
                  <a:gd name="connsiteY87" fmla="*/ 369570 h 1078325"/>
                  <a:gd name="connsiteX88" fmla="*/ 190500 w 1711642"/>
                  <a:gd name="connsiteY88" fmla="*/ 383858 h 1078325"/>
                  <a:gd name="connsiteX89" fmla="*/ 190500 w 1711642"/>
                  <a:gd name="connsiteY89" fmla="*/ 402050 h 1078325"/>
                  <a:gd name="connsiteX90" fmla="*/ 179070 w 1711642"/>
                  <a:gd name="connsiteY90" fmla="*/ 408718 h 1078325"/>
                  <a:gd name="connsiteX91" fmla="*/ 133350 w 1711642"/>
                  <a:gd name="connsiteY91" fmla="*/ 429673 h 1078325"/>
                  <a:gd name="connsiteX92" fmla="*/ 126682 w 1711642"/>
                  <a:gd name="connsiteY92" fmla="*/ 443960 h 1078325"/>
                  <a:gd name="connsiteX93" fmla="*/ 91440 w 1711642"/>
                  <a:gd name="connsiteY93" fmla="*/ 443960 h 1078325"/>
                  <a:gd name="connsiteX94" fmla="*/ 84772 w 1711642"/>
                  <a:gd name="connsiteY94" fmla="*/ 461963 h 1078325"/>
                  <a:gd name="connsiteX95" fmla="*/ 56197 w 1711642"/>
                  <a:gd name="connsiteY95" fmla="*/ 468725 h 1078325"/>
                  <a:gd name="connsiteX96" fmla="*/ 56197 w 1711642"/>
                  <a:gd name="connsiteY96" fmla="*/ 458248 h 1078325"/>
                  <a:gd name="connsiteX97" fmla="*/ 31432 w 1711642"/>
                  <a:gd name="connsiteY97" fmla="*/ 458248 h 1078325"/>
                  <a:gd name="connsiteX98" fmla="*/ 27622 w 1711642"/>
                  <a:gd name="connsiteY98" fmla="*/ 468725 h 1078325"/>
                  <a:gd name="connsiteX99" fmla="*/ 6668 w 1711642"/>
                  <a:gd name="connsiteY99" fmla="*/ 483013 h 1078325"/>
                  <a:gd name="connsiteX100" fmla="*/ 3810 w 1711642"/>
                  <a:gd name="connsiteY100" fmla="*/ 500063 h 1078325"/>
                  <a:gd name="connsiteX101" fmla="*/ 0 w 1711642"/>
                  <a:gd name="connsiteY101" fmla="*/ 510635 h 1078325"/>
                  <a:gd name="connsiteX102" fmla="*/ 3810 w 1711642"/>
                  <a:gd name="connsiteY102" fmla="*/ 524923 h 1078325"/>
                  <a:gd name="connsiteX103" fmla="*/ 14288 w 1711642"/>
                  <a:gd name="connsiteY103" fmla="*/ 528638 h 1078325"/>
                  <a:gd name="connsiteX104" fmla="*/ 35243 w 1711642"/>
                  <a:gd name="connsiteY104" fmla="*/ 524923 h 1078325"/>
                  <a:gd name="connsiteX105" fmla="*/ 35243 w 1711642"/>
                  <a:gd name="connsiteY105" fmla="*/ 560070 h 1078325"/>
                  <a:gd name="connsiteX106" fmla="*/ 35243 w 1711642"/>
                  <a:gd name="connsiteY106" fmla="*/ 574358 h 1078325"/>
                  <a:gd name="connsiteX107" fmla="*/ 66675 w 1711642"/>
                  <a:gd name="connsiteY107" fmla="*/ 584930 h 1078325"/>
                  <a:gd name="connsiteX108" fmla="*/ 66675 w 1711642"/>
                  <a:gd name="connsiteY108" fmla="*/ 602933 h 1078325"/>
                  <a:gd name="connsiteX109" fmla="*/ 101918 w 1711642"/>
                  <a:gd name="connsiteY109" fmla="*/ 616363 h 1078325"/>
                  <a:gd name="connsiteX110" fmla="*/ 113347 w 1711642"/>
                  <a:gd name="connsiteY110" fmla="*/ 638175 h 1078325"/>
                  <a:gd name="connsiteX111" fmla="*/ 141922 w 1711642"/>
                  <a:gd name="connsiteY111" fmla="*/ 661035 h 1078325"/>
                  <a:gd name="connsiteX112" fmla="*/ 160972 w 1711642"/>
                  <a:gd name="connsiteY112" fmla="*/ 654463 h 1078325"/>
                  <a:gd name="connsiteX113" fmla="*/ 177165 w 1711642"/>
                  <a:gd name="connsiteY113" fmla="*/ 641033 h 1078325"/>
                  <a:gd name="connsiteX114" fmla="*/ 176213 w 1711642"/>
                  <a:gd name="connsiteY114" fmla="*/ 655415 h 1078325"/>
                  <a:gd name="connsiteX115" fmla="*/ 147638 w 1711642"/>
                  <a:gd name="connsiteY115" fmla="*/ 669703 h 1078325"/>
                  <a:gd name="connsiteX116" fmla="*/ 147638 w 1711642"/>
                  <a:gd name="connsiteY116" fmla="*/ 687800 h 1078325"/>
                  <a:gd name="connsiteX117" fmla="*/ 168593 w 1711642"/>
                  <a:gd name="connsiteY117" fmla="*/ 701135 h 1078325"/>
                  <a:gd name="connsiteX118" fmla="*/ 165735 w 1711642"/>
                  <a:gd name="connsiteY118" fmla="*/ 715423 h 1078325"/>
                  <a:gd name="connsiteX119" fmla="*/ 147638 w 1711642"/>
                  <a:gd name="connsiteY119" fmla="*/ 719138 h 1078325"/>
                  <a:gd name="connsiteX120" fmla="*/ 140970 w 1711642"/>
                  <a:gd name="connsiteY120" fmla="*/ 736378 h 1078325"/>
                  <a:gd name="connsiteX121" fmla="*/ 140970 w 1711642"/>
                  <a:gd name="connsiteY121" fmla="*/ 750665 h 1078325"/>
                  <a:gd name="connsiteX122" fmla="*/ 177165 w 1711642"/>
                  <a:gd name="connsiteY122" fmla="*/ 781050 h 1078325"/>
                  <a:gd name="connsiteX123" fmla="*/ 207645 w 1711642"/>
                  <a:gd name="connsiteY123" fmla="*/ 810673 h 1078325"/>
                  <a:gd name="connsiteX124" fmla="*/ 232410 w 1711642"/>
                  <a:gd name="connsiteY124" fmla="*/ 791623 h 1078325"/>
                  <a:gd name="connsiteX125" fmla="*/ 255270 w 1711642"/>
                  <a:gd name="connsiteY125" fmla="*/ 814388 h 1078325"/>
                  <a:gd name="connsiteX126" fmla="*/ 284797 w 1711642"/>
                  <a:gd name="connsiteY126" fmla="*/ 823913 h 1078325"/>
                  <a:gd name="connsiteX127" fmla="*/ 302895 w 1711642"/>
                  <a:gd name="connsiteY127" fmla="*/ 841153 h 1078325"/>
                  <a:gd name="connsiteX128" fmla="*/ 338138 w 1711642"/>
                  <a:gd name="connsiteY128" fmla="*/ 856297 h 1078325"/>
                  <a:gd name="connsiteX129" fmla="*/ 365760 w 1711642"/>
                  <a:gd name="connsiteY129" fmla="*/ 863060 h 1078325"/>
                  <a:gd name="connsiteX130" fmla="*/ 404813 w 1711642"/>
                  <a:gd name="connsiteY130" fmla="*/ 860203 h 1078325"/>
                  <a:gd name="connsiteX131" fmla="*/ 433388 w 1711642"/>
                  <a:gd name="connsiteY131" fmla="*/ 860203 h 1078325"/>
                  <a:gd name="connsiteX132" fmla="*/ 440055 w 1711642"/>
                  <a:gd name="connsiteY132" fmla="*/ 860203 h 1078325"/>
                  <a:gd name="connsiteX133" fmla="*/ 450532 w 1711642"/>
                  <a:gd name="connsiteY133" fmla="*/ 849725 h 1078325"/>
                  <a:gd name="connsiteX134" fmla="*/ 468630 w 1711642"/>
                  <a:gd name="connsiteY134" fmla="*/ 849725 h 1078325"/>
                  <a:gd name="connsiteX135" fmla="*/ 489585 w 1711642"/>
                  <a:gd name="connsiteY135" fmla="*/ 856297 h 1078325"/>
                  <a:gd name="connsiteX136" fmla="*/ 514350 w 1711642"/>
                  <a:gd name="connsiteY136" fmla="*/ 860203 h 1078325"/>
                  <a:gd name="connsiteX137" fmla="*/ 531495 w 1711642"/>
                  <a:gd name="connsiteY137" fmla="*/ 856297 h 1078325"/>
                  <a:gd name="connsiteX138" fmla="*/ 549593 w 1711642"/>
                  <a:gd name="connsiteY138" fmla="*/ 831628 h 1078325"/>
                  <a:gd name="connsiteX139" fmla="*/ 570547 w 1711642"/>
                  <a:gd name="connsiteY139" fmla="*/ 831628 h 1078325"/>
                  <a:gd name="connsiteX140" fmla="*/ 581025 w 1711642"/>
                  <a:gd name="connsiteY140" fmla="*/ 817340 h 1078325"/>
                  <a:gd name="connsiteX141" fmla="*/ 600075 w 1711642"/>
                  <a:gd name="connsiteY141" fmla="*/ 851535 h 1078325"/>
                  <a:gd name="connsiteX142" fmla="*/ 620077 w 1711642"/>
                  <a:gd name="connsiteY142" fmla="*/ 852488 h 1078325"/>
                  <a:gd name="connsiteX143" fmla="*/ 637222 w 1711642"/>
                  <a:gd name="connsiteY143" fmla="*/ 839248 h 1078325"/>
                  <a:gd name="connsiteX144" fmla="*/ 665797 w 1711642"/>
                  <a:gd name="connsiteY144" fmla="*/ 842010 h 1078325"/>
                  <a:gd name="connsiteX145" fmla="*/ 679132 w 1711642"/>
                  <a:gd name="connsiteY145" fmla="*/ 845915 h 1078325"/>
                  <a:gd name="connsiteX146" fmla="*/ 690563 w 1711642"/>
                  <a:gd name="connsiteY146" fmla="*/ 864013 h 1078325"/>
                  <a:gd name="connsiteX147" fmla="*/ 703897 w 1711642"/>
                  <a:gd name="connsiteY147" fmla="*/ 874490 h 1078325"/>
                  <a:gd name="connsiteX148" fmla="*/ 701040 w 1711642"/>
                  <a:gd name="connsiteY148" fmla="*/ 916400 h 1078325"/>
                  <a:gd name="connsiteX149" fmla="*/ 672465 w 1711642"/>
                  <a:gd name="connsiteY149" fmla="*/ 955453 h 1078325"/>
                  <a:gd name="connsiteX150" fmla="*/ 672465 w 1711642"/>
                  <a:gd name="connsiteY150" fmla="*/ 962025 h 1078325"/>
                  <a:gd name="connsiteX151" fmla="*/ 707707 w 1711642"/>
                  <a:gd name="connsiteY151" fmla="*/ 972598 h 1078325"/>
                  <a:gd name="connsiteX152" fmla="*/ 707707 w 1711642"/>
                  <a:gd name="connsiteY152" fmla="*/ 997363 h 1078325"/>
                  <a:gd name="connsiteX153" fmla="*/ 725805 w 1711642"/>
                  <a:gd name="connsiteY153" fmla="*/ 1004888 h 1078325"/>
                  <a:gd name="connsiteX154" fmla="*/ 725805 w 1711642"/>
                  <a:gd name="connsiteY154" fmla="*/ 1004888 h 1078325"/>
                  <a:gd name="connsiteX155" fmla="*/ 725805 w 1711642"/>
                  <a:gd name="connsiteY155" fmla="*/ 1032510 h 1078325"/>
                  <a:gd name="connsiteX156" fmla="*/ 739140 w 1711642"/>
                  <a:gd name="connsiteY156" fmla="*/ 1036415 h 1078325"/>
                  <a:gd name="connsiteX157" fmla="*/ 739140 w 1711642"/>
                  <a:gd name="connsiteY157" fmla="*/ 1046797 h 1078325"/>
                  <a:gd name="connsiteX158" fmla="*/ 753427 w 1711642"/>
                  <a:gd name="connsiteY158" fmla="*/ 1046797 h 1078325"/>
                  <a:gd name="connsiteX159" fmla="*/ 767715 w 1711642"/>
                  <a:gd name="connsiteY159" fmla="*/ 1046797 h 1078325"/>
                  <a:gd name="connsiteX160" fmla="*/ 774382 w 1711642"/>
                  <a:gd name="connsiteY160" fmla="*/ 1054513 h 1078325"/>
                  <a:gd name="connsiteX161" fmla="*/ 788670 w 1711642"/>
                  <a:gd name="connsiteY161" fmla="*/ 1054513 h 1078325"/>
                  <a:gd name="connsiteX162" fmla="*/ 792480 w 1711642"/>
                  <a:gd name="connsiteY162" fmla="*/ 1040225 h 1078325"/>
                  <a:gd name="connsiteX163" fmla="*/ 782002 w 1711642"/>
                  <a:gd name="connsiteY163" fmla="*/ 1036415 h 1078325"/>
                  <a:gd name="connsiteX164" fmla="*/ 782002 w 1711642"/>
                  <a:gd name="connsiteY164" fmla="*/ 1022128 h 1078325"/>
                  <a:gd name="connsiteX165" fmla="*/ 802957 w 1711642"/>
                  <a:gd name="connsiteY165" fmla="*/ 1022128 h 1078325"/>
                  <a:gd name="connsiteX166" fmla="*/ 806768 w 1711642"/>
                  <a:gd name="connsiteY166" fmla="*/ 1015460 h 1078325"/>
                  <a:gd name="connsiteX167" fmla="*/ 865822 w 1711642"/>
                  <a:gd name="connsiteY167" fmla="*/ 1015460 h 1078325"/>
                  <a:gd name="connsiteX168" fmla="*/ 880110 w 1711642"/>
                  <a:gd name="connsiteY168" fmla="*/ 1001173 h 1078325"/>
                  <a:gd name="connsiteX169" fmla="*/ 894397 w 1711642"/>
                  <a:gd name="connsiteY169" fmla="*/ 1001173 h 1078325"/>
                  <a:gd name="connsiteX170" fmla="*/ 904875 w 1711642"/>
                  <a:gd name="connsiteY170" fmla="*/ 1007840 h 1078325"/>
                  <a:gd name="connsiteX171" fmla="*/ 925830 w 1711642"/>
                  <a:gd name="connsiteY171" fmla="*/ 1011650 h 1078325"/>
                  <a:gd name="connsiteX172" fmla="*/ 929640 w 1711642"/>
                  <a:gd name="connsiteY172" fmla="*/ 1040225 h 1078325"/>
                  <a:gd name="connsiteX173" fmla="*/ 943927 w 1711642"/>
                  <a:gd name="connsiteY173" fmla="*/ 1046797 h 1078325"/>
                  <a:gd name="connsiteX174" fmla="*/ 961072 w 1711642"/>
                  <a:gd name="connsiteY174" fmla="*/ 1046797 h 1078325"/>
                  <a:gd name="connsiteX175" fmla="*/ 979170 w 1711642"/>
                  <a:gd name="connsiteY175" fmla="*/ 1040225 h 1078325"/>
                  <a:gd name="connsiteX176" fmla="*/ 996315 w 1711642"/>
                  <a:gd name="connsiteY176" fmla="*/ 1046797 h 1078325"/>
                  <a:gd name="connsiteX177" fmla="*/ 1014413 w 1711642"/>
                  <a:gd name="connsiteY177" fmla="*/ 1046797 h 1078325"/>
                  <a:gd name="connsiteX178" fmla="*/ 1014413 w 1711642"/>
                  <a:gd name="connsiteY178" fmla="*/ 1057275 h 1078325"/>
                  <a:gd name="connsiteX179" fmla="*/ 1014413 w 1711642"/>
                  <a:gd name="connsiteY179" fmla="*/ 1071563 h 1078325"/>
                  <a:gd name="connsiteX180" fmla="*/ 1028700 w 1711642"/>
                  <a:gd name="connsiteY180" fmla="*/ 1078325 h 1078325"/>
                  <a:gd name="connsiteX181" fmla="*/ 1024890 w 1711642"/>
                  <a:gd name="connsiteY181" fmla="*/ 1064990 h 1078325"/>
                  <a:gd name="connsiteX182" fmla="*/ 1031557 w 1711642"/>
                  <a:gd name="connsiteY182" fmla="*/ 1050703 h 1078325"/>
                  <a:gd name="connsiteX183" fmla="*/ 1052513 w 1711642"/>
                  <a:gd name="connsiteY183" fmla="*/ 1046797 h 1078325"/>
                  <a:gd name="connsiteX184" fmla="*/ 1087755 w 1711642"/>
                  <a:gd name="connsiteY184" fmla="*/ 1036415 h 1078325"/>
                  <a:gd name="connsiteX185" fmla="*/ 1112520 w 1711642"/>
                  <a:gd name="connsiteY185" fmla="*/ 1029748 h 1078325"/>
                  <a:gd name="connsiteX186" fmla="*/ 1112520 w 1711642"/>
                  <a:gd name="connsiteY186" fmla="*/ 1004888 h 1078325"/>
                  <a:gd name="connsiteX187" fmla="*/ 1122997 w 1711642"/>
                  <a:gd name="connsiteY187" fmla="*/ 1001173 h 1078325"/>
                  <a:gd name="connsiteX188" fmla="*/ 1133475 w 1711642"/>
                  <a:gd name="connsiteY188" fmla="*/ 1015460 h 1078325"/>
                  <a:gd name="connsiteX189" fmla="*/ 1155382 w 1711642"/>
                  <a:gd name="connsiteY189" fmla="*/ 1015460 h 1078325"/>
                  <a:gd name="connsiteX190" fmla="*/ 1193482 w 1711642"/>
                  <a:gd name="connsiteY190" fmla="*/ 1007840 h 1078325"/>
                  <a:gd name="connsiteX191" fmla="*/ 1218247 w 1711642"/>
                  <a:gd name="connsiteY191" fmla="*/ 986885 h 1078325"/>
                  <a:gd name="connsiteX192" fmla="*/ 1257300 w 1711642"/>
                  <a:gd name="connsiteY192" fmla="*/ 955453 h 1078325"/>
                  <a:gd name="connsiteX193" fmla="*/ 1274445 w 1711642"/>
                  <a:gd name="connsiteY193" fmla="*/ 923925 h 1078325"/>
                  <a:gd name="connsiteX194" fmla="*/ 1299210 w 1711642"/>
                  <a:gd name="connsiteY194" fmla="*/ 888778 h 1078325"/>
                  <a:gd name="connsiteX195" fmla="*/ 1334452 w 1711642"/>
                  <a:gd name="connsiteY195" fmla="*/ 845915 h 1078325"/>
                  <a:gd name="connsiteX196" fmla="*/ 1348740 w 1711642"/>
                  <a:gd name="connsiteY196" fmla="*/ 814388 h 1078325"/>
                  <a:gd name="connsiteX197" fmla="*/ 1348740 w 1711642"/>
                  <a:gd name="connsiteY197" fmla="*/ 793528 h 1078325"/>
                  <a:gd name="connsiteX198" fmla="*/ 1331595 w 1711642"/>
                  <a:gd name="connsiteY198" fmla="*/ 789622 h 1078325"/>
                  <a:gd name="connsiteX199" fmla="*/ 1306830 w 1711642"/>
                  <a:gd name="connsiteY199" fmla="*/ 785813 h 1078325"/>
                  <a:gd name="connsiteX200" fmla="*/ 1309688 w 1711642"/>
                  <a:gd name="connsiteY200" fmla="*/ 782098 h 1078325"/>
                  <a:gd name="connsiteX201" fmla="*/ 1320165 w 1711642"/>
                  <a:gd name="connsiteY201" fmla="*/ 775335 h 1078325"/>
                  <a:gd name="connsiteX202" fmla="*/ 1338263 w 1711642"/>
                  <a:gd name="connsiteY202" fmla="*/ 771525 h 1078325"/>
                  <a:gd name="connsiteX203" fmla="*/ 1352550 w 1711642"/>
                  <a:gd name="connsiteY203" fmla="*/ 768763 h 1078325"/>
                  <a:gd name="connsiteX204" fmla="*/ 1344930 w 1711642"/>
                  <a:gd name="connsiteY204" fmla="*/ 758285 h 1078325"/>
                  <a:gd name="connsiteX205" fmla="*/ 1323975 w 1711642"/>
                  <a:gd name="connsiteY205" fmla="*/ 750665 h 1078325"/>
                  <a:gd name="connsiteX206" fmla="*/ 1331595 w 1711642"/>
                  <a:gd name="connsiteY206" fmla="*/ 736378 h 1078325"/>
                  <a:gd name="connsiteX207" fmla="*/ 1348740 w 1711642"/>
                  <a:gd name="connsiteY207" fmla="*/ 743998 h 1078325"/>
                  <a:gd name="connsiteX208" fmla="*/ 1352550 w 1711642"/>
                  <a:gd name="connsiteY208" fmla="*/ 736378 h 1078325"/>
                  <a:gd name="connsiteX209" fmla="*/ 1323975 w 1711642"/>
                  <a:gd name="connsiteY209" fmla="*/ 715423 h 1078325"/>
                  <a:gd name="connsiteX210" fmla="*/ 1320165 w 1711642"/>
                  <a:gd name="connsiteY210" fmla="*/ 701135 h 1078325"/>
                  <a:gd name="connsiteX211" fmla="*/ 1306830 w 1711642"/>
                  <a:gd name="connsiteY211" fmla="*/ 665797 h 1078325"/>
                  <a:gd name="connsiteX212" fmla="*/ 1296352 w 1711642"/>
                  <a:gd name="connsiteY212" fmla="*/ 655415 h 1078325"/>
                  <a:gd name="connsiteX213" fmla="*/ 1278255 w 1711642"/>
                  <a:gd name="connsiteY213" fmla="*/ 648748 h 1078325"/>
                  <a:gd name="connsiteX214" fmla="*/ 1284922 w 1711642"/>
                  <a:gd name="connsiteY214" fmla="*/ 630650 h 1078325"/>
                  <a:gd name="connsiteX215" fmla="*/ 1303020 w 1711642"/>
                  <a:gd name="connsiteY215" fmla="*/ 605885 h 1078325"/>
                  <a:gd name="connsiteX216" fmla="*/ 1320165 w 1711642"/>
                  <a:gd name="connsiteY216" fmla="*/ 599218 h 1078325"/>
                  <a:gd name="connsiteX217" fmla="*/ 1323975 w 1711642"/>
                  <a:gd name="connsiteY217" fmla="*/ 588645 h 1078325"/>
                  <a:gd name="connsiteX218" fmla="*/ 1338263 w 1711642"/>
                  <a:gd name="connsiteY218" fmla="*/ 581025 h 1078325"/>
                  <a:gd name="connsiteX219" fmla="*/ 1359218 w 1711642"/>
                  <a:gd name="connsiteY219" fmla="*/ 581025 h 1078325"/>
                  <a:gd name="connsiteX220" fmla="*/ 1369695 w 1711642"/>
                  <a:gd name="connsiteY220" fmla="*/ 578263 h 1078325"/>
                  <a:gd name="connsiteX221" fmla="*/ 1363027 w 1711642"/>
                  <a:gd name="connsiteY221" fmla="*/ 563975 h 1078325"/>
                  <a:gd name="connsiteX222" fmla="*/ 1334452 w 1711642"/>
                  <a:gd name="connsiteY222" fmla="*/ 557213 h 1078325"/>
                  <a:gd name="connsiteX223" fmla="*/ 1320165 w 1711642"/>
                  <a:gd name="connsiteY223" fmla="*/ 549688 h 1078325"/>
                  <a:gd name="connsiteX224" fmla="*/ 1306830 w 1711642"/>
                  <a:gd name="connsiteY224" fmla="*/ 553498 h 1078325"/>
                  <a:gd name="connsiteX225" fmla="*/ 1292543 w 1711642"/>
                  <a:gd name="connsiteY225" fmla="*/ 567785 h 1078325"/>
                  <a:gd name="connsiteX226" fmla="*/ 1271588 w 1711642"/>
                  <a:gd name="connsiteY226" fmla="*/ 570643 h 1078325"/>
                  <a:gd name="connsiteX227" fmla="*/ 1267777 w 1711642"/>
                  <a:gd name="connsiteY227" fmla="*/ 557213 h 1078325"/>
                  <a:gd name="connsiteX228" fmla="*/ 1267777 w 1711642"/>
                  <a:gd name="connsiteY228" fmla="*/ 545783 h 1078325"/>
                  <a:gd name="connsiteX229" fmla="*/ 1243013 w 1711642"/>
                  <a:gd name="connsiteY229" fmla="*/ 542925 h 1078325"/>
                  <a:gd name="connsiteX230" fmla="*/ 1232535 w 1711642"/>
                  <a:gd name="connsiteY230" fmla="*/ 518255 h 1078325"/>
                  <a:gd name="connsiteX231" fmla="*/ 1239202 w 1711642"/>
                  <a:gd name="connsiteY231" fmla="*/ 503968 h 1078325"/>
                  <a:gd name="connsiteX232" fmla="*/ 1274445 w 1711642"/>
                  <a:gd name="connsiteY232" fmla="*/ 503968 h 1078325"/>
                  <a:gd name="connsiteX233" fmla="*/ 1282065 w 1711642"/>
                  <a:gd name="connsiteY233" fmla="*/ 485775 h 1078325"/>
                  <a:gd name="connsiteX234" fmla="*/ 1320165 w 1711642"/>
                  <a:gd name="connsiteY234" fmla="*/ 454438 h 1078325"/>
                  <a:gd name="connsiteX235" fmla="*/ 1342072 w 1711642"/>
                  <a:gd name="connsiteY235" fmla="*/ 450533 h 1078325"/>
                  <a:gd name="connsiteX236" fmla="*/ 1355407 w 1711642"/>
                  <a:gd name="connsiteY236" fmla="*/ 450533 h 1078325"/>
                  <a:gd name="connsiteX237" fmla="*/ 1359218 w 1711642"/>
                  <a:gd name="connsiteY237" fmla="*/ 468725 h 1078325"/>
                  <a:gd name="connsiteX238" fmla="*/ 1342072 w 1711642"/>
                  <a:gd name="connsiteY238" fmla="*/ 479108 h 1078325"/>
                  <a:gd name="connsiteX239" fmla="*/ 1334452 w 1711642"/>
                  <a:gd name="connsiteY239" fmla="*/ 497300 h 1078325"/>
                  <a:gd name="connsiteX240" fmla="*/ 1338263 w 1711642"/>
                  <a:gd name="connsiteY240" fmla="*/ 518255 h 1078325"/>
                  <a:gd name="connsiteX241" fmla="*/ 1387793 w 1711642"/>
                  <a:gd name="connsiteY241" fmla="*/ 485775 h 1078325"/>
                  <a:gd name="connsiteX242" fmla="*/ 1404938 w 1711642"/>
                  <a:gd name="connsiteY242" fmla="*/ 483013 h 1078325"/>
                  <a:gd name="connsiteX243" fmla="*/ 1423035 w 1711642"/>
                  <a:gd name="connsiteY243" fmla="*/ 479108 h 1078325"/>
                  <a:gd name="connsiteX244" fmla="*/ 1440180 w 1711642"/>
                  <a:gd name="connsiteY244" fmla="*/ 461963 h 1078325"/>
                  <a:gd name="connsiteX245" fmla="*/ 1461135 w 1711642"/>
                  <a:gd name="connsiteY245" fmla="*/ 447675 h 1078325"/>
                  <a:gd name="connsiteX246" fmla="*/ 1485900 w 1711642"/>
                  <a:gd name="connsiteY246" fmla="*/ 423005 h 1078325"/>
                  <a:gd name="connsiteX247" fmla="*/ 1493520 w 1711642"/>
                  <a:gd name="connsiteY247" fmla="*/ 419100 h 1078325"/>
                  <a:gd name="connsiteX248" fmla="*/ 1510665 w 1711642"/>
                  <a:gd name="connsiteY248" fmla="*/ 426720 h 1078325"/>
                  <a:gd name="connsiteX249" fmla="*/ 1528763 w 1711642"/>
                  <a:gd name="connsiteY249" fmla="*/ 423005 h 1078325"/>
                  <a:gd name="connsiteX250" fmla="*/ 1531620 w 1711642"/>
                  <a:gd name="connsiteY250" fmla="*/ 408718 h 1078325"/>
                  <a:gd name="connsiteX251" fmla="*/ 1549718 w 1711642"/>
                  <a:gd name="connsiteY251" fmla="*/ 408718 h 1078325"/>
                  <a:gd name="connsiteX252" fmla="*/ 1577340 w 1711642"/>
                  <a:gd name="connsiteY252" fmla="*/ 380143 h 1078325"/>
                  <a:gd name="connsiteX253" fmla="*/ 1595438 w 1711642"/>
                  <a:gd name="connsiteY253" fmla="*/ 394430 h 1078325"/>
                  <a:gd name="connsiteX254" fmla="*/ 1609725 w 1711642"/>
                  <a:gd name="connsiteY254" fmla="*/ 377285 h 1078325"/>
                  <a:gd name="connsiteX255" fmla="*/ 1609725 w 1711642"/>
                  <a:gd name="connsiteY255" fmla="*/ 313468 h 1078325"/>
                  <a:gd name="connsiteX256" fmla="*/ 1633538 w 1711642"/>
                  <a:gd name="connsiteY256" fmla="*/ 296323 h 1078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</a:cxnLst>
                <a:rect l="l" t="t" r="r" b="b"/>
                <a:pathLst>
                  <a:path w="1711642" h="1078325">
                    <a:moveTo>
                      <a:pt x="1633538" y="296323"/>
                    </a:moveTo>
                    <a:lnTo>
                      <a:pt x="1644968" y="306800"/>
                    </a:lnTo>
                    <a:lnTo>
                      <a:pt x="1665922" y="302895"/>
                    </a:lnTo>
                    <a:lnTo>
                      <a:pt x="1686877" y="263938"/>
                    </a:lnTo>
                    <a:lnTo>
                      <a:pt x="1697355" y="225838"/>
                    </a:lnTo>
                    <a:lnTo>
                      <a:pt x="1711643" y="218218"/>
                    </a:lnTo>
                    <a:lnTo>
                      <a:pt x="1707832" y="193358"/>
                    </a:lnTo>
                    <a:lnTo>
                      <a:pt x="1680210" y="197263"/>
                    </a:lnTo>
                    <a:lnTo>
                      <a:pt x="1655445" y="201073"/>
                    </a:lnTo>
                    <a:lnTo>
                      <a:pt x="1644968" y="214313"/>
                    </a:lnTo>
                    <a:lnTo>
                      <a:pt x="1605915" y="211550"/>
                    </a:lnTo>
                    <a:lnTo>
                      <a:pt x="1599247" y="176213"/>
                    </a:lnTo>
                    <a:lnTo>
                      <a:pt x="1587818" y="172498"/>
                    </a:lnTo>
                    <a:lnTo>
                      <a:pt x="1564005" y="158210"/>
                    </a:lnTo>
                    <a:lnTo>
                      <a:pt x="1545907" y="147638"/>
                    </a:lnTo>
                    <a:lnTo>
                      <a:pt x="1517332" y="147638"/>
                    </a:lnTo>
                    <a:lnTo>
                      <a:pt x="1498282" y="102013"/>
                    </a:lnTo>
                    <a:lnTo>
                      <a:pt x="1493520" y="91535"/>
                    </a:lnTo>
                    <a:lnTo>
                      <a:pt x="1479232" y="56293"/>
                    </a:lnTo>
                    <a:lnTo>
                      <a:pt x="1458277" y="21050"/>
                    </a:lnTo>
                    <a:lnTo>
                      <a:pt x="1404938" y="0"/>
                    </a:lnTo>
                    <a:lnTo>
                      <a:pt x="1373505" y="2858"/>
                    </a:lnTo>
                    <a:lnTo>
                      <a:pt x="1327785" y="6763"/>
                    </a:lnTo>
                    <a:lnTo>
                      <a:pt x="1303020" y="17145"/>
                    </a:lnTo>
                    <a:lnTo>
                      <a:pt x="1299210" y="31433"/>
                    </a:lnTo>
                    <a:lnTo>
                      <a:pt x="1320165" y="35338"/>
                    </a:lnTo>
                    <a:lnTo>
                      <a:pt x="1320165" y="60008"/>
                    </a:lnTo>
                    <a:lnTo>
                      <a:pt x="1303020" y="70580"/>
                    </a:lnTo>
                    <a:lnTo>
                      <a:pt x="1284922" y="102013"/>
                    </a:lnTo>
                    <a:lnTo>
                      <a:pt x="1278255" y="130588"/>
                    </a:lnTo>
                    <a:lnTo>
                      <a:pt x="1257300" y="133350"/>
                    </a:lnTo>
                    <a:lnTo>
                      <a:pt x="1239202" y="151543"/>
                    </a:lnTo>
                    <a:lnTo>
                      <a:pt x="1207770" y="133350"/>
                    </a:lnTo>
                    <a:lnTo>
                      <a:pt x="1197293" y="147638"/>
                    </a:lnTo>
                    <a:lnTo>
                      <a:pt x="1183005" y="179070"/>
                    </a:lnTo>
                    <a:lnTo>
                      <a:pt x="1176338" y="203930"/>
                    </a:lnTo>
                    <a:lnTo>
                      <a:pt x="1225868" y="207645"/>
                    </a:lnTo>
                    <a:lnTo>
                      <a:pt x="1239202" y="197263"/>
                    </a:lnTo>
                    <a:lnTo>
                      <a:pt x="1257300" y="201073"/>
                    </a:lnTo>
                    <a:lnTo>
                      <a:pt x="1292543" y="236220"/>
                    </a:lnTo>
                    <a:lnTo>
                      <a:pt x="1296352" y="253460"/>
                    </a:lnTo>
                    <a:lnTo>
                      <a:pt x="1267777" y="249650"/>
                    </a:lnTo>
                    <a:lnTo>
                      <a:pt x="1246822" y="249650"/>
                    </a:lnTo>
                    <a:lnTo>
                      <a:pt x="1211580" y="263938"/>
                    </a:lnTo>
                    <a:lnTo>
                      <a:pt x="1180147" y="288608"/>
                    </a:lnTo>
                    <a:lnTo>
                      <a:pt x="1151572" y="288608"/>
                    </a:lnTo>
                    <a:lnTo>
                      <a:pt x="1126807" y="313468"/>
                    </a:lnTo>
                    <a:lnTo>
                      <a:pt x="1095375" y="309563"/>
                    </a:lnTo>
                    <a:lnTo>
                      <a:pt x="1070610" y="309563"/>
                    </a:lnTo>
                    <a:lnTo>
                      <a:pt x="1060132" y="331470"/>
                    </a:lnTo>
                    <a:lnTo>
                      <a:pt x="1070610" y="352425"/>
                    </a:lnTo>
                    <a:lnTo>
                      <a:pt x="1039177" y="369570"/>
                    </a:lnTo>
                    <a:lnTo>
                      <a:pt x="1039177" y="380143"/>
                    </a:lnTo>
                    <a:lnTo>
                      <a:pt x="1006793" y="398145"/>
                    </a:lnTo>
                    <a:lnTo>
                      <a:pt x="929640" y="398145"/>
                    </a:lnTo>
                    <a:lnTo>
                      <a:pt x="890588" y="423005"/>
                    </a:lnTo>
                    <a:lnTo>
                      <a:pt x="827722" y="415385"/>
                    </a:lnTo>
                    <a:lnTo>
                      <a:pt x="784860" y="394430"/>
                    </a:lnTo>
                    <a:lnTo>
                      <a:pt x="736282" y="391573"/>
                    </a:lnTo>
                    <a:lnTo>
                      <a:pt x="641032" y="387763"/>
                    </a:lnTo>
                    <a:lnTo>
                      <a:pt x="630555" y="373475"/>
                    </a:lnTo>
                    <a:lnTo>
                      <a:pt x="620077" y="348710"/>
                    </a:lnTo>
                    <a:lnTo>
                      <a:pt x="581025" y="327755"/>
                    </a:lnTo>
                    <a:lnTo>
                      <a:pt x="562927" y="309563"/>
                    </a:lnTo>
                    <a:lnTo>
                      <a:pt x="503872" y="306800"/>
                    </a:lnTo>
                    <a:lnTo>
                      <a:pt x="489585" y="299180"/>
                    </a:lnTo>
                    <a:lnTo>
                      <a:pt x="481965" y="278225"/>
                    </a:lnTo>
                    <a:lnTo>
                      <a:pt x="493395" y="263938"/>
                    </a:lnTo>
                    <a:lnTo>
                      <a:pt x="493395" y="249650"/>
                    </a:lnTo>
                    <a:lnTo>
                      <a:pt x="479107" y="228600"/>
                    </a:lnTo>
                    <a:lnTo>
                      <a:pt x="454343" y="203930"/>
                    </a:lnTo>
                    <a:lnTo>
                      <a:pt x="425768" y="201073"/>
                    </a:lnTo>
                    <a:lnTo>
                      <a:pt x="408622" y="182975"/>
                    </a:lnTo>
                    <a:lnTo>
                      <a:pt x="401002" y="165830"/>
                    </a:lnTo>
                    <a:lnTo>
                      <a:pt x="373380" y="165830"/>
                    </a:lnTo>
                    <a:lnTo>
                      <a:pt x="369570" y="182975"/>
                    </a:lnTo>
                    <a:lnTo>
                      <a:pt x="348615" y="182975"/>
                    </a:lnTo>
                    <a:lnTo>
                      <a:pt x="341947" y="207645"/>
                    </a:lnTo>
                    <a:lnTo>
                      <a:pt x="341947" y="232505"/>
                    </a:lnTo>
                    <a:lnTo>
                      <a:pt x="323850" y="236220"/>
                    </a:lnTo>
                    <a:lnTo>
                      <a:pt x="299085" y="236220"/>
                    </a:lnTo>
                    <a:lnTo>
                      <a:pt x="267652" y="232505"/>
                    </a:lnTo>
                    <a:lnTo>
                      <a:pt x="249555" y="274320"/>
                    </a:lnTo>
                    <a:lnTo>
                      <a:pt x="242888" y="299180"/>
                    </a:lnTo>
                    <a:lnTo>
                      <a:pt x="211455" y="299180"/>
                    </a:lnTo>
                    <a:lnTo>
                      <a:pt x="190500" y="309563"/>
                    </a:lnTo>
                    <a:lnTo>
                      <a:pt x="193357" y="342043"/>
                    </a:lnTo>
                    <a:lnTo>
                      <a:pt x="203835" y="369570"/>
                    </a:lnTo>
                    <a:lnTo>
                      <a:pt x="190500" y="383858"/>
                    </a:lnTo>
                    <a:lnTo>
                      <a:pt x="190500" y="402050"/>
                    </a:lnTo>
                    <a:lnTo>
                      <a:pt x="179070" y="408718"/>
                    </a:lnTo>
                    <a:lnTo>
                      <a:pt x="133350" y="429673"/>
                    </a:lnTo>
                    <a:lnTo>
                      <a:pt x="126682" y="443960"/>
                    </a:lnTo>
                    <a:lnTo>
                      <a:pt x="91440" y="443960"/>
                    </a:lnTo>
                    <a:lnTo>
                      <a:pt x="84772" y="461963"/>
                    </a:lnTo>
                    <a:lnTo>
                      <a:pt x="56197" y="468725"/>
                    </a:lnTo>
                    <a:lnTo>
                      <a:pt x="56197" y="458248"/>
                    </a:lnTo>
                    <a:lnTo>
                      <a:pt x="31432" y="458248"/>
                    </a:lnTo>
                    <a:lnTo>
                      <a:pt x="27622" y="468725"/>
                    </a:lnTo>
                    <a:lnTo>
                      <a:pt x="6668" y="483013"/>
                    </a:lnTo>
                    <a:lnTo>
                      <a:pt x="3810" y="500063"/>
                    </a:lnTo>
                    <a:lnTo>
                      <a:pt x="0" y="510635"/>
                    </a:lnTo>
                    <a:lnTo>
                      <a:pt x="3810" y="524923"/>
                    </a:lnTo>
                    <a:lnTo>
                      <a:pt x="14288" y="528638"/>
                    </a:lnTo>
                    <a:lnTo>
                      <a:pt x="35243" y="524923"/>
                    </a:lnTo>
                    <a:lnTo>
                      <a:pt x="35243" y="560070"/>
                    </a:lnTo>
                    <a:lnTo>
                      <a:pt x="35243" y="574358"/>
                    </a:lnTo>
                    <a:lnTo>
                      <a:pt x="66675" y="584930"/>
                    </a:lnTo>
                    <a:lnTo>
                      <a:pt x="66675" y="602933"/>
                    </a:lnTo>
                    <a:lnTo>
                      <a:pt x="101918" y="616363"/>
                    </a:lnTo>
                    <a:lnTo>
                      <a:pt x="113347" y="638175"/>
                    </a:lnTo>
                    <a:lnTo>
                      <a:pt x="141922" y="661035"/>
                    </a:lnTo>
                    <a:lnTo>
                      <a:pt x="160972" y="654463"/>
                    </a:lnTo>
                    <a:lnTo>
                      <a:pt x="177165" y="641033"/>
                    </a:lnTo>
                    <a:lnTo>
                      <a:pt x="176213" y="655415"/>
                    </a:lnTo>
                    <a:lnTo>
                      <a:pt x="147638" y="669703"/>
                    </a:lnTo>
                    <a:lnTo>
                      <a:pt x="147638" y="687800"/>
                    </a:lnTo>
                    <a:lnTo>
                      <a:pt x="168593" y="701135"/>
                    </a:lnTo>
                    <a:lnTo>
                      <a:pt x="165735" y="715423"/>
                    </a:lnTo>
                    <a:lnTo>
                      <a:pt x="147638" y="719138"/>
                    </a:lnTo>
                    <a:lnTo>
                      <a:pt x="140970" y="736378"/>
                    </a:lnTo>
                    <a:lnTo>
                      <a:pt x="140970" y="750665"/>
                    </a:lnTo>
                    <a:lnTo>
                      <a:pt x="177165" y="781050"/>
                    </a:lnTo>
                    <a:lnTo>
                      <a:pt x="207645" y="810673"/>
                    </a:lnTo>
                    <a:lnTo>
                      <a:pt x="232410" y="791623"/>
                    </a:lnTo>
                    <a:lnTo>
                      <a:pt x="255270" y="814388"/>
                    </a:lnTo>
                    <a:lnTo>
                      <a:pt x="284797" y="823913"/>
                    </a:lnTo>
                    <a:lnTo>
                      <a:pt x="302895" y="841153"/>
                    </a:lnTo>
                    <a:lnTo>
                      <a:pt x="338138" y="856297"/>
                    </a:lnTo>
                    <a:lnTo>
                      <a:pt x="365760" y="863060"/>
                    </a:lnTo>
                    <a:lnTo>
                      <a:pt x="404813" y="860203"/>
                    </a:lnTo>
                    <a:lnTo>
                      <a:pt x="433388" y="860203"/>
                    </a:lnTo>
                    <a:lnTo>
                      <a:pt x="440055" y="860203"/>
                    </a:lnTo>
                    <a:lnTo>
                      <a:pt x="450532" y="849725"/>
                    </a:lnTo>
                    <a:lnTo>
                      <a:pt x="468630" y="849725"/>
                    </a:lnTo>
                    <a:lnTo>
                      <a:pt x="489585" y="856297"/>
                    </a:lnTo>
                    <a:lnTo>
                      <a:pt x="514350" y="860203"/>
                    </a:lnTo>
                    <a:lnTo>
                      <a:pt x="531495" y="856297"/>
                    </a:lnTo>
                    <a:lnTo>
                      <a:pt x="549593" y="831628"/>
                    </a:lnTo>
                    <a:lnTo>
                      <a:pt x="570547" y="831628"/>
                    </a:lnTo>
                    <a:lnTo>
                      <a:pt x="581025" y="817340"/>
                    </a:lnTo>
                    <a:lnTo>
                      <a:pt x="600075" y="851535"/>
                    </a:lnTo>
                    <a:lnTo>
                      <a:pt x="620077" y="852488"/>
                    </a:lnTo>
                    <a:lnTo>
                      <a:pt x="637222" y="839248"/>
                    </a:lnTo>
                    <a:lnTo>
                      <a:pt x="665797" y="842010"/>
                    </a:lnTo>
                    <a:lnTo>
                      <a:pt x="679132" y="845915"/>
                    </a:lnTo>
                    <a:lnTo>
                      <a:pt x="690563" y="864013"/>
                    </a:lnTo>
                    <a:lnTo>
                      <a:pt x="703897" y="874490"/>
                    </a:lnTo>
                    <a:lnTo>
                      <a:pt x="701040" y="916400"/>
                    </a:lnTo>
                    <a:lnTo>
                      <a:pt x="672465" y="955453"/>
                    </a:lnTo>
                    <a:lnTo>
                      <a:pt x="672465" y="962025"/>
                    </a:lnTo>
                    <a:lnTo>
                      <a:pt x="707707" y="972598"/>
                    </a:lnTo>
                    <a:lnTo>
                      <a:pt x="707707" y="997363"/>
                    </a:lnTo>
                    <a:lnTo>
                      <a:pt x="725805" y="1004888"/>
                    </a:lnTo>
                    <a:lnTo>
                      <a:pt x="725805" y="1004888"/>
                    </a:lnTo>
                    <a:lnTo>
                      <a:pt x="725805" y="1032510"/>
                    </a:lnTo>
                    <a:lnTo>
                      <a:pt x="739140" y="1036415"/>
                    </a:lnTo>
                    <a:lnTo>
                      <a:pt x="739140" y="1046797"/>
                    </a:lnTo>
                    <a:lnTo>
                      <a:pt x="753427" y="1046797"/>
                    </a:lnTo>
                    <a:lnTo>
                      <a:pt x="767715" y="1046797"/>
                    </a:lnTo>
                    <a:lnTo>
                      <a:pt x="774382" y="1054513"/>
                    </a:lnTo>
                    <a:lnTo>
                      <a:pt x="788670" y="1054513"/>
                    </a:lnTo>
                    <a:lnTo>
                      <a:pt x="792480" y="1040225"/>
                    </a:lnTo>
                    <a:lnTo>
                      <a:pt x="782002" y="1036415"/>
                    </a:lnTo>
                    <a:lnTo>
                      <a:pt x="782002" y="1022128"/>
                    </a:lnTo>
                    <a:lnTo>
                      <a:pt x="802957" y="1022128"/>
                    </a:lnTo>
                    <a:lnTo>
                      <a:pt x="806768" y="1015460"/>
                    </a:lnTo>
                    <a:lnTo>
                      <a:pt x="865822" y="1015460"/>
                    </a:lnTo>
                    <a:lnTo>
                      <a:pt x="880110" y="1001173"/>
                    </a:lnTo>
                    <a:lnTo>
                      <a:pt x="894397" y="1001173"/>
                    </a:lnTo>
                    <a:lnTo>
                      <a:pt x="904875" y="1007840"/>
                    </a:lnTo>
                    <a:lnTo>
                      <a:pt x="925830" y="1011650"/>
                    </a:lnTo>
                    <a:lnTo>
                      <a:pt x="929640" y="1040225"/>
                    </a:lnTo>
                    <a:lnTo>
                      <a:pt x="943927" y="1046797"/>
                    </a:lnTo>
                    <a:lnTo>
                      <a:pt x="961072" y="1046797"/>
                    </a:lnTo>
                    <a:lnTo>
                      <a:pt x="979170" y="1040225"/>
                    </a:lnTo>
                    <a:lnTo>
                      <a:pt x="996315" y="1046797"/>
                    </a:lnTo>
                    <a:lnTo>
                      <a:pt x="1014413" y="1046797"/>
                    </a:lnTo>
                    <a:lnTo>
                      <a:pt x="1014413" y="1057275"/>
                    </a:lnTo>
                    <a:lnTo>
                      <a:pt x="1014413" y="1071563"/>
                    </a:lnTo>
                    <a:lnTo>
                      <a:pt x="1028700" y="1078325"/>
                    </a:lnTo>
                    <a:lnTo>
                      <a:pt x="1024890" y="1064990"/>
                    </a:lnTo>
                    <a:lnTo>
                      <a:pt x="1031557" y="1050703"/>
                    </a:lnTo>
                    <a:lnTo>
                      <a:pt x="1052513" y="1046797"/>
                    </a:lnTo>
                    <a:lnTo>
                      <a:pt x="1087755" y="1036415"/>
                    </a:lnTo>
                    <a:lnTo>
                      <a:pt x="1112520" y="1029748"/>
                    </a:lnTo>
                    <a:lnTo>
                      <a:pt x="1112520" y="1004888"/>
                    </a:lnTo>
                    <a:lnTo>
                      <a:pt x="1122997" y="1001173"/>
                    </a:lnTo>
                    <a:lnTo>
                      <a:pt x="1133475" y="1015460"/>
                    </a:lnTo>
                    <a:lnTo>
                      <a:pt x="1155382" y="1015460"/>
                    </a:lnTo>
                    <a:lnTo>
                      <a:pt x="1193482" y="1007840"/>
                    </a:lnTo>
                    <a:lnTo>
                      <a:pt x="1218247" y="986885"/>
                    </a:lnTo>
                    <a:lnTo>
                      <a:pt x="1257300" y="955453"/>
                    </a:lnTo>
                    <a:lnTo>
                      <a:pt x="1274445" y="923925"/>
                    </a:lnTo>
                    <a:lnTo>
                      <a:pt x="1299210" y="888778"/>
                    </a:lnTo>
                    <a:lnTo>
                      <a:pt x="1334452" y="845915"/>
                    </a:lnTo>
                    <a:lnTo>
                      <a:pt x="1348740" y="814388"/>
                    </a:lnTo>
                    <a:lnTo>
                      <a:pt x="1348740" y="793528"/>
                    </a:lnTo>
                    <a:lnTo>
                      <a:pt x="1331595" y="789622"/>
                    </a:lnTo>
                    <a:lnTo>
                      <a:pt x="1306830" y="785813"/>
                    </a:lnTo>
                    <a:lnTo>
                      <a:pt x="1309688" y="782098"/>
                    </a:lnTo>
                    <a:lnTo>
                      <a:pt x="1320165" y="775335"/>
                    </a:lnTo>
                    <a:lnTo>
                      <a:pt x="1338263" y="771525"/>
                    </a:lnTo>
                    <a:lnTo>
                      <a:pt x="1352550" y="768763"/>
                    </a:lnTo>
                    <a:lnTo>
                      <a:pt x="1344930" y="758285"/>
                    </a:lnTo>
                    <a:lnTo>
                      <a:pt x="1323975" y="750665"/>
                    </a:lnTo>
                    <a:lnTo>
                      <a:pt x="1331595" y="736378"/>
                    </a:lnTo>
                    <a:lnTo>
                      <a:pt x="1348740" y="743998"/>
                    </a:lnTo>
                    <a:lnTo>
                      <a:pt x="1352550" y="736378"/>
                    </a:lnTo>
                    <a:lnTo>
                      <a:pt x="1323975" y="715423"/>
                    </a:lnTo>
                    <a:lnTo>
                      <a:pt x="1320165" y="701135"/>
                    </a:lnTo>
                    <a:lnTo>
                      <a:pt x="1306830" y="665797"/>
                    </a:lnTo>
                    <a:lnTo>
                      <a:pt x="1296352" y="655415"/>
                    </a:lnTo>
                    <a:lnTo>
                      <a:pt x="1278255" y="648748"/>
                    </a:lnTo>
                    <a:lnTo>
                      <a:pt x="1284922" y="630650"/>
                    </a:lnTo>
                    <a:lnTo>
                      <a:pt x="1303020" y="605885"/>
                    </a:lnTo>
                    <a:lnTo>
                      <a:pt x="1320165" y="599218"/>
                    </a:lnTo>
                    <a:lnTo>
                      <a:pt x="1323975" y="588645"/>
                    </a:lnTo>
                    <a:lnTo>
                      <a:pt x="1338263" y="581025"/>
                    </a:lnTo>
                    <a:lnTo>
                      <a:pt x="1359218" y="581025"/>
                    </a:lnTo>
                    <a:lnTo>
                      <a:pt x="1369695" y="578263"/>
                    </a:lnTo>
                    <a:lnTo>
                      <a:pt x="1363027" y="563975"/>
                    </a:lnTo>
                    <a:lnTo>
                      <a:pt x="1334452" y="557213"/>
                    </a:lnTo>
                    <a:lnTo>
                      <a:pt x="1320165" y="549688"/>
                    </a:lnTo>
                    <a:lnTo>
                      <a:pt x="1306830" y="553498"/>
                    </a:lnTo>
                    <a:lnTo>
                      <a:pt x="1292543" y="567785"/>
                    </a:lnTo>
                    <a:lnTo>
                      <a:pt x="1271588" y="570643"/>
                    </a:lnTo>
                    <a:lnTo>
                      <a:pt x="1267777" y="557213"/>
                    </a:lnTo>
                    <a:lnTo>
                      <a:pt x="1267777" y="545783"/>
                    </a:lnTo>
                    <a:lnTo>
                      <a:pt x="1243013" y="542925"/>
                    </a:lnTo>
                    <a:lnTo>
                      <a:pt x="1232535" y="518255"/>
                    </a:lnTo>
                    <a:lnTo>
                      <a:pt x="1239202" y="503968"/>
                    </a:lnTo>
                    <a:lnTo>
                      <a:pt x="1274445" y="503968"/>
                    </a:lnTo>
                    <a:lnTo>
                      <a:pt x="1282065" y="485775"/>
                    </a:lnTo>
                    <a:lnTo>
                      <a:pt x="1320165" y="454438"/>
                    </a:lnTo>
                    <a:lnTo>
                      <a:pt x="1342072" y="450533"/>
                    </a:lnTo>
                    <a:lnTo>
                      <a:pt x="1355407" y="450533"/>
                    </a:lnTo>
                    <a:lnTo>
                      <a:pt x="1359218" y="468725"/>
                    </a:lnTo>
                    <a:lnTo>
                      <a:pt x="1342072" y="479108"/>
                    </a:lnTo>
                    <a:lnTo>
                      <a:pt x="1334452" y="497300"/>
                    </a:lnTo>
                    <a:lnTo>
                      <a:pt x="1338263" y="518255"/>
                    </a:lnTo>
                    <a:lnTo>
                      <a:pt x="1387793" y="485775"/>
                    </a:lnTo>
                    <a:lnTo>
                      <a:pt x="1404938" y="483013"/>
                    </a:lnTo>
                    <a:lnTo>
                      <a:pt x="1423035" y="479108"/>
                    </a:lnTo>
                    <a:lnTo>
                      <a:pt x="1440180" y="461963"/>
                    </a:lnTo>
                    <a:lnTo>
                      <a:pt x="1461135" y="447675"/>
                    </a:lnTo>
                    <a:lnTo>
                      <a:pt x="1485900" y="423005"/>
                    </a:lnTo>
                    <a:lnTo>
                      <a:pt x="1493520" y="419100"/>
                    </a:lnTo>
                    <a:lnTo>
                      <a:pt x="1510665" y="426720"/>
                    </a:lnTo>
                    <a:lnTo>
                      <a:pt x="1528763" y="423005"/>
                    </a:lnTo>
                    <a:lnTo>
                      <a:pt x="1531620" y="408718"/>
                    </a:lnTo>
                    <a:lnTo>
                      <a:pt x="1549718" y="408718"/>
                    </a:lnTo>
                    <a:lnTo>
                      <a:pt x="1577340" y="380143"/>
                    </a:lnTo>
                    <a:lnTo>
                      <a:pt x="1595438" y="394430"/>
                    </a:lnTo>
                    <a:lnTo>
                      <a:pt x="1609725" y="377285"/>
                    </a:lnTo>
                    <a:lnTo>
                      <a:pt x="1609725" y="313468"/>
                    </a:lnTo>
                    <a:lnTo>
                      <a:pt x="1633538" y="29632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9" name="Freeform: Shape 508">
                <a:extLst>
                  <a:ext uri="{FF2B5EF4-FFF2-40B4-BE49-F238E27FC236}">
                    <a16:creationId xmlns:a16="http://schemas.microsoft.com/office/drawing/2014/main" id="{F6CB6E3F-6921-8898-6480-3FFA3EA27270}"/>
                  </a:ext>
                </a:extLst>
              </p:cNvPr>
              <p:cNvSpPr/>
              <p:nvPr/>
            </p:nvSpPr>
            <p:spPr>
              <a:xfrm>
                <a:off x="8505571" y="3733258"/>
                <a:ext cx="251171" cy="523823"/>
              </a:xfrm>
              <a:custGeom>
                <a:avLst/>
                <a:gdLst>
                  <a:gd name="connsiteX0" fmla="*/ 238125 w 256222"/>
                  <a:gd name="connsiteY0" fmla="*/ 206692 h 534352"/>
                  <a:gd name="connsiteX1" fmla="*/ 224790 w 256222"/>
                  <a:gd name="connsiteY1" fmla="*/ 202787 h 534352"/>
                  <a:gd name="connsiteX2" fmla="*/ 224790 w 256222"/>
                  <a:gd name="connsiteY2" fmla="*/ 175165 h 534352"/>
                  <a:gd name="connsiteX3" fmla="*/ 206693 w 256222"/>
                  <a:gd name="connsiteY3" fmla="*/ 167640 h 534352"/>
                  <a:gd name="connsiteX4" fmla="*/ 206693 w 256222"/>
                  <a:gd name="connsiteY4" fmla="*/ 167640 h 534352"/>
                  <a:gd name="connsiteX5" fmla="*/ 206693 w 256222"/>
                  <a:gd name="connsiteY5" fmla="*/ 167640 h 534352"/>
                  <a:gd name="connsiteX6" fmla="*/ 206693 w 256222"/>
                  <a:gd name="connsiteY6" fmla="*/ 142875 h 534352"/>
                  <a:gd name="connsiteX7" fmla="*/ 171450 w 256222"/>
                  <a:gd name="connsiteY7" fmla="*/ 132302 h 534352"/>
                  <a:gd name="connsiteX8" fmla="*/ 171450 w 256222"/>
                  <a:gd name="connsiteY8" fmla="*/ 125730 h 534352"/>
                  <a:gd name="connsiteX9" fmla="*/ 185738 w 256222"/>
                  <a:gd name="connsiteY9" fmla="*/ 104775 h 534352"/>
                  <a:gd name="connsiteX10" fmla="*/ 200025 w 256222"/>
                  <a:gd name="connsiteY10" fmla="*/ 86677 h 534352"/>
                  <a:gd name="connsiteX11" fmla="*/ 202882 w 256222"/>
                  <a:gd name="connsiteY11" fmla="*/ 44767 h 534352"/>
                  <a:gd name="connsiteX12" fmla="*/ 189548 w 256222"/>
                  <a:gd name="connsiteY12" fmla="*/ 34290 h 534352"/>
                  <a:gd name="connsiteX13" fmla="*/ 178118 w 256222"/>
                  <a:gd name="connsiteY13" fmla="*/ 16192 h 534352"/>
                  <a:gd name="connsiteX14" fmla="*/ 133350 w 256222"/>
                  <a:gd name="connsiteY14" fmla="*/ 0 h 534352"/>
                  <a:gd name="connsiteX15" fmla="*/ 122873 w 256222"/>
                  <a:gd name="connsiteY15" fmla="*/ 18002 h 534352"/>
                  <a:gd name="connsiteX16" fmla="*/ 122873 w 256222"/>
                  <a:gd name="connsiteY16" fmla="*/ 35242 h 534352"/>
                  <a:gd name="connsiteX17" fmla="*/ 98107 w 256222"/>
                  <a:gd name="connsiteY17" fmla="*/ 35242 h 534352"/>
                  <a:gd name="connsiteX18" fmla="*/ 70485 w 256222"/>
                  <a:gd name="connsiteY18" fmla="*/ 59912 h 534352"/>
                  <a:gd name="connsiteX19" fmla="*/ 66675 w 256222"/>
                  <a:gd name="connsiteY19" fmla="*/ 80963 h 534352"/>
                  <a:gd name="connsiteX20" fmla="*/ 52388 w 256222"/>
                  <a:gd name="connsiteY20" fmla="*/ 95250 h 534352"/>
                  <a:gd name="connsiteX21" fmla="*/ 45720 w 256222"/>
                  <a:gd name="connsiteY21" fmla="*/ 130492 h 534352"/>
                  <a:gd name="connsiteX22" fmla="*/ 20955 w 256222"/>
                  <a:gd name="connsiteY22" fmla="*/ 134302 h 534352"/>
                  <a:gd name="connsiteX23" fmla="*/ 10478 w 256222"/>
                  <a:gd name="connsiteY23" fmla="*/ 183737 h 534352"/>
                  <a:gd name="connsiteX24" fmla="*/ 0 w 256222"/>
                  <a:gd name="connsiteY24" fmla="*/ 194215 h 534352"/>
                  <a:gd name="connsiteX25" fmla="*/ 0 w 256222"/>
                  <a:gd name="connsiteY25" fmla="*/ 211455 h 534352"/>
                  <a:gd name="connsiteX26" fmla="*/ 20003 w 256222"/>
                  <a:gd name="connsiteY26" fmla="*/ 231362 h 534352"/>
                  <a:gd name="connsiteX27" fmla="*/ 44768 w 256222"/>
                  <a:gd name="connsiteY27" fmla="*/ 256127 h 534352"/>
                  <a:gd name="connsiteX28" fmla="*/ 65723 w 256222"/>
                  <a:gd name="connsiteY28" fmla="*/ 291465 h 534352"/>
                  <a:gd name="connsiteX29" fmla="*/ 80010 w 256222"/>
                  <a:gd name="connsiteY29" fmla="*/ 305752 h 534352"/>
                  <a:gd name="connsiteX30" fmla="*/ 86678 w 256222"/>
                  <a:gd name="connsiteY30" fmla="*/ 322802 h 534352"/>
                  <a:gd name="connsiteX31" fmla="*/ 83820 w 256222"/>
                  <a:gd name="connsiteY31" fmla="*/ 347662 h 534352"/>
                  <a:gd name="connsiteX32" fmla="*/ 83820 w 256222"/>
                  <a:gd name="connsiteY32" fmla="*/ 372427 h 534352"/>
                  <a:gd name="connsiteX33" fmla="*/ 94298 w 256222"/>
                  <a:gd name="connsiteY33" fmla="*/ 386715 h 534352"/>
                  <a:gd name="connsiteX34" fmla="*/ 115253 w 256222"/>
                  <a:gd name="connsiteY34" fmla="*/ 386715 h 534352"/>
                  <a:gd name="connsiteX35" fmla="*/ 119063 w 256222"/>
                  <a:gd name="connsiteY35" fmla="*/ 372427 h 534352"/>
                  <a:gd name="connsiteX36" fmla="*/ 140018 w 256222"/>
                  <a:gd name="connsiteY36" fmla="*/ 365665 h 534352"/>
                  <a:gd name="connsiteX37" fmla="*/ 150495 w 256222"/>
                  <a:gd name="connsiteY37" fmla="*/ 343852 h 534352"/>
                  <a:gd name="connsiteX38" fmla="*/ 167640 w 256222"/>
                  <a:gd name="connsiteY38" fmla="*/ 365665 h 534352"/>
                  <a:gd name="connsiteX39" fmla="*/ 178118 w 256222"/>
                  <a:gd name="connsiteY39" fmla="*/ 390525 h 534352"/>
                  <a:gd name="connsiteX40" fmla="*/ 178118 w 256222"/>
                  <a:gd name="connsiteY40" fmla="*/ 418052 h 534352"/>
                  <a:gd name="connsiteX41" fmla="*/ 192405 w 256222"/>
                  <a:gd name="connsiteY41" fmla="*/ 453390 h 534352"/>
                  <a:gd name="connsiteX42" fmla="*/ 196215 w 256222"/>
                  <a:gd name="connsiteY42" fmla="*/ 463867 h 534352"/>
                  <a:gd name="connsiteX43" fmla="*/ 196215 w 256222"/>
                  <a:gd name="connsiteY43" fmla="*/ 488537 h 534352"/>
                  <a:gd name="connsiteX44" fmla="*/ 196215 w 256222"/>
                  <a:gd name="connsiteY44" fmla="*/ 506730 h 534352"/>
                  <a:gd name="connsiteX45" fmla="*/ 192405 w 256222"/>
                  <a:gd name="connsiteY45" fmla="*/ 520065 h 534352"/>
                  <a:gd name="connsiteX46" fmla="*/ 196215 w 256222"/>
                  <a:gd name="connsiteY46" fmla="*/ 534352 h 534352"/>
                  <a:gd name="connsiteX47" fmla="*/ 217170 w 256222"/>
                  <a:gd name="connsiteY47" fmla="*/ 517112 h 534352"/>
                  <a:gd name="connsiteX48" fmla="*/ 224790 w 256222"/>
                  <a:gd name="connsiteY48" fmla="*/ 496252 h 534352"/>
                  <a:gd name="connsiteX49" fmla="*/ 213360 w 256222"/>
                  <a:gd name="connsiteY49" fmla="*/ 478155 h 534352"/>
                  <a:gd name="connsiteX50" fmla="*/ 213360 w 256222"/>
                  <a:gd name="connsiteY50" fmla="*/ 449580 h 534352"/>
                  <a:gd name="connsiteX51" fmla="*/ 200025 w 256222"/>
                  <a:gd name="connsiteY51" fmla="*/ 428625 h 534352"/>
                  <a:gd name="connsiteX52" fmla="*/ 189548 w 256222"/>
                  <a:gd name="connsiteY52" fmla="*/ 414337 h 534352"/>
                  <a:gd name="connsiteX53" fmla="*/ 196215 w 256222"/>
                  <a:gd name="connsiteY53" fmla="*/ 397192 h 534352"/>
                  <a:gd name="connsiteX54" fmla="*/ 202882 w 256222"/>
                  <a:gd name="connsiteY54" fmla="*/ 379000 h 534352"/>
                  <a:gd name="connsiteX55" fmla="*/ 192405 w 256222"/>
                  <a:gd name="connsiteY55" fmla="*/ 351377 h 534352"/>
                  <a:gd name="connsiteX56" fmla="*/ 175260 w 256222"/>
                  <a:gd name="connsiteY56" fmla="*/ 337090 h 534352"/>
                  <a:gd name="connsiteX57" fmla="*/ 171450 w 256222"/>
                  <a:gd name="connsiteY57" fmla="*/ 326612 h 534352"/>
                  <a:gd name="connsiteX58" fmla="*/ 167640 w 256222"/>
                  <a:gd name="connsiteY58" fmla="*/ 308515 h 534352"/>
                  <a:gd name="connsiteX59" fmla="*/ 171450 w 256222"/>
                  <a:gd name="connsiteY59" fmla="*/ 298037 h 534352"/>
                  <a:gd name="connsiteX60" fmla="*/ 175260 w 256222"/>
                  <a:gd name="connsiteY60" fmla="*/ 291465 h 534352"/>
                  <a:gd name="connsiteX61" fmla="*/ 175260 w 256222"/>
                  <a:gd name="connsiteY61" fmla="*/ 270415 h 534352"/>
                  <a:gd name="connsiteX62" fmla="*/ 206693 w 256222"/>
                  <a:gd name="connsiteY62" fmla="*/ 266700 h 534352"/>
                  <a:gd name="connsiteX63" fmla="*/ 224790 w 256222"/>
                  <a:gd name="connsiteY63" fmla="*/ 252412 h 534352"/>
                  <a:gd name="connsiteX64" fmla="*/ 256223 w 256222"/>
                  <a:gd name="connsiteY64" fmla="*/ 235267 h 534352"/>
                  <a:gd name="connsiteX65" fmla="*/ 252413 w 256222"/>
                  <a:gd name="connsiteY65" fmla="*/ 217075 h 534352"/>
                  <a:gd name="connsiteX66" fmla="*/ 238125 w 256222"/>
                  <a:gd name="connsiteY66" fmla="*/ 217075 h 534352"/>
                  <a:gd name="connsiteX67" fmla="*/ 238125 w 256222"/>
                  <a:gd name="connsiteY67" fmla="*/ 206692 h 534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56222" h="534352">
                    <a:moveTo>
                      <a:pt x="238125" y="206692"/>
                    </a:moveTo>
                    <a:lnTo>
                      <a:pt x="224790" y="202787"/>
                    </a:lnTo>
                    <a:lnTo>
                      <a:pt x="224790" y="175165"/>
                    </a:lnTo>
                    <a:lnTo>
                      <a:pt x="206693" y="167640"/>
                    </a:lnTo>
                    <a:lnTo>
                      <a:pt x="206693" y="167640"/>
                    </a:lnTo>
                    <a:lnTo>
                      <a:pt x="206693" y="167640"/>
                    </a:lnTo>
                    <a:lnTo>
                      <a:pt x="206693" y="142875"/>
                    </a:lnTo>
                    <a:lnTo>
                      <a:pt x="171450" y="132302"/>
                    </a:lnTo>
                    <a:lnTo>
                      <a:pt x="171450" y="125730"/>
                    </a:lnTo>
                    <a:lnTo>
                      <a:pt x="185738" y="104775"/>
                    </a:lnTo>
                    <a:lnTo>
                      <a:pt x="200025" y="86677"/>
                    </a:lnTo>
                    <a:lnTo>
                      <a:pt x="202882" y="44767"/>
                    </a:lnTo>
                    <a:lnTo>
                      <a:pt x="189548" y="34290"/>
                    </a:lnTo>
                    <a:lnTo>
                      <a:pt x="178118" y="16192"/>
                    </a:lnTo>
                    <a:lnTo>
                      <a:pt x="133350" y="0"/>
                    </a:lnTo>
                    <a:lnTo>
                      <a:pt x="122873" y="18002"/>
                    </a:lnTo>
                    <a:lnTo>
                      <a:pt x="122873" y="35242"/>
                    </a:lnTo>
                    <a:lnTo>
                      <a:pt x="98107" y="35242"/>
                    </a:lnTo>
                    <a:lnTo>
                      <a:pt x="70485" y="59912"/>
                    </a:lnTo>
                    <a:lnTo>
                      <a:pt x="66675" y="80963"/>
                    </a:lnTo>
                    <a:lnTo>
                      <a:pt x="52388" y="95250"/>
                    </a:lnTo>
                    <a:lnTo>
                      <a:pt x="45720" y="130492"/>
                    </a:lnTo>
                    <a:lnTo>
                      <a:pt x="20955" y="134302"/>
                    </a:lnTo>
                    <a:lnTo>
                      <a:pt x="10478" y="183737"/>
                    </a:lnTo>
                    <a:lnTo>
                      <a:pt x="0" y="194215"/>
                    </a:lnTo>
                    <a:lnTo>
                      <a:pt x="0" y="211455"/>
                    </a:lnTo>
                    <a:lnTo>
                      <a:pt x="20003" y="231362"/>
                    </a:lnTo>
                    <a:lnTo>
                      <a:pt x="44768" y="256127"/>
                    </a:lnTo>
                    <a:lnTo>
                      <a:pt x="65723" y="291465"/>
                    </a:lnTo>
                    <a:lnTo>
                      <a:pt x="80010" y="305752"/>
                    </a:lnTo>
                    <a:lnTo>
                      <a:pt x="86678" y="322802"/>
                    </a:lnTo>
                    <a:lnTo>
                      <a:pt x="83820" y="347662"/>
                    </a:lnTo>
                    <a:lnTo>
                      <a:pt x="83820" y="372427"/>
                    </a:lnTo>
                    <a:lnTo>
                      <a:pt x="94298" y="386715"/>
                    </a:lnTo>
                    <a:lnTo>
                      <a:pt x="115253" y="386715"/>
                    </a:lnTo>
                    <a:lnTo>
                      <a:pt x="119063" y="372427"/>
                    </a:lnTo>
                    <a:lnTo>
                      <a:pt x="140018" y="365665"/>
                    </a:lnTo>
                    <a:lnTo>
                      <a:pt x="150495" y="343852"/>
                    </a:lnTo>
                    <a:lnTo>
                      <a:pt x="167640" y="365665"/>
                    </a:lnTo>
                    <a:lnTo>
                      <a:pt x="178118" y="390525"/>
                    </a:lnTo>
                    <a:lnTo>
                      <a:pt x="178118" y="418052"/>
                    </a:lnTo>
                    <a:lnTo>
                      <a:pt x="192405" y="453390"/>
                    </a:lnTo>
                    <a:lnTo>
                      <a:pt x="196215" y="463867"/>
                    </a:lnTo>
                    <a:lnTo>
                      <a:pt x="196215" y="488537"/>
                    </a:lnTo>
                    <a:lnTo>
                      <a:pt x="196215" y="506730"/>
                    </a:lnTo>
                    <a:lnTo>
                      <a:pt x="192405" y="520065"/>
                    </a:lnTo>
                    <a:lnTo>
                      <a:pt x="196215" y="534352"/>
                    </a:lnTo>
                    <a:lnTo>
                      <a:pt x="217170" y="517112"/>
                    </a:lnTo>
                    <a:lnTo>
                      <a:pt x="224790" y="496252"/>
                    </a:lnTo>
                    <a:lnTo>
                      <a:pt x="213360" y="478155"/>
                    </a:lnTo>
                    <a:lnTo>
                      <a:pt x="213360" y="449580"/>
                    </a:lnTo>
                    <a:lnTo>
                      <a:pt x="200025" y="428625"/>
                    </a:lnTo>
                    <a:lnTo>
                      <a:pt x="189548" y="414337"/>
                    </a:lnTo>
                    <a:lnTo>
                      <a:pt x="196215" y="397192"/>
                    </a:lnTo>
                    <a:lnTo>
                      <a:pt x="202882" y="379000"/>
                    </a:lnTo>
                    <a:lnTo>
                      <a:pt x="192405" y="351377"/>
                    </a:lnTo>
                    <a:lnTo>
                      <a:pt x="175260" y="337090"/>
                    </a:lnTo>
                    <a:lnTo>
                      <a:pt x="171450" y="326612"/>
                    </a:lnTo>
                    <a:lnTo>
                      <a:pt x="167640" y="308515"/>
                    </a:lnTo>
                    <a:lnTo>
                      <a:pt x="171450" y="298037"/>
                    </a:lnTo>
                    <a:lnTo>
                      <a:pt x="175260" y="291465"/>
                    </a:lnTo>
                    <a:lnTo>
                      <a:pt x="175260" y="270415"/>
                    </a:lnTo>
                    <a:lnTo>
                      <a:pt x="206693" y="266700"/>
                    </a:lnTo>
                    <a:lnTo>
                      <a:pt x="224790" y="252412"/>
                    </a:lnTo>
                    <a:lnTo>
                      <a:pt x="256223" y="235267"/>
                    </a:lnTo>
                    <a:lnTo>
                      <a:pt x="252413" y="217075"/>
                    </a:lnTo>
                    <a:lnTo>
                      <a:pt x="238125" y="217075"/>
                    </a:lnTo>
                    <a:lnTo>
                      <a:pt x="238125" y="20669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0" name="Freeform: Shape 509">
                <a:extLst>
                  <a:ext uri="{FF2B5EF4-FFF2-40B4-BE49-F238E27FC236}">
                    <a16:creationId xmlns:a16="http://schemas.microsoft.com/office/drawing/2014/main" id="{E7F85298-126B-1065-9346-30A3817EAE03}"/>
                  </a:ext>
                </a:extLst>
              </p:cNvPr>
              <p:cNvSpPr/>
              <p:nvPr/>
            </p:nvSpPr>
            <p:spPr>
              <a:xfrm>
                <a:off x="8396324" y="3796659"/>
                <a:ext cx="120450" cy="155000"/>
              </a:xfrm>
              <a:custGeom>
                <a:avLst/>
                <a:gdLst>
                  <a:gd name="connsiteX0" fmla="*/ 24765 w 122872"/>
                  <a:gd name="connsiteY0" fmla="*/ 130588 h 158115"/>
                  <a:gd name="connsiteX1" fmla="*/ 17145 w 122872"/>
                  <a:gd name="connsiteY1" fmla="*/ 87725 h 158115"/>
                  <a:gd name="connsiteX2" fmla="*/ 14288 w 122872"/>
                  <a:gd name="connsiteY2" fmla="*/ 66675 h 158115"/>
                  <a:gd name="connsiteX3" fmla="*/ 2858 w 122872"/>
                  <a:gd name="connsiteY3" fmla="*/ 60103 h 158115"/>
                  <a:gd name="connsiteX4" fmla="*/ 0 w 122872"/>
                  <a:gd name="connsiteY4" fmla="*/ 45815 h 158115"/>
                  <a:gd name="connsiteX5" fmla="*/ 20955 w 122872"/>
                  <a:gd name="connsiteY5" fmla="*/ 35338 h 158115"/>
                  <a:gd name="connsiteX6" fmla="*/ 6668 w 122872"/>
                  <a:gd name="connsiteY6" fmla="*/ 21050 h 158115"/>
                  <a:gd name="connsiteX7" fmla="*/ 6668 w 122872"/>
                  <a:gd name="connsiteY7" fmla="*/ 10478 h 158115"/>
                  <a:gd name="connsiteX8" fmla="*/ 17145 w 122872"/>
                  <a:gd name="connsiteY8" fmla="*/ 0 h 158115"/>
                  <a:gd name="connsiteX9" fmla="*/ 24765 w 122872"/>
                  <a:gd name="connsiteY9" fmla="*/ 10478 h 158115"/>
                  <a:gd name="connsiteX10" fmla="*/ 41910 w 122872"/>
                  <a:gd name="connsiteY10" fmla="*/ 17240 h 158115"/>
                  <a:gd name="connsiteX11" fmla="*/ 52388 w 122872"/>
                  <a:gd name="connsiteY11" fmla="*/ 38100 h 158115"/>
                  <a:gd name="connsiteX12" fmla="*/ 112395 w 122872"/>
                  <a:gd name="connsiteY12" fmla="*/ 38100 h 158115"/>
                  <a:gd name="connsiteX13" fmla="*/ 112395 w 122872"/>
                  <a:gd name="connsiteY13" fmla="*/ 60103 h 158115"/>
                  <a:gd name="connsiteX14" fmla="*/ 98108 w 122872"/>
                  <a:gd name="connsiteY14" fmla="*/ 66675 h 158115"/>
                  <a:gd name="connsiteX15" fmla="*/ 91440 w 122872"/>
                  <a:gd name="connsiteY15" fmla="*/ 70580 h 158115"/>
                  <a:gd name="connsiteX16" fmla="*/ 84773 w 122872"/>
                  <a:gd name="connsiteY16" fmla="*/ 80963 h 158115"/>
                  <a:gd name="connsiteX17" fmla="*/ 84773 w 122872"/>
                  <a:gd name="connsiteY17" fmla="*/ 87725 h 158115"/>
                  <a:gd name="connsiteX18" fmla="*/ 84773 w 122872"/>
                  <a:gd name="connsiteY18" fmla="*/ 95250 h 158115"/>
                  <a:gd name="connsiteX19" fmla="*/ 98108 w 122872"/>
                  <a:gd name="connsiteY19" fmla="*/ 102013 h 158115"/>
                  <a:gd name="connsiteX20" fmla="*/ 105728 w 122872"/>
                  <a:gd name="connsiteY20" fmla="*/ 80963 h 158115"/>
                  <a:gd name="connsiteX21" fmla="*/ 122873 w 122872"/>
                  <a:gd name="connsiteY21" fmla="*/ 83915 h 158115"/>
                  <a:gd name="connsiteX22" fmla="*/ 119063 w 122872"/>
                  <a:gd name="connsiteY22" fmla="*/ 105728 h 158115"/>
                  <a:gd name="connsiteX23" fmla="*/ 119063 w 122872"/>
                  <a:gd name="connsiteY23" fmla="*/ 122968 h 158115"/>
                  <a:gd name="connsiteX24" fmla="*/ 122873 w 122872"/>
                  <a:gd name="connsiteY24" fmla="*/ 133350 h 158115"/>
                  <a:gd name="connsiteX25" fmla="*/ 122873 w 122872"/>
                  <a:gd name="connsiteY25" fmla="*/ 151543 h 158115"/>
                  <a:gd name="connsiteX26" fmla="*/ 112395 w 122872"/>
                  <a:gd name="connsiteY26" fmla="*/ 158115 h 158115"/>
                  <a:gd name="connsiteX27" fmla="*/ 105728 w 122872"/>
                  <a:gd name="connsiteY27" fmla="*/ 143828 h 158115"/>
                  <a:gd name="connsiteX28" fmla="*/ 101918 w 122872"/>
                  <a:gd name="connsiteY28" fmla="*/ 119063 h 158115"/>
                  <a:gd name="connsiteX29" fmla="*/ 95250 w 122872"/>
                  <a:gd name="connsiteY29" fmla="*/ 112490 h 158115"/>
                  <a:gd name="connsiteX30" fmla="*/ 84773 w 122872"/>
                  <a:gd name="connsiteY30" fmla="*/ 108680 h 158115"/>
                  <a:gd name="connsiteX31" fmla="*/ 70485 w 122872"/>
                  <a:gd name="connsiteY31" fmla="*/ 98203 h 158115"/>
                  <a:gd name="connsiteX32" fmla="*/ 62865 w 122872"/>
                  <a:gd name="connsiteY32" fmla="*/ 108680 h 158115"/>
                  <a:gd name="connsiteX33" fmla="*/ 62865 w 122872"/>
                  <a:gd name="connsiteY33" fmla="*/ 130588 h 158115"/>
                  <a:gd name="connsiteX34" fmla="*/ 45720 w 122872"/>
                  <a:gd name="connsiteY34" fmla="*/ 130588 h 158115"/>
                  <a:gd name="connsiteX35" fmla="*/ 24765 w 122872"/>
                  <a:gd name="connsiteY35" fmla="*/ 130588 h 158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22872" h="158115">
                    <a:moveTo>
                      <a:pt x="24765" y="130588"/>
                    </a:moveTo>
                    <a:lnTo>
                      <a:pt x="17145" y="87725"/>
                    </a:lnTo>
                    <a:lnTo>
                      <a:pt x="14288" y="66675"/>
                    </a:lnTo>
                    <a:lnTo>
                      <a:pt x="2858" y="60103"/>
                    </a:lnTo>
                    <a:lnTo>
                      <a:pt x="0" y="45815"/>
                    </a:lnTo>
                    <a:lnTo>
                      <a:pt x="20955" y="35338"/>
                    </a:lnTo>
                    <a:lnTo>
                      <a:pt x="6668" y="21050"/>
                    </a:lnTo>
                    <a:lnTo>
                      <a:pt x="6668" y="10478"/>
                    </a:lnTo>
                    <a:lnTo>
                      <a:pt x="17145" y="0"/>
                    </a:lnTo>
                    <a:lnTo>
                      <a:pt x="24765" y="10478"/>
                    </a:lnTo>
                    <a:lnTo>
                      <a:pt x="41910" y="17240"/>
                    </a:lnTo>
                    <a:lnTo>
                      <a:pt x="52388" y="38100"/>
                    </a:lnTo>
                    <a:lnTo>
                      <a:pt x="112395" y="38100"/>
                    </a:lnTo>
                    <a:lnTo>
                      <a:pt x="112395" y="60103"/>
                    </a:lnTo>
                    <a:lnTo>
                      <a:pt x="98108" y="66675"/>
                    </a:lnTo>
                    <a:lnTo>
                      <a:pt x="91440" y="70580"/>
                    </a:lnTo>
                    <a:lnTo>
                      <a:pt x="84773" y="80963"/>
                    </a:lnTo>
                    <a:lnTo>
                      <a:pt x="84773" y="87725"/>
                    </a:lnTo>
                    <a:lnTo>
                      <a:pt x="84773" y="95250"/>
                    </a:lnTo>
                    <a:lnTo>
                      <a:pt x="98108" y="102013"/>
                    </a:lnTo>
                    <a:lnTo>
                      <a:pt x="105728" y="80963"/>
                    </a:lnTo>
                    <a:lnTo>
                      <a:pt x="122873" y="83915"/>
                    </a:lnTo>
                    <a:lnTo>
                      <a:pt x="119063" y="105728"/>
                    </a:lnTo>
                    <a:lnTo>
                      <a:pt x="119063" y="122968"/>
                    </a:lnTo>
                    <a:lnTo>
                      <a:pt x="122873" y="133350"/>
                    </a:lnTo>
                    <a:lnTo>
                      <a:pt x="122873" y="151543"/>
                    </a:lnTo>
                    <a:lnTo>
                      <a:pt x="112395" y="158115"/>
                    </a:lnTo>
                    <a:lnTo>
                      <a:pt x="105728" y="143828"/>
                    </a:lnTo>
                    <a:lnTo>
                      <a:pt x="101918" y="119063"/>
                    </a:lnTo>
                    <a:lnTo>
                      <a:pt x="95250" y="112490"/>
                    </a:lnTo>
                    <a:lnTo>
                      <a:pt x="84773" y="108680"/>
                    </a:lnTo>
                    <a:lnTo>
                      <a:pt x="70485" y="98203"/>
                    </a:lnTo>
                    <a:lnTo>
                      <a:pt x="62865" y="108680"/>
                    </a:lnTo>
                    <a:lnTo>
                      <a:pt x="62865" y="130588"/>
                    </a:lnTo>
                    <a:lnTo>
                      <a:pt x="45720" y="130588"/>
                    </a:lnTo>
                    <a:lnTo>
                      <a:pt x="24765" y="1305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1" name="Freeform: Shape 510">
                <a:extLst>
                  <a:ext uri="{FF2B5EF4-FFF2-40B4-BE49-F238E27FC236}">
                    <a16:creationId xmlns:a16="http://schemas.microsoft.com/office/drawing/2014/main" id="{84E679B0-7D57-FBEA-9A1D-083202764444}"/>
                  </a:ext>
                </a:extLst>
              </p:cNvPr>
              <p:cNvSpPr/>
              <p:nvPr/>
            </p:nvSpPr>
            <p:spPr>
              <a:xfrm>
                <a:off x="7672688" y="3482925"/>
                <a:ext cx="441651" cy="390393"/>
              </a:xfrm>
              <a:custGeom>
                <a:avLst/>
                <a:gdLst>
                  <a:gd name="connsiteX0" fmla="*/ 224790 w 450532"/>
                  <a:gd name="connsiteY0" fmla="*/ 379190 h 398240"/>
                  <a:gd name="connsiteX1" fmla="*/ 228600 w 450532"/>
                  <a:gd name="connsiteY1" fmla="*/ 387667 h 398240"/>
                  <a:gd name="connsiteX2" fmla="*/ 242888 w 450532"/>
                  <a:gd name="connsiteY2" fmla="*/ 398240 h 398240"/>
                  <a:gd name="connsiteX3" fmla="*/ 249555 w 450532"/>
                  <a:gd name="connsiteY3" fmla="*/ 387667 h 398240"/>
                  <a:gd name="connsiteX4" fmla="*/ 274320 w 450532"/>
                  <a:gd name="connsiteY4" fmla="*/ 387667 h 398240"/>
                  <a:gd name="connsiteX5" fmla="*/ 274320 w 450532"/>
                  <a:gd name="connsiteY5" fmla="*/ 370618 h 398240"/>
                  <a:gd name="connsiteX6" fmla="*/ 297180 w 450532"/>
                  <a:gd name="connsiteY6" fmla="*/ 363855 h 398240"/>
                  <a:gd name="connsiteX7" fmla="*/ 287655 w 450532"/>
                  <a:gd name="connsiteY7" fmla="*/ 343852 h 398240"/>
                  <a:gd name="connsiteX8" fmla="*/ 280035 w 450532"/>
                  <a:gd name="connsiteY8" fmla="*/ 319183 h 398240"/>
                  <a:gd name="connsiteX9" fmla="*/ 272415 w 450532"/>
                  <a:gd name="connsiteY9" fmla="*/ 313468 h 398240"/>
                  <a:gd name="connsiteX10" fmla="*/ 274320 w 450532"/>
                  <a:gd name="connsiteY10" fmla="*/ 305752 h 398240"/>
                  <a:gd name="connsiteX11" fmla="*/ 268605 w 450532"/>
                  <a:gd name="connsiteY11" fmla="*/ 296227 h 398240"/>
                  <a:gd name="connsiteX12" fmla="*/ 263843 w 450532"/>
                  <a:gd name="connsiteY12" fmla="*/ 281940 h 398240"/>
                  <a:gd name="connsiteX13" fmla="*/ 278130 w 450532"/>
                  <a:gd name="connsiteY13" fmla="*/ 289655 h 398240"/>
                  <a:gd name="connsiteX14" fmla="*/ 302895 w 450532"/>
                  <a:gd name="connsiteY14" fmla="*/ 281940 h 398240"/>
                  <a:gd name="connsiteX15" fmla="*/ 390525 w 450532"/>
                  <a:gd name="connsiteY15" fmla="*/ 199168 h 398240"/>
                  <a:gd name="connsiteX16" fmla="*/ 418148 w 450532"/>
                  <a:gd name="connsiteY16" fmla="*/ 151543 h 398240"/>
                  <a:gd name="connsiteX17" fmla="*/ 403860 w 450532"/>
                  <a:gd name="connsiteY17" fmla="*/ 142970 h 398240"/>
                  <a:gd name="connsiteX18" fmla="*/ 393383 w 450532"/>
                  <a:gd name="connsiteY18" fmla="*/ 135255 h 398240"/>
                  <a:gd name="connsiteX19" fmla="*/ 381953 w 450532"/>
                  <a:gd name="connsiteY19" fmla="*/ 119158 h 398240"/>
                  <a:gd name="connsiteX20" fmla="*/ 373380 w 450532"/>
                  <a:gd name="connsiteY20" fmla="*/ 83915 h 398240"/>
                  <a:gd name="connsiteX21" fmla="*/ 411480 w 450532"/>
                  <a:gd name="connsiteY21" fmla="*/ 81058 h 398240"/>
                  <a:gd name="connsiteX22" fmla="*/ 440055 w 450532"/>
                  <a:gd name="connsiteY22" fmla="*/ 74390 h 398240"/>
                  <a:gd name="connsiteX23" fmla="*/ 446723 w 450532"/>
                  <a:gd name="connsiteY23" fmla="*/ 53435 h 398240"/>
                  <a:gd name="connsiteX24" fmla="*/ 450533 w 450532"/>
                  <a:gd name="connsiteY24" fmla="*/ 42005 h 398240"/>
                  <a:gd name="connsiteX25" fmla="*/ 415290 w 450532"/>
                  <a:gd name="connsiteY25" fmla="*/ 28575 h 398240"/>
                  <a:gd name="connsiteX26" fmla="*/ 415290 w 450532"/>
                  <a:gd name="connsiteY26" fmla="*/ 10573 h 398240"/>
                  <a:gd name="connsiteX27" fmla="*/ 394335 w 450532"/>
                  <a:gd name="connsiteY27" fmla="*/ 3905 h 398240"/>
                  <a:gd name="connsiteX28" fmla="*/ 383858 w 450532"/>
                  <a:gd name="connsiteY28" fmla="*/ 0 h 398240"/>
                  <a:gd name="connsiteX29" fmla="*/ 362903 w 450532"/>
                  <a:gd name="connsiteY29" fmla="*/ 3905 h 398240"/>
                  <a:gd name="connsiteX30" fmla="*/ 334328 w 450532"/>
                  <a:gd name="connsiteY30" fmla="*/ 3905 h 398240"/>
                  <a:gd name="connsiteX31" fmla="*/ 320040 w 450532"/>
                  <a:gd name="connsiteY31" fmla="*/ 3905 h 398240"/>
                  <a:gd name="connsiteX32" fmla="*/ 292418 w 450532"/>
                  <a:gd name="connsiteY32" fmla="*/ 20955 h 398240"/>
                  <a:gd name="connsiteX33" fmla="*/ 281940 w 450532"/>
                  <a:gd name="connsiteY33" fmla="*/ 31528 h 398240"/>
                  <a:gd name="connsiteX34" fmla="*/ 292418 w 450532"/>
                  <a:gd name="connsiteY34" fmla="*/ 53435 h 398240"/>
                  <a:gd name="connsiteX35" fmla="*/ 281940 w 450532"/>
                  <a:gd name="connsiteY35" fmla="*/ 88678 h 398240"/>
                  <a:gd name="connsiteX36" fmla="*/ 253365 w 450532"/>
                  <a:gd name="connsiteY36" fmla="*/ 99155 h 398240"/>
                  <a:gd name="connsiteX37" fmla="*/ 246698 w 450532"/>
                  <a:gd name="connsiteY37" fmla="*/ 120015 h 398240"/>
                  <a:gd name="connsiteX38" fmla="*/ 236220 w 450532"/>
                  <a:gd name="connsiteY38" fmla="*/ 126778 h 398240"/>
                  <a:gd name="connsiteX39" fmla="*/ 228600 w 450532"/>
                  <a:gd name="connsiteY39" fmla="*/ 144780 h 398240"/>
                  <a:gd name="connsiteX40" fmla="*/ 228600 w 450532"/>
                  <a:gd name="connsiteY40" fmla="*/ 169640 h 398240"/>
                  <a:gd name="connsiteX41" fmla="*/ 186690 w 450532"/>
                  <a:gd name="connsiteY41" fmla="*/ 169640 h 398240"/>
                  <a:gd name="connsiteX42" fmla="*/ 179070 w 450532"/>
                  <a:gd name="connsiteY42" fmla="*/ 183928 h 398240"/>
                  <a:gd name="connsiteX43" fmla="*/ 151448 w 450532"/>
                  <a:gd name="connsiteY43" fmla="*/ 183928 h 398240"/>
                  <a:gd name="connsiteX44" fmla="*/ 143828 w 450532"/>
                  <a:gd name="connsiteY44" fmla="*/ 194405 h 398240"/>
                  <a:gd name="connsiteX45" fmla="*/ 140970 w 450532"/>
                  <a:gd name="connsiteY45" fmla="*/ 225742 h 398240"/>
                  <a:gd name="connsiteX46" fmla="*/ 122873 w 450532"/>
                  <a:gd name="connsiteY46" fmla="*/ 229552 h 398240"/>
                  <a:gd name="connsiteX47" fmla="*/ 95250 w 450532"/>
                  <a:gd name="connsiteY47" fmla="*/ 232505 h 398240"/>
                  <a:gd name="connsiteX48" fmla="*/ 60008 w 450532"/>
                  <a:gd name="connsiteY48" fmla="*/ 236315 h 398240"/>
                  <a:gd name="connsiteX49" fmla="*/ 27623 w 450532"/>
                  <a:gd name="connsiteY49" fmla="*/ 236315 h 398240"/>
                  <a:gd name="connsiteX50" fmla="*/ 17145 w 450532"/>
                  <a:gd name="connsiteY50" fmla="*/ 225742 h 398240"/>
                  <a:gd name="connsiteX51" fmla="*/ 0 w 450532"/>
                  <a:gd name="connsiteY51" fmla="*/ 232505 h 398240"/>
                  <a:gd name="connsiteX52" fmla="*/ 27623 w 450532"/>
                  <a:gd name="connsiteY52" fmla="*/ 267652 h 398240"/>
                  <a:gd name="connsiteX53" fmla="*/ 49530 w 450532"/>
                  <a:gd name="connsiteY53" fmla="*/ 285845 h 398240"/>
                  <a:gd name="connsiteX54" fmla="*/ 49530 w 450532"/>
                  <a:gd name="connsiteY54" fmla="*/ 306705 h 398240"/>
                  <a:gd name="connsiteX55" fmla="*/ 62865 w 450532"/>
                  <a:gd name="connsiteY55" fmla="*/ 306705 h 398240"/>
                  <a:gd name="connsiteX56" fmla="*/ 62865 w 450532"/>
                  <a:gd name="connsiteY56" fmla="*/ 320992 h 398240"/>
                  <a:gd name="connsiteX57" fmla="*/ 39053 w 450532"/>
                  <a:gd name="connsiteY57" fmla="*/ 324802 h 398240"/>
                  <a:gd name="connsiteX58" fmla="*/ 14288 w 450532"/>
                  <a:gd name="connsiteY58" fmla="*/ 338233 h 398240"/>
                  <a:gd name="connsiteX59" fmla="*/ 14288 w 450532"/>
                  <a:gd name="connsiteY59" fmla="*/ 366808 h 398240"/>
                  <a:gd name="connsiteX60" fmla="*/ 60008 w 450532"/>
                  <a:gd name="connsiteY60" fmla="*/ 370618 h 398240"/>
                  <a:gd name="connsiteX61" fmla="*/ 66675 w 450532"/>
                  <a:gd name="connsiteY61" fmla="*/ 360140 h 398240"/>
                  <a:gd name="connsiteX62" fmla="*/ 151448 w 450532"/>
                  <a:gd name="connsiteY62" fmla="*/ 352520 h 398240"/>
                  <a:gd name="connsiteX63" fmla="*/ 153353 w 450532"/>
                  <a:gd name="connsiteY63" fmla="*/ 374428 h 398240"/>
                  <a:gd name="connsiteX64" fmla="*/ 224790 w 450532"/>
                  <a:gd name="connsiteY64" fmla="*/ 379190 h 398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450532" h="398240">
                    <a:moveTo>
                      <a:pt x="224790" y="379190"/>
                    </a:moveTo>
                    <a:lnTo>
                      <a:pt x="228600" y="387667"/>
                    </a:lnTo>
                    <a:lnTo>
                      <a:pt x="242888" y="398240"/>
                    </a:lnTo>
                    <a:lnTo>
                      <a:pt x="249555" y="387667"/>
                    </a:lnTo>
                    <a:lnTo>
                      <a:pt x="274320" y="387667"/>
                    </a:lnTo>
                    <a:lnTo>
                      <a:pt x="274320" y="370618"/>
                    </a:lnTo>
                    <a:lnTo>
                      <a:pt x="297180" y="363855"/>
                    </a:lnTo>
                    <a:lnTo>
                      <a:pt x="287655" y="343852"/>
                    </a:lnTo>
                    <a:lnTo>
                      <a:pt x="280035" y="319183"/>
                    </a:lnTo>
                    <a:lnTo>
                      <a:pt x="272415" y="313468"/>
                    </a:lnTo>
                    <a:lnTo>
                      <a:pt x="274320" y="305752"/>
                    </a:lnTo>
                    <a:lnTo>
                      <a:pt x="268605" y="296227"/>
                    </a:lnTo>
                    <a:lnTo>
                      <a:pt x="263843" y="281940"/>
                    </a:lnTo>
                    <a:lnTo>
                      <a:pt x="278130" y="289655"/>
                    </a:lnTo>
                    <a:lnTo>
                      <a:pt x="302895" y="281940"/>
                    </a:lnTo>
                    <a:lnTo>
                      <a:pt x="390525" y="199168"/>
                    </a:lnTo>
                    <a:lnTo>
                      <a:pt x="418148" y="151543"/>
                    </a:lnTo>
                    <a:lnTo>
                      <a:pt x="403860" y="142970"/>
                    </a:lnTo>
                    <a:lnTo>
                      <a:pt x="393383" y="135255"/>
                    </a:lnTo>
                    <a:lnTo>
                      <a:pt x="381953" y="119158"/>
                    </a:lnTo>
                    <a:lnTo>
                      <a:pt x="373380" y="83915"/>
                    </a:lnTo>
                    <a:lnTo>
                      <a:pt x="411480" y="81058"/>
                    </a:lnTo>
                    <a:lnTo>
                      <a:pt x="440055" y="74390"/>
                    </a:lnTo>
                    <a:lnTo>
                      <a:pt x="446723" y="53435"/>
                    </a:lnTo>
                    <a:lnTo>
                      <a:pt x="450533" y="42005"/>
                    </a:lnTo>
                    <a:lnTo>
                      <a:pt x="415290" y="28575"/>
                    </a:lnTo>
                    <a:lnTo>
                      <a:pt x="415290" y="10573"/>
                    </a:lnTo>
                    <a:lnTo>
                      <a:pt x="394335" y="3905"/>
                    </a:lnTo>
                    <a:lnTo>
                      <a:pt x="383858" y="0"/>
                    </a:lnTo>
                    <a:lnTo>
                      <a:pt x="362903" y="3905"/>
                    </a:lnTo>
                    <a:lnTo>
                      <a:pt x="334328" y="3905"/>
                    </a:lnTo>
                    <a:lnTo>
                      <a:pt x="320040" y="3905"/>
                    </a:lnTo>
                    <a:lnTo>
                      <a:pt x="292418" y="20955"/>
                    </a:lnTo>
                    <a:lnTo>
                      <a:pt x="281940" y="31528"/>
                    </a:lnTo>
                    <a:lnTo>
                      <a:pt x="292418" y="53435"/>
                    </a:lnTo>
                    <a:lnTo>
                      <a:pt x="281940" y="88678"/>
                    </a:lnTo>
                    <a:lnTo>
                      <a:pt x="253365" y="99155"/>
                    </a:lnTo>
                    <a:lnTo>
                      <a:pt x="246698" y="120015"/>
                    </a:lnTo>
                    <a:lnTo>
                      <a:pt x="236220" y="126778"/>
                    </a:lnTo>
                    <a:lnTo>
                      <a:pt x="228600" y="144780"/>
                    </a:lnTo>
                    <a:lnTo>
                      <a:pt x="228600" y="169640"/>
                    </a:lnTo>
                    <a:lnTo>
                      <a:pt x="186690" y="169640"/>
                    </a:lnTo>
                    <a:lnTo>
                      <a:pt x="179070" y="183928"/>
                    </a:lnTo>
                    <a:lnTo>
                      <a:pt x="151448" y="183928"/>
                    </a:lnTo>
                    <a:lnTo>
                      <a:pt x="143828" y="194405"/>
                    </a:lnTo>
                    <a:lnTo>
                      <a:pt x="140970" y="225742"/>
                    </a:lnTo>
                    <a:lnTo>
                      <a:pt x="122873" y="229552"/>
                    </a:lnTo>
                    <a:lnTo>
                      <a:pt x="95250" y="232505"/>
                    </a:lnTo>
                    <a:lnTo>
                      <a:pt x="60008" y="236315"/>
                    </a:lnTo>
                    <a:lnTo>
                      <a:pt x="27623" y="236315"/>
                    </a:lnTo>
                    <a:lnTo>
                      <a:pt x="17145" y="225742"/>
                    </a:lnTo>
                    <a:lnTo>
                      <a:pt x="0" y="232505"/>
                    </a:lnTo>
                    <a:lnTo>
                      <a:pt x="27623" y="267652"/>
                    </a:lnTo>
                    <a:lnTo>
                      <a:pt x="49530" y="285845"/>
                    </a:lnTo>
                    <a:lnTo>
                      <a:pt x="49530" y="306705"/>
                    </a:lnTo>
                    <a:lnTo>
                      <a:pt x="62865" y="306705"/>
                    </a:lnTo>
                    <a:lnTo>
                      <a:pt x="62865" y="320992"/>
                    </a:lnTo>
                    <a:lnTo>
                      <a:pt x="39053" y="324802"/>
                    </a:lnTo>
                    <a:lnTo>
                      <a:pt x="14288" y="338233"/>
                    </a:lnTo>
                    <a:lnTo>
                      <a:pt x="14288" y="366808"/>
                    </a:lnTo>
                    <a:lnTo>
                      <a:pt x="60008" y="370618"/>
                    </a:lnTo>
                    <a:lnTo>
                      <a:pt x="66675" y="360140"/>
                    </a:lnTo>
                    <a:lnTo>
                      <a:pt x="151448" y="352520"/>
                    </a:lnTo>
                    <a:lnTo>
                      <a:pt x="153353" y="374428"/>
                    </a:lnTo>
                    <a:lnTo>
                      <a:pt x="224790" y="3791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2" name="Freeform: Shape 511">
                <a:extLst>
                  <a:ext uri="{FF2B5EF4-FFF2-40B4-BE49-F238E27FC236}">
                    <a16:creationId xmlns:a16="http://schemas.microsoft.com/office/drawing/2014/main" id="{B8A74277-8CD0-DE0A-AC7C-D6D0CFD0FACA}"/>
                  </a:ext>
                </a:extLst>
              </p:cNvPr>
              <p:cNvSpPr/>
              <p:nvPr/>
            </p:nvSpPr>
            <p:spPr>
              <a:xfrm>
                <a:off x="8189972" y="3683771"/>
                <a:ext cx="221292" cy="124186"/>
              </a:xfrm>
              <a:custGeom>
                <a:avLst/>
                <a:gdLst>
                  <a:gd name="connsiteX0" fmla="*/ 28575 w 225742"/>
                  <a:gd name="connsiteY0" fmla="*/ 10382 h 126682"/>
                  <a:gd name="connsiteX1" fmla="*/ 53340 w 225742"/>
                  <a:gd name="connsiteY1" fmla="*/ 0 h 126682"/>
                  <a:gd name="connsiteX2" fmla="*/ 78105 w 225742"/>
                  <a:gd name="connsiteY2" fmla="*/ 24670 h 126682"/>
                  <a:gd name="connsiteX3" fmla="*/ 105727 w 225742"/>
                  <a:gd name="connsiteY3" fmla="*/ 38100 h 126682"/>
                  <a:gd name="connsiteX4" fmla="*/ 127635 w 225742"/>
                  <a:gd name="connsiteY4" fmla="*/ 52388 h 126682"/>
                  <a:gd name="connsiteX5" fmla="*/ 155257 w 225742"/>
                  <a:gd name="connsiteY5" fmla="*/ 70485 h 126682"/>
                  <a:gd name="connsiteX6" fmla="*/ 183832 w 225742"/>
                  <a:gd name="connsiteY6" fmla="*/ 77057 h 126682"/>
                  <a:gd name="connsiteX7" fmla="*/ 225743 w 225742"/>
                  <a:gd name="connsiteY7" fmla="*/ 80963 h 126682"/>
                  <a:gd name="connsiteX8" fmla="*/ 225743 w 225742"/>
                  <a:gd name="connsiteY8" fmla="*/ 101822 h 126682"/>
                  <a:gd name="connsiteX9" fmla="*/ 220027 w 225742"/>
                  <a:gd name="connsiteY9" fmla="*/ 111347 h 126682"/>
                  <a:gd name="connsiteX10" fmla="*/ 180023 w 225742"/>
                  <a:gd name="connsiteY10" fmla="*/ 126683 h 126682"/>
                  <a:gd name="connsiteX11" fmla="*/ 155257 w 225742"/>
                  <a:gd name="connsiteY11" fmla="*/ 124682 h 126682"/>
                  <a:gd name="connsiteX12" fmla="*/ 121920 w 225742"/>
                  <a:gd name="connsiteY12" fmla="*/ 117158 h 126682"/>
                  <a:gd name="connsiteX13" fmla="*/ 84773 w 225742"/>
                  <a:gd name="connsiteY13" fmla="*/ 98108 h 126682"/>
                  <a:gd name="connsiteX14" fmla="*/ 58102 w 225742"/>
                  <a:gd name="connsiteY14" fmla="*/ 95250 h 126682"/>
                  <a:gd name="connsiteX15" fmla="*/ 32385 w 225742"/>
                  <a:gd name="connsiteY15" fmla="*/ 78010 h 126682"/>
                  <a:gd name="connsiteX16" fmla="*/ 0 w 225742"/>
                  <a:gd name="connsiteY16" fmla="*/ 52388 h 126682"/>
                  <a:gd name="connsiteX17" fmla="*/ 7620 w 225742"/>
                  <a:gd name="connsiteY17" fmla="*/ 24670 h 126682"/>
                  <a:gd name="connsiteX18" fmla="*/ 28575 w 225742"/>
                  <a:gd name="connsiteY18" fmla="*/ 10382 h 126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5742" h="126682">
                    <a:moveTo>
                      <a:pt x="28575" y="10382"/>
                    </a:moveTo>
                    <a:lnTo>
                      <a:pt x="53340" y="0"/>
                    </a:lnTo>
                    <a:lnTo>
                      <a:pt x="78105" y="24670"/>
                    </a:lnTo>
                    <a:lnTo>
                      <a:pt x="105727" y="38100"/>
                    </a:lnTo>
                    <a:lnTo>
                      <a:pt x="127635" y="52388"/>
                    </a:lnTo>
                    <a:lnTo>
                      <a:pt x="155257" y="70485"/>
                    </a:lnTo>
                    <a:lnTo>
                      <a:pt x="183832" y="77057"/>
                    </a:lnTo>
                    <a:lnTo>
                      <a:pt x="225743" y="80963"/>
                    </a:lnTo>
                    <a:lnTo>
                      <a:pt x="225743" y="101822"/>
                    </a:lnTo>
                    <a:lnTo>
                      <a:pt x="220027" y="111347"/>
                    </a:lnTo>
                    <a:lnTo>
                      <a:pt x="180023" y="126683"/>
                    </a:lnTo>
                    <a:lnTo>
                      <a:pt x="155257" y="124682"/>
                    </a:lnTo>
                    <a:lnTo>
                      <a:pt x="121920" y="117158"/>
                    </a:lnTo>
                    <a:lnTo>
                      <a:pt x="84773" y="98108"/>
                    </a:lnTo>
                    <a:lnTo>
                      <a:pt x="58102" y="95250"/>
                    </a:lnTo>
                    <a:lnTo>
                      <a:pt x="32385" y="78010"/>
                    </a:lnTo>
                    <a:lnTo>
                      <a:pt x="0" y="52388"/>
                    </a:lnTo>
                    <a:lnTo>
                      <a:pt x="7620" y="24670"/>
                    </a:lnTo>
                    <a:lnTo>
                      <a:pt x="28575" y="1038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3" name="Freeform: Shape 512">
                <a:extLst>
                  <a:ext uri="{FF2B5EF4-FFF2-40B4-BE49-F238E27FC236}">
                    <a16:creationId xmlns:a16="http://schemas.microsoft.com/office/drawing/2014/main" id="{84B408E3-C1D7-CB6B-CB35-86C9FC1B8637}"/>
                  </a:ext>
                </a:extLst>
              </p:cNvPr>
              <p:cNvSpPr/>
              <p:nvPr/>
            </p:nvSpPr>
            <p:spPr>
              <a:xfrm>
                <a:off x="8414999" y="3745303"/>
                <a:ext cx="85903" cy="44912"/>
              </a:xfrm>
              <a:custGeom>
                <a:avLst/>
                <a:gdLst>
                  <a:gd name="connsiteX0" fmla="*/ 17145 w 87630"/>
                  <a:gd name="connsiteY0" fmla="*/ 0 h 45815"/>
                  <a:gd name="connsiteX1" fmla="*/ 6668 w 87630"/>
                  <a:gd name="connsiteY1" fmla="*/ 10478 h 45815"/>
                  <a:gd name="connsiteX2" fmla="*/ 3810 w 87630"/>
                  <a:gd name="connsiteY2" fmla="*/ 10478 h 45815"/>
                  <a:gd name="connsiteX3" fmla="*/ 0 w 87630"/>
                  <a:gd name="connsiteY3" fmla="*/ 24765 h 45815"/>
                  <a:gd name="connsiteX4" fmla="*/ 3810 w 87630"/>
                  <a:gd name="connsiteY4" fmla="*/ 35338 h 45815"/>
                  <a:gd name="connsiteX5" fmla="*/ 14288 w 87630"/>
                  <a:gd name="connsiteY5" fmla="*/ 42863 h 45815"/>
                  <a:gd name="connsiteX6" fmla="*/ 28575 w 87630"/>
                  <a:gd name="connsiteY6" fmla="*/ 45815 h 45815"/>
                  <a:gd name="connsiteX7" fmla="*/ 56198 w 87630"/>
                  <a:gd name="connsiteY7" fmla="*/ 42863 h 45815"/>
                  <a:gd name="connsiteX8" fmla="*/ 80963 w 87630"/>
                  <a:gd name="connsiteY8" fmla="*/ 39053 h 45815"/>
                  <a:gd name="connsiteX9" fmla="*/ 87630 w 87630"/>
                  <a:gd name="connsiteY9" fmla="*/ 28575 h 45815"/>
                  <a:gd name="connsiteX10" fmla="*/ 80963 w 87630"/>
                  <a:gd name="connsiteY10" fmla="*/ 10478 h 45815"/>
                  <a:gd name="connsiteX11" fmla="*/ 56198 w 87630"/>
                  <a:gd name="connsiteY11" fmla="*/ 7715 h 45815"/>
                  <a:gd name="connsiteX12" fmla="*/ 35243 w 87630"/>
                  <a:gd name="connsiteY12" fmla="*/ 0 h 45815"/>
                  <a:gd name="connsiteX13" fmla="*/ 17145 w 87630"/>
                  <a:gd name="connsiteY13" fmla="*/ 0 h 4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7630" h="45815">
                    <a:moveTo>
                      <a:pt x="17145" y="0"/>
                    </a:moveTo>
                    <a:lnTo>
                      <a:pt x="6668" y="10478"/>
                    </a:lnTo>
                    <a:lnTo>
                      <a:pt x="3810" y="10478"/>
                    </a:lnTo>
                    <a:lnTo>
                      <a:pt x="0" y="24765"/>
                    </a:lnTo>
                    <a:lnTo>
                      <a:pt x="3810" y="35338"/>
                    </a:lnTo>
                    <a:lnTo>
                      <a:pt x="14288" y="42863"/>
                    </a:lnTo>
                    <a:lnTo>
                      <a:pt x="28575" y="45815"/>
                    </a:lnTo>
                    <a:lnTo>
                      <a:pt x="56198" y="42863"/>
                    </a:lnTo>
                    <a:lnTo>
                      <a:pt x="80963" y="39053"/>
                    </a:lnTo>
                    <a:lnTo>
                      <a:pt x="87630" y="28575"/>
                    </a:lnTo>
                    <a:lnTo>
                      <a:pt x="80963" y="10478"/>
                    </a:lnTo>
                    <a:lnTo>
                      <a:pt x="56198" y="7715"/>
                    </a:lnTo>
                    <a:lnTo>
                      <a:pt x="35243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4" name="Freeform: Shape 513">
                <a:extLst>
                  <a:ext uri="{FF2B5EF4-FFF2-40B4-BE49-F238E27FC236}">
                    <a16:creationId xmlns:a16="http://schemas.microsoft.com/office/drawing/2014/main" id="{44B6EAA2-FCED-DB5A-B704-46B9F8B8B670}"/>
                  </a:ext>
                </a:extLst>
              </p:cNvPr>
              <p:cNvSpPr/>
              <p:nvPr/>
            </p:nvSpPr>
            <p:spPr>
              <a:xfrm>
                <a:off x="8187171" y="4278465"/>
                <a:ext cx="55089" cy="100002"/>
              </a:xfrm>
              <a:custGeom>
                <a:avLst/>
                <a:gdLst>
                  <a:gd name="connsiteX0" fmla="*/ 10477 w 56197"/>
                  <a:gd name="connsiteY0" fmla="*/ 0 h 102012"/>
                  <a:gd name="connsiteX1" fmla="*/ 27622 w 56197"/>
                  <a:gd name="connsiteY1" fmla="*/ 21050 h 102012"/>
                  <a:gd name="connsiteX2" fmla="*/ 45720 w 56197"/>
                  <a:gd name="connsiteY2" fmla="*/ 45815 h 102012"/>
                  <a:gd name="connsiteX3" fmla="*/ 56197 w 56197"/>
                  <a:gd name="connsiteY3" fmla="*/ 70485 h 102012"/>
                  <a:gd name="connsiteX4" fmla="*/ 45720 w 56197"/>
                  <a:gd name="connsiteY4" fmla="*/ 98203 h 102012"/>
                  <a:gd name="connsiteX5" fmla="*/ 27622 w 56197"/>
                  <a:gd name="connsiteY5" fmla="*/ 102013 h 102012"/>
                  <a:gd name="connsiteX6" fmla="*/ 10477 w 56197"/>
                  <a:gd name="connsiteY6" fmla="*/ 98203 h 102012"/>
                  <a:gd name="connsiteX7" fmla="*/ 0 w 56197"/>
                  <a:gd name="connsiteY7" fmla="*/ 77248 h 102012"/>
                  <a:gd name="connsiteX8" fmla="*/ 0 w 56197"/>
                  <a:gd name="connsiteY8" fmla="*/ 45815 h 102012"/>
                  <a:gd name="connsiteX9" fmla="*/ 6668 w 56197"/>
                  <a:gd name="connsiteY9" fmla="*/ 21050 h 102012"/>
                  <a:gd name="connsiteX10" fmla="*/ 10477 w 56197"/>
                  <a:gd name="connsiteY10" fmla="*/ 0 h 10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6197" h="102012">
                    <a:moveTo>
                      <a:pt x="10477" y="0"/>
                    </a:moveTo>
                    <a:lnTo>
                      <a:pt x="27622" y="21050"/>
                    </a:lnTo>
                    <a:lnTo>
                      <a:pt x="45720" y="45815"/>
                    </a:lnTo>
                    <a:lnTo>
                      <a:pt x="56197" y="70485"/>
                    </a:lnTo>
                    <a:lnTo>
                      <a:pt x="45720" y="98203"/>
                    </a:lnTo>
                    <a:lnTo>
                      <a:pt x="27622" y="102013"/>
                    </a:lnTo>
                    <a:lnTo>
                      <a:pt x="10477" y="98203"/>
                    </a:lnTo>
                    <a:lnTo>
                      <a:pt x="0" y="77248"/>
                    </a:lnTo>
                    <a:lnTo>
                      <a:pt x="0" y="45815"/>
                    </a:lnTo>
                    <a:lnTo>
                      <a:pt x="6668" y="21050"/>
                    </a:lnTo>
                    <a:lnTo>
                      <a:pt x="10477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5" name="Freeform: Shape 514">
                <a:extLst>
                  <a:ext uri="{FF2B5EF4-FFF2-40B4-BE49-F238E27FC236}">
                    <a16:creationId xmlns:a16="http://schemas.microsoft.com/office/drawing/2014/main" id="{18A447BC-1F30-94A4-789F-42C7973706DC}"/>
                  </a:ext>
                </a:extLst>
              </p:cNvPr>
              <p:cNvSpPr/>
              <p:nvPr/>
            </p:nvSpPr>
            <p:spPr>
              <a:xfrm>
                <a:off x="7867836" y="3488621"/>
                <a:ext cx="766587" cy="818882"/>
              </a:xfrm>
              <a:custGeom>
                <a:avLst/>
                <a:gdLst>
                  <a:gd name="connsiteX0" fmla="*/ 782002 w 782002"/>
                  <a:gd name="connsiteY0" fmla="*/ 264795 h 835342"/>
                  <a:gd name="connsiteX1" fmla="*/ 782002 w 782002"/>
                  <a:gd name="connsiteY1" fmla="*/ 253365 h 835342"/>
                  <a:gd name="connsiteX2" fmla="*/ 751523 w 782002"/>
                  <a:gd name="connsiteY2" fmla="*/ 250507 h 835342"/>
                  <a:gd name="connsiteX3" fmla="*/ 751523 w 782002"/>
                  <a:gd name="connsiteY3" fmla="*/ 232410 h 835342"/>
                  <a:gd name="connsiteX4" fmla="*/ 752475 w 782002"/>
                  <a:gd name="connsiteY4" fmla="*/ 225742 h 835342"/>
                  <a:gd name="connsiteX5" fmla="*/ 739140 w 782002"/>
                  <a:gd name="connsiteY5" fmla="*/ 220980 h 835342"/>
                  <a:gd name="connsiteX6" fmla="*/ 730568 w 782002"/>
                  <a:gd name="connsiteY6" fmla="*/ 228600 h 835342"/>
                  <a:gd name="connsiteX7" fmla="*/ 712470 w 782002"/>
                  <a:gd name="connsiteY7" fmla="*/ 230505 h 835342"/>
                  <a:gd name="connsiteX8" fmla="*/ 707707 w 782002"/>
                  <a:gd name="connsiteY8" fmla="*/ 225742 h 835342"/>
                  <a:gd name="connsiteX9" fmla="*/ 688657 w 782002"/>
                  <a:gd name="connsiteY9" fmla="*/ 243840 h 835342"/>
                  <a:gd name="connsiteX10" fmla="*/ 670560 w 782002"/>
                  <a:gd name="connsiteY10" fmla="*/ 252413 h 835342"/>
                  <a:gd name="connsiteX11" fmla="*/ 637223 w 782002"/>
                  <a:gd name="connsiteY11" fmla="*/ 274320 h 835342"/>
                  <a:gd name="connsiteX12" fmla="*/ 628650 w 782002"/>
                  <a:gd name="connsiteY12" fmla="*/ 271463 h 835342"/>
                  <a:gd name="connsiteX13" fmla="*/ 630555 w 782002"/>
                  <a:gd name="connsiteY13" fmla="*/ 287655 h 835342"/>
                  <a:gd name="connsiteX14" fmla="*/ 641985 w 782002"/>
                  <a:gd name="connsiteY14" fmla="*/ 288607 h 835342"/>
                  <a:gd name="connsiteX15" fmla="*/ 642938 w 782002"/>
                  <a:gd name="connsiteY15" fmla="*/ 300990 h 835342"/>
                  <a:gd name="connsiteX16" fmla="*/ 618173 w 782002"/>
                  <a:gd name="connsiteY16" fmla="*/ 304800 h 835342"/>
                  <a:gd name="connsiteX17" fmla="*/ 591502 w 782002"/>
                  <a:gd name="connsiteY17" fmla="*/ 306705 h 835342"/>
                  <a:gd name="connsiteX18" fmla="*/ 564832 w 782002"/>
                  <a:gd name="connsiteY18" fmla="*/ 300990 h 835342"/>
                  <a:gd name="connsiteX19" fmla="*/ 565785 w 782002"/>
                  <a:gd name="connsiteY19" fmla="*/ 275272 h 835342"/>
                  <a:gd name="connsiteX20" fmla="*/ 553402 w 782002"/>
                  <a:gd name="connsiteY20" fmla="*/ 262890 h 835342"/>
                  <a:gd name="connsiteX21" fmla="*/ 536257 w 782002"/>
                  <a:gd name="connsiteY21" fmla="*/ 286702 h 835342"/>
                  <a:gd name="connsiteX22" fmla="*/ 537210 w 782002"/>
                  <a:gd name="connsiteY22" fmla="*/ 317182 h 835342"/>
                  <a:gd name="connsiteX23" fmla="*/ 514350 w 782002"/>
                  <a:gd name="connsiteY23" fmla="*/ 313372 h 835342"/>
                  <a:gd name="connsiteX24" fmla="*/ 487680 w 782002"/>
                  <a:gd name="connsiteY24" fmla="*/ 309563 h 835342"/>
                  <a:gd name="connsiteX25" fmla="*/ 481965 w 782002"/>
                  <a:gd name="connsiteY25" fmla="*/ 311467 h 835342"/>
                  <a:gd name="connsiteX26" fmla="*/ 468630 w 782002"/>
                  <a:gd name="connsiteY26" fmla="*/ 307657 h 835342"/>
                  <a:gd name="connsiteX27" fmla="*/ 453390 w 782002"/>
                  <a:gd name="connsiteY27" fmla="*/ 296227 h 835342"/>
                  <a:gd name="connsiteX28" fmla="*/ 426720 w 782002"/>
                  <a:gd name="connsiteY28" fmla="*/ 290513 h 835342"/>
                  <a:gd name="connsiteX29" fmla="*/ 415290 w 782002"/>
                  <a:gd name="connsiteY29" fmla="*/ 289560 h 835342"/>
                  <a:gd name="connsiteX30" fmla="*/ 404813 w 782002"/>
                  <a:gd name="connsiteY30" fmla="*/ 285750 h 835342"/>
                  <a:gd name="connsiteX31" fmla="*/ 401002 w 782002"/>
                  <a:gd name="connsiteY31" fmla="*/ 281940 h 835342"/>
                  <a:gd name="connsiteX32" fmla="*/ 376238 w 782002"/>
                  <a:gd name="connsiteY32" fmla="*/ 274320 h 835342"/>
                  <a:gd name="connsiteX33" fmla="*/ 348615 w 782002"/>
                  <a:gd name="connsiteY33" fmla="*/ 252413 h 835342"/>
                  <a:gd name="connsiteX34" fmla="*/ 338138 w 782002"/>
                  <a:gd name="connsiteY34" fmla="*/ 245745 h 835342"/>
                  <a:gd name="connsiteX35" fmla="*/ 351473 w 782002"/>
                  <a:gd name="connsiteY35" fmla="*/ 215265 h 835342"/>
                  <a:gd name="connsiteX36" fmla="*/ 360998 w 782002"/>
                  <a:gd name="connsiteY36" fmla="*/ 212407 h 835342"/>
                  <a:gd name="connsiteX37" fmla="*/ 343852 w 782002"/>
                  <a:gd name="connsiteY37" fmla="*/ 200025 h 835342"/>
                  <a:gd name="connsiteX38" fmla="*/ 331470 w 782002"/>
                  <a:gd name="connsiteY38" fmla="*/ 186690 h 835342"/>
                  <a:gd name="connsiteX39" fmla="*/ 316230 w 782002"/>
                  <a:gd name="connsiteY39" fmla="*/ 174307 h 835342"/>
                  <a:gd name="connsiteX40" fmla="*/ 307657 w 782002"/>
                  <a:gd name="connsiteY40" fmla="*/ 172402 h 835342"/>
                  <a:gd name="connsiteX41" fmla="*/ 305752 w 782002"/>
                  <a:gd name="connsiteY41" fmla="*/ 149542 h 835342"/>
                  <a:gd name="connsiteX42" fmla="*/ 303848 w 782002"/>
                  <a:gd name="connsiteY42" fmla="*/ 145732 h 835342"/>
                  <a:gd name="connsiteX43" fmla="*/ 318135 w 782002"/>
                  <a:gd name="connsiteY43" fmla="*/ 143827 h 835342"/>
                  <a:gd name="connsiteX44" fmla="*/ 325755 w 782002"/>
                  <a:gd name="connsiteY44" fmla="*/ 120967 h 835342"/>
                  <a:gd name="connsiteX45" fmla="*/ 312420 w 782002"/>
                  <a:gd name="connsiteY45" fmla="*/ 115252 h 835342"/>
                  <a:gd name="connsiteX46" fmla="*/ 315277 w 782002"/>
                  <a:gd name="connsiteY46" fmla="*/ 100013 h 835342"/>
                  <a:gd name="connsiteX47" fmla="*/ 350520 w 782002"/>
                  <a:gd name="connsiteY47" fmla="*/ 78105 h 835342"/>
                  <a:gd name="connsiteX48" fmla="*/ 346710 w 782002"/>
                  <a:gd name="connsiteY48" fmla="*/ 50482 h 835342"/>
                  <a:gd name="connsiteX49" fmla="*/ 316230 w 782002"/>
                  <a:gd name="connsiteY49" fmla="*/ 37147 h 835342"/>
                  <a:gd name="connsiteX50" fmla="*/ 314325 w 782002"/>
                  <a:gd name="connsiteY50" fmla="*/ 41910 h 835342"/>
                  <a:gd name="connsiteX51" fmla="*/ 278130 w 782002"/>
                  <a:gd name="connsiteY51" fmla="*/ 52388 h 835342"/>
                  <a:gd name="connsiteX52" fmla="*/ 277177 w 782002"/>
                  <a:gd name="connsiteY52" fmla="*/ 46672 h 835342"/>
                  <a:gd name="connsiteX53" fmla="*/ 247650 w 782002"/>
                  <a:gd name="connsiteY53" fmla="*/ 20955 h 835342"/>
                  <a:gd name="connsiteX54" fmla="*/ 229552 w 782002"/>
                  <a:gd name="connsiteY54" fmla="*/ 1905 h 835342"/>
                  <a:gd name="connsiteX55" fmla="*/ 213360 w 782002"/>
                  <a:gd name="connsiteY55" fmla="*/ 0 h 835342"/>
                  <a:gd name="connsiteX56" fmla="*/ 209550 w 782002"/>
                  <a:gd name="connsiteY56" fmla="*/ 0 h 835342"/>
                  <a:gd name="connsiteX57" fmla="*/ 185738 w 782002"/>
                  <a:gd name="connsiteY57" fmla="*/ 2857 h 835342"/>
                  <a:gd name="connsiteX58" fmla="*/ 184785 w 782002"/>
                  <a:gd name="connsiteY58" fmla="*/ 6667 h 835342"/>
                  <a:gd name="connsiteX59" fmla="*/ 159068 w 782002"/>
                  <a:gd name="connsiteY59" fmla="*/ 21907 h 835342"/>
                  <a:gd name="connsiteX60" fmla="*/ 163830 w 782002"/>
                  <a:gd name="connsiteY60" fmla="*/ 36195 h 835342"/>
                  <a:gd name="connsiteX61" fmla="*/ 178118 w 782002"/>
                  <a:gd name="connsiteY61" fmla="*/ 45720 h 835342"/>
                  <a:gd name="connsiteX62" fmla="*/ 184785 w 782002"/>
                  <a:gd name="connsiteY62" fmla="*/ 46672 h 835342"/>
                  <a:gd name="connsiteX63" fmla="*/ 180975 w 782002"/>
                  <a:gd name="connsiteY63" fmla="*/ 52388 h 835342"/>
                  <a:gd name="connsiteX64" fmla="*/ 191452 w 782002"/>
                  <a:gd name="connsiteY64" fmla="*/ 58102 h 835342"/>
                  <a:gd name="connsiteX65" fmla="*/ 172402 w 782002"/>
                  <a:gd name="connsiteY65" fmla="*/ 75247 h 835342"/>
                  <a:gd name="connsiteX66" fmla="*/ 176213 w 782002"/>
                  <a:gd name="connsiteY66" fmla="*/ 89535 h 835342"/>
                  <a:gd name="connsiteX67" fmla="*/ 178118 w 782002"/>
                  <a:gd name="connsiteY67" fmla="*/ 119063 h 835342"/>
                  <a:gd name="connsiteX68" fmla="*/ 196215 w 782002"/>
                  <a:gd name="connsiteY68" fmla="*/ 126682 h 835342"/>
                  <a:gd name="connsiteX69" fmla="*/ 200977 w 782002"/>
                  <a:gd name="connsiteY69" fmla="*/ 136207 h 835342"/>
                  <a:gd name="connsiteX70" fmla="*/ 215265 w 782002"/>
                  <a:gd name="connsiteY70" fmla="*/ 142875 h 835342"/>
                  <a:gd name="connsiteX71" fmla="*/ 195263 w 782002"/>
                  <a:gd name="connsiteY71" fmla="*/ 156210 h 835342"/>
                  <a:gd name="connsiteX72" fmla="*/ 191452 w 782002"/>
                  <a:gd name="connsiteY72" fmla="*/ 176213 h 835342"/>
                  <a:gd name="connsiteX73" fmla="*/ 174307 w 782002"/>
                  <a:gd name="connsiteY73" fmla="*/ 195263 h 835342"/>
                  <a:gd name="connsiteX74" fmla="*/ 159068 w 782002"/>
                  <a:gd name="connsiteY74" fmla="*/ 206692 h 835342"/>
                  <a:gd name="connsiteX75" fmla="*/ 148590 w 782002"/>
                  <a:gd name="connsiteY75" fmla="*/ 224790 h 835342"/>
                  <a:gd name="connsiteX76" fmla="*/ 129540 w 782002"/>
                  <a:gd name="connsiteY76" fmla="*/ 239077 h 835342"/>
                  <a:gd name="connsiteX77" fmla="*/ 113348 w 782002"/>
                  <a:gd name="connsiteY77" fmla="*/ 258127 h 835342"/>
                  <a:gd name="connsiteX78" fmla="*/ 89535 w 782002"/>
                  <a:gd name="connsiteY78" fmla="*/ 260032 h 835342"/>
                  <a:gd name="connsiteX79" fmla="*/ 84773 w 782002"/>
                  <a:gd name="connsiteY79" fmla="*/ 250507 h 835342"/>
                  <a:gd name="connsiteX80" fmla="*/ 66675 w 782002"/>
                  <a:gd name="connsiteY80" fmla="*/ 261938 h 835342"/>
                  <a:gd name="connsiteX81" fmla="*/ 53340 w 782002"/>
                  <a:gd name="connsiteY81" fmla="*/ 274320 h 835342"/>
                  <a:gd name="connsiteX82" fmla="*/ 53340 w 782002"/>
                  <a:gd name="connsiteY82" fmla="*/ 288607 h 835342"/>
                  <a:gd name="connsiteX83" fmla="*/ 66675 w 782002"/>
                  <a:gd name="connsiteY83" fmla="*/ 297180 h 835342"/>
                  <a:gd name="connsiteX84" fmla="*/ 63818 w 782002"/>
                  <a:gd name="connsiteY84" fmla="*/ 312420 h 835342"/>
                  <a:gd name="connsiteX85" fmla="*/ 78105 w 782002"/>
                  <a:gd name="connsiteY85" fmla="*/ 326707 h 835342"/>
                  <a:gd name="connsiteX86" fmla="*/ 82868 w 782002"/>
                  <a:gd name="connsiteY86" fmla="*/ 357188 h 835342"/>
                  <a:gd name="connsiteX87" fmla="*/ 70485 w 782002"/>
                  <a:gd name="connsiteY87" fmla="*/ 352425 h 835342"/>
                  <a:gd name="connsiteX88" fmla="*/ 55245 w 782002"/>
                  <a:gd name="connsiteY88" fmla="*/ 356235 h 835342"/>
                  <a:gd name="connsiteX89" fmla="*/ 25718 w 782002"/>
                  <a:gd name="connsiteY89" fmla="*/ 353378 h 835342"/>
                  <a:gd name="connsiteX90" fmla="*/ 20002 w 782002"/>
                  <a:gd name="connsiteY90" fmla="*/ 360045 h 835342"/>
                  <a:gd name="connsiteX91" fmla="*/ 0 w 782002"/>
                  <a:gd name="connsiteY91" fmla="*/ 367665 h 835342"/>
                  <a:gd name="connsiteX92" fmla="*/ 0 w 782002"/>
                  <a:gd name="connsiteY92" fmla="*/ 371475 h 835342"/>
                  <a:gd name="connsiteX93" fmla="*/ 15240 w 782002"/>
                  <a:gd name="connsiteY93" fmla="*/ 372428 h 835342"/>
                  <a:gd name="connsiteX94" fmla="*/ 40957 w 782002"/>
                  <a:gd name="connsiteY94" fmla="*/ 399097 h 835342"/>
                  <a:gd name="connsiteX95" fmla="*/ 62865 w 782002"/>
                  <a:gd name="connsiteY95" fmla="*/ 400050 h 835342"/>
                  <a:gd name="connsiteX96" fmla="*/ 35243 w 782002"/>
                  <a:gd name="connsiteY96" fmla="*/ 410528 h 835342"/>
                  <a:gd name="connsiteX97" fmla="*/ 25718 w 782002"/>
                  <a:gd name="connsiteY97" fmla="*/ 409575 h 835342"/>
                  <a:gd name="connsiteX98" fmla="*/ 33338 w 782002"/>
                  <a:gd name="connsiteY98" fmla="*/ 421005 h 835342"/>
                  <a:gd name="connsiteX99" fmla="*/ 58102 w 782002"/>
                  <a:gd name="connsiteY99" fmla="*/ 452438 h 835342"/>
                  <a:gd name="connsiteX100" fmla="*/ 84773 w 782002"/>
                  <a:gd name="connsiteY100" fmla="*/ 459105 h 835342"/>
                  <a:gd name="connsiteX101" fmla="*/ 109538 w 782002"/>
                  <a:gd name="connsiteY101" fmla="*/ 449580 h 835342"/>
                  <a:gd name="connsiteX102" fmla="*/ 116205 w 782002"/>
                  <a:gd name="connsiteY102" fmla="*/ 422910 h 835342"/>
                  <a:gd name="connsiteX103" fmla="*/ 119063 w 782002"/>
                  <a:gd name="connsiteY103" fmla="*/ 435292 h 835342"/>
                  <a:gd name="connsiteX104" fmla="*/ 124777 w 782002"/>
                  <a:gd name="connsiteY104" fmla="*/ 440055 h 835342"/>
                  <a:gd name="connsiteX105" fmla="*/ 123825 w 782002"/>
                  <a:gd name="connsiteY105" fmla="*/ 463867 h 835342"/>
                  <a:gd name="connsiteX106" fmla="*/ 120015 w 782002"/>
                  <a:gd name="connsiteY106" fmla="*/ 493395 h 835342"/>
                  <a:gd name="connsiteX107" fmla="*/ 125730 w 782002"/>
                  <a:gd name="connsiteY107" fmla="*/ 547688 h 835342"/>
                  <a:gd name="connsiteX108" fmla="*/ 133350 w 782002"/>
                  <a:gd name="connsiteY108" fmla="*/ 601028 h 835342"/>
                  <a:gd name="connsiteX109" fmla="*/ 141923 w 782002"/>
                  <a:gd name="connsiteY109" fmla="*/ 621982 h 835342"/>
                  <a:gd name="connsiteX110" fmla="*/ 153352 w 782002"/>
                  <a:gd name="connsiteY110" fmla="*/ 644842 h 835342"/>
                  <a:gd name="connsiteX111" fmla="*/ 160020 w 782002"/>
                  <a:gd name="connsiteY111" fmla="*/ 669607 h 835342"/>
                  <a:gd name="connsiteX112" fmla="*/ 168593 w 782002"/>
                  <a:gd name="connsiteY112" fmla="*/ 703897 h 835342"/>
                  <a:gd name="connsiteX113" fmla="*/ 191452 w 782002"/>
                  <a:gd name="connsiteY113" fmla="*/ 747713 h 835342"/>
                  <a:gd name="connsiteX114" fmla="*/ 196215 w 782002"/>
                  <a:gd name="connsiteY114" fmla="*/ 766763 h 835342"/>
                  <a:gd name="connsiteX115" fmla="*/ 204788 w 782002"/>
                  <a:gd name="connsiteY115" fmla="*/ 798195 h 835342"/>
                  <a:gd name="connsiteX116" fmla="*/ 216218 w 782002"/>
                  <a:gd name="connsiteY116" fmla="*/ 822960 h 835342"/>
                  <a:gd name="connsiteX117" fmla="*/ 235268 w 782002"/>
                  <a:gd name="connsiteY117" fmla="*/ 835342 h 835342"/>
                  <a:gd name="connsiteX118" fmla="*/ 244793 w 782002"/>
                  <a:gd name="connsiteY118" fmla="*/ 835342 h 835342"/>
                  <a:gd name="connsiteX119" fmla="*/ 261938 w 782002"/>
                  <a:gd name="connsiteY119" fmla="*/ 814388 h 835342"/>
                  <a:gd name="connsiteX120" fmla="*/ 280035 w 782002"/>
                  <a:gd name="connsiteY120" fmla="*/ 796290 h 835342"/>
                  <a:gd name="connsiteX121" fmla="*/ 285750 w 782002"/>
                  <a:gd name="connsiteY121" fmla="*/ 791528 h 835342"/>
                  <a:gd name="connsiteX122" fmla="*/ 292418 w 782002"/>
                  <a:gd name="connsiteY122" fmla="*/ 777240 h 835342"/>
                  <a:gd name="connsiteX123" fmla="*/ 307657 w 782002"/>
                  <a:gd name="connsiteY123" fmla="*/ 773430 h 835342"/>
                  <a:gd name="connsiteX124" fmla="*/ 310515 w 782002"/>
                  <a:gd name="connsiteY124" fmla="*/ 730567 h 835342"/>
                  <a:gd name="connsiteX125" fmla="*/ 320993 w 782002"/>
                  <a:gd name="connsiteY125" fmla="*/ 711517 h 835342"/>
                  <a:gd name="connsiteX126" fmla="*/ 322898 w 782002"/>
                  <a:gd name="connsiteY126" fmla="*/ 688657 h 835342"/>
                  <a:gd name="connsiteX127" fmla="*/ 324802 w 782002"/>
                  <a:gd name="connsiteY127" fmla="*/ 670560 h 835342"/>
                  <a:gd name="connsiteX128" fmla="*/ 322898 w 782002"/>
                  <a:gd name="connsiteY128" fmla="*/ 641032 h 835342"/>
                  <a:gd name="connsiteX129" fmla="*/ 340043 w 782002"/>
                  <a:gd name="connsiteY129" fmla="*/ 611505 h 835342"/>
                  <a:gd name="connsiteX130" fmla="*/ 343852 w 782002"/>
                  <a:gd name="connsiteY130" fmla="*/ 617220 h 835342"/>
                  <a:gd name="connsiteX131" fmla="*/ 355282 w 782002"/>
                  <a:gd name="connsiteY131" fmla="*/ 601028 h 835342"/>
                  <a:gd name="connsiteX132" fmla="*/ 381000 w 782002"/>
                  <a:gd name="connsiteY132" fmla="*/ 594360 h 835342"/>
                  <a:gd name="connsiteX133" fmla="*/ 385763 w 782002"/>
                  <a:gd name="connsiteY133" fmla="*/ 580072 h 835342"/>
                  <a:gd name="connsiteX134" fmla="*/ 412432 w 782002"/>
                  <a:gd name="connsiteY134" fmla="*/ 561022 h 835342"/>
                  <a:gd name="connsiteX135" fmla="*/ 437198 w 782002"/>
                  <a:gd name="connsiteY135" fmla="*/ 541972 h 835342"/>
                  <a:gd name="connsiteX136" fmla="*/ 462915 w 782002"/>
                  <a:gd name="connsiteY136" fmla="*/ 512445 h 835342"/>
                  <a:gd name="connsiteX137" fmla="*/ 469582 w 782002"/>
                  <a:gd name="connsiteY137" fmla="*/ 501015 h 835342"/>
                  <a:gd name="connsiteX138" fmla="*/ 486727 w 782002"/>
                  <a:gd name="connsiteY138" fmla="*/ 501015 h 835342"/>
                  <a:gd name="connsiteX139" fmla="*/ 512445 w 782002"/>
                  <a:gd name="connsiteY139" fmla="*/ 475297 h 835342"/>
                  <a:gd name="connsiteX140" fmla="*/ 512445 w 782002"/>
                  <a:gd name="connsiteY140" fmla="*/ 459105 h 835342"/>
                  <a:gd name="connsiteX141" fmla="*/ 541973 w 782002"/>
                  <a:gd name="connsiteY141" fmla="*/ 439103 h 835342"/>
                  <a:gd name="connsiteX142" fmla="*/ 544830 w 782002"/>
                  <a:gd name="connsiteY142" fmla="*/ 439103 h 835342"/>
                  <a:gd name="connsiteX143" fmla="*/ 546735 w 782002"/>
                  <a:gd name="connsiteY143" fmla="*/ 445770 h 835342"/>
                  <a:gd name="connsiteX144" fmla="*/ 554355 w 782002"/>
                  <a:gd name="connsiteY144" fmla="*/ 446722 h 835342"/>
                  <a:gd name="connsiteX145" fmla="*/ 563880 w 782002"/>
                  <a:gd name="connsiteY145" fmla="*/ 443865 h 835342"/>
                  <a:gd name="connsiteX146" fmla="*/ 562927 w 782002"/>
                  <a:gd name="connsiteY146" fmla="*/ 440055 h 835342"/>
                  <a:gd name="connsiteX147" fmla="*/ 566738 w 782002"/>
                  <a:gd name="connsiteY147" fmla="*/ 427672 h 835342"/>
                  <a:gd name="connsiteX148" fmla="*/ 562927 w 782002"/>
                  <a:gd name="connsiteY148" fmla="*/ 406717 h 835342"/>
                  <a:gd name="connsiteX149" fmla="*/ 553402 w 782002"/>
                  <a:gd name="connsiteY149" fmla="*/ 388620 h 835342"/>
                  <a:gd name="connsiteX150" fmla="*/ 557213 w 782002"/>
                  <a:gd name="connsiteY150" fmla="*/ 371475 h 835342"/>
                  <a:gd name="connsiteX151" fmla="*/ 537210 w 782002"/>
                  <a:gd name="connsiteY151" fmla="*/ 356235 h 835342"/>
                  <a:gd name="connsiteX152" fmla="*/ 546735 w 782002"/>
                  <a:gd name="connsiteY152" fmla="*/ 353378 h 835342"/>
                  <a:gd name="connsiteX153" fmla="*/ 546735 w 782002"/>
                  <a:gd name="connsiteY153" fmla="*/ 345757 h 835342"/>
                  <a:gd name="connsiteX154" fmla="*/ 561023 w 782002"/>
                  <a:gd name="connsiteY154" fmla="*/ 343853 h 835342"/>
                  <a:gd name="connsiteX155" fmla="*/ 553402 w 782002"/>
                  <a:gd name="connsiteY155" fmla="*/ 334327 h 835342"/>
                  <a:gd name="connsiteX156" fmla="*/ 548640 w 782002"/>
                  <a:gd name="connsiteY156" fmla="*/ 332422 h 835342"/>
                  <a:gd name="connsiteX157" fmla="*/ 538163 w 782002"/>
                  <a:gd name="connsiteY157" fmla="*/ 323850 h 835342"/>
                  <a:gd name="connsiteX158" fmla="*/ 547688 w 782002"/>
                  <a:gd name="connsiteY158" fmla="*/ 309563 h 835342"/>
                  <a:gd name="connsiteX159" fmla="*/ 552450 w 782002"/>
                  <a:gd name="connsiteY159" fmla="*/ 320040 h 835342"/>
                  <a:gd name="connsiteX160" fmla="*/ 561975 w 782002"/>
                  <a:gd name="connsiteY160" fmla="*/ 315277 h 835342"/>
                  <a:gd name="connsiteX161" fmla="*/ 574357 w 782002"/>
                  <a:gd name="connsiteY161" fmla="*/ 322897 h 835342"/>
                  <a:gd name="connsiteX162" fmla="*/ 579120 w 782002"/>
                  <a:gd name="connsiteY162" fmla="*/ 319088 h 835342"/>
                  <a:gd name="connsiteX163" fmla="*/ 576263 w 782002"/>
                  <a:gd name="connsiteY163" fmla="*/ 335280 h 835342"/>
                  <a:gd name="connsiteX164" fmla="*/ 599123 w 782002"/>
                  <a:gd name="connsiteY164" fmla="*/ 345757 h 835342"/>
                  <a:gd name="connsiteX165" fmla="*/ 642938 w 782002"/>
                  <a:gd name="connsiteY165" fmla="*/ 341947 h 835342"/>
                  <a:gd name="connsiteX166" fmla="*/ 649605 w 782002"/>
                  <a:gd name="connsiteY166" fmla="*/ 344805 h 835342"/>
                  <a:gd name="connsiteX167" fmla="*/ 641985 w 782002"/>
                  <a:gd name="connsiteY167" fmla="*/ 361950 h 835342"/>
                  <a:gd name="connsiteX168" fmla="*/ 620077 w 782002"/>
                  <a:gd name="connsiteY168" fmla="*/ 374332 h 835342"/>
                  <a:gd name="connsiteX169" fmla="*/ 622935 w 782002"/>
                  <a:gd name="connsiteY169" fmla="*/ 402907 h 835342"/>
                  <a:gd name="connsiteX170" fmla="*/ 634365 w 782002"/>
                  <a:gd name="connsiteY170" fmla="*/ 405765 h 835342"/>
                  <a:gd name="connsiteX171" fmla="*/ 649605 w 782002"/>
                  <a:gd name="connsiteY171" fmla="*/ 401003 h 835342"/>
                  <a:gd name="connsiteX172" fmla="*/ 656273 w 782002"/>
                  <a:gd name="connsiteY172" fmla="*/ 434340 h 835342"/>
                  <a:gd name="connsiteX173" fmla="*/ 671513 w 782002"/>
                  <a:gd name="connsiteY173" fmla="*/ 429578 h 835342"/>
                  <a:gd name="connsiteX174" fmla="*/ 672465 w 782002"/>
                  <a:gd name="connsiteY174" fmla="*/ 406717 h 835342"/>
                  <a:gd name="connsiteX175" fmla="*/ 677227 w 782002"/>
                  <a:gd name="connsiteY175" fmla="*/ 372428 h 835342"/>
                  <a:gd name="connsiteX176" fmla="*/ 699135 w 782002"/>
                  <a:gd name="connsiteY176" fmla="*/ 377190 h 835342"/>
                  <a:gd name="connsiteX177" fmla="*/ 715327 w 782002"/>
                  <a:gd name="connsiteY177" fmla="*/ 341947 h 835342"/>
                  <a:gd name="connsiteX178" fmla="*/ 713423 w 782002"/>
                  <a:gd name="connsiteY178" fmla="*/ 330517 h 835342"/>
                  <a:gd name="connsiteX179" fmla="*/ 722948 w 782002"/>
                  <a:gd name="connsiteY179" fmla="*/ 298132 h 835342"/>
                  <a:gd name="connsiteX180" fmla="*/ 755332 w 782002"/>
                  <a:gd name="connsiteY180" fmla="*/ 275272 h 835342"/>
                  <a:gd name="connsiteX181" fmla="*/ 773430 w 782002"/>
                  <a:gd name="connsiteY181" fmla="*/ 280035 h 835342"/>
                  <a:gd name="connsiteX182" fmla="*/ 765810 w 782002"/>
                  <a:gd name="connsiteY182" fmla="*/ 265747 h 835342"/>
                  <a:gd name="connsiteX183" fmla="*/ 782002 w 782002"/>
                  <a:gd name="connsiteY183" fmla="*/ 264795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</a:cxnLst>
                <a:rect l="l" t="t" r="r" b="b"/>
                <a:pathLst>
                  <a:path w="782002" h="835342">
                    <a:moveTo>
                      <a:pt x="782002" y="264795"/>
                    </a:moveTo>
                    <a:lnTo>
                      <a:pt x="782002" y="253365"/>
                    </a:lnTo>
                    <a:cubicBezTo>
                      <a:pt x="772477" y="248602"/>
                      <a:pt x="762000" y="249555"/>
                      <a:pt x="751523" y="250507"/>
                    </a:cubicBezTo>
                    <a:cubicBezTo>
                      <a:pt x="755332" y="245745"/>
                      <a:pt x="760095" y="236220"/>
                      <a:pt x="751523" y="232410"/>
                    </a:cubicBezTo>
                    <a:cubicBezTo>
                      <a:pt x="751523" y="230505"/>
                      <a:pt x="751523" y="227647"/>
                      <a:pt x="752475" y="225742"/>
                    </a:cubicBezTo>
                    <a:cubicBezTo>
                      <a:pt x="747713" y="223838"/>
                      <a:pt x="743902" y="220980"/>
                      <a:pt x="739140" y="220980"/>
                    </a:cubicBezTo>
                    <a:cubicBezTo>
                      <a:pt x="734377" y="220980"/>
                      <a:pt x="732473" y="225742"/>
                      <a:pt x="730568" y="228600"/>
                    </a:cubicBezTo>
                    <a:cubicBezTo>
                      <a:pt x="724852" y="230505"/>
                      <a:pt x="718185" y="230505"/>
                      <a:pt x="712470" y="230505"/>
                    </a:cubicBezTo>
                    <a:cubicBezTo>
                      <a:pt x="710565" y="228600"/>
                      <a:pt x="709613" y="226695"/>
                      <a:pt x="707707" y="225742"/>
                    </a:cubicBezTo>
                    <a:cubicBezTo>
                      <a:pt x="697230" y="226695"/>
                      <a:pt x="692468" y="237172"/>
                      <a:pt x="688657" y="243840"/>
                    </a:cubicBezTo>
                    <a:cubicBezTo>
                      <a:pt x="682943" y="247650"/>
                      <a:pt x="674370" y="246697"/>
                      <a:pt x="670560" y="252413"/>
                    </a:cubicBezTo>
                    <a:cubicBezTo>
                      <a:pt x="662940" y="262890"/>
                      <a:pt x="651510" y="271463"/>
                      <a:pt x="637223" y="274320"/>
                    </a:cubicBezTo>
                    <a:cubicBezTo>
                      <a:pt x="634365" y="273367"/>
                      <a:pt x="631507" y="272415"/>
                      <a:pt x="628650" y="271463"/>
                    </a:cubicBezTo>
                    <a:cubicBezTo>
                      <a:pt x="628650" y="277177"/>
                      <a:pt x="628650" y="281940"/>
                      <a:pt x="630555" y="287655"/>
                    </a:cubicBezTo>
                    <a:cubicBezTo>
                      <a:pt x="634365" y="287655"/>
                      <a:pt x="638175" y="288607"/>
                      <a:pt x="641985" y="288607"/>
                    </a:cubicBezTo>
                    <a:cubicBezTo>
                      <a:pt x="641032" y="292417"/>
                      <a:pt x="641032" y="297180"/>
                      <a:pt x="642938" y="300990"/>
                    </a:cubicBezTo>
                    <a:cubicBezTo>
                      <a:pt x="635318" y="303847"/>
                      <a:pt x="625793" y="302895"/>
                      <a:pt x="618173" y="304800"/>
                    </a:cubicBezTo>
                    <a:cubicBezTo>
                      <a:pt x="609600" y="306705"/>
                      <a:pt x="599123" y="300038"/>
                      <a:pt x="591502" y="306705"/>
                    </a:cubicBezTo>
                    <a:cubicBezTo>
                      <a:pt x="582930" y="303847"/>
                      <a:pt x="573405" y="304800"/>
                      <a:pt x="564832" y="300990"/>
                    </a:cubicBezTo>
                    <a:cubicBezTo>
                      <a:pt x="563880" y="292417"/>
                      <a:pt x="557213" y="281940"/>
                      <a:pt x="565785" y="275272"/>
                    </a:cubicBezTo>
                    <a:cubicBezTo>
                      <a:pt x="563880" y="269557"/>
                      <a:pt x="561023" y="260985"/>
                      <a:pt x="553402" y="262890"/>
                    </a:cubicBezTo>
                    <a:cubicBezTo>
                      <a:pt x="542925" y="266700"/>
                      <a:pt x="539115" y="278130"/>
                      <a:pt x="536257" y="286702"/>
                    </a:cubicBezTo>
                    <a:cubicBezTo>
                      <a:pt x="532448" y="297180"/>
                      <a:pt x="545782" y="307657"/>
                      <a:pt x="537210" y="317182"/>
                    </a:cubicBezTo>
                    <a:cubicBezTo>
                      <a:pt x="529590" y="318135"/>
                      <a:pt x="520065" y="319088"/>
                      <a:pt x="514350" y="313372"/>
                    </a:cubicBezTo>
                    <a:cubicBezTo>
                      <a:pt x="504825" y="318135"/>
                      <a:pt x="496252" y="312420"/>
                      <a:pt x="487680" y="309563"/>
                    </a:cubicBezTo>
                    <a:cubicBezTo>
                      <a:pt x="485775" y="310515"/>
                      <a:pt x="483870" y="310515"/>
                      <a:pt x="481965" y="311467"/>
                    </a:cubicBezTo>
                    <a:cubicBezTo>
                      <a:pt x="481013" y="303847"/>
                      <a:pt x="473393" y="304800"/>
                      <a:pt x="468630" y="307657"/>
                    </a:cubicBezTo>
                    <a:cubicBezTo>
                      <a:pt x="462915" y="303847"/>
                      <a:pt x="456248" y="301942"/>
                      <a:pt x="453390" y="296227"/>
                    </a:cubicBezTo>
                    <a:cubicBezTo>
                      <a:pt x="447675" y="288607"/>
                      <a:pt x="435293" y="282892"/>
                      <a:pt x="426720" y="290513"/>
                    </a:cubicBezTo>
                    <a:cubicBezTo>
                      <a:pt x="422910" y="287655"/>
                      <a:pt x="419100" y="288607"/>
                      <a:pt x="415290" y="289560"/>
                    </a:cubicBezTo>
                    <a:cubicBezTo>
                      <a:pt x="411480" y="287655"/>
                      <a:pt x="408623" y="286702"/>
                      <a:pt x="404813" y="285750"/>
                    </a:cubicBezTo>
                    <a:cubicBezTo>
                      <a:pt x="403860" y="284797"/>
                      <a:pt x="401955" y="282892"/>
                      <a:pt x="401002" y="281940"/>
                    </a:cubicBezTo>
                    <a:cubicBezTo>
                      <a:pt x="391477" y="280988"/>
                      <a:pt x="385763" y="272415"/>
                      <a:pt x="376238" y="274320"/>
                    </a:cubicBezTo>
                    <a:cubicBezTo>
                      <a:pt x="367665" y="265747"/>
                      <a:pt x="358140" y="259080"/>
                      <a:pt x="348615" y="252413"/>
                    </a:cubicBezTo>
                    <a:cubicBezTo>
                      <a:pt x="344805" y="250507"/>
                      <a:pt x="337185" y="251460"/>
                      <a:pt x="338138" y="245745"/>
                    </a:cubicBezTo>
                    <a:cubicBezTo>
                      <a:pt x="340043" y="234315"/>
                      <a:pt x="345757" y="224790"/>
                      <a:pt x="351473" y="215265"/>
                    </a:cubicBezTo>
                    <a:cubicBezTo>
                      <a:pt x="353377" y="211455"/>
                      <a:pt x="358140" y="213360"/>
                      <a:pt x="360998" y="212407"/>
                    </a:cubicBezTo>
                    <a:cubicBezTo>
                      <a:pt x="360998" y="203835"/>
                      <a:pt x="350520" y="201930"/>
                      <a:pt x="343852" y="200025"/>
                    </a:cubicBezTo>
                    <a:cubicBezTo>
                      <a:pt x="336232" y="198120"/>
                      <a:pt x="339090" y="187642"/>
                      <a:pt x="331470" y="186690"/>
                    </a:cubicBezTo>
                    <a:cubicBezTo>
                      <a:pt x="323850" y="185738"/>
                      <a:pt x="319088" y="180975"/>
                      <a:pt x="316230" y="174307"/>
                    </a:cubicBezTo>
                    <a:cubicBezTo>
                      <a:pt x="315277" y="170497"/>
                      <a:pt x="310515" y="172402"/>
                      <a:pt x="307657" y="172402"/>
                    </a:cubicBezTo>
                    <a:cubicBezTo>
                      <a:pt x="307657" y="164782"/>
                      <a:pt x="302895" y="157163"/>
                      <a:pt x="305752" y="149542"/>
                    </a:cubicBezTo>
                    <a:cubicBezTo>
                      <a:pt x="305752" y="148590"/>
                      <a:pt x="304800" y="146685"/>
                      <a:pt x="303848" y="145732"/>
                    </a:cubicBezTo>
                    <a:cubicBezTo>
                      <a:pt x="308610" y="147638"/>
                      <a:pt x="314325" y="148590"/>
                      <a:pt x="318135" y="143827"/>
                    </a:cubicBezTo>
                    <a:cubicBezTo>
                      <a:pt x="331470" y="142875"/>
                      <a:pt x="321945" y="128588"/>
                      <a:pt x="325755" y="120967"/>
                    </a:cubicBezTo>
                    <a:cubicBezTo>
                      <a:pt x="320993" y="119063"/>
                      <a:pt x="316230" y="117157"/>
                      <a:pt x="312420" y="115252"/>
                    </a:cubicBezTo>
                    <a:cubicBezTo>
                      <a:pt x="314325" y="110490"/>
                      <a:pt x="314325" y="105727"/>
                      <a:pt x="315277" y="100013"/>
                    </a:cubicBezTo>
                    <a:cubicBezTo>
                      <a:pt x="328613" y="99060"/>
                      <a:pt x="341948" y="85725"/>
                      <a:pt x="350520" y="78105"/>
                    </a:cubicBezTo>
                    <a:cubicBezTo>
                      <a:pt x="354330" y="69532"/>
                      <a:pt x="350520" y="60007"/>
                      <a:pt x="346710" y="50482"/>
                    </a:cubicBezTo>
                    <a:cubicBezTo>
                      <a:pt x="339090" y="42863"/>
                      <a:pt x="327660" y="40005"/>
                      <a:pt x="316230" y="37147"/>
                    </a:cubicBezTo>
                    <a:cubicBezTo>
                      <a:pt x="316230" y="38100"/>
                      <a:pt x="315277" y="40957"/>
                      <a:pt x="314325" y="41910"/>
                    </a:cubicBezTo>
                    <a:cubicBezTo>
                      <a:pt x="300038" y="39052"/>
                      <a:pt x="292418" y="54292"/>
                      <a:pt x="278130" y="52388"/>
                    </a:cubicBezTo>
                    <a:cubicBezTo>
                      <a:pt x="278130" y="50482"/>
                      <a:pt x="277177" y="48577"/>
                      <a:pt x="277177" y="46672"/>
                    </a:cubicBezTo>
                    <a:cubicBezTo>
                      <a:pt x="262890" y="42863"/>
                      <a:pt x="260985" y="26670"/>
                      <a:pt x="247650" y="20955"/>
                    </a:cubicBezTo>
                    <a:cubicBezTo>
                      <a:pt x="238125" y="18097"/>
                      <a:pt x="238125" y="6667"/>
                      <a:pt x="229552" y="1905"/>
                    </a:cubicBezTo>
                    <a:cubicBezTo>
                      <a:pt x="223838" y="2857"/>
                      <a:pt x="218123" y="2857"/>
                      <a:pt x="213360" y="0"/>
                    </a:cubicBezTo>
                    <a:lnTo>
                      <a:pt x="209550" y="0"/>
                    </a:lnTo>
                    <a:cubicBezTo>
                      <a:pt x="202882" y="4763"/>
                      <a:pt x="194310" y="4763"/>
                      <a:pt x="185738" y="2857"/>
                    </a:cubicBezTo>
                    <a:cubicBezTo>
                      <a:pt x="185738" y="3810"/>
                      <a:pt x="184785" y="5715"/>
                      <a:pt x="184785" y="6667"/>
                    </a:cubicBezTo>
                    <a:cubicBezTo>
                      <a:pt x="172402" y="3810"/>
                      <a:pt x="167640" y="16192"/>
                      <a:pt x="159068" y="21907"/>
                    </a:cubicBezTo>
                    <a:cubicBezTo>
                      <a:pt x="153352" y="25717"/>
                      <a:pt x="156210" y="36195"/>
                      <a:pt x="163830" y="36195"/>
                    </a:cubicBezTo>
                    <a:cubicBezTo>
                      <a:pt x="170498" y="37147"/>
                      <a:pt x="173355" y="41910"/>
                      <a:pt x="178118" y="45720"/>
                    </a:cubicBezTo>
                    <a:cubicBezTo>
                      <a:pt x="180023" y="45720"/>
                      <a:pt x="182880" y="46672"/>
                      <a:pt x="184785" y="46672"/>
                    </a:cubicBezTo>
                    <a:cubicBezTo>
                      <a:pt x="183832" y="48577"/>
                      <a:pt x="182880" y="50482"/>
                      <a:pt x="180975" y="52388"/>
                    </a:cubicBezTo>
                    <a:cubicBezTo>
                      <a:pt x="184785" y="54292"/>
                      <a:pt x="188595" y="56197"/>
                      <a:pt x="191452" y="58102"/>
                    </a:cubicBezTo>
                    <a:cubicBezTo>
                      <a:pt x="183832" y="61913"/>
                      <a:pt x="178118" y="68580"/>
                      <a:pt x="172402" y="75247"/>
                    </a:cubicBezTo>
                    <a:cubicBezTo>
                      <a:pt x="172402" y="80010"/>
                      <a:pt x="175260" y="84772"/>
                      <a:pt x="176213" y="89535"/>
                    </a:cubicBezTo>
                    <a:cubicBezTo>
                      <a:pt x="179070" y="99060"/>
                      <a:pt x="174307" y="109538"/>
                      <a:pt x="178118" y="119063"/>
                    </a:cubicBezTo>
                    <a:cubicBezTo>
                      <a:pt x="183832" y="121920"/>
                      <a:pt x="190500" y="122872"/>
                      <a:pt x="196215" y="126682"/>
                    </a:cubicBezTo>
                    <a:cubicBezTo>
                      <a:pt x="199073" y="129540"/>
                      <a:pt x="199073" y="133350"/>
                      <a:pt x="200977" y="136207"/>
                    </a:cubicBezTo>
                    <a:cubicBezTo>
                      <a:pt x="205740" y="138113"/>
                      <a:pt x="210502" y="140017"/>
                      <a:pt x="215265" y="142875"/>
                    </a:cubicBezTo>
                    <a:cubicBezTo>
                      <a:pt x="208598" y="147638"/>
                      <a:pt x="195263" y="144780"/>
                      <a:pt x="195263" y="156210"/>
                    </a:cubicBezTo>
                    <a:cubicBezTo>
                      <a:pt x="194310" y="162877"/>
                      <a:pt x="192405" y="169545"/>
                      <a:pt x="191452" y="176213"/>
                    </a:cubicBezTo>
                    <a:cubicBezTo>
                      <a:pt x="185738" y="182880"/>
                      <a:pt x="175260" y="185738"/>
                      <a:pt x="174307" y="195263"/>
                    </a:cubicBezTo>
                    <a:cubicBezTo>
                      <a:pt x="173355" y="202882"/>
                      <a:pt x="161925" y="200025"/>
                      <a:pt x="159068" y="206692"/>
                    </a:cubicBezTo>
                    <a:cubicBezTo>
                      <a:pt x="156210" y="213360"/>
                      <a:pt x="155257" y="220980"/>
                      <a:pt x="148590" y="224790"/>
                    </a:cubicBezTo>
                    <a:cubicBezTo>
                      <a:pt x="142875" y="230505"/>
                      <a:pt x="133350" y="231457"/>
                      <a:pt x="129540" y="239077"/>
                    </a:cubicBezTo>
                    <a:cubicBezTo>
                      <a:pt x="125730" y="246697"/>
                      <a:pt x="120015" y="252413"/>
                      <a:pt x="113348" y="258127"/>
                    </a:cubicBezTo>
                    <a:cubicBezTo>
                      <a:pt x="105727" y="257175"/>
                      <a:pt x="97155" y="258127"/>
                      <a:pt x="89535" y="260032"/>
                    </a:cubicBezTo>
                    <a:cubicBezTo>
                      <a:pt x="87630" y="257175"/>
                      <a:pt x="86677" y="253365"/>
                      <a:pt x="84773" y="250507"/>
                    </a:cubicBezTo>
                    <a:cubicBezTo>
                      <a:pt x="77152" y="250507"/>
                      <a:pt x="70485" y="256222"/>
                      <a:pt x="66675" y="261938"/>
                    </a:cubicBezTo>
                    <a:cubicBezTo>
                      <a:pt x="63818" y="267652"/>
                      <a:pt x="58102" y="269557"/>
                      <a:pt x="53340" y="274320"/>
                    </a:cubicBezTo>
                    <a:cubicBezTo>
                      <a:pt x="50482" y="278130"/>
                      <a:pt x="51435" y="283845"/>
                      <a:pt x="53340" y="288607"/>
                    </a:cubicBezTo>
                    <a:cubicBezTo>
                      <a:pt x="57150" y="292417"/>
                      <a:pt x="62865" y="292417"/>
                      <a:pt x="66675" y="297180"/>
                    </a:cubicBezTo>
                    <a:cubicBezTo>
                      <a:pt x="65723" y="301942"/>
                      <a:pt x="63818" y="306705"/>
                      <a:pt x="63818" y="312420"/>
                    </a:cubicBezTo>
                    <a:cubicBezTo>
                      <a:pt x="65723" y="320040"/>
                      <a:pt x="77152" y="319088"/>
                      <a:pt x="78105" y="326707"/>
                    </a:cubicBezTo>
                    <a:cubicBezTo>
                      <a:pt x="80963" y="336232"/>
                      <a:pt x="85725" y="347663"/>
                      <a:pt x="82868" y="357188"/>
                    </a:cubicBezTo>
                    <a:cubicBezTo>
                      <a:pt x="77152" y="360045"/>
                      <a:pt x="75248" y="354330"/>
                      <a:pt x="70485" y="352425"/>
                    </a:cubicBezTo>
                    <a:cubicBezTo>
                      <a:pt x="64770" y="352425"/>
                      <a:pt x="60007" y="355282"/>
                      <a:pt x="55245" y="356235"/>
                    </a:cubicBezTo>
                    <a:cubicBezTo>
                      <a:pt x="45720" y="354330"/>
                      <a:pt x="36195" y="351472"/>
                      <a:pt x="25718" y="353378"/>
                    </a:cubicBezTo>
                    <a:cubicBezTo>
                      <a:pt x="21907" y="353378"/>
                      <a:pt x="20955" y="357188"/>
                      <a:pt x="20002" y="360045"/>
                    </a:cubicBezTo>
                    <a:cubicBezTo>
                      <a:pt x="12382" y="360045"/>
                      <a:pt x="4763" y="361950"/>
                      <a:pt x="0" y="367665"/>
                    </a:cubicBezTo>
                    <a:lnTo>
                      <a:pt x="0" y="371475"/>
                    </a:lnTo>
                    <a:cubicBezTo>
                      <a:pt x="4763" y="372428"/>
                      <a:pt x="10477" y="373380"/>
                      <a:pt x="15240" y="372428"/>
                    </a:cubicBezTo>
                    <a:cubicBezTo>
                      <a:pt x="18098" y="384810"/>
                      <a:pt x="29527" y="394335"/>
                      <a:pt x="40957" y="399097"/>
                    </a:cubicBezTo>
                    <a:cubicBezTo>
                      <a:pt x="48577" y="401955"/>
                      <a:pt x="59055" y="391478"/>
                      <a:pt x="62865" y="400050"/>
                    </a:cubicBezTo>
                    <a:cubicBezTo>
                      <a:pt x="55245" y="406717"/>
                      <a:pt x="45720" y="409575"/>
                      <a:pt x="35243" y="410528"/>
                    </a:cubicBezTo>
                    <a:cubicBezTo>
                      <a:pt x="32385" y="409575"/>
                      <a:pt x="27623" y="404813"/>
                      <a:pt x="25718" y="409575"/>
                    </a:cubicBezTo>
                    <a:cubicBezTo>
                      <a:pt x="27623" y="414338"/>
                      <a:pt x="29527" y="418147"/>
                      <a:pt x="33338" y="421005"/>
                    </a:cubicBezTo>
                    <a:cubicBezTo>
                      <a:pt x="43815" y="429578"/>
                      <a:pt x="48577" y="442913"/>
                      <a:pt x="58102" y="452438"/>
                    </a:cubicBezTo>
                    <a:cubicBezTo>
                      <a:pt x="62865" y="461010"/>
                      <a:pt x="75248" y="462915"/>
                      <a:pt x="84773" y="459105"/>
                    </a:cubicBezTo>
                    <a:cubicBezTo>
                      <a:pt x="92393" y="456247"/>
                      <a:pt x="101918" y="454342"/>
                      <a:pt x="109538" y="449580"/>
                    </a:cubicBezTo>
                    <a:cubicBezTo>
                      <a:pt x="116205" y="441960"/>
                      <a:pt x="112395" y="431482"/>
                      <a:pt x="116205" y="422910"/>
                    </a:cubicBezTo>
                    <a:cubicBezTo>
                      <a:pt x="117157" y="426720"/>
                      <a:pt x="118110" y="431482"/>
                      <a:pt x="119063" y="435292"/>
                    </a:cubicBezTo>
                    <a:cubicBezTo>
                      <a:pt x="120968" y="437197"/>
                      <a:pt x="122873" y="438150"/>
                      <a:pt x="124777" y="440055"/>
                    </a:cubicBezTo>
                    <a:cubicBezTo>
                      <a:pt x="123825" y="447675"/>
                      <a:pt x="122873" y="456247"/>
                      <a:pt x="123825" y="463867"/>
                    </a:cubicBezTo>
                    <a:cubicBezTo>
                      <a:pt x="125730" y="474345"/>
                      <a:pt x="119063" y="482917"/>
                      <a:pt x="120015" y="493395"/>
                    </a:cubicBezTo>
                    <a:cubicBezTo>
                      <a:pt x="123825" y="511492"/>
                      <a:pt x="119063" y="529590"/>
                      <a:pt x="125730" y="547688"/>
                    </a:cubicBezTo>
                    <a:cubicBezTo>
                      <a:pt x="127635" y="565785"/>
                      <a:pt x="129540" y="582930"/>
                      <a:pt x="133350" y="601028"/>
                    </a:cubicBezTo>
                    <a:cubicBezTo>
                      <a:pt x="142875" y="603885"/>
                      <a:pt x="139065" y="615315"/>
                      <a:pt x="141923" y="621982"/>
                    </a:cubicBezTo>
                    <a:cubicBezTo>
                      <a:pt x="141923" y="630555"/>
                      <a:pt x="152400" y="636270"/>
                      <a:pt x="153352" y="644842"/>
                    </a:cubicBezTo>
                    <a:cubicBezTo>
                      <a:pt x="155257" y="653415"/>
                      <a:pt x="157163" y="661988"/>
                      <a:pt x="160020" y="669607"/>
                    </a:cubicBezTo>
                    <a:cubicBezTo>
                      <a:pt x="163830" y="681038"/>
                      <a:pt x="162877" y="693420"/>
                      <a:pt x="168593" y="703897"/>
                    </a:cubicBezTo>
                    <a:cubicBezTo>
                      <a:pt x="175260" y="718185"/>
                      <a:pt x="181927" y="733425"/>
                      <a:pt x="191452" y="747713"/>
                    </a:cubicBezTo>
                    <a:cubicBezTo>
                      <a:pt x="195263" y="753428"/>
                      <a:pt x="194310" y="760095"/>
                      <a:pt x="196215" y="766763"/>
                    </a:cubicBezTo>
                    <a:cubicBezTo>
                      <a:pt x="201930" y="776288"/>
                      <a:pt x="208598" y="786765"/>
                      <a:pt x="204788" y="798195"/>
                    </a:cubicBezTo>
                    <a:cubicBezTo>
                      <a:pt x="207645" y="806767"/>
                      <a:pt x="212407" y="814388"/>
                      <a:pt x="216218" y="822960"/>
                    </a:cubicBezTo>
                    <a:cubicBezTo>
                      <a:pt x="220027" y="829628"/>
                      <a:pt x="227648" y="833438"/>
                      <a:pt x="235268" y="835342"/>
                    </a:cubicBezTo>
                    <a:lnTo>
                      <a:pt x="244793" y="835342"/>
                    </a:lnTo>
                    <a:cubicBezTo>
                      <a:pt x="257175" y="833438"/>
                      <a:pt x="256223" y="822007"/>
                      <a:pt x="261938" y="814388"/>
                    </a:cubicBezTo>
                    <a:cubicBezTo>
                      <a:pt x="270510" y="806767"/>
                      <a:pt x="282893" y="802957"/>
                      <a:pt x="280035" y="796290"/>
                    </a:cubicBezTo>
                    <a:cubicBezTo>
                      <a:pt x="280988" y="794385"/>
                      <a:pt x="283845" y="792480"/>
                      <a:pt x="285750" y="791528"/>
                    </a:cubicBezTo>
                    <a:cubicBezTo>
                      <a:pt x="287655" y="786765"/>
                      <a:pt x="289560" y="782003"/>
                      <a:pt x="292418" y="777240"/>
                    </a:cubicBezTo>
                    <a:cubicBezTo>
                      <a:pt x="296227" y="772478"/>
                      <a:pt x="302895" y="774382"/>
                      <a:pt x="307657" y="773430"/>
                    </a:cubicBezTo>
                    <a:cubicBezTo>
                      <a:pt x="311468" y="759142"/>
                      <a:pt x="308610" y="744855"/>
                      <a:pt x="310515" y="730567"/>
                    </a:cubicBezTo>
                    <a:cubicBezTo>
                      <a:pt x="310515" y="722947"/>
                      <a:pt x="317182" y="718185"/>
                      <a:pt x="320993" y="711517"/>
                    </a:cubicBezTo>
                    <a:cubicBezTo>
                      <a:pt x="324802" y="704850"/>
                      <a:pt x="325755" y="696278"/>
                      <a:pt x="322898" y="688657"/>
                    </a:cubicBezTo>
                    <a:cubicBezTo>
                      <a:pt x="320040" y="682942"/>
                      <a:pt x="327660" y="677228"/>
                      <a:pt x="324802" y="670560"/>
                    </a:cubicBezTo>
                    <a:cubicBezTo>
                      <a:pt x="320993" y="661035"/>
                      <a:pt x="324802" y="650557"/>
                      <a:pt x="322898" y="641032"/>
                    </a:cubicBezTo>
                    <a:cubicBezTo>
                      <a:pt x="320040" y="628650"/>
                      <a:pt x="326707" y="615315"/>
                      <a:pt x="340043" y="611505"/>
                    </a:cubicBezTo>
                    <a:cubicBezTo>
                      <a:pt x="340995" y="613410"/>
                      <a:pt x="342900" y="615315"/>
                      <a:pt x="343852" y="617220"/>
                    </a:cubicBezTo>
                    <a:cubicBezTo>
                      <a:pt x="348615" y="612457"/>
                      <a:pt x="351473" y="606742"/>
                      <a:pt x="355282" y="601028"/>
                    </a:cubicBezTo>
                    <a:cubicBezTo>
                      <a:pt x="363855" y="597217"/>
                      <a:pt x="374332" y="601028"/>
                      <a:pt x="381000" y="594360"/>
                    </a:cubicBezTo>
                    <a:cubicBezTo>
                      <a:pt x="385763" y="590550"/>
                      <a:pt x="385763" y="584835"/>
                      <a:pt x="385763" y="580072"/>
                    </a:cubicBezTo>
                    <a:cubicBezTo>
                      <a:pt x="394335" y="572453"/>
                      <a:pt x="406718" y="570547"/>
                      <a:pt x="412432" y="561022"/>
                    </a:cubicBezTo>
                    <a:cubicBezTo>
                      <a:pt x="419100" y="552450"/>
                      <a:pt x="430530" y="549592"/>
                      <a:pt x="437198" y="541972"/>
                    </a:cubicBezTo>
                    <a:cubicBezTo>
                      <a:pt x="447675" y="533400"/>
                      <a:pt x="453390" y="521970"/>
                      <a:pt x="462915" y="512445"/>
                    </a:cubicBezTo>
                    <a:cubicBezTo>
                      <a:pt x="466725" y="509588"/>
                      <a:pt x="466725" y="503872"/>
                      <a:pt x="469582" y="501015"/>
                    </a:cubicBezTo>
                    <a:cubicBezTo>
                      <a:pt x="475298" y="500063"/>
                      <a:pt x="481013" y="501967"/>
                      <a:pt x="486727" y="501015"/>
                    </a:cubicBezTo>
                    <a:cubicBezTo>
                      <a:pt x="497205" y="494347"/>
                      <a:pt x="508635" y="487680"/>
                      <a:pt x="512445" y="475297"/>
                    </a:cubicBezTo>
                    <a:cubicBezTo>
                      <a:pt x="512445" y="469582"/>
                      <a:pt x="511493" y="464820"/>
                      <a:pt x="512445" y="459105"/>
                    </a:cubicBezTo>
                    <a:cubicBezTo>
                      <a:pt x="518160" y="447675"/>
                      <a:pt x="537210" y="451485"/>
                      <a:pt x="541973" y="439103"/>
                    </a:cubicBezTo>
                    <a:lnTo>
                      <a:pt x="544830" y="439103"/>
                    </a:lnTo>
                    <a:cubicBezTo>
                      <a:pt x="545782" y="441007"/>
                      <a:pt x="545782" y="443865"/>
                      <a:pt x="546735" y="445770"/>
                    </a:cubicBezTo>
                    <a:cubicBezTo>
                      <a:pt x="549593" y="445770"/>
                      <a:pt x="551498" y="445770"/>
                      <a:pt x="554355" y="446722"/>
                    </a:cubicBezTo>
                    <a:cubicBezTo>
                      <a:pt x="557213" y="445770"/>
                      <a:pt x="561023" y="444817"/>
                      <a:pt x="563880" y="443865"/>
                    </a:cubicBezTo>
                    <a:cubicBezTo>
                      <a:pt x="563880" y="442913"/>
                      <a:pt x="562927" y="441007"/>
                      <a:pt x="562927" y="440055"/>
                    </a:cubicBezTo>
                    <a:cubicBezTo>
                      <a:pt x="569595" y="441007"/>
                      <a:pt x="568643" y="431482"/>
                      <a:pt x="566738" y="427672"/>
                    </a:cubicBezTo>
                    <a:cubicBezTo>
                      <a:pt x="562927" y="421005"/>
                      <a:pt x="562927" y="414338"/>
                      <a:pt x="562927" y="406717"/>
                    </a:cubicBezTo>
                    <a:cubicBezTo>
                      <a:pt x="563880" y="399097"/>
                      <a:pt x="554355" y="395288"/>
                      <a:pt x="553402" y="388620"/>
                    </a:cubicBezTo>
                    <a:cubicBezTo>
                      <a:pt x="555307" y="382905"/>
                      <a:pt x="558165" y="377190"/>
                      <a:pt x="557213" y="371475"/>
                    </a:cubicBezTo>
                    <a:cubicBezTo>
                      <a:pt x="551498" y="364807"/>
                      <a:pt x="537210" y="366713"/>
                      <a:pt x="537210" y="356235"/>
                    </a:cubicBezTo>
                    <a:cubicBezTo>
                      <a:pt x="540068" y="355282"/>
                      <a:pt x="542925" y="354330"/>
                      <a:pt x="546735" y="353378"/>
                    </a:cubicBezTo>
                    <a:lnTo>
                      <a:pt x="546735" y="345757"/>
                    </a:lnTo>
                    <a:cubicBezTo>
                      <a:pt x="551498" y="345757"/>
                      <a:pt x="557213" y="345757"/>
                      <a:pt x="561023" y="343853"/>
                    </a:cubicBezTo>
                    <a:cubicBezTo>
                      <a:pt x="559118" y="340995"/>
                      <a:pt x="556260" y="337185"/>
                      <a:pt x="553402" y="334327"/>
                    </a:cubicBezTo>
                    <a:cubicBezTo>
                      <a:pt x="551498" y="333375"/>
                      <a:pt x="549593" y="333375"/>
                      <a:pt x="548640" y="332422"/>
                    </a:cubicBezTo>
                    <a:cubicBezTo>
                      <a:pt x="545782" y="328613"/>
                      <a:pt x="542925" y="326707"/>
                      <a:pt x="538163" y="323850"/>
                    </a:cubicBezTo>
                    <a:cubicBezTo>
                      <a:pt x="541973" y="319088"/>
                      <a:pt x="544830" y="315277"/>
                      <a:pt x="547688" y="309563"/>
                    </a:cubicBezTo>
                    <a:cubicBezTo>
                      <a:pt x="549593" y="313372"/>
                      <a:pt x="550545" y="317182"/>
                      <a:pt x="552450" y="320040"/>
                    </a:cubicBezTo>
                    <a:cubicBezTo>
                      <a:pt x="556260" y="319088"/>
                      <a:pt x="559118" y="317182"/>
                      <a:pt x="561975" y="315277"/>
                    </a:cubicBezTo>
                    <a:cubicBezTo>
                      <a:pt x="564832" y="319088"/>
                      <a:pt x="569595" y="321945"/>
                      <a:pt x="574357" y="322897"/>
                    </a:cubicBezTo>
                    <a:cubicBezTo>
                      <a:pt x="576263" y="321945"/>
                      <a:pt x="577215" y="320040"/>
                      <a:pt x="579120" y="319088"/>
                    </a:cubicBezTo>
                    <a:cubicBezTo>
                      <a:pt x="580073" y="324802"/>
                      <a:pt x="577215" y="330517"/>
                      <a:pt x="576263" y="335280"/>
                    </a:cubicBezTo>
                    <a:cubicBezTo>
                      <a:pt x="581977" y="341947"/>
                      <a:pt x="589598" y="346710"/>
                      <a:pt x="599123" y="345757"/>
                    </a:cubicBezTo>
                    <a:cubicBezTo>
                      <a:pt x="613410" y="342900"/>
                      <a:pt x="627698" y="341947"/>
                      <a:pt x="642938" y="341947"/>
                    </a:cubicBezTo>
                    <a:cubicBezTo>
                      <a:pt x="645795" y="341947"/>
                      <a:pt x="647700" y="342900"/>
                      <a:pt x="649605" y="344805"/>
                    </a:cubicBezTo>
                    <a:cubicBezTo>
                      <a:pt x="643890" y="349567"/>
                      <a:pt x="642938" y="355282"/>
                      <a:pt x="641985" y="361950"/>
                    </a:cubicBezTo>
                    <a:cubicBezTo>
                      <a:pt x="635318" y="366713"/>
                      <a:pt x="627698" y="370522"/>
                      <a:pt x="620077" y="374332"/>
                    </a:cubicBezTo>
                    <a:cubicBezTo>
                      <a:pt x="615315" y="383857"/>
                      <a:pt x="619125" y="394335"/>
                      <a:pt x="622935" y="402907"/>
                    </a:cubicBezTo>
                    <a:cubicBezTo>
                      <a:pt x="626745" y="403860"/>
                      <a:pt x="630555" y="404813"/>
                      <a:pt x="634365" y="405765"/>
                    </a:cubicBezTo>
                    <a:cubicBezTo>
                      <a:pt x="637223" y="400050"/>
                      <a:pt x="643890" y="401003"/>
                      <a:pt x="649605" y="401003"/>
                    </a:cubicBezTo>
                    <a:cubicBezTo>
                      <a:pt x="654368" y="411480"/>
                      <a:pt x="653415" y="423863"/>
                      <a:pt x="656273" y="434340"/>
                    </a:cubicBezTo>
                    <a:cubicBezTo>
                      <a:pt x="661988" y="435292"/>
                      <a:pt x="670560" y="437197"/>
                      <a:pt x="671513" y="429578"/>
                    </a:cubicBezTo>
                    <a:cubicBezTo>
                      <a:pt x="677227" y="422910"/>
                      <a:pt x="672465" y="414338"/>
                      <a:pt x="672465" y="406717"/>
                    </a:cubicBezTo>
                    <a:cubicBezTo>
                      <a:pt x="682943" y="398145"/>
                      <a:pt x="679132" y="383857"/>
                      <a:pt x="677227" y="372428"/>
                    </a:cubicBezTo>
                    <a:cubicBezTo>
                      <a:pt x="683895" y="374332"/>
                      <a:pt x="691515" y="377190"/>
                      <a:pt x="699135" y="377190"/>
                    </a:cubicBezTo>
                    <a:cubicBezTo>
                      <a:pt x="701993" y="364807"/>
                      <a:pt x="711518" y="354330"/>
                      <a:pt x="715327" y="341947"/>
                    </a:cubicBezTo>
                    <a:cubicBezTo>
                      <a:pt x="713423" y="338138"/>
                      <a:pt x="708660" y="334327"/>
                      <a:pt x="713423" y="330517"/>
                    </a:cubicBezTo>
                    <a:cubicBezTo>
                      <a:pt x="721043" y="320992"/>
                      <a:pt x="722948" y="309563"/>
                      <a:pt x="722948" y="298132"/>
                    </a:cubicBezTo>
                    <a:cubicBezTo>
                      <a:pt x="731520" y="287655"/>
                      <a:pt x="742950" y="280988"/>
                      <a:pt x="755332" y="275272"/>
                    </a:cubicBezTo>
                    <a:cubicBezTo>
                      <a:pt x="762000" y="276225"/>
                      <a:pt x="766763" y="282892"/>
                      <a:pt x="773430" y="280035"/>
                    </a:cubicBezTo>
                    <a:cubicBezTo>
                      <a:pt x="771525" y="275272"/>
                      <a:pt x="766763" y="271463"/>
                      <a:pt x="765810" y="265747"/>
                    </a:cubicBezTo>
                    <a:cubicBezTo>
                      <a:pt x="770573" y="269557"/>
                      <a:pt x="778193" y="268605"/>
                      <a:pt x="782002" y="264795"/>
                    </a:cubicBez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6" name="Freeform: Shape 515">
                <a:extLst>
                  <a:ext uri="{FF2B5EF4-FFF2-40B4-BE49-F238E27FC236}">
                    <a16:creationId xmlns:a16="http://schemas.microsoft.com/office/drawing/2014/main" id="{16B1F53B-71B8-A9C2-5A93-D181023694E9}"/>
                  </a:ext>
                </a:extLst>
              </p:cNvPr>
              <p:cNvSpPr/>
              <p:nvPr/>
            </p:nvSpPr>
            <p:spPr>
              <a:xfrm>
                <a:off x="6779115" y="5362621"/>
                <a:ext cx="34547" cy="35388"/>
              </a:xfrm>
              <a:custGeom>
                <a:avLst/>
                <a:gdLst>
                  <a:gd name="connsiteX0" fmla="*/ 11430 w 35242"/>
                  <a:gd name="connsiteY0" fmla="*/ 1905 h 36099"/>
                  <a:gd name="connsiteX1" fmla="*/ 27622 w 35242"/>
                  <a:gd name="connsiteY1" fmla="*/ 0 h 36099"/>
                  <a:gd name="connsiteX2" fmla="*/ 35242 w 35242"/>
                  <a:gd name="connsiteY2" fmla="*/ 16193 h 36099"/>
                  <a:gd name="connsiteX3" fmla="*/ 29527 w 35242"/>
                  <a:gd name="connsiteY3" fmla="*/ 23813 h 36099"/>
                  <a:gd name="connsiteX4" fmla="*/ 20955 w 35242"/>
                  <a:gd name="connsiteY4" fmla="*/ 27527 h 36099"/>
                  <a:gd name="connsiteX5" fmla="*/ 13335 w 35242"/>
                  <a:gd name="connsiteY5" fmla="*/ 36100 h 36099"/>
                  <a:gd name="connsiteX6" fmla="*/ 0 w 35242"/>
                  <a:gd name="connsiteY6" fmla="*/ 18002 h 36099"/>
                  <a:gd name="connsiteX7" fmla="*/ 11430 w 35242"/>
                  <a:gd name="connsiteY7" fmla="*/ 1905 h 36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42" h="36099">
                    <a:moveTo>
                      <a:pt x="11430" y="1905"/>
                    </a:moveTo>
                    <a:lnTo>
                      <a:pt x="27622" y="0"/>
                    </a:lnTo>
                    <a:lnTo>
                      <a:pt x="35242" y="16193"/>
                    </a:lnTo>
                    <a:lnTo>
                      <a:pt x="29527" y="23813"/>
                    </a:lnTo>
                    <a:lnTo>
                      <a:pt x="20955" y="27527"/>
                    </a:lnTo>
                    <a:lnTo>
                      <a:pt x="13335" y="36100"/>
                    </a:lnTo>
                    <a:lnTo>
                      <a:pt x="0" y="18002"/>
                    </a:lnTo>
                    <a:lnTo>
                      <a:pt x="11430" y="19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517" name="Rectangle 516">
              <a:extLst>
                <a:ext uri="{FF2B5EF4-FFF2-40B4-BE49-F238E27FC236}">
                  <a16:creationId xmlns:a16="http://schemas.microsoft.com/office/drawing/2014/main" id="{3102A5B5-9B34-8F4F-DE9A-DDBAE1C3C424}"/>
                </a:ext>
              </a:extLst>
            </p:cNvPr>
            <p:cNvSpPr/>
            <p:nvPr/>
          </p:nvSpPr>
          <p:spPr>
            <a:xfrm>
              <a:off x="-992732" y="1768786"/>
              <a:ext cx="7775505" cy="4425705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dirty="0" err="1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A13E62-7E0E-3766-48C1-ADDFD6155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1</a:t>
            </a:fld>
            <a:endParaRPr lang="en-GB" dirty="0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B2181D4B-E811-702D-14F5-0B0D98A3D161}"/>
              </a:ext>
            </a:extLst>
          </p:cNvPr>
          <p:cNvCxnSpPr>
            <a:cxnSpLocks/>
          </p:cNvCxnSpPr>
          <p:nvPr/>
        </p:nvCxnSpPr>
        <p:spPr>
          <a:xfrm>
            <a:off x="3264242" y="3137663"/>
            <a:ext cx="3692743" cy="548842"/>
          </a:xfrm>
          <a:prstGeom prst="bentConnector3">
            <a:avLst>
              <a:gd name="adj1" fmla="val 25238"/>
            </a:avLst>
          </a:prstGeom>
          <a:ln w="127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3B2571BA-6D8C-5349-6094-BF53EE346E8E}"/>
              </a:ext>
            </a:extLst>
          </p:cNvPr>
          <p:cNvCxnSpPr>
            <a:cxnSpLocks/>
          </p:cNvCxnSpPr>
          <p:nvPr/>
        </p:nvCxnSpPr>
        <p:spPr>
          <a:xfrm flipV="1">
            <a:off x="3466736" y="3858103"/>
            <a:ext cx="3490249" cy="501418"/>
          </a:xfrm>
          <a:prstGeom prst="bentConnector3">
            <a:avLst>
              <a:gd name="adj1" fmla="val 37992"/>
            </a:avLst>
          </a:prstGeom>
          <a:ln w="127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772A733E-42EE-C680-C678-BC83E45C07F5}"/>
              </a:ext>
            </a:extLst>
          </p:cNvPr>
          <p:cNvCxnSpPr>
            <a:cxnSpLocks/>
          </p:cNvCxnSpPr>
          <p:nvPr/>
        </p:nvCxnSpPr>
        <p:spPr>
          <a:xfrm flipV="1">
            <a:off x="3240383" y="4028356"/>
            <a:ext cx="3718944" cy="1705529"/>
          </a:xfrm>
          <a:prstGeom prst="bentConnector3">
            <a:avLst>
              <a:gd name="adj1" fmla="val 50000"/>
            </a:avLst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A4D7DC3B-6185-E7A9-C758-2470FD0FDDA8}"/>
              </a:ext>
            </a:extLst>
          </p:cNvPr>
          <p:cNvCxnSpPr>
            <a:cxnSpLocks/>
          </p:cNvCxnSpPr>
          <p:nvPr/>
        </p:nvCxnSpPr>
        <p:spPr>
          <a:xfrm>
            <a:off x="8486775" y="3755454"/>
            <a:ext cx="1134803" cy="0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D76310D8-7ED2-71B0-F873-734C06D9C90F}"/>
              </a:ext>
            </a:extLst>
          </p:cNvPr>
          <p:cNvGrpSpPr/>
          <p:nvPr/>
        </p:nvGrpSpPr>
        <p:grpSpPr>
          <a:xfrm>
            <a:off x="6354543" y="2461695"/>
            <a:ext cx="2587519" cy="2768952"/>
            <a:chOff x="5409421" y="2459089"/>
            <a:chExt cx="2587519" cy="276895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B1E30D58-493D-3E3D-E366-99815BFDF624}"/>
                </a:ext>
              </a:extLst>
            </p:cNvPr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>
              <a:fillRect/>
            </a:stretch>
          </p:blipFill>
          <p:spPr>
            <a:xfrm>
              <a:off x="5409421" y="2459089"/>
              <a:ext cx="2587519" cy="2587519"/>
            </a:xfrm>
            <a:prstGeom prst="rect">
              <a:avLst/>
            </a:prstGeom>
          </p:spPr>
        </p:pic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E67A0B62-CD47-6706-B0F3-828B1368B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245980" y="4473241"/>
              <a:ext cx="914400" cy="189831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56E5C77D-58F2-2F43-1D42-42469DA0B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>
            <a:xfrm>
              <a:off x="6014205" y="4657855"/>
              <a:ext cx="1377949" cy="570186"/>
            </a:xfrm>
            <a:prstGeom prst="rect">
              <a:avLst/>
            </a:prstGeom>
          </p:spPr>
        </p:pic>
      </p:grp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B6C1CC03-6311-3989-24F5-CF177691E67F}"/>
              </a:ext>
            </a:extLst>
          </p:cNvPr>
          <p:cNvCxnSpPr>
            <a:cxnSpLocks/>
          </p:cNvCxnSpPr>
          <p:nvPr/>
        </p:nvCxnSpPr>
        <p:spPr>
          <a:xfrm>
            <a:off x="4054674" y="2136665"/>
            <a:ext cx="2897183" cy="1380806"/>
          </a:xfrm>
          <a:prstGeom prst="bentConnector3">
            <a:avLst>
              <a:gd name="adj1" fmla="val 36192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3F7772D7-F33C-CB9B-3CB2-5D860A8C6543}"/>
              </a:ext>
            </a:extLst>
          </p:cNvPr>
          <p:cNvGrpSpPr/>
          <p:nvPr/>
        </p:nvGrpSpPr>
        <p:grpSpPr>
          <a:xfrm>
            <a:off x="980044" y="1137910"/>
            <a:ext cx="3202027" cy="1702004"/>
            <a:chOff x="980044" y="1137910"/>
            <a:chExt cx="3202027" cy="1702004"/>
          </a:xfrm>
          <a:solidFill>
            <a:schemeClr val="accent5"/>
          </a:solidFill>
        </p:grpSpPr>
        <p:pic>
          <p:nvPicPr>
            <p:cNvPr id="58" name="Graphic 16">
              <a:extLst>
                <a:ext uri="{FF2B5EF4-FFF2-40B4-BE49-F238E27FC236}">
                  <a16:creationId xmlns:a16="http://schemas.microsoft.com/office/drawing/2014/main" id="{1FEDCA4F-CE16-40FC-B815-631310FAFC6F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/>
            <a:stretch>
              <a:fillRect/>
            </a:stretch>
          </p:blipFill>
          <p:spPr>
            <a:xfrm>
              <a:off x="2883970" y="1541813"/>
              <a:ext cx="1298101" cy="1298101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06B97C2-786B-65FC-E5DE-6C4A1E97557B}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rcRect/>
            <a:stretch>
              <a:fillRect/>
            </a:stretch>
          </p:blipFill>
          <p:spPr>
            <a:xfrm>
              <a:off x="980044" y="1601127"/>
              <a:ext cx="764842" cy="764842"/>
            </a:xfrm>
            <a:prstGeom prst="rect">
              <a:avLst/>
            </a:prstGeom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42650F5-00D0-9340-E518-8F866A0F07A8}"/>
                </a:ext>
              </a:extLst>
            </p:cNvPr>
            <p:cNvGrpSpPr/>
            <p:nvPr/>
          </p:nvGrpSpPr>
          <p:grpSpPr>
            <a:xfrm>
              <a:off x="1582890" y="1137910"/>
              <a:ext cx="807805" cy="807805"/>
              <a:chOff x="938365" y="1157760"/>
              <a:chExt cx="807805" cy="807805"/>
            </a:xfrm>
            <a:grpFill/>
          </p:grpSpPr>
          <p:pic>
            <p:nvPicPr>
              <p:cNvPr id="6" name="Graphic 5">
                <a:extLst>
                  <a:ext uri="{FF2B5EF4-FFF2-40B4-BE49-F238E27FC236}">
                    <a16:creationId xmlns:a16="http://schemas.microsoft.com/office/drawing/2014/main" id="{377E55AC-9E6A-A4CB-8B77-BCB661040BD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6"/>
                </p:custDataLst>
              </p:nvPr>
            </p:nvPicPr>
            <p:blipFill>
              <a:blip r:embed="rId29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938365" y="1157760"/>
                <a:ext cx="807805" cy="807805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2EA2976-DF9E-F7C7-DB71-4A66F5AA78CF}"/>
                  </a:ext>
                </a:extLst>
              </p:cNvPr>
              <p:cNvSpPr txBox="1"/>
              <p:nvPr/>
            </p:nvSpPr>
            <p:spPr>
              <a:xfrm>
                <a:off x="1238072" y="1447210"/>
                <a:ext cx="193853" cy="1077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700" dirty="0">
                    <a:solidFill>
                      <a:schemeClr val="accent5"/>
                    </a:solidFill>
                  </a:rPr>
                  <a:t>EPD</a:t>
                </a:r>
              </a:p>
            </p:txBody>
          </p:sp>
        </p:grpSp>
        <p:cxnSp>
          <p:nvCxnSpPr>
            <p:cNvPr id="59" name="Connector: Elbow 58">
              <a:extLst>
                <a:ext uri="{FF2B5EF4-FFF2-40B4-BE49-F238E27FC236}">
                  <a16:creationId xmlns:a16="http://schemas.microsoft.com/office/drawing/2014/main" id="{6A63B6BC-0F2A-ABCE-7636-97EE4586E90A}"/>
                </a:ext>
              </a:extLst>
            </p:cNvPr>
            <p:cNvCxnSpPr>
              <a:cxnSpLocks/>
            </p:cNvCxnSpPr>
            <p:nvPr/>
          </p:nvCxnSpPr>
          <p:spPr>
            <a:xfrm>
              <a:off x="2298312" y="1513191"/>
              <a:ext cx="949155" cy="518527"/>
            </a:xfrm>
            <a:prstGeom prst="bentConnector3">
              <a:avLst/>
            </a:prstGeom>
            <a:grpFill/>
            <a:ln w="3175">
              <a:solidFill>
                <a:srgbClr val="FF885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nector: Elbow 61">
              <a:extLst>
                <a:ext uri="{FF2B5EF4-FFF2-40B4-BE49-F238E27FC236}">
                  <a16:creationId xmlns:a16="http://schemas.microsoft.com/office/drawing/2014/main" id="{E2850E38-2885-DB74-392F-51B1F25556C7}"/>
                </a:ext>
              </a:extLst>
            </p:cNvPr>
            <p:cNvCxnSpPr>
              <a:cxnSpLocks/>
            </p:cNvCxnSpPr>
            <p:nvPr/>
          </p:nvCxnSpPr>
          <p:spPr>
            <a:xfrm>
              <a:off x="1687383" y="1997332"/>
              <a:ext cx="1553000" cy="152312"/>
            </a:xfrm>
            <a:prstGeom prst="bentConnector3">
              <a:avLst/>
            </a:prstGeom>
            <a:grpFill/>
            <a:ln w="3175">
              <a:solidFill>
                <a:srgbClr val="FF885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03A3AAD-6EDB-4C89-F300-2D5942928BD6}"/>
              </a:ext>
            </a:extLst>
          </p:cNvPr>
          <p:cNvGrpSpPr/>
          <p:nvPr/>
        </p:nvGrpSpPr>
        <p:grpSpPr>
          <a:xfrm>
            <a:off x="225754" y="2211591"/>
            <a:ext cx="3395539" cy="2098345"/>
            <a:chOff x="225754" y="2211591"/>
            <a:chExt cx="3395539" cy="2098345"/>
          </a:xfrm>
          <a:solidFill>
            <a:schemeClr val="accent3"/>
          </a:solidFill>
        </p:grpSpPr>
        <p:pic>
          <p:nvPicPr>
            <p:cNvPr id="19" name="Graphic 16">
              <a:extLst>
                <a:ext uri="{FF2B5EF4-FFF2-40B4-BE49-F238E27FC236}">
                  <a16:creationId xmlns:a16="http://schemas.microsoft.com/office/drawing/2014/main" id="{8169DA6C-1E6C-2E56-4B40-CCA28C7C2517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3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rcRect/>
            <a:stretch>
              <a:fillRect/>
            </a:stretch>
          </p:blipFill>
          <p:spPr>
            <a:xfrm>
              <a:off x="1522948" y="2211591"/>
              <a:ext cx="2098345" cy="2098345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19BE161-DD7B-B6C9-4BE8-B9CCCB6CADE6}"/>
                </a:ext>
              </a:extLst>
            </p:cNvPr>
            <p:cNvGrpSpPr/>
            <p:nvPr/>
          </p:nvGrpSpPr>
          <p:grpSpPr>
            <a:xfrm>
              <a:off x="225754" y="2806431"/>
              <a:ext cx="807805" cy="807805"/>
              <a:chOff x="938365" y="1157760"/>
              <a:chExt cx="807805" cy="807805"/>
            </a:xfrm>
            <a:grpFill/>
          </p:grpSpPr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id="{644B5D72-FBB6-B28E-97E6-A7889D39986E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3"/>
                </p:custDataLst>
              </p:nvPr>
            </p:nvPicPr>
            <p:blipFill>
              <a:blip r:embed="rId3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4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938365" y="1157760"/>
                <a:ext cx="807805" cy="807805"/>
              </a:xfrm>
              <a:prstGeom prst="rect">
                <a:avLst/>
              </a:prstGeom>
            </p:spPr>
          </p:pic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EC21D5E-1827-DE1B-7501-0E1167B47133}"/>
                  </a:ext>
                </a:extLst>
              </p:cNvPr>
              <p:cNvSpPr txBox="1"/>
              <p:nvPr/>
            </p:nvSpPr>
            <p:spPr>
              <a:xfrm>
                <a:off x="1238072" y="1447210"/>
                <a:ext cx="221456" cy="10772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700" dirty="0">
                    <a:solidFill>
                      <a:schemeClr val="accent3"/>
                    </a:solidFill>
                  </a:rPr>
                  <a:t>EPD</a:t>
                </a:r>
              </a:p>
            </p:txBody>
          </p:sp>
        </p:grp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520BFC58-020B-73B5-DAF9-9ABDD09455C2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3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rcRect/>
            <a:stretch>
              <a:fillRect/>
            </a:stretch>
          </p:blipFill>
          <p:spPr>
            <a:xfrm>
              <a:off x="788024" y="2489338"/>
              <a:ext cx="690563" cy="690563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1B3E0617-BD03-4551-7FCF-4DDF37136F31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3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rcRect/>
            <a:stretch>
              <a:fillRect/>
            </a:stretch>
          </p:blipFill>
          <p:spPr>
            <a:xfrm>
              <a:off x="996819" y="3179901"/>
              <a:ext cx="690564" cy="690564"/>
            </a:xfrm>
            <a:prstGeom prst="rect">
              <a:avLst/>
            </a:prstGeom>
          </p:spPr>
        </p:pic>
        <p:cxnSp>
          <p:nvCxnSpPr>
            <p:cNvPr id="65" name="Connector: Elbow 64">
              <a:extLst>
                <a:ext uri="{FF2B5EF4-FFF2-40B4-BE49-F238E27FC236}">
                  <a16:creationId xmlns:a16="http://schemas.microsoft.com/office/drawing/2014/main" id="{BB18BD49-9447-9690-221C-D705F1609F44}"/>
                </a:ext>
              </a:extLst>
            </p:cNvPr>
            <p:cNvCxnSpPr>
              <a:cxnSpLocks/>
            </p:cNvCxnSpPr>
            <p:nvPr/>
          </p:nvCxnSpPr>
          <p:spPr>
            <a:xfrm>
              <a:off x="1419257" y="2832548"/>
              <a:ext cx="803864" cy="136969"/>
            </a:xfrm>
            <a:prstGeom prst="bentConnector3">
              <a:avLst/>
            </a:prstGeom>
            <a:grpFill/>
            <a:ln w="3175">
              <a:solidFill>
                <a:srgbClr val="ADD09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nector: Elbow 66">
              <a:extLst>
                <a:ext uri="{FF2B5EF4-FFF2-40B4-BE49-F238E27FC236}">
                  <a16:creationId xmlns:a16="http://schemas.microsoft.com/office/drawing/2014/main" id="{2CC7CE54-2A80-EEED-7A8C-DDE38B3D27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33078" y="3217808"/>
              <a:ext cx="689043" cy="264490"/>
            </a:xfrm>
            <a:prstGeom prst="bentConnector3">
              <a:avLst/>
            </a:prstGeom>
            <a:grpFill/>
            <a:ln w="3175">
              <a:solidFill>
                <a:srgbClr val="ADD09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nector: Elbow 69">
              <a:extLst>
                <a:ext uri="{FF2B5EF4-FFF2-40B4-BE49-F238E27FC236}">
                  <a16:creationId xmlns:a16="http://schemas.microsoft.com/office/drawing/2014/main" id="{DBBE75CE-0CCC-4217-DBBC-18F79505A2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0591" y="3095690"/>
              <a:ext cx="1321530" cy="131097"/>
            </a:xfrm>
            <a:prstGeom prst="bentConnector3">
              <a:avLst/>
            </a:prstGeom>
            <a:grpFill/>
            <a:ln w="3175">
              <a:solidFill>
                <a:srgbClr val="ADD09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84ECC97-BD3D-6318-625E-6F7766521E81}"/>
              </a:ext>
            </a:extLst>
          </p:cNvPr>
          <p:cNvGrpSpPr/>
          <p:nvPr/>
        </p:nvGrpSpPr>
        <p:grpSpPr>
          <a:xfrm>
            <a:off x="162763" y="3611977"/>
            <a:ext cx="3585077" cy="2018545"/>
            <a:chOff x="162763" y="3611977"/>
            <a:chExt cx="3585077" cy="2018545"/>
          </a:xfrm>
          <a:solidFill>
            <a:schemeClr val="accent4">
              <a:lumMod val="60000"/>
              <a:lumOff val="40000"/>
            </a:schemeClr>
          </a:solidFill>
        </p:grpSpPr>
        <p:pic>
          <p:nvPicPr>
            <p:cNvPr id="26" name="Graphic 16">
              <a:extLst>
                <a:ext uri="{FF2B5EF4-FFF2-40B4-BE49-F238E27FC236}">
                  <a16:creationId xmlns:a16="http://schemas.microsoft.com/office/drawing/2014/main" id="{0AB7CF00-184B-4F29-3114-409E615A5529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3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rcRect/>
            <a:stretch>
              <a:fillRect/>
            </a:stretch>
          </p:blipFill>
          <p:spPr>
            <a:xfrm>
              <a:off x="2020101" y="3611977"/>
              <a:ext cx="1727739" cy="1727739"/>
            </a:xfrm>
            <a:prstGeom prst="rect">
              <a:avLst/>
            </a:prstGeom>
          </p:spPr>
        </p:pic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871067E9-A992-0507-5A6F-5F9C45ABD514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4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rcRect/>
            <a:stretch>
              <a:fillRect/>
            </a:stretch>
          </p:blipFill>
          <p:spPr>
            <a:xfrm>
              <a:off x="162763" y="4458932"/>
              <a:ext cx="807805" cy="807805"/>
            </a:xfrm>
            <a:prstGeom prst="rect">
              <a:avLst/>
            </a:prstGeom>
          </p:spPr>
        </p:pic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C5E28704-74D8-3847-49E2-0603E0504329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4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rcRect/>
            <a:stretch>
              <a:fillRect/>
            </a:stretch>
          </p:blipFill>
          <p:spPr>
            <a:xfrm>
              <a:off x="790519" y="3837135"/>
              <a:ext cx="1069306" cy="1069306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42C0F052-FCD0-DAE0-9815-2F02AD12973E}"/>
                </a:ext>
              </a:extLst>
            </p:cNvPr>
            <p:cNvGrpSpPr/>
            <p:nvPr/>
          </p:nvGrpSpPr>
          <p:grpSpPr>
            <a:xfrm>
              <a:off x="914547" y="4822717"/>
              <a:ext cx="807805" cy="807805"/>
              <a:chOff x="938365" y="1157760"/>
              <a:chExt cx="807805" cy="807805"/>
            </a:xfrm>
            <a:grpFill/>
          </p:grpSpPr>
          <p:pic>
            <p:nvPicPr>
              <p:cNvPr id="44" name="Graphic 43">
                <a:extLst>
                  <a:ext uri="{FF2B5EF4-FFF2-40B4-BE49-F238E27FC236}">
                    <a16:creationId xmlns:a16="http://schemas.microsoft.com/office/drawing/2014/main" id="{D3EE4918-1A44-5CBA-8CC0-9CFCAC982BC0}"/>
                  </a:ext>
                </a:extLst>
              </p:cNvPr>
              <p:cNvPicPr>
                <a:picLocks noChangeAspect="1"/>
              </p:cNvPicPr>
              <p:nvPr>
                <p:custDataLst>
                  <p:tags r:id="rId9"/>
                </p:custDataLst>
              </p:nvPr>
            </p:nvPicPr>
            <p:blipFill>
              <a:blip r:embed="rId4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6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938365" y="1157760"/>
                <a:ext cx="807805" cy="807805"/>
              </a:xfrm>
              <a:prstGeom prst="rect">
                <a:avLst/>
              </a:prstGeom>
            </p:spPr>
          </p:pic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C4E80ABE-9007-3A49-B0D6-DD8CF8BA7F1B}"/>
                  </a:ext>
                </a:extLst>
              </p:cNvPr>
              <p:cNvSpPr txBox="1"/>
              <p:nvPr/>
            </p:nvSpPr>
            <p:spPr>
              <a:xfrm>
                <a:off x="1238072" y="1447210"/>
                <a:ext cx="221456" cy="10772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70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EPD</a:t>
                </a:r>
              </a:p>
            </p:txBody>
          </p:sp>
        </p:grpSp>
        <p:cxnSp>
          <p:nvCxnSpPr>
            <p:cNvPr id="73" name="Connector: Elbow 72">
              <a:extLst>
                <a:ext uri="{FF2B5EF4-FFF2-40B4-BE49-F238E27FC236}">
                  <a16:creationId xmlns:a16="http://schemas.microsoft.com/office/drawing/2014/main" id="{049DD6E8-391A-6473-3440-64BF13DF09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56927" y="4268546"/>
              <a:ext cx="935327" cy="90751"/>
            </a:xfrm>
            <a:prstGeom prst="bentConnector3">
              <a:avLst/>
            </a:prstGeom>
            <a:grpFill/>
            <a:ln w="3175">
              <a:solidFill>
                <a:schemeClr val="accent4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nector: Elbow 73">
              <a:extLst>
                <a:ext uri="{FF2B5EF4-FFF2-40B4-BE49-F238E27FC236}">
                  <a16:creationId xmlns:a16="http://schemas.microsoft.com/office/drawing/2014/main" id="{41E167AE-FF4F-6855-C1F8-4FF8CB4C16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61356" y="4625516"/>
              <a:ext cx="1019037" cy="620611"/>
            </a:xfrm>
            <a:prstGeom prst="bentConnector3">
              <a:avLst/>
            </a:prstGeom>
            <a:grpFill/>
            <a:ln w="3175">
              <a:solidFill>
                <a:schemeClr val="accent4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7871A109-272B-E384-9FB3-A2796AE9DB6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0591" y="4458932"/>
              <a:ext cx="1679802" cy="370772"/>
            </a:xfrm>
            <a:prstGeom prst="bentConnector3">
              <a:avLst/>
            </a:prstGeom>
            <a:grpFill/>
            <a:ln w="3175">
              <a:solidFill>
                <a:schemeClr val="accent4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472D574-CBCC-541D-67EE-1B9E9D27B320}"/>
              </a:ext>
            </a:extLst>
          </p:cNvPr>
          <p:cNvGrpSpPr/>
          <p:nvPr/>
        </p:nvGrpSpPr>
        <p:grpSpPr>
          <a:xfrm>
            <a:off x="484994" y="5097999"/>
            <a:ext cx="3026635" cy="1679541"/>
            <a:chOff x="484994" y="5097999"/>
            <a:chExt cx="3026635" cy="1679541"/>
          </a:xfrm>
          <a:solidFill>
            <a:schemeClr val="bg1">
              <a:lumMod val="50000"/>
            </a:schemeClr>
          </a:solidFill>
        </p:grpSpPr>
        <p:pic>
          <p:nvPicPr>
            <p:cNvPr id="27" name="Graphic 16">
              <a:extLst>
                <a:ext uri="{FF2B5EF4-FFF2-40B4-BE49-F238E27FC236}">
                  <a16:creationId xmlns:a16="http://schemas.microsoft.com/office/drawing/2014/main" id="{2858020A-2B26-4623-B89D-F652A6F3CE52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4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8"/>
                </a:ext>
              </a:extLst>
            </a:blip>
            <a:srcRect/>
            <a:stretch>
              <a:fillRect/>
            </a:stretch>
          </p:blipFill>
          <p:spPr>
            <a:xfrm>
              <a:off x="2022259" y="5097999"/>
              <a:ext cx="1489370" cy="1489370"/>
            </a:xfrm>
            <a:prstGeom prst="rect">
              <a:avLst/>
            </a:prstGeom>
          </p:spPr>
        </p:pic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CC07152-7DF3-9097-E94C-3AA6B396AC1F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4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0"/>
                </a:ext>
              </a:extLst>
            </a:blip>
            <a:srcRect/>
            <a:stretch>
              <a:fillRect/>
            </a:stretch>
          </p:blipFill>
          <p:spPr>
            <a:xfrm>
              <a:off x="484994" y="5453593"/>
              <a:ext cx="848472" cy="848472"/>
            </a:xfrm>
            <a:prstGeom prst="rect">
              <a:avLst/>
            </a:prstGeom>
          </p:spPr>
        </p:pic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9B783C86-FC0A-0132-AA4D-925BE6F88A93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5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2"/>
                </a:ext>
              </a:extLst>
            </a:blip>
            <a:srcRect/>
            <a:stretch>
              <a:fillRect/>
            </a:stretch>
          </p:blipFill>
          <p:spPr>
            <a:xfrm>
              <a:off x="1145441" y="5994307"/>
              <a:ext cx="783233" cy="783233"/>
            </a:xfrm>
            <a:prstGeom prst="rect">
              <a:avLst/>
            </a:prstGeom>
          </p:spPr>
        </p:pic>
        <p:cxnSp>
          <p:nvCxnSpPr>
            <p:cNvPr id="86" name="Connector: Elbow 85">
              <a:extLst>
                <a:ext uri="{FF2B5EF4-FFF2-40B4-BE49-F238E27FC236}">
                  <a16:creationId xmlns:a16="http://schemas.microsoft.com/office/drawing/2014/main" id="{5D38D137-BAE5-B538-10FD-DA5CAE5A1EE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82695" y="5928183"/>
              <a:ext cx="681188" cy="470018"/>
            </a:xfrm>
            <a:prstGeom prst="bentConnector3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Connector: Elbow 87">
              <a:extLst>
                <a:ext uri="{FF2B5EF4-FFF2-40B4-BE49-F238E27FC236}">
                  <a16:creationId xmlns:a16="http://schemas.microsoft.com/office/drawing/2014/main" id="{26358D3C-4724-FEE1-F9F0-2D8EF01F6F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14254" y="5733885"/>
              <a:ext cx="1247309" cy="143944"/>
            </a:xfrm>
            <a:prstGeom prst="bentConnector3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E35D3ACA-46DF-1E06-2A51-3FC7B7F3DB8D}"/>
              </a:ext>
            </a:extLst>
          </p:cNvPr>
          <p:cNvGrpSpPr/>
          <p:nvPr/>
        </p:nvGrpSpPr>
        <p:grpSpPr>
          <a:xfrm>
            <a:off x="9173837" y="2543397"/>
            <a:ext cx="2424113" cy="2424113"/>
            <a:chOff x="9232492" y="2556507"/>
            <a:chExt cx="2424113" cy="2424113"/>
          </a:xfrm>
        </p:grpSpPr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5BBCA314-12C2-0D1A-45C9-838B92CA56A9}"/>
                </a:ext>
              </a:extLst>
            </p:cNvPr>
            <p:cNvGrpSpPr/>
            <p:nvPr/>
          </p:nvGrpSpPr>
          <p:grpSpPr>
            <a:xfrm>
              <a:off x="9232492" y="2556507"/>
              <a:ext cx="2424113" cy="2424113"/>
              <a:chOff x="8419087" y="2540791"/>
              <a:chExt cx="2424113" cy="2424113"/>
            </a:xfrm>
          </p:grpSpPr>
          <p:pic>
            <p:nvPicPr>
              <p:cNvPr id="54" name="Graphic 53">
                <a:extLst>
                  <a:ext uri="{FF2B5EF4-FFF2-40B4-BE49-F238E27FC236}">
                    <a16:creationId xmlns:a16="http://schemas.microsoft.com/office/drawing/2014/main" id="{CDFD9E98-0462-8984-5662-3E253D23137D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>
              <a:blip r:embed="rId5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4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8419087" y="2540791"/>
                <a:ext cx="2424113" cy="2424113"/>
              </a:xfrm>
              <a:prstGeom prst="rect">
                <a:avLst/>
              </a:prstGeom>
            </p:spPr>
          </p:pic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BADC7E4E-5406-190D-FE1B-A88BFE2BFA4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5"/>
              <a:stretch>
                <a:fillRect/>
              </a:stretch>
            </p:blipFill>
            <p:spPr>
              <a:xfrm>
                <a:off x="9164829" y="4706266"/>
                <a:ext cx="932627" cy="215444"/>
              </a:xfrm>
              <a:prstGeom prst="rect">
                <a:avLst/>
              </a:prstGeom>
            </p:spPr>
          </p:pic>
          <p:pic>
            <p:nvPicPr>
              <p:cNvPr id="61" name="Graphic 60">
                <a:extLst>
                  <a:ext uri="{FF2B5EF4-FFF2-40B4-BE49-F238E27FC236}">
                    <a16:creationId xmlns:a16="http://schemas.microsoft.com/office/drawing/2014/main" id="{A25FC6A9-9872-DBE8-4640-429FAC83FD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9153584" y="4473241"/>
                <a:ext cx="914400" cy="189831"/>
              </a:xfrm>
              <a:prstGeom prst="rect">
                <a:avLst/>
              </a:prstGeom>
            </p:spPr>
          </p:pic>
        </p:grp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921D9A4-E5CA-8324-3AE7-AFE7CC6CE1F5}"/>
                </a:ext>
              </a:extLst>
            </p:cNvPr>
            <p:cNvSpPr/>
            <p:nvPr/>
          </p:nvSpPr>
          <p:spPr>
            <a:xfrm>
              <a:off x="9893688" y="3350053"/>
              <a:ext cx="775364" cy="5932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/>
            </a:p>
          </p:txBody>
        </p:sp>
        <p:pic>
          <p:nvPicPr>
            <p:cNvPr id="53" name="Graphic 52">
              <a:extLst>
                <a:ext uri="{FF2B5EF4-FFF2-40B4-BE49-F238E27FC236}">
                  <a16:creationId xmlns:a16="http://schemas.microsoft.com/office/drawing/2014/main" id="{7A07BD7B-0336-D8B1-30EF-292A1BD728A5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5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7"/>
                </a:ext>
              </a:extLst>
            </a:blip>
            <a:srcRect/>
            <a:stretch>
              <a:fillRect/>
            </a:stretch>
          </p:blipFill>
          <p:spPr>
            <a:xfrm>
              <a:off x="9856787" y="3044575"/>
              <a:ext cx="1134803" cy="1134803"/>
            </a:xfrm>
            <a:prstGeom prst="rect">
              <a:avLst/>
            </a:prstGeom>
          </p:spPr>
        </p:pic>
      </p:grpSp>
      <p:sp>
        <p:nvSpPr>
          <p:cNvPr id="15" name="Title 1">
            <a:extLst>
              <a:ext uri="{FF2B5EF4-FFF2-40B4-BE49-F238E27FC236}">
                <a16:creationId xmlns:a16="http://schemas.microsoft.com/office/drawing/2014/main" id="{13CB1EF0-AFAE-7D42-BE5A-C701430549B3}"/>
              </a:ext>
            </a:extLst>
          </p:cNvPr>
          <p:cNvSpPr txBox="1">
            <a:spLocks/>
          </p:cNvSpPr>
          <p:nvPr/>
        </p:nvSpPr>
        <p:spPr>
          <a:xfrm>
            <a:off x="360000" y="425876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latin typeface="Gotham Rounded Book" pitchFamily="50" charset="0"/>
              </a:rPr>
              <a:t>Ramboll’s Carbon Benchmarking Database</a:t>
            </a:r>
          </a:p>
        </p:txBody>
      </p:sp>
    </p:spTree>
    <p:extLst>
      <p:ext uri="{BB962C8B-B14F-4D97-AF65-F5344CB8AC3E}">
        <p14:creationId xmlns:p14="http://schemas.microsoft.com/office/powerpoint/2010/main" val="10510605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>
            <a:extLst>
              <a:ext uri="{FF2B5EF4-FFF2-40B4-BE49-F238E27FC236}">
                <a16:creationId xmlns:a16="http://schemas.microsoft.com/office/drawing/2014/main" id="{B817F6F5-0F2F-6C41-3925-C98806A27A3D}"/>
              </a:ext>
            </a:extLst>
          </p:cNvPr>
          <p:cNvGrpSpPr/>
          <p:nvPr/>
        </p:nvGrpSpPr>
        <p:grpSpPr>
          <a:xfrm>
            <a:off x="-992732" y="1768786"/>
            <a:ext cx="7775505" cy="4425705"/>
            <a:chOff x="-992732" y="1768786"/>
            <a:chExt cx="7775505" cy="4425705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1331616E-31A4-8611-8E77-61B99B85D0CC}"/>
                </a:ext>
              </a:extLst>
            </p:cNvPr>
            <p:cNvGrpSpPr/>
            <p:nvPr/>
          </p:nvGrpSpPr>
          <p:grpSpPr>
            <a:xfrm>
              <a:off x="-776042" y="1945715"/>
              <a:ext cx="7361563" cy="4075463"/>
              <a:chOff x="1412066" y="1429648"/>
              <a:chExt cx="9791968" cy="4821886"/>
            </a:xfrm>
          </p:grpSpPr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FB7E5ABC-2156-2A53-EF2C-767D64044D9A}"/>
                  </a:ext>
                </a:extLst>
              </p:cNvPr>
              <p:cNvSpPr/>
              <p:nvPr/>
            </p:nvSpPr>
            <p:spPr>
              <a:xfrm>
                <a:off x="3068493" y="2027331"/>
                <a:ext cx="66294" cy="48554"/>
              </a:xfrm>
              <a:custGeom>
                <a:avLst/>
                <a:gdLst>
                  <a:gd name="connsiteX0" fmla="*/ 10478 w 67627"/>
                  <a:gd name="connsiteY0" fmla="*/ 0 h 49530"/>
                  <a:gd name="connsiteX1" fmla="*/ 39053 w 67627"/>
                  <a:gd name="connsiteY1" fmla="*/ 0 h 49530"/>
                  <a:gd name="connsiteX2" fmla="*/ 63817 w 67627"/>
                  <a:gd name="connsiteY2" fmla="*/ 0 h 49530"/>
                  <a:gd name="connsiteX3" fmla="*/ 67628 w 67627"/>
                  <a:gd name="connsiteY3" fmla="*/ 14288 h 49530"/>
                  <a:gd name="connsiteX4" fmla="*/ 60008 w 67627"/>
                  <a:gd name="connsiteY4" fmla="*/ 35243 h 49530"/>
                  <a:gd name="connsiteX5" fmla="*/ 49530 w 67627"/>
                  <a:gd name="connsiteY5" fmla="*/ 49530 h 49530"/>
                  <a:gd name="connsiteX6" fmla="*/ 39053 w 67627"/>
                  <a:gd name="connsiteY6" fmla="*/ 42863 h 49530"/>
                  <a:gd name="connsiteX7" fmla="*/ 24765 w 67627"/>
                  <a:gd name="connsiteY7" fmla="*/ 24765 h 49530"/>
                  <a:gd name="connsiteX8" fmla="*/ 10478 w 67627"/>
                  <a:gd name="connsiteY8" fmla="*/ 18002 h 49530"/>
                  <a:gd name="connsiteX9" fmla="*/ 0 w 67627"/>
                  <a:gd name="connsiteY9" fmla="*/ 7525 h 49530"/>
                  <a:gd name="connsiteX10" fmla="*/ 10478 w 67627"/>
                  <a:gd name="connsiteY10" fmla="*/ 0 h 4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627" h="49530">
                    <a:moveTo>
                      <a:pt x="10478" y="0"/>
                    </a:moveTo>
                    <a:lnTo>
                      <a:pt x="39053" y="0"/>
                    </a:lnTo>
                    <a:lnTo>
                      <a:pt x="63817" y="0"/>
                    </a:lnTo>
                    <a:lnTo>
                      <a:pt x="67628" y="14288"/>
                    </a:lnTo>
                    <a:lnTo>
                      <a:pt x="60008" y="35243"/>
                    </a:lnTo>
                    <a:lnTo>
                      <a:pt x="49530" y="49530"/>
                    </a:lnTo>
                    <a:lnTo>
                      <a:pt x="39053" y="42863"/>
                    </a:lnTo>
                    <a:lnTo>
                      <a:pt x="24765" y="24765"/>
                    </a:lnTo>
                    <a:lnTo>
                      <a:pt x="10478" y="18002"/>
                    </a:lnTo>
                    <a:lnTo>
                      <a:pt x="0" y="7525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CB68A98F-85BB-B66A-6302-984EFDC3E8E1}"/>
                  </a:ext>
                </a:extLst>
              </p:cNvPr>
              <p:cNvSpPr/>
              <p:nvPr/>
            </p:nvSpPr>
            <p:spPr>
              <a:xfrm>
                <a:off x="3786528" y="2030971"/>
                <a:ext cx="121383" cy="48647"/>
              </a:xfrm>
              <a:custGeom>
                <a:avLst/>
                <a:gdLst>
                  <a:gd name="connsiteX0" fmla="*/ 7620 w 123824"/>
                  <a:gd name="connsiteY0" fmla="*/ 0 h 49625"/>
                  <a:gd name="connsiteX1" fmla="*/ 39052 w 123824"/>
                  <a:gd name="connsiteY1" fmla="*/ 0 h 49625"/>
                  <a:gd name="connsiteX2" fmla="*/ 74295 w 123824"/>
                  <a:gd name="connsiteY2" fmla="*/ 3810 h 49625"/>
                  <a:gd name="connsiteX3" fmla="*/ 109537 w 123824"/>
                  <a:gd name="connsiteY3" fmla="*/ 21050 h 49625"/>
                  <a:gd name="connsiteX4" fmla="*/ 123825 w 123824"/>
                  <a:gd name="connsiteY4" fmla="*/ 39148 h 49625"/>
                  <a:gd name="connsiteX5" fmla="*/ 105727 w 123824"/>
                  <a:gd name="connsiteY5" fmla="*/ 42863 h 49625"/>
                  <a:gd name="connsiteX6" fmla="*/ 80962 w 123824"/>
                  <a:gd name="connsiteY6" fmla="*/ 42863 h 49625"/>
                  <a:gd name="connsiteX7" fmla="*/ 57150 w 123824"/>
                  <a:gd name="connsiteY7" fmla="*/ 42863 h 49625"/>
                  <a:gd name="connsiteX8" fmla="*/ 45720 w 123824"/>
                  <a:gd name="connsiteY8" fmla="*/ 49625 h 49625"/>
                  <a:gd name="connsiteX9" fmla="*/ 24765 w 123824"/>
                  <a:gd name="connsiteY9" fmla="*/ 45815 h 49625"/>
                  <a:gd name="connsiteX10" fmla="*/ 18097 w 123824"/>
                  <a:gd name="connsiteY10" fmla="*/ 28575 h 49625"/>
                  <a:gd name="connsiteX11" fmla="*/ 0 w 123824"/>
                  <a:gd name="connsiteY11" fmla="*/ 18098 h 49625"/>
                  <a:gd name="connsiteX12" fmla="*/ 0 w 123824"/>
                  <a:gd name="connsiteY12" fmla="*/ 0 h 49625"/>
                  <a:gd name="connsiteX13" fmla="*/ 7620 w 123824"/>
                  <a:gd name="connsiteY13" fmla="*/ 0 h 4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824" h="49625">
                    <a:moveTo>
                      <a:pt x="7620" y="0"/>
                    </a:moveTo>
                    <a:lnTo>
                      <a:pt x="39052" y="0"/>
                    </a:lnTo>
                    <a:lnTo>
                      <a:pt x="74295" y="3810"/>
                    </a:lnTo>
                    <a:lnTo>
                      <a:pt x="109537" y="21050"/>
                    </a:lnTo>
                    <a:lnTo>
                      <a:pt x="123825" y="39148"/>
                    </a:lnTo>
                    <a:lnTo>
                      <a:pt x="105727" y="42863"/>
                    </a:lnTo>
                    <a:lnTo>
                      <a:pt x="80962" y="42863"/>
                    </a:lnTo>
                    <a:lnTo>
                      <a:pt x="57150" y="42863"/>
                    </a:lnTo>
                    <a:lnTo>
                      <a:pt x="45720" y="49625"/>
                    </a:lnTo>
                    <a:lnTo>
                      <a:pt x="24765" y="45815"/>
                    </a:lnTo>
                    <a:lnTo>
                      <a:pt x="18097" y="28575"/>
                    </a:lnTo>
                    <a:lnTo>
                      <a:pt x="0" y="18098"/>
                    </a:lnTo>
                    <a:lnTo>
                      <a:pt x="0" y="0"/>
                    </a:lnTo>
                    <a:lnTo>
                      <a:pt x="762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4F03A3F1-80C7-523B-F125-B23D01918016}"/>
                  </a:ext>
                </a:extLst>
              </p:cNvPr>
              <p:cNvSpPr/>
              <p:nvPr/>
            </p:nvSpPr>
            <p:spPr>
              <a:xfrm>
                <a:off x="4239383" y="3054436"/>
                <a:ext cx="65361" cy="30813"/>
              </a:xfrm>
              <a:custGeom>
                <a:avLst/>
                <a:gdLst>
                  <a:gd name="connsiteX0" fmla="*/ 0 w 66675"/>
                  <a:gd name="connsiteY0" fmla="*/ 3715 h 31432"/>
                  <a:gd name="connsiteX1" fmla="*/ 14288 w 66675"/>
                  <a:gd name="connsiteY1" fmla="*/ 14288 h 31432"/>
                  <a:gd name="connsiteX2" fmla="*/ 31433 w 66675"/>
                  <a:gd name="connsiteY2" fmla="*/ 24670 h 31432"/>
                  <a:gd name="connsiteX3" fmla="*/ 60008 w 66675"/>
                  <a:gd name="connsiteY3" fmla="*/ 31432 h 31432"/>
                  <a:gd name="connsiteX4" fmla="*/ 66675 w 66675"/>
                  <a:gd name="connsiteY4" fmla="*/ 20955 h 31432"/>
                  <a:gd name="connsiteX5" fmla="*/ 52388 w 66675"/>
                  <a:gd name="connsiteY5" fmla="*/ 10382 h 31432"/>
                  <a:gd name="connsiteX6" fmla="*/ 38100 w 66675"/>
                  <a:gd name="connsiteY6" fmla="*/ 3715 h 31432"/>
                  <a:gd name="connsiteX7" fmla="*/ 24765 w 66675"/>
                  <a:gd name="connsiteY7" fmla="*/ 0 h 31432"/>
                  <a:gd name="connsiteX8" fmla="*/ 14288 w 66675"/>
                  <a:gd name="connsiteY8" fmla="*/ 0 h 31432"/>
                  <a:gd name="connsiteX9" fmla="*/ 0 w 66675"/>
                  <a:gd name="connsiteY9" fmla="*/ 3715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6675" h="31432">
                    <a:moveTo>
                      <a:pt x="0" y="3715"/>
                    </a:moveTo>
                    <a:lnTo>
                      <a:pt x="14288" y="14288"/>
                    </a:lnTo>
                    <a:lnTo>
                      <a:pt x="31433" y="24670"/>
                    </a:lnTo>
                    <a:lnTo>
                      <a:pt x="60008" y="31432"/>
                    </a:lnTo>
                    <a:lnTo>
                      <a:pt x="66675" y="20955"/>
                    </a:lnTo>
                    <a:lnTo>
                      <a:pt x="52388" y="10382"/>
                    </a:lnTo>
                    <a:lnTo>
                      <a:pt x="38100" y="3715"/>
                    </a:lnTo>
                    <a:lnTo>
                      <a:pt x="24765" y="0"/>
                    </a:lnTo>
                    <a:lnTo>
                      <a:pt x="14288" y="0"/>
                    </a:lnTo>
                    <a:lnTo>
                      <a:pt x="0" y="3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ED0E2E1D-A641-2FD4-D881-406768F9705B}"/>
                  </a:ext>
                </a:extLst>
              </p:cNvPr>
              <p:cNvSpPr/>
              <p:nvPr/>
            </p:nvSpPr>
            <p:spPr>
              <a:xfrm>
                <a:off x="2302839" y="2739768"/>
                <a:ext cx="27078" cy="52195"/>
              </a:xfrm>
              <a:custGeom>
                <a:avLst/>
                <a:gdLst>
                  <a:gd name="connsiteX0" fmla="*/ 0 w 27622"/>
                  <a:gd name="connsiteY0" fmla="*/ 0 h 53244"/>
                  <a:gd name="connsiteX1" fmla="*/ 17145 w 27622"/>
                  <a:gd name="connsiteY1" fmla="*/ 6668 h 53244"/>
                  <a:gd name="connsiteX2" fmla="*/ 27623 w 27622"/>
                  <a:gd name="connsiteY2" fmla="*/ 28575 h 53244"/>
                  <a:gd name="connsiteX3" fmla="*/ 23813 w 27622"/>
                  <a:gd name="connsiteY3" fmla="*/ 41910 h 53244"/>
                  <a:gd name="connsiteX4" fmla="*/ 17145 w 27622"/>
                  <a:gd name="connsiteY4" fmla="*/ 53245 h 53244"/>
                  <a:gd name="connsiteX5" fmla="*/ 6668 w 27622"/>
                  <a:gd name="connsiteY5" fmla="*/ 38957 h 53244"/>
                  <a:gd name="connsiteX6" fmla="*/ 6668 w 27622"/>
                  <a:gd name="connsiteY6" fmla="*/ 28575 h 53244"/>
                  <a:gd name="connsiteX7" fmla="*/ 0 w 27622"/>
                  <a:gd name="connsiteY7" fmla="*/ 14288 h 53244"/>
                  <a:gd name="connsiteX8" fmla="*/ 0 w 27622"/>
                  <a:gd name="connsiteY8" fmla="*/ 0 h 5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622" h="53244">
                    <a:moveTo>
                      <a:pt x="0" y="0"/>
                    </a:moveTo>
                    <a:lnTo>
                      <a:pt x="17145" y="6668"/>
                    </a:lnTo>
                    <a:lnTo>
                      <a:pt x="27623" y="28575"/>
                    </a:lnTo>
                    <a:lnTo>
                      <a:pt x="23813" y="41910"/>
                    </a:lnTo>
                    <a:lnTo>
                      <a:pt x="17145" y="53245"/>
                    </a:lnTo>
                    <a:lnTo>
                      <a:pt x="6668" y="38957"/>
                    </a:lnTo>
                    <a:lnTo>
                      <a:pt x="6668" y="28575"/>
                    </a:lnTo>
                    <a:lnTo>
                      <a:pt x="0" y="1428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0FF9CFE7-02FA-4C35-9B29-24B1342886B7}"/>
                  </a:ext>
                </a:extLst>
              </p:cNvPr>
              <p:cNvSpPr/>
              <p:nvPr/>
            </p:nvSpPr>
            <p:spPr>
              <a:xfrm>
                <a:off x="2302839" y="2739768"/>
                <a:ext cx="27078" cy="52195"/>
              </a:xfrm>
              <a:custGeom>
                <a:avLst/>
                <a:gdLst>
                  <a:gd name="connsiteX0" fmla="*/ 0 w 27622"/>
                  <a:gd name="connsiteY0" fmla="*/ 0 h 53244"/>
                  <a:gd name="connsiteX1" fmla="*/ 17145 w 27622"/>
                  <a:gd name="connsiteY1" fmla="*/ 6668 h 53244"/>
                  <a:gd name="connsiteX2" fmla="*/ 27623 w 27622"/>
                  <a:gd name="connsiteY2" fmla="*/ 28575 h 53244"/>
                  <a:gd name="connsiteX3" fmla="*/ 23813 w 27622"/>
                  <a:gd name="connsiteY3" fmla="*/ 41910 h 53244"/>
                  <a:gd name="connsiteX4" fmla="*/ 17145 w 27622"/>
                  <a:gd name="connsiteY4" fmla="*/ 53245 h 53244"/>
                  <a:gd name="connsiteX5" fmla="*/ 6668 w 27622"/>
                  <a:gd name="connsiteY5" fmla="*/ 38957 h 53244"/>
                  <a:gd name="connsiteX6" fmla="*/ 6668 w 27622"/>
                  <a:gd name="connsiteY6" fmla="*/ 28575 h 53244"/>
                  <a:gd name="connsiteX7" fmla="*/ 0 w 27622"/>
                  <a:gd name="connsiteY7" fmla="*/ 14288 h 53244"/>
                  <a:gd name="connsiteX8" fmla="*/ 0 w 27622"/>
                  <a:gd name="connsiteY8" fmla="*/ 0 h 5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622" h="53244">
                    <a:moveTo>
                      <a:pt x="0" y="0"/>
                    </a:moveTo>
                    <a:lnTo>
                      <a:pt x="17145" y="6668"/>
                    </a:lnTo>
                    <a:lnTo>
                      <a:pt x="27623" y="28575"/>
                    </a:lnTo>
                    <a:lnTo>
                      <a:pt x="23813" y="41910"/>
                    </a:lnTo>
                    <a:lnTo>
                      <a:pt x="17145" y="53245"/>
                    </a:lnTo>
                    <a:lnTo>
                      <a:pt x="6668" y="38957"/>
                    </a:lnTo>
                    <a:lnTo>
                      <a:pt x="6668" y="28575"/>
                    </a:lnTo>
                    <a:lnTo>
                      <a:pt x="0" y="1428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B323BD1F-D218-AE0F-B5A1-30762C64B7A4}"/>
                  </a:ext>
                </a:extLst>
              </p:cNvPr>
              <p:cNvSpPr/>
              <p:nvPr/>
            </p:nvSpPr>
            <p:spPr>
              <a:xfrm>
                <a:off x="2385008" y="2829313"/>
                <a:ext cx="24276" cy="34548"/>
              </a:xfrm>
              <a:custGeom>
                <a:avLst/>
                <a:gdLst>
                  <a:gd name="connsiteX0" fmla="*/ 0 w 24764"/>
                  <a:gd name="connsiteY0" fmla="*/ 0 h 35242"/>
                  <a:gd name="connsiteX1" fmla="*/ 10477 w 24764"/>
                  <a:gd name="connsiteY1" fmla="*/ 7715 h 35242"/>
                  <a:gd name="connsiteX2" fmla="*/ 24765 w 24764"/>
                  <a:gd name="connsiteY2" fmla="*/ 10573 h 35242"/>
                  <a:gd name="connsiteX3" fmla="*/ 20955 w 24764"/>
                  <a:gd name="connsiteY3" fmla="*/ 28575 h 35242"/>
                  <a:gd name="connsiteX4" fmla="*/ 10477 w 24764"/>
                  <a:gd name="connsiteY4" fmla="*/ 35242 h 35242"/>
                  <a:gd name="connsiteX5" fmla="*/ 0 w 24764"/>
                  <a:gd name="connsiteY5" fmla="*/ 22003 h 35242"/>
                  <a:gd name="connsiteX6" fmla="*/ 0 w 24764"/>
                  <a:gd name="connsiteY6" fmla="*/ 0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64" h="35242">
                    <a:moveTo>
                      <a:pt x="0" y="0"/>
                    </a:moveTo>
                    <a:lnTo>
                      <a:pt x="10477" y="7715"/>
                    </a:lnTo>
                    <a:lnTo>
                      <a:pt x="24765" y="10573"/>
                    </a:lnTo>
                    <a:lnTo>
                      <a:pt x="20955" y="28575"/>
                    </a:lnTo>
                    <a:lnTo>
                      <a:pt x="10477" y="35242"/>
                    </a:lnTo>
                    <a:lnTo>
                      <a:pt x="0" y="2200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8551D255-9E8E-32F6-B224-929AA722C962}"/>
                  </a:ext>
                </a:extLst>
              </p:cNvPr>
              <p:cNvSpPr/>
              <p:nvPr/>
            </p:nvSpPr>
            <p:spPr>
              <a:xfrm>
                <a:off x="2385008" y="2829313"/>
                <a:ext cx="24276" cy="34548"/>
              </a:xfrm>
              <a:custGeom>
                <a:avLst/>
                <a:gdLst>
                  <a:gd name="connsiteX0" fmla="*/ 0 w 24764"/>
                  <a:gd name="connsiteY0" fmla="*/ 0 h 35242"/>
                  <a:gd name="connsiteX1" fmla="*/ 10477 w 24764"/>
                  <a:gd name="connsiteY1" fmla="*/ 7715 h 35242"/>
                  <a:gd name="connsiteX2" fmla="*/ 24765 w 24764"/>
                  <a:gd name="connsiteY2" fmla="*/ 10573 h 35242"/>
                  <a:gd name="connsiteX3" fmla="*/ 20955 w 24764"/>
                  <a:gd name="connsiteY3" fmla="*/ 28575 h 35242"/>
                  <a:gd name="connsiteX4" fmla="*/ 10477 w 24764"/>
                  <a:gd name="connsiteY4" fmla="*/ 35242 h 35242"/>
                  <a:gd name="connsiteX5" fmla="*/ 0 w 24764"/>
                  <a:gd name="connsiteY5" fmla="*/ 22003 h 35242"/>
                  <a:gd name="connsiteX6" fmla="*/ 0 w 24764"/>
                  <a:gd name="connsiteY6" fmla="*/ 0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64" h="35242">
                    <a:moveTo>
                      <a:pt x="0" y="0"/>
                    </a:moveTo>
                    <a:lnTo>
                      <a:pt x="10477" y="7715"/>
                    </a:lnTo>
                    <a:lnTo>
                      <a:pt x="24765" y="10573"/>
                    </a:lnTo>
                    <a:lnTo>
                      <a:pt x="20955" y="28575"/>
                    </a:lnTo>
                    <a:lnTo>
                      <a:pt x="10477" y="35242"/>
                    </a:lnTo>
                    <a:lnTo>
                      <a:pt x="0" y="2200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FA04A7C4-395F-4140-B8BB-CE1B6B46509B}"/>
                  </a:ext>
                </a:extLst>
              </p:cNvPr>
              <p:cNvSpPr/>
              <p:nvPr/>
            </p:nvSpPr>
            <p:spPr>
              <a:xfrm>
                <a:off x="7392571" y="3818228"/>
                <a:ext cx="17740" cy="44725"/>
              </a:xfrm>
              <a:custGeom>
                <a:avLst/>
                <a:gdLst>
                  <a:gd name="connsiteX0" fmla="*/ 0 w 18097"/>
                  <a:gd name="connsiteY0" fmla="*/ 39053 h 45624"/>
                  <a:gd name="connsiteX1" fmla="*/ 0 w 18097"/>
                  <a:gd name="connsiteY1" fmla="*/ 18097 h 45624"/>
                  <a:gd name="connsiteX2" fmla="*/ 7620 w 18097"/>
                  <a:gd name="connsiteY2" fmla="*/ 0 h 45624"/>
                  <a:gd name="connsiteX3" fmla="*/ 14288 w 18097"/>
                  <a:gd name="connsiteY3" fmla="*/ 0 h 45624"/>
                  <a:gd name="connsiteX4" fmla="*/ 18098 w 18097"/>
                  <a:gd name="connsiteY4" fmla="*/ 14288 h 45624"/>
                  <a:gd name="connsiteX5" fmla="*/ 18098 w 18097"/>
                  <a:gd name="connsiteY5" fmla="*/ 24765 h 45624"/>
                  <a:gd name="connsiteX6" fmla="*/ 14288 w 18097"/>
                  <a:gd name="connsiteY6" fmla="*/ 39053 h 45624"/>
                  <a:gd name="connsiteX7" fmla="*/ 7620 w 18097"/>
                  <a:gd name="connsiteY7" fmla="*/ 45625 h 45624"/>
                  <a:gd name="connsiteX8" fmla="*/ 0 w 18097"/>
                  <a:gd name="connsiteY8" fmla="*/ 39053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097" h="45624">
                    <a:moveTo>
                      <a:pt x="0" y="39053"/>
                    </a:moveTo>
                    <a:lnTo>
                      <a:pt x="0" y="18097"/>
                    </a:lnTo>
                    <a:lnTo>
                      <a:pt x="7620" y="0"/>
                    </a:lnTo>
                    <a:lnTo>
                      <a:pt x="14288" y="0"/>
                    </a:lnTo>
                    <a:lnTo>
                      <a:pt x="18098" y="14288"/>
                    </a:lnTo>
                    <a:lnTo>
                      <a:pt x="18098" y="24765"/>
                    </a:lnTo>
                    <a:lnTo>
                      <a:pt x="14288" y="39053"/>
                    </a:lnTo>
                    <a:lnTo>
                      <a:pt x="7620" y="45625"/>
                    </a:lnTo>
                    <a:lnTo>
                      <a:pt x="0" y="3905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AD8D66E-0C42-0FAB-B536-FF04C1FED5BD}"/>
                  </a:ext>
                </a:extLst>
              </p:cNvPr>
              <p:cNvSpPr/>
              <p:nvPr/>
            </p:nvSpPr>
            <p:spPr>
              <a:xfrm>
                <a:off x="3952731" y="2307450"/>
                <a:ext cx="10270" cy="21382"/>
              </a:xfrm>
              <a:custGeom>
                <a:avLst/>
                <a:gdLst>
                  <a:gd name="connsiteX0" fmla="*/ 10477 w 10477"/>
                  <a:gd name="connsiteY0" fmla="*/ 21812 h 21812"/>
                  <a:gd name="connsiteX1" fmla="*/ 0 w 10477"/>
                  <a:gd name="connsiteY1" fmla="*/ 14288 h 21812"/>
                  <a:gd name="connsiteX2" fmla="*/ 0 w 10477"/>
                  <a:gd name="connsiteY2" fmla="*/ 0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" h="21812">
                    <a:moveTo>
                      <a:pt x="10477" y="21812"/>
                    </a:moveTo>
                    <a:lnTo>
                      <a:pt x="0" y="1428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398EBEBC-9269-9EA7-E79D-F7AB1BFAD79D}"/>
                  </a:ext>
                </a:extLst>
              </p:cNvPr>
              <p:cNvSpPr/>
              <p:nvPr/>
            </p:nvSpPr>
            <p:spPr>
              <a:xfrm>
                <a:off x="4276732" y="3058078"/>
                <a:ext cx="28012" cy="16900"/>
              </a:xfrm>
              <a:custGeom>
                <a:avLst/>
                <a:gdLst>
                  <a:gd name="connsiteX0" fmla="*/ 28575 w 28575"/>
                  <a:gd name="connsiteY0" fmla="*/ 17240 h 17240"/>
                  <a:gd name="connsiteX1" fmla="*/ 14288 w 28575"/>
                  <a:gd name="connsiteY1" fmla="*/ 6667 h 17240"/>
                  <a:gd name="connsiteX2" fmla="*/ 0 w 28575"/>
                  <a:gd name="connsiteY2" fmla="*/ 0 h 1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17240">
                    <a:moveTo>
                      <a:pt x="28575" y="17240"/>
                    </a:moveTo>
                    <a:lnTo>
                      <a:pt x="14288" y="666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93B9E84F-A733-DF3B-4B8B-C67A02FD714E}"/>
                  </a:ext>
                </a:extLst>
              </p:cNvPr>
              <p:cNvSpPr/>
              <p:nvPr/>
            </p:nvSpPr>
            <p:spPr>
              <a:xfrm>
                <a:off x="2368200" y="2836876"/>
                <a:ext cx="14005" cy="30813"/>
              </a:xfrm>
              <a:custGeom>
                <a:avLst/>
                <a:gdLst>
                  <a:gd name="connsiteX0" fmla="*/ 0 w 14287"/>
                  <a:gd name="connsiteY0" fmla="*/ 0 h 31432"/>
                  <a:gd name="connsiteX1" fmla="*/ 14288 w 14287"/>
                  <a:gd name="connsiteY1" fmla="*/ 17145 h 31432"/>
                  <a:gd name="connsiteX2" fmla="*/ 14288 w 14287"/>
                  <a:gd name="connsiteY2" fmla="*/ 31433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4287" h="31432">
                    <a:moveTo>
                      <a:pt x="0" y="0"/>
                    </a:moveTo>
                    <a:lnTo>
                      <a:pt x="14288" y="17145"/>
                    </a:lnTo>
                    <a:lnTo>
                      <a:pt x="14288" y="31433"/>
                    </a:lnTo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55DA9B41-E1FF-89EB-61E9-9B52615D0FBA}"/>
                  </a:ext>
                </a:extLst>
              </p:cNvPr>
              <p:cNvSpPr/>
              <p:nvPr/>
            </p:nvSpPr>
            <p:spPr>
              <a:xfrm>
                <a:off x="7278657" y="3693949"/>
                <a:ext cx="48553" cy="48647"/>
              </a:xfrm>
              <a:custGeom>
                <a:avLst/>
                <a:gdLst>
                  <a:gd name="connsiteX0" fmla="*/ 49530 w 49529"/>
                  <a:gd name="connsiteY0" fmla="*/ 6763 h 49625"/>
                  <a:gd name="connsiteX1" fmla="*/ 32385 w 49529"/>
                  <a:gd name="connsiteY1" fmla="*/ 0 h 49625"/>
                  <a:gd name="connsiteX2" fmla="*/ 24765 w 49529"/>
                  <a:gd name="connsiteY2" fmla="*/ 0 h 49625"/>
                  <a:gd name="connsiteX3" fmla="*/ 18097 w 49529"/>
                  <a:gd name="connsiteY3" fmla="*/ 3905 h 49625"/>
                  <a:gd name="connsiteX4" fmla="*/ 0 w 49529"/>
                  <a:gd name="connsiteY4" fmla="*/ 17240 h 49625"/>
                  <a:gd name="connsiteX5" fmla="*/ 0 w 49529"/>
                  <a:gd name="connsiteY5" fmla="*/ 31528 h 49625"/>
                  <a:gd name="connsiteX6" fmla="*/ 18097 w 49529"/>
                  <a:gd name="connsiteY6" fmla="*/ 35338 h 49625"/>
                  <a:gd name="connsiteX7" fmla="*/ 32385 w 49529"/>
                  <a:gd name="connsiteY7" fmla="*/ 49625 h 49625"/>
                  <a:gd name="connsiteX8" fmla="*/ 45720 w 49529"/>
                  <a:gd name="connsiteY8" fmla="*/ 49625 h 49625"/>
                  <a:gd name="connsiteX9" fmla="*/ 39052 w 49529"/>
                  <a:gd name="connsiteY9" fmla="*/ 31528 h 49625"/>
                  <a:gd name="connsiteX10" fmla="*/ 39052 w 49529"/>
                  <a:gd name="connsiteY10" fmla="*/ 21050 h 49625"/>
                  <a:gd name="connsiteX11" fmla="*/ 49530 w 49529"/>
                  <a:gd name="connsiteY11" fmla="*/ 6763 h 4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9529" h="49625">
                    <a:moveTo>
                      <a:pt x="49530" y="6763"/>
                    </a:moveTo>
                    <a:lnTo>
                      <a:pt x="32385" y="0"/>
                    </a:lnTo>
                    <a:lnTo>
                      <a:pt x="24765" y="0"/>
                    </a:lnTo>
                    <a:lnTo>
                      <a:pt x="18097" y="3905"/>
                    </a:lnTo>
                    <a:lnTo>
                      <a:pt x="0" y="17240"/>
                    </a:lnTo>
                    <a:lnTo>
                      <a:pt x="0" y="31528"/>
                    </a:lnTo>
                    <a:lnTo>
                      <a:pt x="18097" y="35338"/>
                    </a:lnTo>
                    <a:lnTo>
                      <a:pt x="32385" y="49625"/>
                    </a:lnTo>
                    <a:lnTo>
                      <a:pt x="45720" y="49625"/>
                    </a:lnTo>
                    <a:lnTo>
                      <a:pt x="39052" y="31528"/>
                    </a:lnTo>
                    <a:lnTo>
                      <a:pt x="39052" y="21050"/>
                    </a:lnTo>
                    <a:lnTo>
                      <a:pt x="49530" y="67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DF726085-8CBF-888E-401C-305924BA6E3D}"/>
                  </a:ext>
                </a:extLst>
              </p:cNvPr>
              <p:cNvSpPr/>
              <p:nvPr/>
            </p:nvSpPr>
            <p:spPr>
              <a:xfrm>
                <a:off x="1705255" y="3963891"/>
                <a:ext cx="20541" cy="16806"/>
              </a:xfrm>
              <a:custGeom>
                <a:avLst/>
                <a:gdLst>
                  <a:gd name="connsiteX0" fmla="*/ 20955 w 20954"/>
                  <a:gd name="connsiteY0" fmla="*/ 10382 h 17144"/>
                  <a:gd name="connsiteX1" fmla="*/ 17145 w 20954"/>
                  <a:gd name="connsiteY1" fmla="*/ 2857 h 17144"/>
                  <a:gd name="connsiteX2" fmla="*/ 6667 w 20954"/>
                  <a:gd name="connsiteY2" fmla="*/ 0 h 17144"/>
                  <a:gd name="connsiteX3" fmla="*/ 0 w 20954"/>
                  <a:gd name="connsiteY3" fmla="*/ 6572 h 17144"/>
                  <a:gd name="connsiteX4" fmla="*/ 6667 w 20954"/>
                  <a:gd name="connsiteY4" fmla="*/ 10382 h 17144"/>
                  <a:gd name="connsiteX5" fmla="*/ 17145 w 20954"/>
                  <a:gd name="connsiteY5" fmla="*/ 17145 h 17144"/>
                  <a:gd name="connsiteX6" fmla="*/ 20955 w 20954"/>
                  <a:gd name="connsiteY6" fmla="*/ 10382 h 1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54" h="17144">
                    <a:moveTo>
                      <a:pt x="20955" y="10382"/>
                    </a:moveTo>
                    <a:lnTo>
                      <a:pt x="17145" y="2857"/>
                    </a:lnTo>
                    <a:lnTo>
                      <a:pt x="6667" y="0"/>
                    </a:lnTo>
                    <a:lnTo>
                      <a:pt x="0" y="6572"/>
                    </a:lnTo>
                    <a:lnTo>
                      <a:pt x="6667" y="10382"/>
                    </a:lnTo>
                    <a:lnTo>
                      <a:pt x="17145" y="17145"/>
                    </a:lnTo>
                    <a:lnTo>
                      <a:pt x="20955" y="103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1764A917-63A9-4412-8E64-6B0D82C782F5}"/>
                  </a:ext>
                </a:extLst>
              </p:cNvPr>
              <p:cNvSpPr/>
              <p:nvPr/>
            </p:nvSpPr>
            <p:spPr>
              <a:xfrm>
                <a:off x="1705255" y="3963891"/>
                <a:ext cx="20541" cy="16806"/>
              </a:xfrm>
              <a:custGeom>
                <a:avLst/>
                <a:gdLst>
                  <a:gd name="connsiteX0" fmla="*/ 20955 w 20954"/>
                  <a:gd name="connsiteY0" fmla="*/ 10382 h 17144"/>
                  <a:gd name="connsiteX1" fmla="*/ 17145 w 20954"/>
                  <a:gd name="connsiteY1" fmla="*/ 2857 h 17144"/>
                  <a:gd name="connsiteX2" fmla="*/ 6667 w 20954"/>
                  <a:gd name="connsiteY2" fmla="*/ 0 h 17144"/>
                  <a:gd name="connsiteX3" fmla="*/ 0 w 20954"/>
                  <a:gd name="connsiteY3" fmla="*/ 6572 h 17144"/>
                  <a:gd name="connsiteX4" fmla="*/ 6667 w 20954"/>
                  <a:gd name="connsiteY4" fmla="*/ 10382 h 17144"/>
                  <a:gd name="connsiteX5" fmla="*/ 17145 w 20954"/>
                  <a:gd name="connsiteY5" fmla="*/ 17145 h 17144"/>
                  <a:gd name="connsiteX6" fmla="*/ 20955 w 20954"/>
                  <a:gd name="connsiteY6" fmla="*/ 10382 h 17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54" h="17144">
                    <a:moveTo>
                      <a:pt x="20955" y="10382"/>
                    </a:moveTo>
                    <a:lnTo>
                      <a:pt x="17145" y="2857"/>
                    </a:lnTo>
                    <a:lnTo>
                      <a:pt x="6667" y="0"/>
                    </a:lnTo>
                    <a:lnTo>
                      <a:pt x="0" y="6572"/>
                    </a:lnTo>
                    <a:lnTo>
                      <a:pt x="6667" y="10382"/>
                    </a:lnTo>
                    <a:lnTo>
                      <a:pt x="17145" y="17145"/>
                    </a:lnTo>
                    <a:lnTo>
                      <a:pt x="20955" y="103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1025B6B0-5231-F1A8-023E-1BB6B3BC884C}"/>
                  </a:ext>
                </a:extLst>
              </p:cNvPr>
              <p:cNvSpPr/>
              <p:nvPr/>
            </p:nvSpPr>
            <p:spPr>
              <a:xfrm>
                <a:off x="1732334" y="3988074"/>
                <a:ext cx="28012" cy="34641"/>
              </a:xfrm>
              <a:custGeom>
                <a:avLst/>
                <a:gdLst>
                  <a:gd name="connsiteX0" fmla="*/ 28575 w 28575"/>
                  <a:gd name="connsiteY0" fmla="*/ 23813 h 35337"/>
                  <a:gd name="connsiteX1" fmla="*/ 14288 w 28575"/>
                  <a:gd name="connsiteY1" fmla="*/ 27718 h 35337"/>
                  <a:gd name="connsiteX2" fmla="*/ 7620 w 28575"/>
                  <a:gd name="connsiteY2" fmla="*/ 35338 h 35337"/>
                  <a:gd name="connsiteX3" fmla="*/ 0 w 28575"/>
                  <a:gd name="connsiteY3" fmla="*/ 21050 h 35337"/>
                  <a:gd name="connsiteX4" fmla="*/ 0 w 28575"/>
                  <a:gd name="connsiteY4" fmla="*/ 10478 h 35337"/>
                  <a:gd name="connsiteX5" fmla="*/ 7620 w 28575"/>
                  <a:gd name="connsiteY5" fmla="*/ 0 h 35337"/>
                  <a:gd name="connsiteX6" fmla="*/ 14288 w 28575"/>
                  <a:gd name="connsiteY6" fmla="*/ 2953 h 35337"/>
                  <a:gd name="connsiteX7" fmla="*/ 24765 w 28575"/>
                  <a:gd name="connsiteY7" fmla="*/ 10478 h 35337"/>
                  <a:gd name="connsiteX8" fmla="*/ 28575 w 28575"/>
                  <a:gd name="connsiteY8" fmla="*/ 23813 h 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" h="35337">
                    <a:moveTo>
                      <a:pt x="28575" y="23813"/>
                    </a:moveTo>
                    <a:lnTo>
                      <a:pt x="14288" y="27718"/>
                    </a:lnTo>
                    <a:lnTo>
                      <a:pt x="7620" y="35338"/>
                    </a:lnTo>
                    <a:lnTo>
                      <a:pt x="0" y="21050"/>
                    </a:lnTo>
                    <a:lnTo>
                      <a:pt x="0" y="10478"/>
                    </a:lnTo>
                    <a:lnTo>
                      <a:pt x="7620" y="0"/>
                    </a:lnTo>
                    <a:lnTo>
                      <a:pt x="14288" y="2953"/>
                    </a:lnTo>
                    <a:lnTo>
                      <a:pt x="24765" y="10478"/>
                    </a:lnTo>
                    <a:lnTo>
                      <a:pt x="28575" y="2381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CF224C17-F1E0-AC57-955C-DBE4513DA54D}"/>
                  </a:ext>
                </a:extLst>
              </p:cNvPr>
              <p:cNvSpPr/>
              <p:nvPr/>
            </p:nvSpPr>
            <p:spPr>
              <a:xfrm>
                <a:off x="1732334" y="3988074"/>
                <a:ext cx="28012" cy="34641"/>
              </a:xfrm>
              <a:custGeom>
                <a:avLst/>
                <a:gdLst>
                  <a:gd name="connsiteX0" fmla="*/ 28575 w 28575"/>
                  <a:gd name="connsiteY0" fmla="*/ 23813 h 35337"/>
                  <a:gd name="connsiteX1" fmla="*/ 14288 w 28575"/>
                  <a:gd name="connsiteY1" fmla="*/ 27718 h 35337"/>
                  <a:gd name="connsiteX2" fmla="*/ 7620 w 28575"/>
                  <a:gd name="connsiteY2" fmla="*/ 35338 h 35337"/>
                  <a:gd name="connsiteX3" fmla="*/ 0 w 28575"/>
                  <a:gd name="connsiteY3" fmla="*/ 21050 h 35337"/>
                  <a:gd name="connsiteX4" fmla="*/ 0 w 28575"/>
                  <a:gd name="connsiteY4" fmla="*/ 10478 h 35337"/>
                  <a:gd name="connsiteX5" fmla="*/ 7620 w 28575"/>
                  <a:gd name="connsiteY5" fmla="*/ 0 h 35337"/>
                  <a:gd name="connsiteX6" fmla="*/ 14288 w 28575"/>
                  <a:gd name="connsiteY6" fmla="*/ 2953 h 35337"/>
                  <a:gd name="connsiteX7" fmla="*/ 24765 w 28575"/>
                  <a:gd name="connsiteY7" fmla="*/ 10478 h 35337"/>
                  <a:gd name="connsiteX8" fmla="*/ 28575 w 28575"/>
                  <a:gd name="connsiteY8" fmla="*/ 23813 h 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8575" h="35337">
                    <a:moveTo>
                      <a:pt x="28575" y="23813"/>
                    </a:moveTo>
                    <a:lnTo>
                      <a:pt x="14288" y="27718"/>
                    </a:lnTo>
                    <a:lnTo>
                      <a:pt x="7620" y="35338"/>
                    </a:lnTo>
                    <a:lnTo>
                      <a:pt x="0" y="21050"/>
                    </a:lnTo>
                    <a:lnTo>
                      <a:pt x="0" y="10478"/>
                    </a:lnTo>
                    <a:lnTo>
                      <a:pt x="7620" y="0"/>
                    </a:lnTo>
                    <a:lnTo>
                      <a:pt x="14288" y="2953"/>
                    </a:lnTo>
                    <a:lnTo>
                      <a:pt x="24765" y="10478"/>
                    </a:lnTo>
                    <a:lnTo>
                      <a:pt x="28575" y="2381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30FFA424-0227-A537-A388-79ADC9DD5A1C}"/>
                  </a:ext>
                </a:extLst>
              </p:cNvPr>
              <p:cNvSpPr/>
              <p:nvPr/>
            </p:nvSpPr>
            <p:spPr>
              <a:xfrm>
                <a:off x="1670708" y="3942321"/>
                <a:ext cx="10270" cy="14005"/>
              </a:xfrm>
              <a:custGeom>
                <a:avLst/>
                <a:gdLst>
                  <a:gd name="connsiteX0" fmla="*/ 10477 w 10477"/>
                  <a:gd name="connsiteY0" fmla="*/ 11525 h 14287"/>
                  <a:gd name="connsiteX1" fmla="*/ 6667 w 10477"/>
                  <a:gd name="connsiteY1" fmla="*/ 0 h 14287"/>
                  <a:gd name="connsiteX2" fmla="*/ 0 w 10477"/>
                  <a:gd name="connsiteY2" fmla="*/ 0 h 14287"/>
                  <a:gd name="connsiteX3" fmla="*/ 0 w 10477"/>
                  <a:gd name="connsiteY3" fmla="*/ 7715 h 14287"/>
                  <a:gd name="connsiteX4" fmla="*/ 3810 w 10477"/>
                  <a:gd name="connsiteY4" fmla="*/ 14288 h 14287"/>
                  <a:gd name="connsiteX5" fmla="*/ 10477 w 10477"/>
                  <a:gd name="connsiteY5" fmla="*/ 11525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77" h="14287">
                    <a:moveTo>
                      <a:pt x="10477" y="11525"/>
                    </a:moveTo>
                    <a:lnTo>
                      <a:pt x="6667" y="0"/>
                    </a:lnTo>
                    <a:lnTo>
                      <a:pt x="0" y="0"/>
                    </a:lnTo>
                    <a:lnTo>
                      <a:pt x="0" y="7715"/>
                    </a:lnTo>
                    <a:lnTo>
                      <a:pt x="3810" y="14288"/>
                    </a:lnTo>
                    <a:lnTo>
                      <a:pt x="10477" y="11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7DA19CDA-2856-C4C8-FB44-4215A56DE773}"/>
                  </a:ext>
                </a:extLst>
              </p:cNvPr>
              <p:cNvSpPr/>
              <p:nvPr/>
            </p:nvSpPr>
            <p:spPr>
              <a:xfrm>
                <a:off x="1670708" y="3942321"/>
                <a:ext cx="10270" cy="14005"/>
              </a:xfrm>
              <a:custGeom>
                <a:avLst/>
                <a:gdLst>
                  <a:gd name="connsiteX0" fmla="*/ 10477 w 10477"/>
                  <a:gd name="connsiteY0" fmla="*/ 11525 h 14287"/>
                  <a:gd name="connsiteX1" fmla="*/ 6667 w 10477"/>
                  <a:gd name="connsiteY1" fmla="*/ 0 h 14287"/>
                  <a:gd name="connsiteX2" fmla="*/ 0 w 10477"/>
                  <a:gd name="connsiteY2" fmla="*/ 0 h 14287"/>
                  <a:gd name="connsiteX3" fmla="*/ 0 w 10477"/>
                  <a:gd name="connsiteY3" fmla="*/ 7715 h 14287"/>
                  <a:gd name="connsiteX4" fmla="*/ 3810 w 10477"/>
                  <a:gd name="connsiteY4" fmla="*/ 14288 h 14287"/>
                  <a:gd name="connsiteX5" fmla="*/ 10477 w 10477"/>
                  <a:gd name="connsiteY5" fmla="*/ 11525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77" h="14287">
                    <a:moveTo>
                      <a:pt x="10477" y="11525"/>
                    </a:moveTo>
                    <a:lnTo>
                      <a:pt x="6667" y="0"/>
                    </a:lnTo>
                    <a:lnTo>
                      <a:pt x="0" y="0"/>
                    </a:lnTo>
                    <a:lnTo>
                      <a:pt x="0" y="7715"/>
                    </a:lnTo>
                    <a:lnTo>
                      <a:pt x="3810" y="14288"/>
                    </a:lnTo>
                    <a:lnTo>
                      <a:pt x="10477" y="11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52920CD-D908-9599-ADD4-44D4DD065CB0}"/>
                  </a:ext>
                </a:extLst>
              </p:cNvPr>
              <p:cNvSpPr/>
              <p:nvPr/>
            </p:nvSpPr>
            <p:spPr>
              <a:xfrm>
                <a:off x="1670708" y="3942321"/>
                <a:ext cx="10270" cy="14005"/>
              </a:xfrm>
              <a:custGeom>
                <a:avLst/>
                <a:gdLst>
                  <a:gd name="connsiteX0" fmla="*/ 10477 w 10477"/>
                  <a:gd name="connsiteY0" fmla="*/ 11525 h 14287"/>
                  <a:gd name="connsiteX1" fmla="*/ 6667 w 10477"/>
                  <a:gd name="connsiteY1" fmla="*/ 0 h 14287"/>
                  <a:gd name="connsiteX2" fmla="*/ 0 w 10477"/>
                  <a:gd name="connsiteY2" fmla="*/ 0 h 14287"/>
                  <a:gd name="connsiteX3" fmla="*/ 0 w 10477"/>
                  <a:gd name="connsiteY3" fmla="*/ 7715 h 14287"/>
                  <a:gd name="connsiteX4" fmla="*/ 3810 w 10477"/>
                  <a:gd name="connsiteY4" fmla="*/ 14288 h 14287"/>
                  <a:gd name="connsiteX5" fmla="*/ 10477 w 10477"/>
                  <a:gd name="connsiteY5" fmla="*/ 11525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77" h="14287">
                    <a:moveTo>
                      <a:pt x="10477" y="11525"/>
                    </a:moveTo>
                    <a:lnTo>
                      <a:pt x="6667" y="0"/>
                    </a:lnTo>
                    <a:lnTo>
                      <a:pt x="0" y="0"/>
                    </a:lnTo>
                    <a:lnTo>
                      <a:pt x="0" y="7715"/>
                    </a:lnTo>
                    <a:lnTo>
                      <a:pt x="3810" y="14288"/>
                    </a:lnTo>
                    <a:lnTo>
                      <a:pt x="10477" y="11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34CCCB1A-9C24-3155-F85E-DC8B86C1E6EE}"/>
                  </a:ext>
                </a:extLst>
              </p:cNvPr>
              <p:cNvSpPr/>
              <p:nvPr/>
            </p:nvSpPr>
            <p:spPr>
              <a:xfrm>
                <a:off x="1670708" y="3942321"/>
                <a:ext cx="10270" cy="14005"/>
              </a:xfrm>
              <a:custGeom>
                <a:avLst/>
                <a:gdLst>
                  <a:gd name="connsiteX0" fmla="*/ 10477 w 10477"/>
                  <a:gd name="connsiteY0" fmla="*/ 11525 h 14287"/>
                  <a:gd name="connsiteX1" fmla="*/ 6667 w 10477"/>
                  <a:gd name="connsiteY1" fmla="*/ 0 h 14287"/>
                  <a:gd name="connsiteX2" fmla="*/ 0 w 10477"/>
                  <a:gd name="connsiteY2" fmla="*/ 0 h 14287"/>
                  <a:gd name="connsiteX3" fmla="*/ 0 w 10477"/>
                  <a:gd name="connsiteY3" fmla="*/ 7715 h 14287"/>
                  <a:gd name="connsiteX4" fmla="*/ 3810 w 10477"/>
                  <a:gd name="connsiteY4" fmla="*/ 14288 h 14287"/>
                  <a:gd name="connsiteX5" fmla="*/ 10477 w 10477"/>
                  <a:gd name="connsiteY5" fmla="*/ 11525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477" h="14287">
                    <a:moveTo>
                      <a:pt x="10477" y="11525"/>
                    </a:moveTo>
                    <a:lnTo>
                      <a:pt x="6667" y="0"/>
                    </a:lnTo>
                    <a:lnTo>
                      <a:pt x="0" y="0"/>
                    </a:lnTo>
                    <a:lnTo>
                      <a:pt x="0" y="7715"/>
                    </a:lnTo>
                    <a:lnTo>
                      <a:pt x="3810" y="14288"/>
                    </a:lnTo>
                    <a:lnTo>
                      <a:pt x="10477" y="11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C605642D-59E5-0508-CB91-9E03B4EA2EC6}"/>
                  </a:ext>
                </a:extLst>
              </p:cNvPr>
              <p:cNvSpPr/>
              <p:nvPr/>
            </p:nvSpPr>
            <p:spPr>
              <a:xfrm>
                <a:off x="1629624" y="3929342"/>
                <a:ext cx="10270" cy="6536"/>
              </a:xfrm>
              <a:custGeom>
                <a:avLst/>
                <a:gdLst>
                  <a:gd name="connsiteX0" fmla="*/ 6668 w 10477"/>
                  <a:gd name="connsiteY0" fmla="*/ 0 h 6667"/>
                  <a:gd name="connsiteX1" fmla="*/ 0 w 10477"/>
                  <a:gd name="connsiteY1" fmla="*/ 0 h 6667"/>
                  <a:gd name="connsiteX2" fmla="*/ 2858 w 10477"/>
                  <a:gd name="connsiteY2" fmla="*/ 6668 h 6667"/>
                  <a:gd name="connsiteX3" fmla="*/ 10478 w 10477"/>
                  <a:gd name="connsiteY3" fmla="*/ 6668 h 6667"/>
                  <a:gd name="connsiteX4" fmla="*/ 6668 w 10477"/>
                  <a:gd name="connsiteY4" fmla="*/ 0 h 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" h="6667">
                    <a:moveTo>
                      <a:pt x="6668" y="0"/>
                    </a:moveTo>
                    <a:lnTo>
                      <a:pt x="0" y="0"/>
                    </a:lnTo>
                    <a:lnTo>
                      <a:pt x="2858" y="6668"/>
                    </a:lnTo>
                    <a:lnTo>
                      <a:pt x="10478" y="6668"/>
                    </a:lnTo>
                    <a:lnTo>
                      <a:pt x="666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A844DEC6-94A8-7E7C-987E-513D5D947888}"/>
                  </a:ext>
                </a:extLst>
              </p:cNvPr>
              <p:cNvSpPr/>
              <p:nvPr/>
            </p:nvSpPr>
            <p:spPr>
              <a:xfrm>
                <a:off x="1629624" y="3929342"/>
                <a:ext cx="10270" cy="6536"/>
              </a:xfrm>
              <a:custGeom>
                <a:avLst/>
                <a:gdLst>
                  <a:gd name="connsiteX0" fmla="*/ 6668 w 10477"/>
                  <a:gd name="connsiteY0" fmla="*/ 0 h 6667"/>
                  <a:gd name="connsiteX1" fmla="*/ 0 w 10477"/>
                  <a:gd name="connsiteY1" fmla="*/ 0 h 6667"/>
                  <a:gd name="connsiteX2" fmla="*/ 2858 w 10477"/>
                  <a:gd name="connsiteY2" fmla="*/ 6668 h 6667"/>
                  <a:gd name="connsiteX3" fmla="*/ 10478 w 10477"/>
                  <a:gd name="connsiteY3" fmla="*/ 6668 h 6667"/>
                  <a:gd name="connsiteX4" fmla="*/ 6668 w 10477"/>
                  <a:gd name="connsiteY4" fmla="*/ 0 h 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" h="6667">
                    <a:moveTo>
                      <a:pt x="6668" y="0"/>
                    </a:moveTo>
                    <a:lnTo>
                      <a:pt x="0" y="0"/>
                    </a:lnTo>
                    <a:lnTo>
                      <a:pt x="2858" y="6668"/>
                    </a:lnTo>
                    <a:lnTo>
                      <a:pt x="10478" y="6668"/>
                    </a:lnTo>
                    <a:lnTo>
                      <a:pt x="666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5E690429-6425-A2E5-B0C7-68BF1389EC04}"/>
                  </a:ext>
                </a:extLst>
              </p:cNvPr>
              <p:cNvSpPr/>
              <p:nvPr/>
            </p:nvSpPr>
            <p:spPr>
              <a:xfrm>
                <a:off x="1629624" y="3929342"/>
                <a:ext cx="10270" cy="6536"/>
              </a:xfrm>
              <a:custGeom>
                <a:avLst/>
                <a:gdLst>
                  <a:gd name="connsiteX0" fmla="*/ 6668 w 10477"/>
                  <a:gd name="connsiteY0" fmla="*/ 0 h 6667"/>
                  <a:gd name="connsiteX1" fmla="*/ 0 w 10477"/>
                  <a:gd name="connsiteY1" fmla="*/ 0 h 6667"/>
                  <a:gd name="connsiteX2" fmla="*/ 2858 w 10477"/>
                  <a:gd name="connsiteY2" fmla="*/ 6668 h 6667"/>
                  <a:gd name="connsiteX3" fmla="*/ 10478 w 10477"/>
                  <a:gd name="connsiteY3" fmla="*/ 6668 h 6667"/>
                  <a:gd name="connsiteX4" fmla="*/ 6668 w 10477"/>
                  <a:gd name="connsiteY4" fmla="*/ 0 h 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" h="6667">
                    <a:moveTo>
                      <a:pt x="6668" y="0"/>
                    </a:moveTo>
                    <a:lnTo>
                      <a:pt x="0" y="0"/>
                    </a:lnTo>
                    <a:lnTo>
                      <a:pt x="2858" y="6668"/>
                    </a:lnTo>
                    <a:lnTo>
                      <a:pt x="10478" y="6668"/>
                    </a:lnTo>
                    <a:lnTo>
                      <a:pt x="666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C863EA74-A8A7-DB0B-6B49-4AF36FE2A42E}"/>
                  </a:ext>
                </a:extLst>
              </p:cNvPr>
              <p:cNvSpPr/>
              <p:nvPr/>
            </p:nvSpPr>
            <p:spPr>
              <a:xfrm>
                <a:off x="1629624" y="3929342"/>
                <a:ext cx="10270" cy="6536"/>
              </a:xfrm>
              <a:custGeom>
                <a:avLst/>
                <a:gdLst>
                  <a:gd name="connsiteX0" fmla="*/ 6668 w 10477"/>
                  <a:gd name="connsiteY0" fmla="*/ 0 h 6667"/>
                  <a:gd name="connsiteX1" fmla="*/ 0 w 10477"/>
                  <a:gd name="connsiteY1" fmla="*/ 0 h 6667"/>
                  <a:gd name="connsiteX2" fmla="*/ 2858 w 10477"/>
                  <a:gd name="connsiteY2" fmla="*/ 6668 h 6667"/>
                  <a:gd name="connsiteX3" fmla="*/ 10478 w 10477"/>
                  <a:gd name="connsiteY3" fmla="*/ 6668 h 6667"/>
                  <a:gd name="connsiteX4" fmla="*/ 6668 w 10477"/>
                  <a:gd name="connsiteY4" fmla="*/ 0 h 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" h="6667">
                    <a:moveTo>
                      <a:pt x="6668" y="0"/>
                    </a:moveTo>
                    <a:lnTo>
                      <a:pt x="0" y="0"/>
                    </a:lnTo>
                    <a:lnTo>
                      <a:pt x="2858" y="6668"/>
                    </a:lnTo>
                    <a:lnTo>
                      <a:pt x="10478" y="6668"/>
                    </a:lnTo>
                    <a:lnTo>
                      <a:pt x="666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21FEBEDC-C115-8969-97AB-98D92FF3DD2D}"/>
                  </a:ext>
                </a:extLst>
              </p:cNvPr>
              <p:cNvSpPr/>
              <p:nvPr/>
            </p:nvSpPr>
            <p:spPr>
              <a:xfrm>
                <a:off x="3838816" y="4205727"/>
                <a:ext cx="321200" cy="459302"/>
              </a:xfrm>
              <a:custGeom>
                <a:avLst/>
                <a:gdLst>
                  <a:gd name="connsiteX0" fmla="*/ 49530 w 327659"/>
                  <a:gd name="connsiteY0" fmla="*/ 116110 h 468534"/>
                  <a:gd name="connsiteX1" fmla="*/ 52388 w 327659"/>
                  <a:gd name="connsiteY1" fmla="*/ 126587 h 468534"/>
                  <a:gd name="connsiteX2" fmla="*/ 60007 w 327659"/>
                  <a:gd name="connsiteY2" fmla="*/ 120015 h 468534"/>
                  <a:gd name="connsiteX3" fmla="*/ 60007 w 327659"/>
                  <a:gd name="connsiteY3" fmla="*/ 101822 h 468534"/>
                  <a:gd name="connsiteX4" fmla="*/ 77153 w 327659"/>
                  <a:gd name="connsiteY4" fmla="*/ 87535 h 468534"/>
                  <a:gd name="connsiteX5" fmla="*/ 87630 w 327659"/>
                  <a:gd name="connsiteY5" fmla="*/ 74200 h 468534"/>
                  <a:gd name="connsiteX6" fmla="*/ 91440 w 327659"/>
                  <a:gd name="connsiteY6" fmla="*/ 62865 h 468534"/>
                  <a:gd name="connsiteX7" fmla="*/ 95250 w 327659"/>
                  <a:gd name="connsiteY7" fmla="*/ 49435 h 468534"/>
                  <a:gd name="connsiteX8" fmla="*/ 120015 w 327659"/>
                  <a:gd name="connsiteY8" fmla="*/ 35147 h 468534"/>
                  <a:gd name="connsiteX9" fmla="*/ 130493 w 327659"/>
                  <a:gd name="connsiteY9" fmla="*/ 35147 h 468534"/>
                  <a:gd name="connsiteX10" fmla="*/ 137160 w 327659"/>
                  <a:gd name="connsiteY10" fmla="*/ 27622 h 468534"/>
                  <a:gd name="connsiteX11" fmla="*/ 155257 w 327659"/>
                  <a:gd name="connsiteY11" fmla="*/ 27622 h 468534"/>
                  <a:gd name="connsiteX12" fmla="*/ 168593 w 327659"/>
                  <a:gd name="connsiteY12" fmla="*/ 20860 h 468534"/>
                  <a:gd name="connsiteX13" fmla="*/ 182880 w 327659"/>
                  <a:gd name="connsiteY13" fmla="*/ 10478 h 468534"/>
                  <a:gd name="connsiteX14" fmla="*/ 193357 w 327659"/>
                  <a:gd name="connsiteY14" fmla="*/ 0 h 468534"/>
                  <a:gd name="connsiteX15" fmla="*/ 203835 w 327659"/>
                  <a:gd name="connsiteY15" fmla="*/ 0 h 468534"/>
                  <a:gd name="connsiteX16" fmla="*/ 211455 w 327659"/>
                  <a:gd name="connsiteY16" fmla="*/ 2762 h 468534"/>
                  <a:gd name="connsiteX17" fmla="*/ 207645 w 327659"/>
                  <a:gd name="connsiteY17" fmla="*/ 17050 h 468534"/>
                  <a:gd name="connsiteX18" fmla="*/ 197168 w 327659"/>
                  <a:gd name="connsiteY18" fmla="*/ 24765 h 468534"/>
                  <a:gd name="connsiteX19" fmla="*/ 186690 w 327659"/>
                  <a:gd name="connsiteY19" fmla="*/ 31337 h 468534"/>
                  <a:gd name="connsiteX20" fmla="*/ 168593 w 327659"/>
                  <a:gd name="connsiteY20" fmla="*/ 45625 h 468534"/>
                  <a:gd name="connsiteX21" fmla="*/ 161925 w 327659"/>
                  <a:gd name="connsiteY21" fmla="*/ 59912 h 468534"/>
                  <a:gd name="connsiteX22" fmla="*/ 158115 w 327659"/>
                  <a:gd name="connsiteY22" fmla="*/ 84772 h 468534"/>
                  <a:gd name="connsiteX23" fmla="*/ 161925 w 327659"/>
                  <a:gd name="connsiteY23" fmla="*/ 95250 h 468534"/>
                  <a:gd name="connsiteX24" fmla="*/ 168593 w 327659"/>
                  <a:gd name="connsiteY24" fmla="*/ 105728 h 468534"/>
                  <a:gd name="connsiteX25" fmla="*/ 176213 w 327659"/>
                  <a:gd name="connsiteY25" fmla="*/ 112300 h 468534"/>
                  <a:gd name="connsiteX26" fmla="*/ 179070 w 327659"/>
                  <a:gd name="connsiteY26" fmla="*/ 120015 h 468534"/>
                  <a:gd name="connsiteX27" fmla="*/ 179070 w 327659"/>
                  <a:gd name="connsiteY27" fmla="*/ 144685 h 468534"/>
                  <a:gd name="connsiteX28" fmla="*/ 190500 w 327659"/>
                  <a:gd name="connsiteY28" fmla="*/ 151447 h 468534"/>
                  <a:gd name="connsiteX29" fmla="*/ 239078 w 327659"/>
                  <a:gd name="connsiteY29" fmla="*/ 147638 h 468534"/>
                  <a:gd name="connsiteX30" fmla="*/ 260032 w 327659"/>
                  <a:gd name="connsiteY30" fmla="*/ 172403 h 468534"/>
                  <a:gd name="connsiteX31" fmla="*/ 309563 w 327659"/>
                  <a:gd name="connsiteY31" fmla="*/ 168497 h 468534"/>
                  <a:gd name="connsiteX32" fmla="*/ 320040 w 327659"/>
                  <a:gd name="connsiteY32" fmla="*/ 180022 h 468534"/>
                  <a:gd name="connsiteX33" fmla="*/ 309563 w 327659"/>
                  <a:gd name="connsiteY33" fmla="*/ 193262 h 468534"/>
                  <a:gd name="connsiteX34" fmla="*/ 309563 w 327659"/>
                  <a:gd name="connsiteY34" fmla="*/ 211360 h 468534"/>
                  <a:gd name="connsiteX35" fmla="*/ 309563 w 327659"/>
                  <a:gd name="connsiteY35" fmla="*/ 225647 h 468534"/>
                  <a:gd name="connsiteX36" fmla="*/ 309563 w 327659"/>
                  <a:gd name="connsiteY36" fmla="*/ 239935 h 468534"/>
                  <a:gd name="connsiteX37" fmla="*/ 313372 w 327659"/>
                  <a:gd name="connsiteY37" fmla="*/ 239935 h 468534"/>
                  <a:gd name="connsiteX38" fmla="*/ 317182 w 327659"/>
                  <a:gd name="connsiteY38" fmla="*/ 242888 h 468534"/>
                  <a:gd name="connsiteX39" fmla="*/ 317182 w 327659"/>
                  <a:gd name="connsiteY39" fmla="*/ 263747 h 468534"/>
                  <a:gd name="connsiteX40" fmla="*/ 317182 w 327659"/>
                  <a:gd name="connsiteY40" fmla="*/ 281940 h 468534"/>
                  <a:gd name="connsiteX41" fmla="*/ 323850 w 327659"/>
                  <a:gd name="connsiteY41" fmla="*/ 285750 h 468534"/>
                  <a:gd name="connsiteX42" fmla="*/ 327660 w 327659"/>
                  <a:gd name="connsiteY42" fmla="*/ 302800 h 468534"/>
                  <a:gd name="connsiteX43" fmla="*/ 313372 w 327659"/>
                  <a:gd name="connsiteY43" fmla="*/ 296228 h 468534"/>
                  <a:gd name="connsiteX44" fmla="*/ 306705 w 327659"/>
                  <a:gd name="connsiteY44" fmla="*/ 296228 h 468534"/>
                  <a:gd name="connsiteX45" fmla="*/ 295275 w 327659"/>
                  <a:gd name="connsiteY45" fmla="*/ 299085 h 468534"/>
                  <a:gd name="connsiteX46" fmla="*/ 263843 w 327659"/>
                  <a:gd name="connsiteY46" fmla="*/ 299085 h 468534"/>
                  <a:gd name="connsiteX47" fmla="*/ 246697 w 327659"/>
                  <a:gd name="connsiteY47" fmla="*/ 302800 h 468534"/>
                  <a:gd name="connsiteX48" fmla="*/ 246697 w 327659"/>
                  <a:gd name="connsiteY48" fmla="*/ 306610 h 468534"/>
                  <a:gd name="connsiteX49" fmla="*/ 242888 w 327659"/>
                  <a:gd name="connsiteY49" fmla="*/ 310515 h 468534"/>
                  <a:gd name="connsiteX50" fmla="*/ 246697 w 327659"/>
                  <a:gd name="connsiteY50" fmla="*/ 313372 h 468534"/>
                  <a:gd name="connsiteX51" fmla="*/ 257175 w 327659"/>
                  <a:gd name="connsiteY51" fmla="*/ 317087 h 468534"/>
                  <a:gd name="connsiteX52" fmla="*/ 267653 w 327659"/>
                  <a:gd name="connsiteY52" fmla="*/ 320897 h 468534"/>
                  <a:gd name="connsiteX53" fmla="*/ 267653 w 327659"/>
                  <a:gd name="connsiteY53" fmla="*/ 331375 h 468534"/>
                  <a:gd name="connsiteX54" fmla="*/ 257175 w 327659"/>
                  <a:gd name="connsiteY54" fmla="*/ 327660 h 468534"/>
                  <a:gd name="connsiteX55" fmla="*/ 249555 w 327659"/>
                  <a:gd name="connsiteY55" fmla="*/ 327660 h 468534"/>
                  <a:gd name="connsiteX56" fmla="*/ 246697 w 327659"/>
                  <a:gd name="connsiteY56" fmla="*/ 331375 h 468534"/>
                  <a:gd name="connsiteX57" fmla="*/ 246697 w 327659"/>
                  <a:gd name="connsiteY57" fmla="*/ 352425 h 468534"/>
                  <a:gd name="connsiteX58" fmla="*/ 257175 w 327659"/>
                  <a:gd name="connsiteY58" fmla="*/ 366713 h 468534"/>
                  <a:gd name="connsiteX59" fmla="*/ 260032 w 327659"/>
                  <a:gd name="connsiteY59" fmla="*/ 387572 h 468534"/>
                  <a:gd name="connsiteX60" fmla="*/ 257175 w 327659"/>
                  <a:gd name="connsiteY60" fmla="*/ 412337 h 468534"/>
                  <a:gd name="connsiteX61" fmla="*/ 253365 w 327659"/>
                  <a:gd name="connsiteY61" fmla="*/ 443865 h 468534"/>
                  <a:gd name="connsiteX62" fmla="*/ 242888 w 327659"/>
                  <a:gd name="connsiteY62" fmla="*/ 468535 h 468534"/>
                  <a:gd name="connsiteX63" fmla="*/ 232410 w 327659"/>
                  <a:gd name="connsiteY63" fmla="*/ 461963 h 468534"/>
                  <a:gd name="connsiteX64" fmla="*/ 232410 w 327659"/>
                  <a:gd name="connsiteY64" fmla="*/ 443865 h 468534"/>
                  <a:gd name="connsiteX65" fmla="*/ 239078 w 327659"/>
                  <a:gd name="connsiteY65" fmla="*/ 433388 h 468534"/>
                  <a:gd name="connsiteX66" fmla="*/ 236220 w 327659"/>
                  <a:gd name="connsiteY66" fmla="*/ 422910 h 468534"/>
                  <a:gd name="connsiteX67" fmla="*/ 232410 w 327659"/>
                  <a:gd name="connsiteY67" fmla="*/ 412337 h 468534"/>
                  <a:gd name="connsiteX68" fmla="*/ 158115 w 327659"/>
                  <a:gd name="connsiteY68" fmla="*/ 408622 h 468534"/>
                  <a:gd name="connsiteX69" fmla="*/ 151447 w 327659"/>
                  <a:gd name="connsiteY69" fmla="*/ 394335 h 468534"/>
                  <a:gd name="connsiteX70" fmla="*/ 130493 w 327659"/>
                  <a:gd name="connsiteY70" fmla="*/ 373285 h 468534"/>
                  <a:gd name="connsiteX71" fmla="*/ 112395 w 327659"/>
                  <a:gd name="connsiteY71" fmla="*/ 352425 h 468534"/>
                  <a:gd name="connsiteX72" fmla="*/ 87630 w 327659"/>
                  <a:gd name="connsiteY72" fmla="*/ 345662 h 468534"/>
                  <a:gd name="connsiteX73" fmla="*/ 66675 w 327659"/>
                  <a:gd name="connsiteY73" fmla="*/ 338138 h 468534"/>
                  <a:gd name="connsiteX74" fmla="*/ 45720 w 327659"/>
                  <a:gd name="connsiteY74" fmla="*/ 338138 h 468534"/>
                  <a:gd name="connsiteX75" fmla="*/ 27622 w 327659"/>
                  <a:gd name="connsiteY75" fmla="*/ 327660 h 468534"/>
                  <a:gd name="connsiteX76" fmla="*/ 0 w 327659"/>
                  <a:gd name="connsiteY76" fmla="*/ 310515 h 468534"/>
                  <a:gd name="connsiteX77" fmla="*/ 6668 w 327659"/>
                  <a:gd name="connsiteY77" fmla="*/ 296228 h 468534"/>
                  <a:gd name="connsiteX78" fmla="*/ 6668 w 327659"/>
                  <a:gd name="connsiteY78" fmla="*/ 278035 h 468534"/>
                  <a:gd name="connsiteX79" fmla="*/ 20955 w 327659"/>
                  <a:gd name="connsiteY79" fmla="*/ 278035 h 468534"/>
                  <a:gd name="connsiteX80" fmla="*/ 35243 w 327659"/>
                  <a:gd name="connsiteY80" fmla="*/ 267653 h 468534"/>
                  <a:gd name="connsiteX81" fmla="*/ 41910 w 327659"/>
                  <a:gd name="connsiteY81" fmla="*/ 242888 h 468534"/>
                  <a:gd name="connsiteX82" fmla="*/ 41910 w 327659"/>
                  <a:gd name="connsiteY82" fmla="*/ 218122 h 468534"/>
                  <a:gd name="connsiteX83" fmla="*/ 41910 w 327659"/>
                  <a:gd name="connsiteY83" fmla="*/ 193262 h 468534"/>
                  <a:gd name="connsiteX84" fmla="*/ 39053 w 327659"/>
                  <a:gd name="connsiteY84" fmla="*/ 168497 h 468534"/>
                  <a:gd name="connsiteX85" fmla="*/ 35243 w 327659"/>
                  <a:gd name="connsiteY85" fmla="*/ 158115 h 468534"/>
                  <a:gd name="connsiteX86" fmla="*/ 24765 w 327659"/>
                  <a:gd name="connsiteY86" fmla="*/ 140875 h 468534"/>
                  <a:gd name="connsiteX87" fmla="*/ 45720 w 327659"/>
                  <a:gd name="connsiteY87" fmla="*/ 126587 h 468534"/>
                  <a:gd name="connsiteX88" fmla="*/ 49530 w 327659"/>
                  <a:gd name="connsiteY88" fmla="*/ 116110 h 468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327659" h="468534">
                    <a:moveTo>
                      <a:pt x="49530" y="116110"/>
                    </a:moveTo>
                    <a:lnTo>
                      <a:pt x="52388" y="126587"/>
                    </a:lnTo>
                    <a:lnTo>
                      <a:pt x="60007" y="120015"/>
                    </a:lnTo>
                    <a:lnTo>
                      <a:pt x="60007" y="101822"/>
                    </a:lnTo>
                    <a:lnTo>
                      <a:pt x="77153" y="87535"/>
                    </a:lnTo>
                    <a:lnTo>
                      <a:pt x="87630" y="74200"/>
                    </a:lnTo>
                    <a:lnTo>
                      <a:pt x="91440" y="62865"/>
                    </a:lnTo>
                    <a:lnTo>
                      <a:pt x="95250" y="49435"/>
                    </a:lnTo>
                    <a:lnTo>
                      <a:pt x="120015" y="35147"/>
                    </a:lnTo>
                    <a:lnTo>
                      <a:pt x="130493" y="35147"/>
                    </a:lnTo>
                    <a:lnTo>
                      <a:pt x="137160" y="27622"/>
                    </a:lnTo>
                    <a:lnTo>
                      <a:pt x="155257" y="27622"/>
                    </a:lnTo>
                    <a:lnTo>
                      <a:pt x="168593" y="20860"/>
                    </a:lnTo>
                    <a:lnTo>
                      <a:pt x="182880" y="10478"/>
                    </a:lnTo>
                    <a:lnTo>
                      <a:pt x="193357" y="0"/>
                    </a:lnTo>
                    <a:lnTo>
                      <a:pt x="203835" y="0"/>
                    </a:lnTo>
                    <a:lnTo>
                      <a:pt x="211455" y="2762"/>
                    </a:lnTo>
                    <a:lnTo>
                      <a:pt x="207645" y="17050"/>
                    </a:lnTo>
                    <a:lnTo>
                      <a:pt x="197168" y="24765"/>
                    </a:lnTo>
                    <a:lnTo>
                      <a:pt x="186690" y="31337"/>
                    </a:lnTo>
                    <a:lnTo>
                      <a:pt x="168593" y="45625"/>
                    </a:lnTo>
                    <a:lnTo>
                      <a:pt x="161925" y="59912"/>
                    </a:lnTo>
                    <a:lnTo>
                      <a:pt x="158115" y="84772"/>
                    </a:lnTo>
                    <a:lnTo>
                      <a:pt x="161925" y="95250"/>
                    </a:lnTo>
                    <a:lnTo>
                      <a:pt x="168593" y="105728"/>
                    </a:lnTo>
                    <a:lnTo>
                      <a:pt x="176213" y="112300"/>
                    </a:lnTo>
                    <a:lnTo>
                      <a:pt x="179070" y="120015"/>
                    </a:lnTo>
                    <a:lnTo>
                      <a:pt x="179070" y="144685"/>
                    </a:lnTo>
                    <a:lnTo>
                      <a:pt x="190500" y="151447"/>
                    </a:lnTo>
                    <a:lnTo>
                      <a:pt x="239078" y="147638"/>
                    </a:lnTo>
                    <a:lnTo>
                      <a:pt x="260032" y="172403"/>
                    </a:lnTo>
                    <a:lnTo>
                      <a:pt x="309563" y="168497"/>
                    </a:lnTo>
                    <a:lnTo>
                      <a:pt x="320040" y="180022"/>
                    </a:lnTo>
                    <a:lnTo>
                      <a:pt x="309563" y="193262"/>
                    </a:lnTo>
                    <a:lnTo>
                      <a:pt x="309563" y="211360"/>
                    </a:lnTo>
                    <a:lnTo>
                      <a:pt x="309563" y="225647"/>
                    </a:lnTo>
                    <a:lnTo>
                      <a:pt x="309563" y="239935"/>
                    </a:lnTo>
                    <a:lnTo>
                      <a:pt x="313372" y="239935"/>
                    </a:lnTo>
                    <a:lnTo>
                      <a:pt x="317182" y="242888"/>
                    </a:lnTo>
                    <a:lnTo>
                      <a:pt x="317182" y="263747"/>
                    </a:lnTo>
                    <a:lnTo>
                      <a:pt x="317182" y="281940"/>
                    </a:lnTo>
                    <a:lnTo>
                      <a:pt x="323850" y="285750"/>
                    </a:lnTo>
                    <a:lnTo>
                      <a:pt x="327660" y="302800"/>
                    </a:lnTo>
                    <a:lnTo>
                      <a:pt x="313372" y="296228"/>
                    </a:lnTo>
                    <a:lnTo>
                      <a:pt x="306705" y="296228"/>
                    </a:lnTo>
                    <a:lnTo>
                      <a:pt x="295275" y="299085"/>
                    </a:lnTo>
                    <a:lnTo>
                      <a:pt x="263843" y="299085"/>
                    </a:lnTo>
                    <a:lnTo>
                      <a:pt x="246697" y="302800"/>
                    </a:lnTo>
                    <a:lnTo>
                      <a:pt x="246697" y="306610"/>
                    </a:lnTo>
                    <a:lnTo>
                      <a:pt x="242888" y="310515"/>
                    </a:lnTo>
                    <a:lnTo>
                      <a:pt x="246697" y="313372"/>
                    </a:lnTo>
                    <a:lnTo>
                      <a:pt x="257175" y="317087"/>
                    </a:lnTo>
                    <a:lnTo>
                      <a:pt x="267653" y="320897"/>
                    </a:lnTo>
                    <a:lnTo>
                      <a:pt x="267653" y="331375"/>
                    </a:lnTo>
                    <a:lnTo>
                      <a:pt x="257175" y="327660"/>
                    </a:lnTo>
                    <a:lnTo>
                      <a:pt x="249555" y="327660"/>
                    </a:lnTo>
                    <a:lnTo>
                      <a:pt x="246697" y="331375"/>
                    </a:lnTo>
                    <a:lnTo>
                      <a:pt x="246697" y="352425"/>
                    </a:lnTo>
                    <a:lnTo>
                      <a:pt x="257175" y="366713"/>
                    </a:lnTo>
                    <a:lnTo>
                      <a:pt x="260032" y="387572"/>
                    </a:lnTo>
                    <a:lnTo>
                      <a:pt x="257175" y="412337"/>
                    </a:lnTo>
                    <a:lnTo>
                      <a:pt x="253365" y="443865"/>
                    </a:lnTo>
                    <a:lnTo>
                      <a:pt x="242888" y="468535"/>
                    </a:lnTo>
                    <a:lnTo>
                      <a:pt x="232410" y="461963"/>
                    </a:lnTo>
                    <a:lnTo>
                      <a:pt x="232410" y="443865"/>
                    </a:lnTo>
                    <a:lnTo>
                      <a:pt x="239078" y="433388"/>
                    </a:lnTo>
                    <a:lnTo>
                      <a:pt x="236220" y="422910"/>
                    </a:lnTo>
                    <a:lnTo>
                      <a:pt x="232410" y="412337"/>
                    </a:lnTo>
                    <a:lnTo>
                      <a:pt x="158115" y="408622"/>
                    </a:lnTo>
                    <a:lnTo>
                      <a:pt x="151447" y="394335"/>
                    </a:lnTo>
                    <a:lnTo>
                      <a:pt x="130493" y="373285"/>
                    </a:lnTo>
                    <a:lnTo>
                      <a:pt x="112395" y="352425"/>
                    </a:lnTo>
                    <a:lnTo>
                      <a:pt x="87630" y="345662"/>
                    </a:lnTo>
                    <a:lnTo>
                      <a:pt x="66675" y="338138"/>
                    </a:lnTo>
                    <a:lnTo>
                      <a:pt x="45720" y="338138"/>
                    </a:lnTo>
                    <a:lnTo>
                      <a:pt x="27622" y="327660"/>
                    </a:lnTo>
                    <a:lnTo>
                      <a:pt x="0" y="310515"/>
                    </a:lnTo>
                    <a:lnTo>
                      <a:pt x="6668" y="296228"/>
                    </a:lnTo>
                    <a:lnTo>
                      <a:pt x="6668" y="278035"/>
                    </a:lnTo>
                    <a:lnTo>
                      <a:pt x="20955" y="278035"/>
                    </a:lnTo>
                    <a:lnTo>
                      <a:pt x="35243" y="267653"/>
                    </a:lnTo>
                    <a:lnTo>
                      <a:pt x="41910" y="242888"/>
                    </a:lnTo>
                    <a:lnTo>
                      <a:pt x="41910" y="218122"/>
                    </a:lnTo>
                    <a:lnTo>
                      <a:pt x="41910" y="193262"/>
                    </a:lnTo>
                    <a:lnTo>
                      <a:pt x="39053" y="168497"/>
                    </a:lnTo>
                    <a:lnTo>
                      <a:pt x="35243" y="158115"/>
                    </a:lnTo>
                    <a:lnTo>
                      <a:pt x="24765" y="140875"/>
                    </a:lnTo>
                    <a:lnTo>
                      <a:pt x="45720" y="126587"/>
                    </a:lnTo>
                    <a:lnTo>
                      <a:pt x="49530" y="1161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9F443724-ABA7-9A7D-E8D8-3F71DEC20D68}"/>
                  </a:ext>
                </a:extLst>
              </p:cNvPr>
              <p:cNvSpPr/>
              <p:nvPr/>
            </p:nvSpPr>
            <p:spPr>
              <a:xfrm>
                <a:off x="3783727" y="4510123"/>
                <a:ext cx="151262" cy="172740"/>
              </a:xfrm>
              <a:custGeom>
                <a:avLst/>
                <a:gdLst>
                  <a:gd name="connsiteX0" fmla="*/ 45720 w 154304"/>
                  <a:gd name="connsiteY0" fmla="*/ 176213 h 176212"/>
                  <a:gd name="connsiteX1" fmla="*/ 35242 w 154304"/>
                  <a:gd name="connsiteY1" fmla="*/ 165735 h 176212"/>
                  <a:gd name="connsiteX2" fmla="*/ 13335 w 154304"/>
                  <a:gd name="connsiteY2" fmla="*/ 154210 h 176212"/>
                  <a:gd name="connsiteX3" fmla="*/ 13335 w 154304"/>
                  <a:gd name="connsiteY3" fmla="*/ 133350 h 176212"/>
                  <a:gd name="connsiteX4" fmla="*/ 24765 w 154304"/>
                  <a:gd name="connsiteY4" fmla="*/ 126682 h 176212"/>
                  <a:gd name="connsiteX5" fmla="*/ 31432 w 154304"/>
                  <a:gd name="connsiteY5" fmla="*/ 112395 h 176212"/>
                  <a:gd name="connsiteX6" fmla="*/ 31432 w 154304"/>
                  <a:gd name="connsiteY6" fmla="*/ 101822 h 176212"/>
                  <a:gd name="connsiteX7" fmla="*/ 24765 w 154304"/>
                  <a:gd name="connsiteY7" fmla="*/ 101822 h 176212"/>
                  <a:gd name="connsiteX8" fmla="*/ 17145 w 154304"/>
                  <a:gd name="connsiteY8" fmla="*/ 108585 h 176212"/>
                  <a:gd name="connsiteX9" fmla="*/ 10477 w 154304"/>
                  <a:gd name="connsiteY9" fmla="*/ 108585 h 176212"/>
                  <a:gd name="connsiteX10" fmla="*/ 0 w 154304"/>
                  <a:gd name="connsiteY10" fmla="*/ 101822 h 176212"/>
                  <a:gd name="connsiteX11" fmla="*/ 0 w 154304"/>
                  <a:gd name="connsiteY11" fmla="*/ 83820 h 176212"/>
                  <a:gd name="connsiteX12" fmla="*/ 2858 w 154304"/>
                  <a:gd name="connsiteY12" fmla="*/ 66675 h 176212"/>
                  <a:gd name="connsiteX13" fmla="*/ 10477 w 154304"/>
                  <a:gd name="connsiteY13" fmla="*/ 45720 h 176212"/>
                  <a:gd name="connsiteX14" fmla="*/ 17145 w 154304"/>
                  <a:gd name="connsiteY14" fmla="*/ 31432 h 176212"/>
                  <a:gd name="connsiteX15" fmla="*/ 24765 w 154304"/>
                  <a:gd name="connsiteY15" fmla="*/ 20860 h 176212"/>
                  <a:gd name="connsiteX16" fmla="*/ 38100 w 154304"/>
                  <a:gd name="connsiteY16" fmla="*/ 10382 h 176212"/>
                  <a:gd name="connsiteX17" fmla="*/ 56197 w 154304"/>
                  <a:gd name="connsiteY17" fmla="*/ 0 h 176212"/>
                  <a:gd name="connsiteX18" fmla="*/ 101917 w 154304"/>
                  <a:gd name="connsiteY18" fmla="*/ 27622 h 176212"/>
                  <a:gd name="connsiteX19" fmla="*/ 122872 w 154304"/>
                  <a:gd name="connsiteY19" fmla="*/ 27622 h 176212"/>
                  <a:gd name="connsiteX20" fmla="*/ 154305 w 154304"/>
                  <a:gd name="connsiteY20" fmla="*/ 38100 h 176212"/>
                  <a:gd name="connsiteX21" fmla="*/ 151447 w 154304"/>
                  <a:gd name="connsiteY21" fmla="*/ 52388 h 176212"/>
                  <a:gd name="connsiteX22" fmla="*/ 151447 w 154304"/>
                  <a:gd name="connsiteY22" fmla="*/ 70485 h 176212"/>
                  <a:gd name="connsiteX23" fmla="*/ 143828 w 154304"/>
                  <a:gd name="connsiteY23" fmla="*/ 83820 h 176212"/>
                  <a:gd name="connsiteX24" fmla="*/ 133350 w 154304"/>
                  <a:gd name="connsiteY24" fmla="*/ 98107 h 176212"/>
                  <a:gd name="connsiteX25" fmla="*/ 119063 w 154304"/>
                  <a:gd name="connsiteY25" fmla="*/ 108585 h 176212"/>
                  <a:gd name="connsiteX26" fmla="*/ 91440 w 154304"/>
                  <a:gd name="connsiteY26" fmla="*/ 119063 h 176212"/>
                  <a:gd name="connsiteX27" fmla="*/ 80963 w 154304"/>
                  <a:gd name="connsiteY27" fmla="*/ 130397 h 176212"/>
                  <a:gd name="connsiteX28" fmla="*/ 70485 w 154304"/>
                  <a:gd name="connsiteY28" fmla="*/ 143732 h 176212"/>
                  <a:gd name="connsiteX29" fmla="*/ 62865 w 154304"/>
                  <a:gd name="connsiteY29" fmla="*/ 161925 h 176212"/>
                  <a:gd name="connsiteX30" fmla="*/ 45720 w 154304"/>
                  <a:gd name="connsiteY30" fmla="*/ 17621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54304" h="176212">
                    <a:moveTo>
                      <a:pt x="45720" y="176213"/>
                    </a:moveTo>
                    <a:lnTo>
                      <a:pt x="35242" y="165735"/>
                    </a:lnTo>
                    <a:lnTo>
                      <a:pt x="13335" y="154210"/>
                    </a:lnTo>
                    <a:lnTo>
                      <a:pt x="13335" y="133350"/>
                    </a:lnTo>
                    <a:lnTo>
                      <a:pt x="24765" y="126682"/>
                    </a:lnTo>
                    <a:lnTo>
                      <a:pt x="31432" y="112395"/>
                    </a:lnTo>
                    <a:lnTo>
                      <a:pt x="31432" y="101822"/>
                    </a:lnTo>
                    <a:lnTo>
                      <a:pt x="24765" y="101822"/>
                    </a:lnTo>
                    <a:lnTo>
                      <a:pt x="17145" y="108585"/>
                    </a:lnTo>
                    <a:lnTo>
                      <a:pt x="10477" y="108585"/>
                    </a:lnTo>
                    <a:lnTo>
                      <a:pt x="0" y="101822"/>
                    </a:lnTo>
                    <a:lnTo>
                      <a:pt x="0" y="83820"/>
                    </a:lnTo>
                    <a:lnTo>
                      <a:pt x="2858" y="66675"/>
                    </a:lnTo>
                    <a:lnTo>
                      <a:pt x="10477" y="45720"/>
                    </a:lnTo>
                    <a:lnTo>
                      <a:pt x="17145" y="31432"/>
                    </a:lnTo>
                    <a:lnTo>
                      <a:pt x="24765" y="20860"/>
                    </a:lnTo>
                    <a:lnTo>
                      <a:pt x="38100" y="10382"/>
                    </a:lnTo>
                    <a:lnTo>
                      <a:pt x="56197" y="0"/>
                    </a:lnTo>
                    <a:lnTo>
                      <a:pt x="101917" y="27622"/>
                    </a:lnTo>
                    <a:lnTo>
                      <a:pt x="122872" y="27622"/>
                    </a:lnTo>
                    <a:lnTo>
                      <a:pt x="154305" y="38100"/>
                    </a:lnTo>
                    <a:lnTo>
                      <a:pt x="151447" y="52388"/>
                    </a:lnTo>
                    <a:lnTo>
                      <a:pt x="151447" y="70485"/>
                    </a:lnTo>
                    <a:lnTo>
                      <a:pt x="143828" y="83820"/>
                    </a:lnTo>
                    <a:lnTo>
                      <a:pt x="133350" y="98107"/>
                    </a:lnTo>
                    <a:lnTo>
                      <a:pt x="119063" y="108585"/>
                    </a:lnTo>
                    <a:lnTo>
                      <a:pt x="91440" y="119063"/>
                    </a:lnTo>
                    <a:lnTo>
                      <a:pt x="80963" y="130397"/>
                    </a:lnTo>
                    <a:lnTo>
                      <a:pt x="70485" y="143732"/>
                    </a:lnTo>
                    <a:lnTo>
                      <a:pt x="62865" y="161925"/>
                    </a:lnTo>
                    <a:lnTo>
                      <a:pt x="45720" y="17621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34EA2169-14EB-F0C4-1BC6-9FAAEAABD866}"/>
                  </a:ext>
                </a:extLst>
              </p:cNvPr>
              <p:cNvSpPr/>
              <p:nvPr/>
            </p:nvSpPr>
            <p:spPr>
              <a:xfrm>
                <a:off x="4298209" y="4246811"/>
                <a:ext cx="34547" cy="28012"/>
              </a:xfrm>
              <a:custGeom>
                <a:avLst/>
                <a:gdLst>
                  <a:gd name="connsiteX0" fmla="*/ 20955 w 35242"/>
                  <a:gd name="connsiteY0" fmla="*/ 0 h 28575"/>
                  <a:gd name="connsiteX1" fmla="*/ 35242 w 35242"/>
                  <a:gd name="connsiteY1" fmla="*/ 0 h 28575"/>
                  <a:gd name="connsiteX2" fmla="*/ 31432 w 35242"/>
                  <a:gd name="connsiteY2" fmla="*/ 18002 h 28575"/>
                  <a:gd name="connsiteX3" fmla="*/ 24765 w 35242"/>
                  <a:gd name="connsiteY3" fmla="*/ 28575 h 28575"/>
                  <a:gd name="connsiteX4" fmla="*/ 0 w 35242"/>
                  <a:gd name="connsiteY4" fmla="*/ 24765 h 28575"/>
                  <a:gd name="connsiteX5" fmla="*/ 10477 w 35242"/>
                  <a:gd name="connsiteY5" fmla="*/ 10478 h 28575"/>
                  <a:gd name="connsiteX6" fmla="*/ 17145 w 35242"/>
                  <a:gd name="connsiteY6" fmla="*/ 10478 h 28575"/>
                  <a:gd name="connsiteX7" fmla="*/ 20955 w 35242"/>
                  <a:gd name="connsiteY7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42" h="28575">
                    <a:moveTo>
                      <a:pt x="20955" y="0"/>
                    </a:moveTo>
                    <a:lnTo>
                      <a:pt x="35242" y="0"/>
                    </a:lnTo>
                    <a:lnTo>
                      <a:pt x="31432" y="18002"/>
                    </a:lnTo>
                    <a:lnTo>
                      <a:pt x="24765" y="28575"/>
                    </a:lnTo>
                    <a:lnTo>
                      <a:pt x="0" y="24765"/>
                    </a:lnTo>
                    <a:lnTo>
                      <a:pt x="10477" y="10478"/>
                    </a:lnTo>
                    <a:lnTo>
                      <a:pt x="17145" y="10478"/>
                    </a:lnTo>
                    <a:lnTo>
                      <a:pt x="2095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E1E4CCA4-08CB-0792-92FC-CF0E3F15446D}"/>
                  </a:ext>
                </a:extLst>
              </p:cNvPr>
              <p:cNvSpPr/>
              <p:nvPr/>
            </p:nvSpPr>
            <p:spPr>
              <a:xfrm>
                <a:off x="4298209" y="4246811"/>
                <a:ext cx="34547" cy="28012"/>
              </a:xfrm>
              <a:custGeom>
                <a:avLst/>
                <a:gdLst>
                  <a:gd name="connsiteX0" fmla="*/ 20955 w 35242"/>
                  <a:gd name="connsiteY0" fmla="*/ 0 h 28575"/>
                  <a:gd name="connsiteX1" fmla="*/ 35242 w 35242"/>
                  <a:gd name="connsiteY1" fmla="*/ 0 h 28575"/>
                  <a:gd name="connsiteX2" fmla="*/ 31432 w 35242"/>
                  <a:gd name="connsiteY2" fmla="*/ 18002 h 28575"/>
                  <a:gd name="connsiteX3" fmla="*/ 24765 w 35242"/>
                  <a:gd name="connsiteY3" fmla="*/ 28575 h 28575"/>
                  <a:gd name="connsiteX4" fmla="*/ 0 w 35242"/>
                  <a:gd name="connsiteY4" fmla="*/ 24765 h 28575"/>
                  <a:gd name="connsiteX5" fmla="*/ 10477 w 35242"/>
                  <a:gd name="connsiteY5" fmla="*/ 10478 h 28575"/>
                  <a:gd name="connsiteX6" fmla="*/ 17145 w 35242"/>
                  <a:gd name="connsiteY6" fmla="*/ 10478 h 28575"/>
                  <a:gd name="connsiteX7" fmla="*/ 20955 w 35242"/>
                  <a:gd name="connsiteY7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42" h="28575">
                    <a:moveTo>
                      <a:pt x="20955" y="0"/>
                    </a:moveTo>
                    <a:lnTo>
                      <a:pt x="35242" y="0"/>
                    </a:lnTo>
                    <a:lnTo>
                      <a:pt x="31432" y="18002"/>
                    </a:lnTo>
                    <a:lnTo>
                      <a:pt x="24765" y="28575"/>
                    </a:lnTo>
                    <a:lnTo>
                      <a:pt x="0" y="24765"/>
                    </a:lnTo>
                    <a:lnTo>
                      <a:pt x="10477" y="10478"/>
                    </a:lnTo>
                    <a:lnTo>
                      <a:pt x="17145" y="10478"/>
                    </a:lnTo>
                    <a:lnTo>
                      <a:pt x="2095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E22A9814-F416-B8E2-069E-7CBCF7830155}"/>
                  </a:ext>
                </a:extLst>
              </p:cNvPr>
              <p:cNvSpPr/>
              <p:nvPr/>
            </p:nvSpPr>
            <p:spPr>
              <a:xfrm>
                <a:off x="3993814" y="4208435"/>
                <a:ext cx="362284" cy="318495"/>
              </a:xfrm>
              <a:custGeom>
                <a:avLst/>
                <a:gdLst>
                  <a:gd name="connsiteX0" fmla="*/ 78105 w 369569"/>
                  <a:gd name="connsiteY0" fmla="*/ 24860 h 324897"/>
                  <a:gd name="connsiteX1" fmla="*/ 80963 w 369569"/>
                  <a:gd name="connsiteY1" fmla="*/ 14288 h 324897"/>
                  <a:gd name="connsiteX2" fmla="*/ 80963 w 369569"/>
                  <a:gd name="connsiteY2" fmla="*/ 3810 h 324897"/>
                  <a:gd name="connsiteX3" fmla="*/ 88582 w 369569"/>
                  <a:gd name="connsiteY3" fmla="*/ 0 h 324897"/>
                  <a:gd name="connsiteX4" fmla="*/ 91440 w 369569"/>
                  <a:gd name="connsiteY4" fmla="*/ 7715 h 324897"/>
                  <a:gd name="connsiteX5" fmla="*/ 91440 w 369569"/>
                  <a:gd name="connsiteY5" fmla="*/ 22003 h 324897"/>
                  <a:gd name="connsiteX6" fmla="*/ 105728 w 369569"/>
                  <a:gd name="connsiteY6" fmla="*/ 24860 h 324897"/>
                  <a:gd name="connsiteX7" fmla="*/ 123825 w 369569"/>
                  <a:gd name="connsiteY7" fmla="*/ 28575 h 324897"/>
                  <a:gd name="connsiteX8" fmla="*/ 134303 w 369569"/>
                  <a:gd name="connsiteY8" fmla="*/ 39148 h 324897"/>
                  <a:gd name="connsiteX9" fmla="*/ 140970 w 369569"/>
                  <a:gd name="connsiteY9" fmla="*/ 42863 h 324897"/>
                  <a:gd name="connsiteX10" fmla="*/ 172403 w 369569"/>
                  <a:gd name="connsiteY10" fmla="*/ 49625 h 324897"/>
                  <a:gd name="connsiteX11" fmla="*/ 190500 w 369569"/>
                  <a:gd name="connsiteY11" fmla="*/ 49625 h 324897"/>
                  <a:gd name="connsiteX12" fmla="*/ 221932 w 369569"/>
                  <a:gd name="connsiteY12" fmla="*/ 63913 h 324897"/>
                  <a:gd name="connsiteX13" fmla="*/ 242888 w 369569"/>
                  <a:gd name="connsiteY13" fmla="*/ 57150 h 324897"/>
                  <a:gd name="connsiteX14" fmla="*/ 257175 w 369569"/>
                  <a:gd name="connsiteY14" fmla="*/ 49625 h 324897"/>
                  <a:gd name="connsiteX15" fmla="*/ 275272 w 369569"/>
                  <a:gd name="connsiteY15" fmla="*/ 46672 h 324897"/>
                  <a:gd name="connsiteX16" fmla="*/ 288607 w 369569"/>
                  <a:gd name="connsiteY16" fmla="*/ 49625 h 324897"/>
                  <a:gd name="connsiteX17" fmla="*/ 306705 w 369569"/>
                  <a:gd name="connsiteY17" fmla="*/ 49625 h 324897"/>
                  <a:gd name="connsiteX18" fmla="*/ 300038 w 369569"/>
                  <a:gd name="connsiteY18" fmla="*/ 53435 h 324897"/>
                  <a:gd name="connsiteX19" fmla="*/ 285750 w 369569"/>
                  <a:gd name="connsiteY19" fmla="*/ 57150 h 324897"/>
                  <a:gd name="connsiteX20" fmla="*/ 288607 w 369569"/>
                  <a:gd name="connsiteY20" fmla="*/ 71438 h 324897"/>
                  <a:gd name="connsiteX21" fmla="*/ 310515 w 369569"/>
                  <a:gd name="connsiteY21" fmla="*/ 71438 h 324897"/>
                  <a:gd name="connsiteX22" fmla="*/ 331470 w 369569"/>
                  <a:gd name="connsiteY22" fmla="*/ 74390 h 324897"/>
                  <a:gd name="connsiteX23" fmla="*/ 338138 w 369569"/>
                  <a:gd name="connsiteY23" fmla="*/ 82010 h 324897"/>
                  <a:gd name="connsiteX24" fmla="*/ 338138 w 369569"/>
                  <a:gd name="connsiteY24" fmla="*/ 92488 h 324897"/>
                  <a:gd name="connsiteX25" fmla="*/ 331470 w 369569"/>
                  <a:gd name="connsiteY25" fmla="*/ 99060 h 324897"/>
                  <a:gd name="connsiteX26" fmla="*/ 331470 w 369569"/>
                  <a:gd name="connsiteY26" fmla="*/ 109538 h 324897"/>
                  <a:gd name="connsiteX27" fmla="*/ 345757 w 369569"/>
                  <a:gd name="connsiteY27" fmla="*/ 106775 h 324897"/>
                  <a:gd name="connsiteX28" fmla="*/ 356235 w 369569"/>
                  <a:gd name="connsiteY28" fmla="*/ 102965 h 324897"/>
                  <a:gd name="connsiteX29" fmla="*/ 369570 w 369569"/>
                  <a:gd name="connsiteY29" fmla="*/ 109538 h 324897"/>
                  <a:gd name="connsiteX30" fmla="*/ 359092 w 369569"/>
                  <a:gd name="connsiteY30" fmla="*/ 123825 h 324897"/>
                  <a:gd name="connsiteX31" fmla="*/ 352425 w 369569"/>
                  <a:gd name="connsiteY31" fmla="*/ 134398 h 324897"/>
                  <a:gd name="connsiteX32" fmla="*/ 356235 w 369569"/>
                  <a:gd name="connsiteY32" fmla="*/ 148685 h 324897"/>
                  <a:gd name="connsiteX33" fmla="*/ 338138 w 369569"/>
                  <a:gd name="connsiteY33" fmla="*/ 159163 h 324897"/>
                  <a:gd name="connsiteX34" fmla="*/ 331470 w 369569"/>
                  <a:gd name="connsiteY34" fmla="*/ 169640 h 324897"/>
                  <a:gd name="connsiteX35" fmla="*/ 335280 w 369569"/>
                  <a:gd name="connsiteY35" fmla="*/ 183928 h 324897"/>
                  <a:gd name="connsiteX36" fmla="*/ 341947 w 369569"/>
                  <a:gd name="connsiteY36" fmla="*/ 194310 h 324897"/>
                  <a:gd name="connsiteX37" fmla="*/ 345757 w 369569"/>
                  <a:gd name="connsiteY37" fmla="*/ 204788 h 324897"/>
                  <a:gd name="connsiteX38" fmla="*/ 338138 w 369569"/>
                  <a:gd name="connsiteY38" fmla="*/ 222885 h 324897"/>
                  <a:gd name="connsiteX39" fmla="*/ 317182 w 369569"/>
                  <a:gd name="connsiteY39" fmla="*/ 229648 h 324897"/>
                  <a:gd name="connsiteX40" fmla="*/ 300038 w 369569"/>
                  <a:gd name="connsiteY40" fmla="*/ 233363 h 324897"/>
                  <a:gd name="connsiteX41" fmla="*/ 288607 w 369569"/>
                  <a:gd name="connsiteY41" fmla="*/ 240125 h 324897"/>
                  <a:gd name="connsiteX42" fmla="*/ 278130 w 369569"/>
                  <a:gd name="connsiteY42" fmla="*/ 240125 h 324897"/>
                  <a:gd name="connsiteX43" fmla="*/ 260985 w 369569"/>
                  <a:gd name="connsiteY43" fmla="*/ 237172 h 324897"/>
                  <a:gd name="connsiteX44" fmla="*/ 246697 w 369569"/>
                  <a:gd name="connsiteY44" fmla="*/ 229648 h 324897"/>
                  <a:gd name="connsiteX45" fmla="*/ 236220 w 369569"/>
                  <a:gd name="connsiteY45" fmla="*/ 233363 h 324897"/>
                  <a:gd name="connsiteX46" fmla="*/ 246697 w 369569"/>
                  <a:gd name="connsiteY46" fmla="*/ 243935 h 324897"/>
                  <a:gd name="connsiteX47" fmla="*/ 250507 w 369569"/>
                  <a:gd name="connsiteY47" fmla="*/ 260985 h 324897"/>
                  <a:gd name="connsiteX48" fmla="*/ 260985 w 369569"/>
                  <a:gd name="connsiteY48" fmla="*/ 275272 h 324897"/>
                  <a:gd name="connsiteX49" fmla="*/ 271463 w 369569"/>
                  <a:gd name="connsiteY49" fmla="*/ 275272 h 324897"/>
                  <a:gd name="connsiteX50" fmla="*/ 271463 w 369569"/>
                  <a:gd name="connsiteY50" fmla="*/ 282988 h 324897"/>
                  <a:gd name="connsiteX51" fmla="*/ 267653 w 369569"/>
                  <a:gd name="connsiteY51" fmla="*/ 293465 h 324897"/>
                  <a:gd name="connsiteX52" fmla="*/ 257175 w 369569"/>
                  <a:gd name="connsiteY52" fmla="*/ 293465 h 324897"/>
                  <a:gd name="connsiteX53" fmla="*/ 246697 w 369569"/>
                  <a:gd name="connsiteY53" fmla="*/ 296323 h 324897"/>
                  <a:gd name="connsiteX54" fmla="*/ 229553 w 369569"/>
                  <a:gd name="connsiteY54" fmla="*/ 318135 h 324897"/>
                  <a:gd name="connsiteX55" fmla="*/ 204788 w 369569"/>
                  <a:gd name="connsiteY55" fmla="*/ 324898 h 324897"/>
                  <a:gd name="connsiteX56" fmla="*/ 186690 w 369569"/>
                  <a:gd name="connsiteY56" fmla="*/ 321088 h 324897"/>
                  <a:gd name="connsiteX57" fmla="*/ 172403 w 369569"/>
                  <a:gd name="connsiteY57" fmla="*/ 307753 h 324897"/>
                  <a:gd name="connsiteX58" fmla="*/ 169545 w 369569"/>
                  <a:gd name="connsiteY58" fmla="*/ 300038 h 324897"/>
                  <a:gd name="connsiteX59" fmla="*/ 165735 w 369569"/>
                  <a:gd name="connsiteY59" fmla="*/ 282988 h 324897"/>
                  <a:gd name="connsiteX60" fmla="*/ 159067 w 369569"/>
                  <a:gd name="connsiteY60" fmla="*/ 279178 h 324897"/>
                  <a:gd name="connsiteX61" fmla="*/ 159067 w 369569"/>
                  <a:gd name="connsiteY61" fmla="*/ 240125 h 324897"/>
                  <a:gd name="connsiteX62" fmla="*/ 151447 w 369569"/>
                  <a:gd name="connsiteY62" fmla="*/ 237172 h 324897"/>
                  <a:gd name="connsiteX63" fmla="*/ 151447 w 369569"/>
                  <a:gd name="connsiteY63" fmla="*/ 190500 h 324897"/>
                  <a:gd name="connsiteX64" fmla="*/ 161925 w 369569"/>
                  <a:gd name="connsiteY64" fmla="*/ 177260 h 324897"/>
                  <a:gd name="connsiteX65" fmla="*/ 151447 w 369569"/>
                  <a:gd name="connsiteY65" fmla="*/ 165735 h 324897"/>
                  <a:gd name="connsiteX66" fmla="*/ 101917 w 369569"/>
                  <a:gd name="connsiteY66" fmla="*/ 169640 h 324897"/>
                  <a:gd name="connsiteX67" fmla="*/ 80963 w 369569"/>
                  <a:gd name="connsiteY67" fmla="*/ 144875 h 324897"/>
                  <a:gd name="connsiteX68" fmla="*/ 32385 w 369569"/>
                  <a:gd name="connsiteY68" fmla="*/ 148685 h 324897"/>
                  <a:gd name="connsiteX69" fmla="*/ 20955 w 369569"/>
                  <a:gd name="connsiteY69" fmla="*/ 141922 h 324897"/>
                  <a:gd name="connsiteX70" fmla="*/ 20955 w 369569"/>
                  <a:gd name="connsiteY70" fmla="*/ 117253 h 324897"/>
                  <a:gd name="connsiteX71" fmla="*/ 0 w 369569"/>
                  <a:gd name="connsiteY71" fmla="*/ 82010 h 324897"/>
                  <a:gd name="connsiteX72" fmla="*/ 3810 w 369569"/>
                  <a:gd name="connsiteY72" fmla="*/ 57150 h 324897"/>
                  <a:gd name="connsiteX73" fmla="*/ 14288 w 369569"/>
                  <a:gd name="connsiteY73" fmla="*/ 39148 h 324897"/>
                  <a:gd name="connsiteX74" fmla="*/ 32385 w 369569"/>
                  <a:gd name="connsiteY74" fmla="*/ 24860 h 324897"/>
                  <a:gd name="connsiteX75" fmla="*/ 39053 w 369569"/>
                  <a:gd name="connsiteY75" fmla="*/ 28575 h 324897"/>
                  <a:gd name="connsiteX76" fmla="*/ 39053 w 369569"/>
                  <a:gd name="connsiteY76" fmla="*/ 35338 h 324897"/>
                  <a:gd name="connsiteX77" fmla="*/ 39053 w 369569"/>
                  <a:gd name="connsiteY77" fmla="*/ 53435 h 324897"/>
                  <a:gd name="connsiteX78" fmla="*/ 28575 w 369569"/>
                  <a:gd name="connsiteY78" fmla="*/ 60103 h 324897"/>
                  <a:gd name="connsiteX79" fmla="*/ 32385 w 369569"/>
                  <a:gd name="connsiteY79" fmla="*/ 82010 h 324897"/>
                  <a:gd name="connsiteX80" fmla="*/ 39053 w 369569"/>
                  <a:gd name="connsiteY80" fmla="*/ 92488 h 324897"/>
                  <a:gd name="connsiteX81" fmla="*/ 53340 w 369569"/>
                  <a:gd name="connsiteY81" fmla="*/ 84772 h 324897"/>
                  <a:gd name="connsiteX82" fmla="*/ 60007 w 369569"/>
                  <a:gd name="connsiteY82" fmla="*/ 71438 h 324897"/>
                  <a:gd name="connsiteX83" fmla="*/ 53340 w 369569"/>
                  <a:gd name="connsiteY83" fmla="*/ 57150 h 324897"/>
                  <a:gd name="connsiteX84" fmla="*/ 49530 w 369569"/>
                  <a:gd name="connsiteY84" fmla="*/ 46672 h 324897"/>
                  <a:gd name="connsiteX85" fmla="*/ 56197 w 369569"/>
                  <a:gd name="connsiteY85" fmla="*/ 35338 h 324897"/>
                  <a:gd name="connsiteX86" fmla="*/ 66675 w 369569"/>
                  <a:gd name="connsiteY86" fmla="*/ 32385 h 324897"/>
                  <a:gd name="connsiteX87" fmla="*/ 78105 w 369569"/>
                  <a:gd name="connsiteY87" fmla="*/ 24860 h 324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</a:cxnLst>
                <a:rect l="l" t="t" r="r" b="b"/>
                <a:pathLst>
                  <a:path w="369569" h="324897">
                    <a:moveTo>
                      <a:pt x="78105" y="24860"/>
                    </a:moveTo>
                    <a:lnTo>
                      <a:pt x="80963" y="14288"/>
                    </a:lnTo>
                    <a:lnTo>
                      <a:pt x="80963" y="3810"/>
                    </a:lnTo>
                    <a:lnTo>
                      <a:pt x="88582" y="0"/>
                    </a:lnTo>
                    <a:lnTo>
                      <a:pt x="91440" y="7715"/>
                    </a:lnTo>
                    <a:lnTo>
                      <a:pt x="91440" y="22003"/>
                    </a:lnTo>
                    <a:lnTo>
                      <a:pt x="105728" y="24860"/>
                    </a:lnTo>
                    <a:lnTo>
                      <a:pt x="123825" y="28575"/>
                    </a:lnTo>
                    <a:lnTo>
                      <a:pt x="134303" y="39148"/>
                    </a:lnTo>
                    <a:lnTo>
                      <a:pt x="140970" y="42863"/>
                    </a:lnTo>
                    <a:lnTo>
                      <a:pt x="172403" y="49625"/>
                    </a:lnTo>
                    <a:lnTo>
                      <a:pt x="190500" y="49625"/>
                    </a:lnTo>
                    <a:lnTo>
                      <a:pt x="221932" y="63913"/>
                    </a:lnTo>
                    <a:lnTo>
                      <a:pt x="242888" y="57150"/>
                    </a:lnTo>
                    <a:lnTo>
                      <a:pt x="257175" y="49625"/>
                    </a:lnTo>
                    <a:lnTo>
                      <a:pt x="275272" y="46672"/>
                    </a:lnTo>
                    <a:lnTo>
                      <a:pt x="288607" y="49625"/>
                    </a:lnTo>
                    <a:lnTo>
                      <a:pt x="306705" y="49625"/>
                    </a:lnTo>
                    <a:lnTo>
                      <a:pt x="300038" y="53435"/>
                    </a:lnTo>
                    <a:lnTo>
                      <a:pt x="285750" y="57150"/>
                    </a:lnTo>
                    <a:lnTo>
                      <a:pt x="288607" y="71438"/>
                    </a:lnTo>
                    <a:lnTo>
                      <a:pt x="310515" y="71438"/>
                    </a:lnTo>
                    <a:lnTo>
                      <a:pt x="331470" y="74390"/>
                    </a:lnTo>
                    <a:lnTo>
                      <a:pt x="338138" y="82010"/>
                    </a:lnTo>
                    <a:lnTo>
                      <a:pt x="338138" y="92488"/>
                    </a:lnTo>
                    <a:lnTo>
                      <a:pt x="331470" y="99060"/>
                    </a:lnTo>
                    <a:lnTo>
                      <a:pt x="331470" y="109538"/>
                    </a:lnTo>
                    <a:lnTo>
                      <a:pt x="345757" y="106775"/>
                    </a:lnTo>
                    <a:lnTo>
                      <a:pt x="356235" y="102965"/>
                    </a:lnTo>
                    <a:lnTo>
                      <a:pt x="369570" y="109538"/>
                    </a:lnTo>
                    <a:lnTo>
                      <a:pt x="359092" y="123825"/>
                    </a:lnTo>
                    <a:lnTo>
                      <a:pt x="352425" y="134398"/>
                    </a:lnTo>
                    <a:lnTo>
                      <a:pt x="356235" y="148685"/>
                    </a:lnTo>
                    <a:lnTo>
                      <a:pt x="338138" y="159163"/>
                    </a:lnTo>
                    <a:lnTo>
                      <a:pt x="331470" y="169640"/>
                    </a:lnTo>
                    <a:lnTo>
                      <a:pt x="335280" y="183928"/>
                    </a:lnTo>
                    <a:lnTo>
                      <a:pt x="341947" y="194310"/>
                    </a:lnTo>
                    <a:lnTo>
                      <a:pt x="345757" y="204788"/>
                    </a:lnTo>
                    <a:lnTo>
                      <a:pt x="338138" y="222885"/>
                    </a:lnTo>
                    <a:lnTo>
                      <a:pt x="317182" y="229648"/>
                    </a:lnTo>
                    <a:lnTo>
                      <a:pt x="300038" y="233363"/>
                    </a:lnTo>
                    <a:lnTo>
                      <a:pt x="288607" y="240125"/>
                    </a:lnTo>
                    <a:lnTo>
                      <a:pt x="278130" y="240125"/>
                    </a:lnTo>
                    <a:lnTo>
                      <a:pt x="260985" y="237172"/>
                    </a:lnTo>
                    <a:lnTo>
                      <a:pt x="246697" y="229648"/>
                    </a:lnTo>
                    <a:lnTo>
                      <a:pt x="236220" y="233363"/>
                    </a:lnTo>
                    <a:lnTo>
                      <a:pt x="246697" y="243935"/>
                    </a:lnTo>
                    <a:lnTo>
                      <a:pt x="250507" y="260985"/>
                    </a:lnTo>
                    <a:lnTo>
                      <a:pt x="260985" y="275272"/>
                    </a:lnTo>
                    <a:lnTo>
                      <a:pt x="271463" y="275272"/>
                    </a:lnTo>
                    <a:lnTo>
                      <a:pt x="271463" y="282988"/>
                    </a:lnTo>
                    <a:lnTo>
                      <a:pt x="267653" y="293465"/>
                    </a:lnTo>
                    <a:lnTo>
                      <a:pt x="257175" y="293465"/>
                    </a:lnTo>
                    <a:lnTo>
                      <a:pt x="246697" y="296323"/>
                    </a:lnTo>
                    <a:lnTo>
                      <a:pt x="229553" y="318135"/>
                    </a:lnTo>
                    <a:lnTo>
                      <a:pt x="204788" y="324898"/>
                    </a:lnTo>
                    <a:lnTo>
                      <a:pt x="186690" y="321088"/>
                    </a:lnTo>
                    <a:lnTo>
                      <a:pt x="172403" y="307753"/>
                    </a:lnTo>
                    <a:lnTo>
                      <a:pt x="169545" y="300038"/>
                    </a:lnTo>
                    <a:lnTo>
                      <a:pt x="165735" y="282988"/>
                    </a:lnTo>
                    <a:lnTo>
                      <a:pt x="159067" y="279178"/>
                    </a:lnTo>
                    <a:lnTo>
                      <a:pt x="159067" y="240125"/>
                    </a:lnTo>
                    <a:lnTo>
                      <a:pt x="151447" y="237172"/>
                    </a:lnTo>
                    <a:lnTo>
                      <a:pt x="151447" y="190500"/>
                    </a:lnTo>
                    <a:lnTo>
                      <a:pt x="161925" y="177260"/>
                    </a:lnTo>
                    <a:lnTo>
                      <a:pt x="151447" y="165735"/>
                    </a:lnTo>
                    <a:lnTo>
                      <a:pt x="101917" y="169640"/>
                    </a:lnTo>
                    <a:lnTo>
                      <a:pt x="80963" y="144875"/>
                    </a:lnTo>
                    <a:lnTo>
                      <a:pt x="32385" y="148685"/>
                    </a:lnTo>
                    <a:lnTo>
                      <a:pt x="20955" y="141922"/>
                    </a:lnTo>
                    <a:lnTo>
                      <a:pt x="20955" y="117253"/>
                    </a:lnTo>
                    <a:lnTo>
                      <a:pt x="0" y="82010"/>
                    </a:lnTo>
                    <a:lnTo>
                      <a:pt x="3810" y="57150"/>
                    </a:lnTo>
                    <a:lnTo>
                      <a:pt x="14288" y="39148"/>
                    </a:lnTo>
                    <a:lnTo>
                      <a:pt x="32385" y="24860"/>
                    </a:lnTo>
                    <a:lnTo>
                      <a:pt x="39053" y="28575"/>
                    </a:lnTo>
                    <a:lnTo>
                      <a:pt x="39053" y="35338"/>
                    </a:lnTo>
                    <a:lnTo>
                      <a:pt x="39053" y="53435"/>
                    </a:lnTo>
                    <a:lnTo>
                      <a:pt x="28575" y="60103"/>
                    </a:lnTo>
                    <a:lnTo>
                      <a:pt x="32385" y="82010"/>
                    </a:lnTo>
                    <a:lnTo>
                      <a:pt x="39053" y="92488"/>
                    </a:lnTo>
                    <a:lnTo>
                      <a:pt x="53340" y="84772"/>
                    </a:lnTo>
                    <a:lnTo>
                      <a:pt x="60007" y="71438"/>
                    </a:lnTo>
                    <a:lnTo>
                      <a:pt x="53340" y="57150"/>
                    </a:lnTo>
                    <a:lnTo>
                      <a:pt x="49530" y="46672"/>
                    </a:lnTo>
                    <a:lnTo>
                      <a:pt x="56197" y="35338"/>
                    </a:lnTo>
                    <a:lnTo>
                      <a:pt x="66675" y="32385"/>
                    </a:lnTo>
                    <a:lnTo>
                      <a:pt x="78105" y="2486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FBE7D6A9-9597-1894-516B-9D5CCCF2613D}"/>
                  </a:ext>
                </a:extLst>
              </p:cNvPr>
              <p:cNvSpPr/>
              <p:nvPr/>
            </p:nvSpPr>
            <p:spPr>
              <a:xfrm>
                <a:off x="4318750" y="4315814"/>
                <a:ext cx="120450" cy="197110"/>
              </a:xfrm>
              <a:custGeom>
                <a:avLst/>
                <a:gdLst>
                  <a:gd name="connsiteX0" fmla="*/ 73343 w 122872"/>
                  <a:gd name="connsiteY0" fmla="*/ 53435 h 201072"/>
                  <a:gd name="connsiteX1" fmla="*/ 87630 w 122872"/>
                  <a:gd name="connsiteY1" fmla="*/ 42863 h 201072"/>
                  <a:gd name="connsiteX2" fmla="*/ 101918 w 122872"/>
                  <a:gd name="connsiteY2" fmla="*/ 53435 h 201072"/>
                  <a:gd name="connsiteX3" fmla="*/ 116205 w 122872"/>
                  <a:gd name="connsiteY3" fmla="*/ 70485 h 201072"/>
                  <a:gd name="connsiteX4" fmla="*/ 112395 w 122872"/>
                  <a:gd name="connsiteY4" fmla="*/ 84772 h 201072"/>
                  <a:gd name="connsiteX5" fmla="*/ 105728 w 122872"/>
                  <a:gd name="connsiteY5" fmla="*/ 95250 h 201072"/>
                  <a:gd name="connsiteX6" fmla="*/ 95250 w 122872"/>
                  <a:gd name="connsiteY6" fmla="*/ 109538 h 201072"/>
                  <a:gd name="connsiteX7" fmla="*/ 91440 w 122872"/>
                  <a:gd name="connsiteY7" fmla="*/ 127635 h 201072"/>
                  <a:gd name="connsiteX8" fmla="*/ 98108 w 122872"/>
                  <a:gd name="connsiteY8" fmla="*/ 134398 h 201072"/>
                  <a:gd name="connsiteX9" fmla="*/ 105728 w 122872"/>
                  <a:gd name="connsiteY9" fmla="*/ 144875 h 201072"/>
                  <a:gd name="connsiteX10" fmla="*/ 112395 w 122872"/>
                  <a:gd name="connsiteY10" fmla="*/ 151447 h 201072"/>
                  <a:gd name="connsiteX11" fmla="*/ 116205 w 122872"/>
                  <a:gd name="connsiteY11" fmla="*/ 159163 h 201072"/>
                  <a:gd name="connsiteX12" fmla="*/ 122872 w 122872"/>
                  <a:gd name="connsiteY12" fmla="*/ 176213 h 201072"/>
                  <a:gd name="connsiteX13" fmla="*/ 116205 w 122872"/>
                  <a:gd name="connsiteY13" fmla="*/ 183928 h 201072"/>
                  <a:gd name="connsiteX14" fmla="*/ 101918 w 122872"/>
                  <a:gd name="connsiteY14" fmla="*/ 190500 h 201072"/>
                  <a:gd name="connsiteX15" fmla="*/ 91440 w 122872"/>
                  <a:gd name="connsiteY15" fmla="*/ 198215 h 201072"/>
                  <a:gd name="connsiteX16" fmla="*/ 73343 w 122872"/>
                  <a:gd name="connsiteY16" fmla="*/ 201073 h 201072"/>
                  <a:gd name="connsiteX17" fmla="*/ 60008 w 122872"/>
                  <a:gd name="connsiteY17" fmla="*/ 201073 h 201072"/>
                  <a:gd name="connsiteX18" fmla="*/ 45720 w 122872"/>
                  <a:gd name="connsiteY18" fmla="*/ 186785 h 201072"/>
                  <a:gd name="connsiteX19" fmla="*/ 35243 w 122872"/>
                  <a:gd name="connsiteY19" fmla="*/ 173450 h 201072"/>
                  <a:gd name="connsiteX20" fmla="*/ 35243 w 122872"/>
                  <a:gd name="connsiteY20" fmla="*/ 159163 h 201072"/>
                  <a:gd name="connsiteX21" fmla="*/ 35243 w 122872"/>
                  <a:gd name="connsiteY21" fmla="*/ 138113 h 201072"/>
                  <a:gd name="connsiteX22" fmla="*/ 45720 w 122872"/>
                  <a:gd name="connsiteY22" fmla="*/ 127635 h 201072"/>
                  <a:gd name="connsiteX23" fmla="*/ 38100 w 122872"/>
                  <a:gd name="connsiteY23" fmla="*/ 109538 h 201072"/>
                  <a:gd name="connsiteX24" fmla="*/ 31433 w 122872"/>
                  <a:gd name="connsiteY24" fmla="*/ 88678 h 201072"/>
                  <a:gd name="connsiteX25" fmla="*/ 10478 w 122872"/>
                  <a:gd name="connsiteY25" fmla="*/ 88678 h 201072"/>
                  <a:gd name="connsiteX26" fmla="*/ 3810 w 122872"/>
                  <a:gd name="connsiteY26" fmla="*/ 74390 h 201072"/>
                  <a:gd name="connsiteX27" fmla="*/ 0 w 122872"/>
                  <a:gd name="connsiteY27" fmla="*/ 60103 h 201072"/>
                  <a:gd name="connsiteX28" fmla="*/ 6668 w 122872"/>
                  <a:gd name="connsiteY28" fmla="*/ 49625 h 201072"/>
                  <a:gd name="connsiteX29" fmla="*/ 24765 w 122872"/>
                  <a:gd name="connsiteY29" fmla="*/ 39148 h 201072"/>
                  <a:gd name="connsiteX30" fmla="*/ 20955 w 122872"/>
                  <a:gd name="connsiteY30" fmla="*/ 24860 h 201072"/>
                  <a:gd name="connsiteX31" fmla="*/ 27622 w 122872"/>
                  <a:gd name="connsiteY31" fmla="*/ 14288 h 201072"/>
                  <a:gd name="connsiteX32" fmla="*/ 38100 w 122872"/>
                  <a:gd name="connsiteY32" fmla="*/ 0 h 201072"/>
                  <a:gd name="connsiteX33" fmla="*/ 49530 w 122872"/>
                  <a:gd name="connsiteY33" fmla="*/ 3810 h 201072"/>
                  <a:gd name="connsiteX34" fmla="*/ 60008 w 122872"/>
                  <a:gd name="connsiteY34" fmla="*/ 10573 h 201072"/>
                  <a:gd name="connsiteX35" fmla="*/ 73343 w 122872"/>
                  <a:gd name="connsiteY35" fmla="*/ 21050 h 201072"/>
                  <a:gd name="connsiteX36" fmla="*/ 77153 w 122872"/>
                  <a:gd name="connsiteY36" fmla="*/ 28575 h 201072"/>
                  <a:gd name="connsiteX37" fmla="*/ 77153 w 122872"/>
                  <a:gd name="connsiteY37" fmla="*/ 39148 h 201072"/>
                  <a:gd name="connsiteX38" fmla="*/ 73343 w 122872"/>
                  <a:gd name="connsiteY38" fmla="*/ 53435 h 201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22872" h="201072">
                    <a:moveTo>
                      <a:pt x="73343" y="53435"/>
                    </a:moveTo>
                    <a:lnTo>
                      <a:pt x="87630" y="42863"/>
                    </a:lnTo>
                    <a:lnTo>
                      <a:pt x="101918" y="53435"/>
                    </a:lnTo>
                    <a:lnTo>
                      <a:pt x="116205" y="70485"/>
                    </a:lnTo>
                    <a:lnTo>
                      <a:pt x="112395" y="84772"/>
                    </a:lnTo>
                    <a:lnTo>
                      <a:pt x="105728" y="95250"/>
                    </a:lnTo>
                    <a:lnTo>
                      <a:pt x="95250" y="109538"/>
                    </a:lnTo>
                    <a:lnTo>
                      <a:pt x="91440" y="127635"/>
                    </a:lnTo>
                    <a:lnTo>
                      <a:pt x="98108" y="134398"/>
                    </a:lnTo>
                    <a:lnTo>
                      <a:pt x="105728" y="144875"/>
                    </a:lnTo>
                    <a:lnTo>
                      <a:pt x="112395" y="151447"/>
                    </a:lnTo>
                    <a:lnTo>
                      <a:pt x="116205" y="159163"/>
                    </a:lnTo>
                    <a:lnTo>
                      <a:pt x="122872" y="176213"/>
                    </a:lnTo>
                    <a:lnTo>
                      <a:pt x="116205" y="183928"/>
                    </a:lnTo>
                    <a:lnTo>
                      <a:pt x="101918" y="190500"/>
                    </a:lnTo>
                    <a:lnTo>
                      <a:pt x="91440" y="198215"/>
                    </a:lnTo>
                    <a:lnTo>
                      <a:pt x="73343" y="201073"/>
                    </a:lnTo>
                    <a:lnTo>
                      <a:pt x="60008" y="201073"/>
                    </a:lnTo>
                    <a:lnTo>
                      <a:pt x="45720" y="186785"/>
                    </a:lnTo>
                    <a:lnTo>
                      <a:pt x="35243" y="173450"/>
                    </a:lnTo>
                    <a:lnTo>
                      <a:pt x="35243" y="159163"/>
                    </a:lnTo>
                    <a:lnTo>
                      <a:pt x="35243" y="138113"/>
                    </a:lnTo>
                    <a:lnTo>
                      <a:pt x="45720" y="127635"/>
                    </a:lnTo>
                    <a:lnTo>
                      <a:pt x="38100" y="109538"/>
                    </a:lnTo>
                    <a:lnTo>
                      <a:pt x="31433" y="88678"/>
                    </a:lnTo>
                    <a:lnTo>
                      <a:pt x="10478" y="88678"/>
                    </a:lnTo>
                    <a:lnTo>
                      <a:pt x="3810" y="74390"/>
                    </a:lnTo>
                    <a:lnTo>
                      <a:pt x="0" y="60103"/>
                    </a:lnTo>
                    <a:lnTo>
                      <a:pt x="6668" y="49625"/>
                    </a:lnTo>
                    <a:lnTo>
                      <a:pt x="24765" y="39148"/>
                    </a:lnTo>
                    <a:lnTo>
                      <a:pt x="20955" y="24860"/>
                    </a:lnTo>
                    <a:lnTo>
                      <a:pt x="27622" y="14288"/>
                    </a:lnTo>
                    <a:lnTo>
                      <a:pt x="38100" y="0"/>
                    </a:lnTo>
                    <a:lnTo>
                      <a:pt x="49530" y="3810"/>
                    </a:lnTo>
                    <a:lnTo>
                      <a:pt x="60008" y="10573"/>
                    </a:lnTo>
                    <a:lnTo>
                      <a:pt x="73343" y="21050"/>
                    </a:lnTo>
                    <a:lnTo>
                      <a:pt x="77153" y="28575"/>
                    </a:lnTo>
                    <a:lnTo>
                      <a:pt x="77153" y="39148"/>
                    </a:lnTo>
                    <a:lnTo>
                      <a:pt x="73343" y="5343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0C35D61D-D67B-A3A6-158B-651CC73878DF}"/>
                  </a:ext>
                </a:extLst>
              </p:cNvPr>
              <p:cNvSpPr/>
              <p:nvPr/>
            </p:nvSpPr>
            <p:spPr>
              <a:xfrm>
                <a:off x="4501760" y="4388738"/>
                <a:ext cx="82167" cy="103551"/>
              </a:xfrm>
              <a:custGeom>
                <a:avLst/>
                <a:gdLst>
                  <a:gd name="connsiteX0" fmla="*/ 10478 w 83819"/>
                  <a:gd name="connsiteY0" fmla="*/ 0 h 105632"/>
                  <a:gd name="connsiteX1" fmla="*/ 27622 w 83819"/>
                  <a:gd name="connsiteY1" fmla="*/ 3810 h 105632"/>
                  <a:gd name="connsiteX2" fmla="*/ 49530 w 83819"/>
                  <a:gd name="connsiteY2" fmla="*/ 10382 h 105632"/>
                  <a:gd name="connsiteX3" fmla="*/ 66675 w 83819"/>
                  <a:gd name="connsiteY3" fmla="*/ 20860 h 105632"/>
                  <a:gd name="connsiteX4" fmla="*/ 77153 w 83819"/>
                  <a:gd name="connsiteY4" fmla="*/ 35147 h 105632"/>
                  <a:gd name="connsiteX5" fmla="*/ 83820 w 83819"/>
                  <a:gd name="connsiteY5" fmla="*/ 45720 h 105632"/>
                  <a:gd name="connsiteX6" fmla="*/ 73343 w 83819"/>
                  <a:gd name="connsiteY6" fmla="*/ 60007 h 105632"/>
                  <a:gd name="connsiteX7" fmla="*/ 62865 w 83819"/>
                  <a:gd name="connsiteY7" fmla="*/ 80963 h 105632"/>
                  <a:gd name="connsiteX8" fmla="*/ 52388 w 83819"/>
                  <a:gd name="connsiteY8" fmla="*/ 105632 h 105632"/>
                  <a:gd name="connsiteX9" fmla="*/ 41910 w 83819"/>
                  <a:gd name="connsiteY9" fmla="*/ 99060 h 105632"/>
                  <a:gd name="connsiteX10" fmla="*/ 24765 w 83819"/>
                  <a:gd name="connsiteY10" fmla="*/ 95250 h 105632"/>
                  <a:gd name="connsiteX11" fmla="*/ 14288 w 83819"/>
                  <a:gd name="connsiteY11" fmla="*/ 101822 h 105632"/>
                  <a:gd name="connsiteX12" fmla="*/ 2857 w 83819"/>
                  <a:gd name="connsiteY12" fmla="*/ 101822 h 105632"/>
                  <a:gd name="connsiteX13" fmla="*/ 2857 w 83819"/>
                  <a:gd name="connsiteY13" fmla="*/ 88582 h 105632"/>
                  <a:gd name="connsiteX14" fmla="*/ 10478 w 83819"/>
                  <a:gd name="connsiteY14" fmla="*/ 63722 h 105632"/>
                  <a:gd name="connsiteX15" fmla="*/ 17145 w 83819"/>
                  <a:gd name="connsiteY15" fmla="*/ 49435 h 105632"/>
                  <a:gd name="connsiteX16" fmla="*/ 6668 w 83819"/>
                  <a:gd name="connsiteY16" fmla="*/ 41910 h 105632"/>
                  <a:gd name="connsiteX17" fmla="*/ 0 w 83819"/>
                  <a:gd name="connsiteY17" fmla="*/ 31432 h 105632"/>
                  <a:gd name="connsiteX18" fmla="*/ 0 w 83819"/>
                  <a:gd name="connsiteY18" fmla="*/ 20860 h 105632"/>
                  <a:gd name="connsiteX19" fmla="*/ 2857 w 83819"/>
                  <a:gd name="connsiteY19" fmla="*/ 10382 h 105632"/>
                  <a:gd name="connsiteX20" fmla="*/ 10478 w 83819"/>
                  <a:gd name="connsiteY20" fmla="*/ 0 h 105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83819" h="105632">
                    <a:moveTo>
                      <a:pt x="10478" y="0"/>
                    </a:moveTo>
                    <a:lnTo>
                      <a:pt x="27622" y="3810"/>
                    </a:lnTo>
                    <a:lnTo>
                      <a:pt x="49530" y="10382"/>
                    </a:lnTo>
                    <a:lnTo>
                      <a:pt x="66675" y="20860"/>
                    </a:lnTo>
                    <a:lnTo>
                      <a:pt x="77153" y="35147"/>
                    </a:lnTo>
                    <a:lnTo>
                      <a:pt x="83820" y="45720"/>
                    </a:lnTo>
                    <a:lnTo>
                      <a:pt x="73343" y="60007"/>
                    </a:lnTo>
                    <a:lnTo>
                      <a:pt x="62865" y="80963"/>
                    </a:lnTo>
                    <a:lnTo>
                      <a:pt x="52388" y="105632"/>
                    </a:lnTo>
                    <a:lnTo>
                      <a:pt x="41910" y="99060"/>
                    </a:lnTo>
                    <a:lnTo>
                      <a:pt x="24765" y="95250"/>
                    </a:lnTo>
                    <a:lnTo>
                      <a:pt x="14288" y="101822"/>
                    </a:lnTo>
                    <a:lnTo>
                      <a:pt x="2857" y="101822"/>
                    </a:lnTo>
                    <a:lnTo>
                      <a:pt x="2857" y="88582"/>
                    </a:lnTo>
                    <a:lnTo>
                      <a:pt x="10478" y="63722"/>
                    </a:lnTo>
                    <a:lnTo>
                      <a:pt x="17145" y="49435"/>
                    </a:lnTo>
                    <a:lnTo>
                      <a:pt x="6668" y="41910"/>
                    </a:lnTo>
                    <a:lnTo>
                      <a:pt x="0" y="31432"/>
                    </a:lnTo>
                    <a:lnTo>
                      <a:pt x="0" y="20860"/>
                    </a:lnTo>
                    <a:lnTo>
                      <a:pt x="2857" y="10382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4C6F9873-56F7-44F4-CAE3-7BA639EBB147}"/>
                  </a:ext>
                </a:extLst>
              </p:cNvPr>
              <p:cNvSpPr/>
              <p:nvPr/>
            </p:nvSpPr>
            <p:spPr>
              <a:xfrm>
                <a:off x="4408388" y="4384910"/>
                <a:ext cx="110178" cy="111207"/>
              </a:xfrm>
              <a:custGeom>
                <a:avLst/>
                <a:gdLst>
                  <a:gd name="connsiteX0" fmla="*/ 24765 w 112394"/>
                  <a:gd name="connsiteY0" fmla="*/ 0 h 113442"/>
                  <a:gd name="connsiteX1" fmla="*/ 39053 w 112394"/>
                  <a:gd name="connsiteY1" fmla="*/ 0 h 113442"/>
                  <a:gd name="connsiteX2" fmla="*/ 56197 w 112394"/>
                  <a:gd name="connsiteY2" fmla="*/ 3905 h 113442"/>
                  <a:gd name="connsiteX3" fmla="*/ 62865 w 112394"/>
                  <a:gd name="connsiteY3" fmla="*/ 3905 h 113442"/>
                  <a:gd name="connsiteX4" fmla="*/ 74295 w 112394"/>
                  <a:gd name="connsiteY4" fmla="*/ 3905 h 113442"/>
                  <a:gd name="connsiteX5" fmla="*/ 84772 w 112394"/>
                  <a:gd name="connsiteY5" fmla="*/ 3905 h 113442"/>
                  <a:gd name="connsiteX6" fmla="*/ 95250 w 112394"/>
                  <a:gd name="connsiteY6" fmla="*/ 3905 h 113442"/>
                  <a:gd name="connsiteX7" fmla="*/ 105728 w 112394"/>
                  <a:gd name="connsiteY7" fmla="*/ 3905 h 113442"/>
                  <a:gd name="connsiteX8" fmla="*/ 95250 w 112394"/>
                  <a:gd name="connsiteY8" fmla="*/ 24765 h 113442"/>
                  <a:gd name="connsiteX9" fmla="*/ 95250 w 112394"/>
                  <a:gd name="connsiteY9" fmla="*/ 35338 h 113442"/>
                  <a:gd name="connsiteX10" fmla="*/ 101918 w 112394"/>
                  <a:gd name="connsiteY10" fmla="*/ 45815 h 113442"/>
                  <a:gd name="connsiteX11" fmla="*/ 112395 w 112394"/>
                  <a:gd name="connsiteY11" fmla="*/ 53340 h 113442"/>
                  <a:gd name="connsiteX12" fmla="*/ 98107 w 112394"/>
                  <a:gd name="connsiteY12" fmla="*/ 92488 h 113442"/>
                  <a:gd name="connsiteX13" fmla="*/ 98107 w 112394"/>
                  <a:gd name="connsiteY13" fmla="*/ 105728 h 113442"/>
                  <a:gd name="connsiteX14" fmla="*/ 87630 w 112394"/>
                  <a:gd name="connsiteY14" fmla="*/ 102965 h 113442"/>
                  <a:gd name="connsiteX15" fmla="*/ 74295 w 112394"/>
                  <a:gd name="connsiteY15" fmla="*/ 99155 h 113442"/>
                  <a:gd name="connsiteX16" fmla="*/ 62865 w 112394"/>
                  <a:gd name="connsiteY16" fmla="*/ 95250 h 113442"/>
                  <a:gd name="connsiteX17" fmla="*/ 56197 w 112394"/>
                  <a:gd name="connsiteY17" fmla="*/ 95250 h 113442"/>
                  <a:gd name="connsiteX18" fmla="*/ 56197 w 112394"/>
                  <a:gd name="connsiteY18" fmla="*/ 105728 h 113442"/>
                  <a:gd name="connsiteX19" fmla="*/ 52388 w 112394"/>
                  <a:gd name="connsiteY19" fmla="*/ 113443 h 113442"/>
                  <a:gd name="connsiteX20" fmla="*/ 49530 w 112394"/>
                  <a:gd name="connsiteY20" fmla="*/ 113443 h 113442"/>
                  <a:gd name="connsiteX21" fmla="*/ 39053 w 112394"/>
                  <a:gd name="connsiteY21" fmla="*/ 113443 h 113442"/>
                  <a:gd name="connsiteX22" fmla="*/ 31432 w 112394"/>
                  <a:gd name="connsiteY22" fmla="*/ 105728 h 113442"/>
                  <a:gd name="connsiteX23" fmla="*/ 20955 w 112394"/>
                  <a:gd name="connsiteY23" fmla="*/ 80963 h 113442"/>
                  <a:gd name="connsiteX24" fmla="*/ 0 w 112394"/>
                  <a:gd name="connsiteY24" fmla="*/ 57150 h 113442"/>
                  <a:gd name="connsiteX25" fmla="*/ 3810 w 112394"/>
                  <a:gd name="connsiteY25" fmla="*/ 39053 h 113442"/>
                  <a:gd name="connsiteX26" fmla="*/ 14288 w 112394"/>
                  <a:gd name="connsiteY26" fmla="*/ 24765 h 113442"/>
                  <a:gd name="connsiteX27" fmla="*/ 20955 w 112394"/>
                  <a:gd name="connsiteY27" fmla="*/ 14288 h 113442"/>
                  <a:gd name="connsiteX28" fmla="*/ 24765 w 112394"/>
                  <a:gd name="connsiteY28" fmla="*/ 0 h 113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112394" h="113442">
                    <a:moveTo>
                      <a:pt x="24765" y="0"/>
                    </a:moveTo>
                    <a:lnTo>
                      <a:pt x="39053" y="0"/>
                    </a:lnTo>
                    <a:lnTo>
                      <a:pt x="56197" y="3905"/>
                    </a:lnTo>
                    <a:lnTo>
                      <a:pt x="62865" y="3905"/>
                    </a:lnTo>
                    <a:lnTo>
                      <a:pt x="74295" y="3905"/>
                    </a:lnTo>
                    <a:lnTo>
                      <a:pt x="84772" y="3905"/>
                    </a:lnTo>
                    <a:lnTo>
                      <a:pt x="95250" y="3905"/>
                    </a:lnTo>
                    <a:lnTo>
                      <a:pt x="105728" y="3905"/>
                    </a:lnTo>
                    <a:lnTo>
                      <a:pt x="95250" y="24765"/>
                    </a:lnTo>
                    <a:lnTo>
                      <a:pt x="95250" y="35338"/>
                    </a:lnTo>
                    <a:lnTo>
                      <a:pt x="101918" y="45815"/>
                    </a:lnTo>
                    <a:lnTo>
                      <a:pt x="112395" y="53340"/>
                    </a:lnTo>
                    <a:lnTo>
                      <a:pt x="98107" y="92488"/>
                    </a:lnTo>
                    <a:lnTo>
                      <a:pt x="98107" y="105728"/>
                    </a:lnTo>
                    <a:lnTo>
                      <a:pt x="87630" y="102965"/>
                    </a:lnTo>
                    <a:lnTo>
                      <a:pt x="74295" y="99155"/>
                    </a:lnTo>
                    <a:lnTo>
                      <a:pt x="62865" y="95250"/>
                    </a:lnTo>
                    <a:lnTo>
                      <a:pt x="56197" y="95250"/>
                    </a:lnTo>
                    <a:lnTo>
                      <a:pt x="56197" y="105728"/>
                    </a:lnTo>
                    <a:lnTo>
                      <a:pt x="52388" y="113443"/>
                    </a:lnTo>
                    <a:lnTo>
                      <a:pt x="49530" y="113443"/>
                    </a:lnTo>
                    <a:lnTo>
                      <a:pt x="39053" y="113443"/>
                    </a:lnTo>
                    <a:lnTo>
                      <a:pt x="31432" y="105728"/>
                    </a:lnTo>
                    <a:lnTo>
                      <a:pt x="20955" y="80963"/>
                    </a:lnTo>
                    <a:lnTo>
                      <a:pt x="0" y="57150"/>
                    </a:lnTo>
                    <a:lnTo>
                      <a:pt x="3810" y="39053"/>
                    </a:lnTo>
                    <a:lnTo>
                      <a:pt x="14288" y="24765"/>
                    </a:lnTo>
                    <a:lnTo>
                      <a:pt x="20955" y="14288"/>
                    </a:lnTo>
                    <a:lnTo>
                      <a:pt x="2476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86087CFE-6587-298E-E34C-B42857FEEA61}"/>
                  </a:ext>
                </a:extLst>
              </p:cNvPr>
              <p:cNvSpPr/>
              <p:nvPr/>
            </p:nvSpPr>
            <p:spPr>
              <a:xfrm>
                <a:off x="3769721" y="4547473"/>
                <a:ext cx="341743" cy="505055"/>
              </a:xfrm>
              <a:custGeom>
                <a:avLst/>
                <a:gdLst>
                  <a:gd name="connsiteX0" fmla="*/ 3810 w 348615"/>
                  <a:gd name="connsiteY0" fmla="*/ 119920 h 515207"/>
                  <a:gd name="connsiteX1" fmla="*/ 10477 w 348615"/>
                  <a:gd name="connsiteY1" fmla="*/ 105632 h 515207"/>
                  <a:gd name="connsiteX2" fmla="*/ 17145 w 348615"/>
                  <a:gd name="connsiteY2" fmla="*/ 95250 h 515207"/>
                  <a:gd name="connsiteX3" fmla="*/ 27622 w 348615"/>
                  <a:gd name="connsiteY3" fmla="*/ 95250 h 515207"/>
                  <a:gd name="connsiteX4" fmla="*/ 27622 w 348615"/>
                  <a:gd name="connsiteY4" fmla="*/ 116110 h 515207"/>
                  <a:gd name="connsiteX5" fmla="*/ 41910 w 348615"/>
                  <a:gd name="connsiteY5" fmla="*/ 119920 h 515207"/>
                  <a:gd name="connsiteX6" fmla="*/ 60007 w 348615"/>
                  <a:gd name="connsiteY6" fmla="*/ 138113 h 515207"/>
                  <a:gd name="connsiteX7" fmla="*/ 77153 w 348615"/>
                  <a:gd name="connsiteY7" fmla="*/ 123825 h 515207"/>
                  <a:gd name="connsiteX8" fmla="*/ 84772 w 348615"/>
                  <a:gd name="connsiteY8" fmla="*/ 105632 h 515207"/>
                  <a:gd name="connsiteX9" fmla="*/ 95250 w 348615"/>
                  <a:gd name="connsiteY9" fmla="*/ 92297 h 515207"/>
                  <a:gd name="connsiteX10" fmla="*/ 105728 w 348615"/>
                  <a:gd name="connsiteY10" fmla="*/ 80963 h 515207"/>
                  <a:gd name="connsiteX11" fmla="*/ 126682 w 348615"/>
                  <a:gd name="connsiteY11" fmla="*/ 70485 h 515207"/>
                  <a:gd name="connsiteX12" fmla="*/ 140970 w 348615"/>
                  <a:gd name="connsiteY12" fmla="*/ 63722 h 515207"/>
                  <a:gd name="connsiteX13" fmla="*/ 147638 w 348615"/>
                  <a:gd name="connsiteY13" fmla="*/ 60007 h 515207"/>
                  <a:gd name="connsiteX14" fmla="*/ 158115 w 348615"/>
                  <a:gd name="connsiteY14" fmla="*/ 45720 h 515207"/>
                  <a:gd name="connsiteX15" fmla="*/ 165735 w 348615"/>
                  <a:gd name="connsiteY15" fmla="*/ 32385 h 515207"/>
                  <a:gd name="connsiteX16" fmla="*/ 168592 w 348615"/>
                  <a:gd name="connsiteY16" fmla="*/ 0 h 515207"/>
                  <a:gd name="connsiteX17" fmla="*/ 182880 w 348615"/>
                  <a:gd name="connsiteY17" fmla="*/ 3810 h 515207"/>
                  <a:gd name="connsiteX18" fmla="*/ 193357 w 348615"/>
                  <a:gd name="connsiteY18" fmla="*/ 18097 h 515207"/>
                  <a:gd name="connsiteX19" fmla="*/ 200978 w 348615"/>
                  <a:gd name="connsiteY19" fmla="*/ 24670 h 515207"/>
                  <a:gd name="connsiteX20" fmla="*/ 211455 w 348615"/>
                  <a:gd name="connsiteY20" fmla="*/ 35147 h 515207"/>
                  <a:gd name="connsiteX21" fmla="*/ 221932 w 348615"/>
                  <a:gd name="connsiteY21" fmla="*/ 45720 h 515207"/>
                  <a:gd name="connsiteX22" fmla="*/ 228600 w 348615"/>
                  <a:gd name="connsiteY22" fmla="*/ 60007 h 515207"/>
                  <a:gd name="connsiteX23" fmla="*/ 302895 w 348615"/>
                  <a:gd name="connsiteY23" fmla="*/ 63722 h 515207"/>
                  <a:gd name="connsiteX24" fmla="*/ 306705 w 348615"/>
                  <a:gd name="connsiteY24" fmla="*/ 74295 h 515207"/>
                  <a:gd name="connsiteX25" fmla="*/ 309563 w 348615"/>
                  <a:gd name="connsiteY25" fmla="*/ 84772 h 515207"/>
                  <a:gd name="connsiteX26" fmla="*/ 302895 w 348615"/>
                  <a:gd name="connsiteY26" fmla="*/ 95250 h 515207"/>
                  <a:gd name="connsiteX27" fmla="*/ 302895 w 348615"/>
                  <a:gd name="connsiteY27" fmla="*/ 113347 h 515207"/>
                  <a:gd name="connsiteX28" fmla="*/ 313372 w 348615"/>
                  <a:gd name="connsiteY28" fmla="*/ 119920 h 515207"/>
                  <a:gd name="connsiteX29" fmla="*/ 302895 w 348615"/>
                  <a:gd name="connsiteY29" fmla="*/ 119920 h 515207"/>
                  <a:gd name="connsiteX30" fmla="*/ 274320 w 348615"/>
                  <a:gd name="connsiteY30" fmla="*/ 123825 h 515207"/>
                  <a:gd name="connsiteX31" fmla="*/ 249555 w 348615"/>
                  <a:gd name="connsiteY31" fmla="*/ 134207 h 515207"/>
                  <a:gd name="connsiteX32" fmla="*/ 232410 w 348615"/>
                  <a:gd name="connsiteY32" fmla="*/ 155257 h 515207"/>
                  <a:gd name="connsiteX33" fmla="*/ 228600 w 348615"/>
                  <a:gd name="connsiteY33" fmla="*/ 173260 h 515207"/>
                  <a:gd name="connsiteX34" fmla="*/ 218122 w 348615"/>
                  <a:gd name="connsiteY34" fmla="*/ 183832 h 515207"/>
                  <a:gd name="connsiteX35" fmla="*/ 203835 w 348615"/>
                  <a:gd name="connsiteY35" fmla="*/ 204788 h 515207"/>
                  <a:gd name="connsiteX36" fmla="*/ 211455 w 348615"/>
                  <a:gd name="connsiteY36" fmla="*/ 222885 h 515207"/>
                  <a:gd name="connsiteX37" fmla="*/ 218122 w 348615"/>
                  <a:gd name="connsiteY37" fmla="*/ 243745 h 515207"/>
                  <a:gd name="connsiteX38" fmla="*/ 236220 w 348615"/>
                  <a:gd name="connsiteY38" fmla="*/ 260985 h 515207"/>
                  <a:gd name="connsiteX39" fmla="*/ 253365 w 348615"/>
                  <a:gd name="connsiteY39" fmla="*/ 279082 h 515207"/>
                  <a:gd name="connsiteX40" fmla="*/ 267653 w 348615"/>
                  <a:gd name="connsiteY40" fmla="*/ 281845 h 515207"/>
                  <a:gd name="connsiteX41" fmla="*/ 284797 w 348615"/>
                  <a:gd name="connsiteY41" fmla="*/ 275272 h 515207"/>
                  <a:gd name="connsiteX42" fmla="*/ 299085 w 348615"/>
                  <a:gd name="connsiteY42" fmla="*/ 260985 h 515207"/>
                  <a:gd name="connsiteX43" fmla="*/ 302895 w 348615"/>
                  <a:gd name="connsiteY43" fmla="*/ 271463 h 515207"/>
                  <a:gd name="connsiteX44" fmla="*/ 295275 w 348615"/>
                  <a:gd name="connsiteY44" fmla="*/ 293370 h 515207"/>
                  <a:gd name="connsiteX45" fmla="*/ 299085 w 348615"/>
                  <a:gd name="connsiteY45" fmla="*/ 303847 h 515207"/>
                  <a:gd name="connsiteX46" fmla="*/ 309563 w 348615"/>
                  <a:gd name="connsiteY46" fmla="*/ 303847 h 515207"/>
                  <a:gd name="connsiteX47" fmla="*/ 330517 w 348615"/>
                  <a:gd name="connsiteY47" fmla="*/ 306610 h 515207"/>
                  <a:gd name="connsiteX48" fmla="*/ 348615 w 348615"/>
                  <a:gd name="connsiteY48" fmla="*/ 353282 h 515207"/>
                  <a:gd name="connsiteX49" fmla="*/ 348615 w 348615"/>
                  <a:gd name="connsiteY49" fmla="*/ 366713 h 515207"/>
                  <a:gd name="connsiteX50" fmla="*/ 344805 w 348615"/>
                  <a:gd name="connsiteY50" fmla="*/ 391382 h 515207"/>
                  <a:gd name="connsiteX51" fmla="*/ 344805 w 348615"/>
                  <a:gd name="connsiteY51" fmla="*/ 401860 h 515207"/>
                  <a:gd name="connsiteX52" fmla="*/ 341947 w 348615"/>
                  <a:gd name="connsiteY52" fmla="*/ 405670 h 515207"/>
                  <a:gd name="connsiteX53" fmla="*/ 334328 w 348615"/>
                  <a:gd name="connsiteY53" fmla="*/ 423863 h 515207"/>
                  <a:gd name="connsiteX54" fmla="*/ 330517 w 348615"/>
                  <a:gd name="connsiteY54" fmla="*/ 441007 h 515207"/>
                  <a:gd name="connsiteX55" fmla="*/ 338138 w 348615"/>
                  <a:gd name="connsiteY55" fmla="*/ 451485 h 515207"/>
                  <a:gd name="connsiteX56" fmla="*/ 348615 w 348615"/>
                  <a:gd name="connsiteY56" fmla="*/ 461963 h 515207"/>
                  <a:gd name="connsiteX57" fmla="*/ 341947 w 348615"/>
                  <a:gd name="connsiteY57" fmla="*/ 472345 h 515207"/>
                  <a:gd name="connsiteX58" fmla="*/ 327660 w 348615"/>
                  <a:gd name="connsiteY58" fmla="*/ 486632 h 515207"/>
                  <a:gd name="connsiteX59" fmla="*/ 323850 w 348615"/>
                  <a:gd name="connsiteY59" fmla="*/ 497110 h 515207"/>
                  <a:gd name="connsiteX60" fmla="*/ 317182 w 348615"/>
                  <a:gd name="connsiteY60" fmla="*/ 511397 h 515207"/>
                  <a:gd name="connsiteX61" fmla="*/ 306705 w 348615"/>
                  <a:gd name="connsiteY61" fmla="*/ 515207 h 515207"/>
                  <a:gd name="connsiteX62" fmla="*/ 278130 w 348615"/>
                  <a:gd name="connsiteY62" fmla="*/ 490538 h 515207"/>
                  <a:gd name="connsiteX63" fmla="*/ 246697 w 348615"/>
                  <a:gd name="connsiteY63" fmla="*/ 472345 h 515207"/>
                  <a:gd name="connsiteX64" fmla="*/ 207645 w 348615"/>
                  <a:gd name="connsiteY64" fmla="*/ 455295 h 515207"/>
                  <a:gd name="connsiteX65" fmla="*/ 176213 w 348615"/>
                  <a:gd name="connsiteY65" fmla="*/ 437197 h 515207"/>
                  <a:gd name="connsiteX66" fmla="*/ 158115 w 348615"/>
                  <a:gd name="connsiteY66" fmla="*/ 416147 h 515207"/>
                  <a:gd name="connsiteX67" fmla="*/ 133350 w 348615"/>
                  <a:gd name="connsiteY67" fmla="*/ 391382 h 515207"/>
                  <a:gd name="connsiteX68" fmla="*/ 144780 w 348615"/>
                  <a:gd name="connsiteY68" fmla="*/ 377095 h 515207"/>
                  <a:gd name="connsiteX69" fmla="*/ 126682 w 348615"/>
                  <a:gd name="connsiteY69" fmla="*/ 349472 h 515207"/>
                  <a:gd name="connsiteX70" fmla="*/ 112395 w 348615"/>
                  <a:gd name="connsiteY70" fmla="*/ 328613 h 515207"/>
                  <a:gd name="connsiteX71" fmla="*/ 98107 w 348615"/>
                  <a:gd name="connsiteY71" fmla="*/ 303847 h 515207"/>
                  <a:gd name="connsiteX72" fmla="*/ 84772 w 348615"/>
                  <a:gd name="connsiteY72" fmla="*/ 268510 h 515207"/>
                  <a:gd name="connsiteX73" fmla="*/ 62865 w 348615"/>
                  <a:gd name="connsiteY73" fmla="*/ 233363 h 515207"/>
                  <a:gd name="connsiteX74" fmla="*/ 45720 w 348615"/>
                  <a:gd name="connsiteY74" fmla="*/ 198120 h 515207"/>
                  <a:gd name="connsiteX75" fmla="*/ 27622 w 348615"/>
                  <a:gd name="connsiteY75" fmla="*/ 180022 h 515207"/>
                  <a:gd name="connsiteX76" fmla="*/ 6667 w 348615"/>
                  <a:gd name="connsiteY76" fmla="*/ 169545 h 515207"/>
                  <a:gd name="connsiteX77" fmla="*/ 10477 w 348615"/>
                  <a:gd name="connsiteY77" fmla="*/ 148495 h 515207"/>
                  <a:gd name="connsiteX78" fmla="*/ 0 w 348615"/>
                  <a:gd name="connsiteY78" fmla="*/ 138113 h 515207"/>
                  <a:gd name="connsiteX79" fmla="*/ 3810 w 348615"/>
                  <a:gd name="connsiteY79" fmla="*/ 119920 h 5152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</a:cxnLst>
                <a:rect l="l" t="t" r="r" b="b"/>
                <a:pathLst>
                  <a:path w="348615" h="515207">
                    <a:moveTo>
                      <a:pt x="3810" y="119920"/>
                    </a:moveTo>
                    <a:lnTo>
                      <a:pt x="10477" y="105632"/>
                    </a:lnTo>
                    <a:lnTo>
                      <a:pt x="17145" y="95250"/>
                    </a:lnTo>
                    <a:lnTo>
                      <a:pt x="27622" y="95250"/>
                    </a:lnTo>
                    <a:lnTo>
                      <a:pt x="27622" y="116110"/>
                    </a:lnTo>
                    <a:lnTo>
                      <a:pt x="41910" y="119920"/>
                    </a:lnTo>
                    <a:lnTo>
                      <a:pt x="60007" y="138113"/>
                    </a:lnTo>
                    <a:lnTo>
                      <a:pt x="77153" y="123825"/>
                    </a:lnTo>
                    <a:lnTo>
                      <a:pt x="84772" y="105632"/>
                    </a:lnTo>
                    <a:lnTo>
                      <a:pt x="95250" y="92297"/>
                    </a:lnTo>
                    <a:lnTo>
                      <a:pt x="105728" y="80963"/>
                    </a:lnTo>
                    <a:lnTo>
                      <a:pt x="126682" y="70485"/>
                    </a:lnTo>
                    <a:lnTo>
                      <a:pt x="140970" y="63722"/>
                    </a:lnTo>
                    <a:lnTo>
                      <a:pt x="147638" y="60007"/>
                    </a:lnTo>
                    <a:lnTo>
                      <a:pt x="158115" y="45720"/>
                    </a:lnTo>
                    <a:lnTo>
                      <a:pt x="165735" y="32385"/>
                    </a:lnTo>
                    <a:lnTo>
                      <a:pt x="168592" y="0"/>
                    </a:lnTo>
                    <a:lnTo>
                      <a:pt x="182880" y="3810"/>
                    </a:lnTo>
                    <a:lnTo>
                      <a:pt x="193357" y="18097"/>
                    </a:lnTo>
                    <a:lnTo>
                      <a:pt x="200978" y="24670"/>
                    </a:lnTo>
                    <a:lnTo>
                      <a:pt x="211455" y="35147"/>
                    </a:lnTo>
                    <a:lnTo>
                      <a:pt x="221932" y="45720"/>
                    </a:lnTo>
                    <a:lnTo>
                      <a:pt x="228600" y="60007"/>
                    </a:lnTo>
                    <a:lnTo>
                      <a:pt x="302895" y="63722"/>
                    </a:lnTo>
                    <a:lnTo>
                      <a:pt x="306705" y="74295"/>
                    </a:lnTo>
                    <a:lnTo>
                      <a:pt x="309563" y="84772"/>
                    </a:lnTo>
                    <a:lnTo>
                      <a:pt x="302895" y="95250"/>
                    </a:lnTo>
                    <a:lnTo>
                      <a:pt x="302895" y="113347"/>
                    </a:lnTo>
                    <a:lnTo>
                      <a:pt x="313372" y="119920"/>
                    </a:lnTo>
                    <a:lnTo>
                      <a:pt x="302895" y="119920"/>
                    </a:lnTo>
                    <a:lnTo>
                      <a:pt x="274320" y="123825"/>
                    </a:lnTo>
                    <a:lnTo>
                      <a:pt x="249555" y="134207"/>
                    </a:lnTo>
                    <a:lnTo>
                      <a:pt x="232410" y="155257"/>
                    </a:lnTo>
                    <a:lnTo>
                      <a:pt x="228600" y="173260"/>
                    </a:lnTo>
                    <a:lnTo>
                      <a:pt x="218122" y="183832"/>
                    </a:lnTo>
                    <a:lnTo>
                      <a:pt x="203835" y="204788"/>
                    </a:lnTo>
                    <a:lnTo>
                      <a:pt x="211455" y="222885"/>
                    </a:lnTo>
                    <a:lnTo>
                      <a:pt x="218122" y="243745"/>
                    </a:lnTo>
                    <a:lnTo>
                      <a:pt x="236220" y="260985"/>
                    </a:lnTo>
                    <a:lnTo>
                      <a:pt x="253365" y="279082"/>
                    </a:lnTo>
                    <a:lnTo>
                      <a:pt x="267653" y="281845"/>
                    </a:lnTo>
                    <a:lnTo>
                      <a:pt x="284797" y="275272"/>
                    </a:lnTo>
                    <a:lnTo>
                      <a:pt x="299085" y="260985"/>
                    </a:lnTo>
                    <a:lnTo>
                      <a:pt x="302895" y="271463"/>
                    </a:lnTo>
                    <a:lnTo>
                      <a:pt x="295275" y="293370"/>
                    </a:lnTo>
                    <a:lnTo>
                      <a:pt x="299085" y="303847"/>
                    </a:lnTo>
                    <a:lnTo>
                      <a:pt x="309563" y="303847"/>
                    </a:lnTo>
                    <a:lnTo>
                      <a:pt x="330517" y="306610"/>
                    </a:lnTo>
                    <a:lnTo>
                      <a:pt x="348615" y="353282"/>
                    </a:lnTo>
                    <a:lnTo>
                      <a:pt x="348615" y="366713"/>
                    </a:lnTo>
                    <a:lnTo>
                      <a:pt x="344805" y="391382"/>
                    </a:lnTo>
                    <a:lnTo>
                      <a:pt x="344805" y="401860"/>
                    </a:lnTo>
                    <a:lnTo>
                      <a:pt x="341947" y="405670"/>
                    </a:lnTo>
                    <a:lnTo>
                      <a:pt x="334328" y="423863"/>
                    </a:lnTo>
                    <a:lnTo>
                      <a:pt x="330517" y="441007"/>
                    </a:lnTo>
                    <a:lnTo>
                      <a:pt x="338138" y="451485"/>
                    </a:lnTo>
                    <a:lnTo>
                      <a:pt x="348615" y="461963"/>
                    </a:lnTo>
                    <a:lnTo>
                      <a:pt x="341947" y="472345"/>
                    </a:lnTo>
                    <a:lnTo>
                      <a:pt x="327660" y="486632"/>
                    </a:lnTo>
                    <a:lnTo>
                      <a:pt x="323850" y="497110"/>
                    </a:lnTo>
                    <a:lnTo>
                      <a:pt x="317182" y="511397"/>
                    </a:lnTo>
                    <a:lnTo>
                      <a:pt x="306705" y="515207"/>
                    </a:lnTo>
                    <a:lnTo>
                      <a:pt x="278130" y="490538"/>
                    </a:lnTo>
                    <a:lnTo>
                      <a:pt x="246697" y="472345"/>
                    </a:lnTo>
                    <a:lnTo>
                      <a:pt x="207645" y="455295"/>
                    </a:lnTo>
                    <a:lnTo>
                      <a:pt x="176213" y="437197"/>
                    </a:lnTo>
                    <a:lnTo>
                      <a:pt x="158115" y="416147"/>
                    </a:lnTo>
                    <a:lnTo>
                      <a:pt x="133350" y="391382"/>
                    </a:lnTo>
                    <a:lnTo>
                      <a:pt x="144780" y="377095"/>
                    </a:lnTo>
                    <a:lnTo>
                      <a:pt x="126682" y="349472"/>
                    </a:lnTo>
                    <a:lnTo>
                      <a:pt x="112395" y="328613"/>
                    </a:lnTo>
                    <a:lnTo>
                      <a:pt x="98107" y="303847"/>
                    </a:lnTo>
                    <a:lnTo>
                      <a:pt x="84772" y="268510"/>
                    </a:lnTo>
                    <a:lnTo>
                      <a:pt x="62865" y="233363"/>
                    </a:lnTo>
                    <a:lnTo>
                      <a:pt x="45720" y="198120"/>
                    </a:lnTo>
                    <a:lnTo>
                      <a:pt x="27622" y="180022"/>
                    </a:lnTo>
                    <a:lnTo>
                      <a:pt x="6667" y="169545"/>
                    </a:lnTo>
                    <a:lnTo>
                      <a:pt x="10477" y="148495"/>
                    </a:lnTo>
                    <a:lnTo>
                      <a:pt x="0" y="138113"/>
                    </a:lnTo>
                    <a:lnTo>
                      <a:pt x="3810" y="11992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A707BE2E-6533-98C3-3D52-C83B56AD6D22}"/>
                  </a:ext>
                </a:extLst>
              </p:cNvPr>
              <p:cNvSpPr/>
              <p:nvPr/>
            </p:nvSpPr>
            <p:spPr>
              <a:xfrm>
                <a:off x="4093722" y="4817322"/>
                <a:ext cx="324936" cy="369758"/>
              </a:xfrm>
              <a:custGeom>
                <a:avLst/>
                <a:gdLst>
                  <a:gd name="connsiteX0" fmla="*/ 74295 w 331470"/>
                  <a:gd name="connsiteY0" fmla="*/ 6572 h 377190"/>
                  <a:gd name="connsiteX1" fmla="*/ 95250 w 331470"/>
                  <a:gd name="connsiteY1" fmla="*/ 0 h 377190"/>
                  <a:gd name="connsiteX2" fmla="*/ 116205 w 331470"/>
                  <a:gd name="connsiteY2" fmla="*/ 0 h 377190"/>
                  <a:gd name="connsiteX3" fmla="*/ 120015 w 331470"/>
                  <a:gd name="connsiteY3" fmla="*/ 49435 h 377190"/>
                  <a:gd name="connsiteX4" fmla="*/ 140970 w 331470"/>
                  <a:gd name="connsiteY4" fmla="*/ 70485 h 377190"/>
                  <a:gd name="connsiteX5" fmla="*/ 176213 w 331470"/>
                  <a:gd name="connsiteY5" fmla="*/ 78010 h 377190"/>
                  <a:gd name="connsiteX6" fmla="*/ 183833 w 331470"/>
                  <a:gd name="connsiteY6" fmla="*/ 88487 h 377190"/>
                  <a:gd name="connsiteX7" fmla="*/ 215265 w 331470"/>
                  <a:gd name="connsiteY7" fmla="*/ 99060 h 377190"/>
                  <a:gd name="connsiteX8" fmla="*/ 250508 w 331470"/>
                  <a:gd name="connsiteY8" fmla="*/ 109538 h 377190"/>
                  <a:gd name="connsiteX9" fmla="*/ 257175 w 331470"/>
                  <a:gd name="connsiteY9" fmla="*/ 130397 h 377190"/>
                  <a:gd name="connsiteX10" fmla="*/ 260985 w 331470"/>
                  <a:gd name="connsiteY10" fmla="*/ 144685 h 377190"/>
                  <a:gd name="connsiteX11" fmla="*/ 257175 w 331470"/>
                  <a:gd name="connsiteY11" fmla="*/ 158972 h 377190"/>
                  <a:gd name="connsiteX12" fmla="*/ 260985 w 331470"/>
                  <a:gd name="connsiteY12" fmla="*/ 180022 h 377190"/>
                  <a:gd name="connsiteX13" fmla="*/ 281940 w 331470"/>
                  <a:gd name="connsiteY13" fmla="*/ 180022 h 377190"/>
                  <a:gd name="connsiteX14" fmla="*/ 310515 w 331470"/>
                  <a:gd name="connsiteY14" fmla="*/ 180022 h 377190"/>
                  <a:gd name="connsiteX15" fmla="*/ 306705 w 331470"/>
                  <a:gd name="connsiteY15" fmla="*/ 194310 h 377190"/>
                  <a:gd name="connsiteX16" fmla="*/ 310515 w 331470"/>
                  <a:gd name="connsiteY16" fmla="*/ 215265 h 377190"/>
                  <a:gd name="connsiteX17" fmla="*/ 327660 w 331470"/>
                  <a:gd name="connsiteY17" fmla="*/ 221837 h 377190"/>
                  <a:gd name="connsiteX18" fmla="*/ 331470 w 331470"/>
                  <a:gd name="connsiteY18" fmla="*/ 239935 h 377190"/>
                  <a:gd name="connsiteX19" fmla="*/ 331470 w 331470"/>
                  <a:gd name="connsiteY19" fmla="*/ 250412 h 377190"/>
                  <a:gd name="connsiteX20" fmla="*/ 317183 w 331470"/>
                  <a:gd name="connsiteY20" fmla="*/ 275272 h 377190"/>
                  <a:gd name="connsiteX21" fmla="*/ 324803 w 331470"/>
                  <a:gd name="connsiteY21" fmla="*/ 285750 h 377190"/>
                  <a:gd name="connsiteX22" fmla="*/ 317183 w 331470"/>
                  <a:gd name="connsiteY22" fmla="*/ 292322 h 377190"/>
                  <a:gd name="connsiteX23" fmla="*/ 306705 w 331470"/>
                  <a:gd name="connsiteY23" fmla="*/ 281940 h 377190"/>
                  <a:gd name="connsiteX24" fmla="*/ 289560 w 331470"/>
                  <a:gd name="connsiteY24" fmla="*/ 271463 h 377190"/>
                  <a:gd name="connsiteX25" fmla="*/ 267653 w 331470"/>
                  <a:gd name="connsiteY25" fmla="*/ 267653 h 377190"/>
                  <a:gd name="connsiteX26" fmla="*/ 240030 w 331470"/>
                  <a:gd name="connsiteY26" fmla="*/ 271463 h 377190"/>
                  <a:gd name="connsiteX27" fmla="*/ 221933 w 331470"/>
                  <a:gd name="connsiteY27" fmla="*/ 278987 h 377190"/>
                  <a:gd name="connsiteX28" fmla="*/ 211455 w 331470"/>
                  <a:gd name="connsiteY28" fmla="*/ 281940 h 377190"/>
                  <a:gd name="connsiteX29" fmla="*/ 200978 w 331470"/>
                  <a:gd name="connsiteY29" fmla="*/ 306610 h 377190"/>
                  <a:gd name="connsiteX30" fmla="*/ 200978 w 331470"/>
                  <a:gd name="connsiteY30" fmla="*/ 324803 h 377190"/>
                  <a:gd name="connsiteX31" fmla="*/ 198120 w 331470"/>
                  <a:gd name="connsiteY31" fmla="*/ 341947 h 377190"/>
                  <a:gd name="connsiteX32" fmla="*/ 190500 w 331470"/>
                  <a:gd name="connsiteY32" fmla="*/ 349472 h 377190"/>
                  <a:gd name="connsiteX33" fmla="*/ 159068 w 331470"/>
                  <a:gd name="connsiteY33" fmla="*/ 349472 h 377190"/>
                  <a:gd name="connsiteX34" fmla="*/ 148590 w 331470"/>
                  <a:gd name="connsiteY34" fmla="*/ 373285 h 377190"/>
                  <a:gd name="connsiteX35" fmla="*/ 130493 w 331470"/>
                  <a:gd name="connsiteY35" fmla="*/ 352425 h 377190"/>
                  <a:gd name="connsiteX36" fmla="*/ 105728 w 331470"/>
                  <a:gd name="connsiteY36" fmla="*/ 356235 h 377190"/>
                  <a:gd name="connsiteX37" fmla="*/ 92393 w 331470"/>
                  <a:gd name="connsiteY37" fmla="*/ 345662 h 377190"/>
                  <a:gd name="connsiteX38" fmla="*/ 78105 w 331470"/>
                  <a:gd name="connsiteY38" fmla="*/ 356235 h 377190"/>
                  <a:gd name="connsiteX39" fmla="*/ 70485 w 331470"/>
                  <a:gd name="connsiteY39" fmla="*/ 370522 h 377190"/>
                  <a:gd name="connsiteX40" fmla="*/ 67628 w 331470"/>
                  <a:gd name="connsiteY40" fmla="*/ 377190 h 377190"/>
                  <a:gd name="connsiteX41" fmla="*/ 57150 w 331470"/>
                  <a:gd name="connsiteY41" fmla="*/ 377190 h 377190"/>
                  <a:gd name="connsiteX42" fmla="*/ 53340 w 331470"/>
                  <a:gd name="connsiteY42" fmla="*/ 377190 h 377190"/>
                  <a:gd name="connsiteX43" fmla="*/ 49530 w 331470"/>
                  <a:gd name="connsiteY43" fmla="*/ 377190 h 377190"/>
                  <a:gd name="connsiteX44" fmla="*/ 46673 w 331470"/>
                  <a:gd name="connsiteY44" fmla="*/ 352425 h 377190"/>
                  <a:gd name="connsiteX45" fmla="*/ 39053 w 331470"/>
                  <a:gd name="connsiteY45" fmla="*/ 327660 h 377190"/>
                  <a:gd name="connsiteX46" fmla="*/ 24765 w 331470"/>
                  <a:gd name="connsiteY46" fmla="*/ 306610 h 377190"/>
                  <a:gd name="connsiteX47" fmla="*/ 24765 w 331470"/>
                  <a:gd name="connsiteY47" fmla="*/ 275272 h 377190"/>
                  <a:gd name="connsiteX48" fmla="*/ 14288 w 331470"/>
                  <a:gd name="connsiteY48" fmla="*/ 254222 h 377190"/>
                  <a:gd name="connsiteX49" fmla="*/ 3810 w 331470"/>
                  <a:gd name="connsiteY49" fmla="*/ 221837 h 377190"/>
                  <a:gd name="connsiteX50" fmla="*/ 0 w 331470"/>
                  <a:gd name="connsiteY50" fmla="*/ 207550 h 377190"/>
                  <a:gd name="connsiteX51" fmla="*/ 11430 w 331470"/>
                  <a:gd name="connsiteY51" fmla="*/ 197072 h 377190"/>
                  <a:gd name="connsiteX52" fmla="*/ 18098 w 331470"/>
                  <a:gd name="connsiteY52" fmla="*/ 186690 h 377190"/>
                  <a:gd name="connsiteX53" fmla="*/ 7620 w 331470"/>
                  <a:gd name="connsiteY53" fmla="*/ 176213 h 377190"/>
                  <a:gd name="connsiteX54" fmla="*/ 0 w 331470"/>
                  <a:gd name="connsiteY54" fmla="*/ 165735 h 377190"/>
                  <a:gd name="connsiteX55" fmla="*/ 3810 w 331470"/>
                  <a:gd name="connsiteY55" fmla="*/ 148590 h 377190"/>
                  <a:gd name="connsiteX56" fmla="*/ 11430 w 331470"/>
                  <a:gd name="connsiteY56" fmla="*/ 130397 h 377190"/>
                  <a:gd name="connsiteX57" fmla="*/ 14288 w 331470"/>
                  <a:gd name="connsiteY57" fmla="*/ 126587 h 377190"/>
                  <a:gd name="connsiteX58" fmla="*/ 14288 w 331470"/>
                  <a:gd name="connsiteY58" fmla="*/ 116110 h 377190"/>
                  <a:gd name="connsiteX59" fmla="*/ 18098 w 331470"/>
                  <a:gd name="connsiteY59" fmla="*/ 78010 h 377190"/>
                  <a:gd name="connsiteX60" fmla="*/ 0 w 331470"/>
                  <a:gd name="connsiteY60" fmla="*/ 31337 h 377190"/>
                  <a:gd name="connsiteX61" fmla="*/ 18098 w 331470"/>
                  <a:gd name="connsiteY61" fmla="*/ 31337 h 377190"/>
                  <a:gd name="connsiteX62" fmla="*/ 35243 w 331470"/>
                  <a:gd name="connsiteY62" fmla="*/ 28575 h 377190"/>
                  <a:gd name="connsiteX63" fmla="*/ 60008 w 331470"/>
                  <a:gd name="connsiteY63" fmla="*/ 18097 h 377190"/>
                  <a:gd name="connsiteX64" fmla="*/ 74295 w 331470"/>
                  <a:gd name="connsiteY64" fmla="*/ 6572 h 3771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31470" h="377190">
                    <a:moveTo>
                      <a:pt x="74295" y="6572"/>
                    </a:moveTo>
                    <a:lnTo>
                      <a:pt x="95250" y="0"/>
                    </a:lnTo>
                    <a:lnTo>
                      <a:pt x="116205" y="0"/>
                    </a:lnTo>
                    <a:lnTo>
                      <a:pt x="120015" y="49435"/>
                    </a:lnTo>
                    <a:lnTo>
                      <a:pt x="140970" y="70485"/>
                    </a:lnTo>
                    <a:lnTo>
                      <a:pt x="176213" y="78010"/>
                    </a:lnTo>
                    <a:lnTo>
                      <a:pt x="183833" y="88487"/>
                    </a:lnTo>
                    <a:lnTo>
                      <a:pt x="215265" y="99060"/>
                    </a:lnTo>
                    <a:lnTo>
                      <a:pt x="250508" y="109538"/>
                    </a:lnTo>
                    <a:lnTo>
                      <a:pt x="257175" y="130397"/>
                    </a:lnTo>
                    <a:lnTo>
                      <a:pt x="260985" y="144685"/>
                    </a:lnTo>
                    <a:lnTo>
                      <a:pt x="257175" y="158972"/>
                    </a:lnTo>
                    <a:lnTo>
                      <a:pt x="260985" y="180022"/>
                    </a:lnTo>
                    <a:lnTo>
                      <a:pt x="281940" y="180022"/>
                    </a:lnTo>
                    <a:lnTo>
                      <a:pt x="310515" y="180022"/>
                    </a:lnTo>
                    <a:lnTo>
                      <a:pt x="306705" y="194310"/>
                    </a:lnTo>
                    <a:lnTo>
                      <a:pt x="310515" y="215265"/>
                    </a:lnTo>
                    <a:lnTo>
                      <a:pt x="327660" y="221837"/>
                    </a:lnTo>
                    <a:lnTo>
                      <a:pt x="331470" y="239935"/>
                    </a:lnTo>
                    <a:lnTo>
                      <a:pt x="331470" y="250412"/>
                    </a:lnTo>
                    <a:lnTo>
                      <a:pt x="317183" y="275272"/>
                    </a:lnTo>
                    <a:lnTo>
                      <a:pt x="324803" y="285750"/>
                    </a:lnTo>
                    <a:lnTo>
                      <a:pt x="317183" y="292322"/>
                    </a:lnTo>
                    <a:lnTo>
                      <a:pt x="306705" y="281940"/>
                    </a:lnTo>
                    <a:lnTo>
                      <a:pt x="289560" y="271463"/>
                    </a:lnTo>
                    <a:lnTo>
                      <a:pt x="267653" y="267653"/>
                    </a:lnTo>
                    <a:lnTo>
                      <a:pt x="240030" y="271463"/>
                    </a:lnTo>
                    <a:lnTo>
                      <a:pt x="221933" y="278987"/>
                    </a:lnTo>
                    <a:lnTo>
                      <a:pt x="211455" y="281940"/>
                    </a:lnTo>
                    <a:lnTo>
                      <a:pt x="200978" y="306610"/>
                    </a:lnTo>
                    <a:lnTo>
                      <a:pt x="200978" y="324803"/>
                    </a:lnTo>
                    <a:lnTo>
                      <a:pt x="198120" y="341947"/>
                    </a:lnTo>
                    <a:lnTo>
                      <a:pt x="190500" y="349472"/>
                    </a:lnTo>
                    <a:lnTo>
                      <a:pt x="159068" y="349472"/>
                    </a:lnTo>
                    <a:lnTo>
                      <a:pt x="148590" y="373285"/>
                    </a:lnTo>
                    <a:lnTo>
                      <a:pt x="130493" y="352425"/>
                    </a:lnTo>
                    <a:lnTo>
                      <a:pt x="105728" y="356235"/>
                    </a:lnTo>
                    <a:lnTo>
                      <a:pt x="92393" y="345662"/>
                    </a:lnTo>
                    <a:lnTo>
                      <a:pt x="78105" y="356235"/>
                    </a:lnTo>
                    <a:lnTo>
                      <a:pt x="70485" y="370522"/>
                    </a:lnTo>
                    <a:lnTo>
                      <a:pt x="67628" y="377190"/>
                    </a:lnTo>
                    <a:lnTo>
                      <a:pt x="57150" y="377190"/>
                    </a:lnTo>
                    <a:lnTo>
                      <a:pt x="53340" y="377190"/>
                    </a:lnTo>
                    <a:lnTo>
                      <a:pt x="49530" y="377190"/>
                    </a:lnTo>
                    <a:lnTo>
                      <a:pt x="46673" y="352425"/>
                    </a:lnTo>
                    <a:lnTo>
                      <a:pt x="39053" y="327660"/>
                    </a:lnTo>
                    <a:lnTo>
                      <a:pt x="24765" y="306610"/>
                    </a:lnTo>
                    <a:lnTo>
                      <a:pt x="24765" y="275272"/>
                    </a:lnTo>
                    <a:lnTo>
                      <a:pt x="14288" y="254222"/>
                    </a:lnTo>
                    <a:lnTo>
                      <a:pt x="3810" y="221837"/>
                    </a:lnTo>
                    <a:lnTo>
                      <a:pt x="0" y="207550"/>
                    </a:lnTo>
                    <a:lnTo>
                      <a:pt x="11430" y="197072"/>
                    </a:lnTo>
                    <a:lnTo>
                      <a:pt x="18098" y="186690"/>
                    </a:lnTo>
                    <a:lnTo>
                      <a:pt x="7620" y="176213"/>
                    </a:lnTo>
                    <a:lnTo>
                      <a:pt x="0" y="165735"/>
                    </a:lnTo>
                    <a:lnTo>
                      <a:pt x="3810" y="148590"/>
                    </a:lnTo>
                    <a:lnTo>
                      <a:pt x="11430" y="130397"/>
                    </a:lnTo>
                    <a:lnTo>
                      <a:pt x="14288" y="126587"/>
                    </a:lnTo>
                    <a:lnTo>
                      <a:pt x="14288" y="116110"/>
                    </a:lnTo>
                    <a:lnTo>
                      <a:pt x="18098" y="78010"/>
                    </a:lnTo>
                    <a:lnTo>
                      <a:pt x="0" y="31337"/>
                    </a:lnTo>
                    <a:lnTo>
                      <a:pt x="18098" y="31337"/>
                    </a:lnTo>
                    <a:lnTo>
                      <a:pt x="35243" y="28575"/>
                    </a:lnTo>
                    <a:lnTo>
                      <a:pt x="60008" y="18097"/>
                    </a:lnTo>
                    <a:lnTo>
                      <a:pt x="74295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1D0CD8F0-03D5-31DC-F10C-28AD1C06E0EA}"/>
                  </a:ext>
                </a:extLst>
              </p:cNvPr>
              <p:cNvSpPr/>
              <p:nvPr/>
            </p:nvSpPr>
            <p:spPr>
              <a:xfrm>
                <a:off x="4280467" y="5079700"/>
                <a:ext cx="231564" cy="242770"/>
              </a:xfrm>
              <a:custGeom>
                <a:avLst/>
                <a:gdLst>
                  <a:gd name="connsiteX0" fmla="*/ 190500 w 236220"/>
                  <a:gd name="connsiteY0" fmla="*/ 239935 h 247650"/>
                  <a:gd name="connsiteX1" fmla="*/ 165735 w 236220"/>
                  <a:gd name="connsiteY1" fmla="*/ 247650 h 247650"/>
                  <a:gd name="connsiteX2" fmla="*/ 126683 w 236220"/>
                  <a:gd name="connsiteY2" fmla="*/ 247650 h 247650"/>
                  <a:gd name="connsiteX3" fmla="*/ 116205 w 236220"/>
                  <a:gd name="connsiteY3" fmla="*/ 233363 h 247650"/>
                  <a:gd name="connsiteX4" fmla="*/ 126683 w 236220"/>
                  <a:gd name="connsiteY4" fmla="*/ 208597 h 247650"/>
                  <a:gd name="connsiteX5" fmla="*/ 140970 w 236220"/>
                  <a:gd name="connsiteY5" fmla="*/ 187547 h 247650"/>
                  <a:gd name="connsiteX6" fmla="*/ 130493 w 236220"/>
                  <a:gd name="connsiteY6" fmla="*/ 173260 h 247650"/>
                  <a:gd name="connsiteX7" fmla="*/ 95250 w 236220"/>
                  <a:gd name="connsiteY7" fmla="*/ 158972 h 247650"/>
                  <a:gd name="connsiteX8" fmla="*/ 66675 w 236220"/>
                  <a:gd name="connsiteY8" fmla="*/ 138113 h 247650"/>
                  <a:gd name="connsiteX9" fmla="*/ 53340 w 236220"/>
                  <a:gd name="connsiteY9" fmla="*/ 138113 h 247650"/>
                  <a:gd name="connsiteX10" fmla="*/ 35243 w 236220"/>
                  <a:gd name="connsiteY10" fmla="*/ 127635 h 247650"/>
                  <a:gd name="connsiteX11" fmla="*/ 14288 w 236220"/>
                  <a:gd name="connsiteY11" fmla="*/ 105632 h 247650"/>
                  <a:gd name="connsiteX12" fmla="*/ 3810 w 236220"/>
                  <a:gd name="connsiteY12" fmla="*/ 92297 h 247650"/>
                  <a:gd name="connsiteX13" fmla="*/ 0 w 236220"/>
                  <a:gd name="connsiteY13" fmla="*/ 81820 h 247650"/>
                  <a:gd name="connsiteX14" fmla="*/ 7620 w 236220"/>
                  <a:gd name="connsiteY14" fmla="*/ 74295 h 247650"/>
                  <a:gd name="connsiteX15" fmla="*/ 10478 w 236220"/>
                  <a:gd name="connsiteY15" fmla="*/ 57150 h 247650"/>
                  <a:gd name="connsiteX16" fmla="*/ 10478 w 236220"/>
                  <a:gd name="connsiteY16" fmla="*/ 38957 h 247650"/>
                  <a:gd name="connsiteX17" fmla="*/ 20955 w 236220"/>
                  <a:gd name="connsiteY17" fmla="*/ 14288 h 247650"/>
                  <a:gd name="connsiteX18" fmla="*/ 49530 w 236220"/>
                  <a:gd name="connsiteY18" fmla="*/ 3810 h 247650"/>
                  <a:gd name="connsiteX19" fmla="*/ 77153 w 236220"/>
                  <a:gd name="connsiteY19" fmla="*/ 0 h 247650"/>
                  <a:gd name="connsiteX20" fmla="*/ 99060 w 236220"/>
                  <a:gd name="connsiteY20" fmla="*/ 3810 h 247650"/>
                  <a:gd name="connsiteX21" fmla="*/ 116205 w 236220"/>
                  <a:gd name="connsiteY21" fmla="*/ 14288 h 247650"/>
                  <a:gd name="connsiteX22" fmla="*/ 126683 w 236220"/>
                  <a:gd name="connsiteY22" fmla="*/ 24670 h 247650"/>
                  <a:gd name="connsiteX23" fmla="*/ 134303 w 236220"/>
                  <a:gd name="connsiteY23" fmla="*/ 38957 h 247650"/>
                  <a:gd name="connsiteX24" fmla="*/ 134303 w 236220"/>
                  <a:gd name="connsiteY24" fmla="*/ 60007 h 247650"/>
                  <a:gd name="connsiteX25" fmla="*/ 134303 w 236220"/>
                  <a:gd name="connsiteY25" fmla="*/ 88582 h 247650"/>
                  <a:gd name="connsiteX26" fmla="*/ 151448 w 236220"/>
                  <a:gd name="connsiteY26" fmla="*/ 88582 h 247650"/>
                  <a:gd name="connsiteX27" fmla="*/ 165735 w 236220"/>
                  <a:gd name="connsiteY27" fmla="*/ 84772 h 247650"/>
                  <a:gd name="connsiteX28" fmla="*/ 182880 w 236220"/>
                  <a:gd name="connsiteY28" fmla="*/ 88582 h 247650"/>
                  <a:gd name="connsiteX29" fmla="*/ 193358 w 236220"/>
                  <a:gd name="connsiteY29" fmla="*/ 95250 h 247650"/>
                  <a:gd name="connsiteX30" fmla="*/ 190500 w 236220"/>
                  <a:gd name="connsiteY30" fmla="*/ 113347 h 247650"/>
                  <a:gd name="connsiteX31" fmla="*/ 197168 w 236220"/>
                  <a:gd name="connsiteY31" fmla="*/ 130397 h 247650"/>
                  <a:gd name="connsiteX32" fmla="*/ 211455 w 236220"/>
                  <a:gd name="connsiteY32" fmla="*/ 144685 h 247650"/>
                  <a:gd name="connsiteX33" fmla="*/ 225743 w 236220"/>
                  <a:gd name="connsiteY33" fmla="*/ 141922 h 247650"/>
                  <a:gd name="connsiteX34" fmla="*/ 236220 w 236220"/>
                  <a:gd name="connsiteY34" fmla="*/ 144685 h 247650"/>
                  <a:gd name="connsiteX35" fmla="*/ 232410 w 236220"/>
                  <a:gd name="connsiteY35" fmla="*/ 158972 h 247650"/>
                  <a:gd name="connsiteX36" fmla="*/ 225743 w 236220"/>
                  <a:gd name="connsiteY36" fmla="*/ 177070 h 247650"/>
                  <a:gd name="connsiteX37" fmla="*/ 225743 w 236220"/>
                  <a:gd name="connsiteY37" fmla="*/ 200882 h 247650"/>
                  <a:gd name="connsiteX38" fmla="*/ 221933 w 236220"/>
                  <a:gd name="connsiteY38" fmla="*/ 212407 h 247650"/>
                  <a:gd name="connsiteX39" fmla="*/ 215265 w 236220"/>
                  <a:gd name="connsiteY39" fmla="*/ 225647 h 247650"/>
                  <a:gd name="connsiteX40" fmla="*/ 197168 w 236220"/>
                  <a:gd name="connsiteY40" fmla="*/ 236220 h 247650"/>
                  <a:gd name="connsiteX41" fmla="*/ 190500 w 236220"/>
                  <a:gd name="connsiteY41" fmla="*/ 239935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36220" h="247650">
                    <a:moveTo>
                      <a:pt x="190500" y="239935"/>
                    </a:moveTo>
                    <a:lnTo>
                      <a:pt x="165735" y="247650"/>
                    </a:lnTo>
                    <a:lnTo>
                      <a:pt x="126683" y="247650"/>
                    </a:lnTo>
                    <a:lnTo>
                      <a:pt x="116205" y="233363"/>
                    </a:lnTo>
                    <a:lnTo>
                      <a:pt x="126683" y="208597"/>
                    </a:lnTo>
                    <a:lnTo>
                      <a:pt x="140970" y="187547"/>
                    </a:lnTo>
                    <a:lnTo>
                      <a:pt x="130493" y="173260"/>
                    </a:lnTo>
                    <a:lnTo>
                      <a:pt x="95250" y="158972"/>
                    </a:lnTo>
                    <a:lnTo>
                      <a:pt x="66675" y="138113"/>
                    </a:lnTo>
                    <a:lnTo>
                      <a:pt x="53340" y="138113"/>
                    </a:lnTo>
                    <a:lnTo>
                      <a:pt x="35243" y="127635"/>
                    </a:lnTo>
                    <a:lnTo>
                      <a:pt x="14288" y="105632"/>
                    </a:lnTo>
                    <a:lnTo>
                      <a:pt x="3810" y="92297"/>
                    </a:lnTo>
                    <a:lnTo>
                      <a:pt x="0" y="81820"/>
                    </a:lnTo>
                    <a:lnTo>
                      <a:pt x="7620" y="74295"/>
                    </a:lnTo>
                    <a:lnTo>
                      <a:pt x="10478" y="57150"/>
                    </a:lnTo>
                    <a:lnTo>
                      <a:pt x="10478" y="38957"/>
                    </a:lnTo>
                    <a:lnTo>
                      <a:pt x="20955" y="14288"/>
                    </a:lnTo>
                    <a:lnTo>
                      <a:pt x="49530" y="3810"/>
                    </a:lnTo>
                    <a:lnTo>
                      <a:pt x="77153" y="0"/>
                    </a:lnTo>
                    <a:lnTo>
                      <a:pt x="99060" y="3810"/>
                    </a:lnTo>
                    <a:lnTo>
                      <a:pt x="116205" y="14288"/>
                    </a:lnTo>
                    <a:lnTo>
                      <a:pt x="126683" y="24670"/>
                    </a:lnTo>
                    <a:lnTo>
                      <a:pt x="134303" y="38957"/>
                    </a:lnTo>
                    <a:lnTo>
                      <a:pt x="134303" y="60007"/>
                    </a:lnTo>
                    <a:lnTo>
                      <a:pt x="134303" y="88582"/>
                    </a:lnTo>
                    <a:lnTo>
                      <a:pt x="151448" y="88582"/>
                    </a:lnTo>
                    <a:lnTo>
                      <a:pt x="165735" y="84772"/>
                    </a:lnTo>
                    <a:lnTo>
                      <a:pt x="182880" y="88582"/>
                    </a:lnTo>
                    <a:lnTo>
                      <a:pt x="193358" y="95250"/>
                    </a:lnTo>
                    <a:lnTo>
                      <a:pt x="190500" y="113347"/>
                    </a:lnTo>
                    <a:lnTo>
                      <a:pt x="197168" y="130397"/>
                    </a:lnTo>
                    <a:lnTo>
                      <a:pt x="211455" y="144685"/>
                    </a:lnTo>
                    <a:lnTo>
                      <a:pt x="225743" y="141922"/>
                    </a:lnTo>
                    <a:lnTo>
                      <a:pt x="236220" y="144685"/>
                    </a:lnTo>
                    <a:lnTo>
                      <a:pt x="232410" y="158972"/>
                    </a:lnTo>
                    <a:lnTo>
                      <a:pt x="225743" y="177070"/>
                    </a:lnTo>
                    <a:lnTo>
                      <a:pt x="225743" y="200882"/>
                    </a:lnTo>
                    <a:lnTo>
                      <a:pt x="221933" y="212407"/>
                    </a:lnTo>
                    <a:lnTo>
                      <a:pt x="215265" y="225647"/>
                    </a:lnTo>
                    <a:lnTo>
                      <a:pt x="197168" y="236220"/>
                    </a:lnTo>
                    <a:lnTo>
                      <a:pt x="190500" y="23993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FC12B606-C50C-C4C5-6039-13E8B760E065}"/>
                  </a:ext>
                </a:extLst>
              </p:cNvPr>
              <p:cNvSpPr/>
              <p:nvPr/>
            </p:nvSpPr>
            <p:spPr>
              <a:xfrm>
                <a:off x="4398117" y="5391566"/>
                <a:ext cx="144727" cy="155000"/>
              </a:xfrm>
              <a:custGeom>
                <a:avLst/>
                <a:gdLst>
                  <a:gd name="connsiteX0" fmla="*/ 35243 w 147637"/>
                  <a:gd name="connsiteY0" fmla="*/ 0 h 158115"/>
                  <a:gd name="connsiteX1" fmla="*/ 52388 w 147637"/>
                  <a:gd name="connsiteY1" fmla="*/ 13335 h 158115"/>
                  <a:gd name="connsiteX2" fmla="*/ 66675 w 147637"/>
                  <a:gd name="connsiteY2" fmla="*/ 31337 h 158115"/>
                  <a:gd name="connsiteX3" fmla="*/ 80963 w 147637"/>
                  <a:gd name="connsiteY3" fmla="*/ 35147 h 158115"/>
                  <a:gd name="connsiteX4" fmla="*/ 105728 w 147637"/>
                  <a:gd name="connsiteY4" fmla="*/ 48578 h 158115"/>
                  <a:gd name="connsiteX5" fmla="*/ 126683 w 147637"/>
                  <a:gd name="connsiteY5" fmla="*/ 66675 h 158115"/>
                  <a:gd name="connsiteX6" fmla="*/ 137160 w 147637"/>
                  <a:gd name="connsiteY6" fmla="*/ 77153 h 158115"/>
                  <a:gd name="connsiteX7" fmla="*/ 143828 w 147637"/>
                  <a:gd name="connsiteY7" fmla="*/ 87535 h 158115"/>
                  <a:gd name="connsiteX8" fmla="*/ 140970 w 147637"/>
                  <a:gd name="connsiteY8" fmla="*/ 98012 h 158115"/>
                  <a:gd name="connsiteX9" fmla="*/ 140970 w 147637"/>
                  <a:gd name="connsiteY9" fmla="*/ 108585 h 158115"/>
                  <a:gd name="connsiteX10" fmla="*/ 147638 w 147637"/>
                  <a:gd name="connsiteY10" fmla="*/ 116110 h 158115"/>
                  <a:gd name="connsiteX11" fmla="*/ 140970 w 147637"/>
                  <a:gd name="connsiteY11" fmla="*/ 122872 h 158115"/>
                  <a:gd name="connsiteX12" fmla="*/ 126683 w 147637"/>
                  <a:gd name="connsiteY12" fmla="*/ 140875 h 158115"/>
                  <a:gd name="connsiteX13" fmla="*/ 116205 w 147637"/>
                  <a:gd name="connsiteY13" fmla="*/ 151447 h 158115"/>
                  <a:gd name="connsiteX14" fmla="*/ 108585 w 147637"/>
                  <a:gd name="connsiteY14" fmla="*/ 155162 h 158115"/>
                  <a:gd name="connsiteX15" fmla="*/ 105728 w 147637"/>
                  <a:gd name="connsiteY15" fmla="*/ 158115 h 158115"/>
                  <a:gd name="connsiteX16" fmla="*/ 73343 w 147637"/>
                  <a:gd name="connsiteY16" fmla="*/ 155162 h 158115"/>
                  <a:gd name="connsiteX17" fmla="*/ 49530 w 147637"/>
                  <a:gd name="connsiteY17" fmla="*/ 151447 h 158115"/>
                  <a:gd name="connsiteX18" fmla="*/ 31433 w 147637"/>
                  <a:gd name="connsiteY18" fmla="*/ 143828 h 158115"/>
                  <a:gd name="connsiteX19" fmla="*/ 10478 w 147637"/>
                  <a:gd name="connsiteY19" fmla="*/ 140875 h 158115"/>
                  <a:gd name="connsiteX20" fmla="*/ 0 w 147637"/>
                  <a:gd name="connsiteY20" fmla="*/ 133350 h 158115"/>
                  <a:gd name="connsiteX21" fmla="*/ 0 w 147637"/>
                  <a:gd name="connsiteY21" fmla="*/ 105728 h 158115"/>
                  <a:gd name="connsiteX22" fmla="*/ 6668 w 147637"/>
                  <a:gd name="connsiteY22" fmla="*/ 70485 h 158115"/>
                  <a:gd name="connsiteX23" fmla="*/ 10478 w 147637"/>
                  <a:gd name="connsiteY23" fmla="*/ 41910 h 158115"/>
                  <a:gd name="connsiteX24" fmla="*/ 17145 w 147637"/>
                  <a:gd name="connsiteY24" fmla="*/ 13335 h 158115"/>
                  <a:gd name="connsiteX25" fmla="*/ 20955 w 147637"/>
                  <a:gd name="connsiteY25" fmla="*/ 2762 h 158115"/>
                  <a:gd name="connsiteX26" fmla="*/ 35243 w 147637"/>
                  <a:gd name="connsiteY26" fmla="*/ 0 h 158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47637" h="158115">
                    <a:moveTo>
                      <a:pt x="35243" y="0"/>
                    </a:moveTo>
                    <a:lnTo>
                      <a:pt x="52388" y="13335"/>
                    </a:lnTo>
                    <a:lnTo>
                      <a:pt x="66675" y="31337"/>
                    </a:lnTo>
                    <a:lnTo>
                      <a:pt x="80963" y="35147"/>
                    </a:lnTo>
                    <a:lnTo>
                      <a:pt x="105728" y="48578"/>
                    </a:lnTo>
                    <a:lnTo>
                      <a:pt x="126683" y="66675"/>
                    </a:lnTo>
                    <a:lnTo>
                      <a:pt x="137160" y="77153"/>
                    </a:lnTo>
                    <a:lnTo>
                      <a:pt x="143828" y="87535"/>
                    </a:lnTo>
                    <a:lnTo>
                      <a:pt x="140970" y="98012"/>
                    </a:lnTo>
                    <a:lnTo>
                      <a:pt x="140970" y="108585"/>
                    </a:lnTo>
                    <a:lnTo>
                      <a:pt x="147638" y="116110"/>
                    </a:lnTo>
                    <a:lnTo>
                      <a:pt x="140970" y="122872"/>
                    </a:lnTo>
                    <a:lnTo>
                      <a:pt x="126683" y="140875"/>
                    </a:lnTo>
                    <a:lnTo>
                      <a:pt x="116205" y="151447"/>
                    </a:lnTo>
                    <a:lnTo>
                      <a:pt x="108585" y="155162"/>
                    </a:lnTo>
                    <a:lnTo>
                      <a:pt x="105728" y="158115"/>
                    </a:lnTo>
                    <a:lnTo>
                      <a:pt x="73343" y="155162"/>
                    </a:lnTo>
                    <a:lnTo>
                      <a:pt x="49530" y="151447"/>
                    </a:lnTo>
                    <a:lnTo>
                      <a:pt x="31433" y="143828"/>
                    </a:lnTo>
                    <a:lnTo>
                      <a:pt x="10478" y="140875"/>
                    </a:lnTo>
                    <a:lnTo>
                      <a:pt x="0" y="133350"/>
                    </a:lnTo>
                    <a:lnTo>
                      <a:pt x="0" y="105728"/>
                    </a:lnTo>
                    <a:lnTo>
                      <a:pt x="6668" y="70485"/>
                    </a:lnTo>
                    <a:lnTo>
                      <a:pt x="10478" y="41910"/>
                    </a:lnTo>
                    <a:lnTo>
                      <a:pt x="17145" y="13335"/>
                    </a:lnTo>
                    <a:lnTo>
                      <a:pt x="20955" y="2762"/>
                    </a:lnTo>
                    <a:lnTo>
                      <a:pt x="3524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BE3320BC-A1D5-4358-06FA-3EBBD767039E}"/>
                  </a:ext>
                </a:extLst>
              </p:cNvPr>
              <p:cNvSpPr/>
              <p:nvPr/>
            </p:nvSpPr>
            <p:spPr>
              <a:xfrm>
                <a:off x="4398117" y="5391566"/>
                <a:ext cx="144727" cy="155000"/>
              </a:xfrm>
              <a:custGeom>
                <a:avLst/>
                <a:gdLst>
                  <a:gd name="connsiteX0" fmla="*/ 35243 w 147637"/>
                  <a:gd name="connsiteY0" fmla="*/ 0 h 158115"/>
                  <a:gd name="connsiteX1" fmla="*/ 52388 w 147637"/>
                  <a:gd name="connsiteY1" fmla="*/ 13335 h 158115"/>
                  <a:gd name="connsiteX2" fmla="*/ 66675 w 147637"/>
                  <a:gd name="connsiteY2" fmla="*/ 31337 h 158115"/>
                  <a:gd name="connsiteX3" fmla="*/ 80963 w 147637"/>
                  <a:gd name="connsiteY3" fmla="*/ 35147 h 158115"/>
                  <a:gd name="connsiteX4" fmla="*/ 105728 w 147637"/>
                  <a:gd name="connsiteY4" fmla="*/ 48578 h 158115"/>
                  <a:gd name="connsiteX5" fmla="*/ 126683 w 147637"/>
                  <a:gd name="connsiteY5" fmla="*/ 66675 h 158115"/>
                  <a:gd name="connsiteX6" fmla="*/ 137160 w 147637"/>
                  <a:gd name="connsiteY6" fmla="*/ 77153 h 158115"/>
                  <a:gd name="connsiteX7" fmla="*/ 143828 w 147637"/>
                  <a:gd name="connsiteY7" fmla="*/ 87535 h 158115"/>
                  <a:gd name="connsiteX8" fmla="*/ 140970 w 147637"/>
                  <a:gd name="connsiteY8" fmla="*/ 98012 h 158115"/>
                  <a:gd name="connsiteX9" fmla="*/ 140970 w 147637"/>
                  <a:gd name="connsiteY9" fmla="*/ 108585 h 158115"/>
                  <a:gd name="connsiteX10" fmla="*/ 147638 w 147637"/>
                  <a:gd name="connsiteY10" fmla="*/ 116110 h 158115"/>
                  <a:gd name="connsiteX11" fmla="*/ 140970 w 147637"/>
                  <a:gd name="connsiteY11" fmla="*/ 122872 h 158115"/>
                  <a:gd name="connsiteX12" fmla="*/ 126683 w 147637"/>
                  <a:gd name="connsiteY12" fmla="*/ 140875 h 158115"/>
                  <a:gd name="connsiteX13" fmla="*/ 116205 w 147637"/>
                  <a:gd name="connsiteY13" fmla="*/ 151447 h 158115"/>
                  <a:gd name="connsiteX14" fmla="*/ 108585 w 147637"/>
                  <a:gd name="connsiteY14" fmla="*/ 155162 h 158115"/>
                  <a:gd name="connsiteX15" fmla="*/ 105728 w 147637"/>
                  <a:gd name="connsiteY15" fmla="*/ 158115 h 158115"/>
                  <a:gd name="connsiteX16" fmla="*/ 73343 w 147637"/>
                  <a:gd name="connsiteY16" fmla="*/ 155162 h 158115"/>
                  <a:gd name="connsiteX17" fmla="*/ 49530 w 147637"/>
                  <a:gd name="connsiteY17" fmla="*/ 151447 h 158115"/>
                  <a:gd name="connsiteX18" fmla="*/ 31433 w 147637"/>
                  <a:gd name="connsiteY18" fmla="*/ 143828 h 158115"/>
                  <a:gd name="connsiteX19" fmla="*/ 10478 w 147637"/>
                  <a:gd name="connsiteY19" fmla="*/ 140875 h 158115"/>
                  <a:gd name="connsiteX20" fmla="*/ 0 w 147637"/>
                  <a:gd name="connsiteY20" fmla="*/ 133350 h 158115"/>
                  <a:gd name="connsiteX21" fmla="*/ 0 w 147637"/>
                  <a:gd name="connsiteY21" fmla="*/ 105728 h 158115"/>
                  <a:gd name="connsiteX22" fmla="*/ 6668 w 147637"/>
                  <a:gd name="connsiteY22" fmla="*/ 70485 h 158115"/>
                  <a:gd name="connsiteX23" fmla="*/ 10478 w 147637"/>
                  <a:gd name="connsiteY23" fmla="*/ 41910 h 158115"/>
                  <a:gd name="connsiteX24" fmla="*/ 17145 w 147637"/>
                  <a:gd name="connsiteY24" fmla="*/ 13335 h 158115"/>
                  <a:gd name="connsiteX25" fmla="*/ 20955 w 147637"/>
                  <a:gd name="connsiteY25" fmla="*/ 2762 h 158115"/>
                  <a:gd name="connsiteX26" fmla="*/ 35243 w 147637"/>
                  <a:gd name="connsiteY26" fmla="*/ 0 h 158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47637" h="158115">
                    <a:moveTo>
                      <a:pt x="35243" y="0"/>
                    </a:moveTo>
                    <a:lnTo>
                      <a:pt x="52388" y="13335"/>
                    </a:lnTo>
                    <a:lnTo>
                      <a:pt x="66675" y="31337"/>
                    </a:lnTo>
                    <a:lnTo>
                      <a:pt x="80963" y="35147"/>
                    </a:lnTo>
                    <a:lnTo>
                      <a:pt x="105728" y="48578"/>
                    </a:lnTo>
                    <a:lnTo>
                      <a:pt x="126683" y="66675"/>
                    </a:lnTo>
                    <a:lnTo>
                      <a:pt x="137160" y="77153"/>
                    </a:lnTo>
                    <a:lnTo>
                      <a:pt x="143828" y="87535"/>
                    </a:lnTo>
                    <a:lnTo>
                      <a:pt x="140970" y="98012"/>
                    </a:lnTo>
                    <a:lnTo>
                      <a:pt x="140970" y="108585"/>
                    </a:lnTo>
                    <a:lnTo>
                      <a:pt x="147638" y="116110"/>
                    </a:lnTo>
                    <a:lnTo>
                      <a:pt x="140970" y="122872"/>
                    </a:lnTo>
                    <a:lnTo>
                      <a:pt x="126683" y="140875"/>
                    </a:lnTo>
                    <a:lnTo>
                      <a:pt x="116205" y="151447"/>
                    </a:lnTo>
                    <a:lnTo>
                      <a:pt x="108585" y="155162"/>
                    </a:lnTo>
                    <a:lnTo>
                      <a:pt x="105728" y="158115"/>
                    </a:lnTo>
                    <a:lnTo>
                      <a:pt x="73343" y="155162"/>
                    </a:lnTo>
                    <a:lnTo>
                      <a:pt x="49530" y="151447"/>
                    </a:lnTo>
                    <a:lnTo>
                      <a:pt x="31433" y="143828"/>
                    </a:lnTo>
                    <a:lnTo>
                      <a:pt x="10478" y="140875"/>
                    </a:lnTo>
                    <a:lnTo>
                      <a:pt x="0" y="133350"/>
                    </a:lnTo>
                    <a:lnTo>
                      <a:pt x="0" y="105728"/>
                    </a:lnTo>
                    <a:lnTo>
                      <a:pt x="6668" y="70485"/>
                    </a:lnTo>
                    <a:lnTo>
                      <a:pt x="10478" y="41910"/>
                    </a:lnTo>
                    <a:lnTo>
                      <a:pt x="17145" y="13335"/>
                    </a:lnTo>
                    <a:lnTo>
                      <a:pt x="20955" y="2762"/>
                    </a:lnTo>
                    <a:lnTo>
                      <a:pt x="35243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494DEEC6-BB0B-726A-0E21-878A7B056B77}"/>
                  </a:ext>
                </a:extLst>
              </p:cNvPr>
              <p:cNvSpPr/>
              <p:nvPr/>
            </p:nvSpPr>
            <p:spPr>
              <a:xfrm>
                <a:off x="3983543" y="5156173"/>
                <a:ext cx="545294" cy="971174"/>
              </a:xfrm>
              <a:custGeom>
                <a:avLst/>
                <a:gdLst>
                  <a:gd name="connsiteX0" fmla="*/ 180022 w 556259"/>
                  <a:gd name="connsiteY0" fmla="*/ 31528 h 990695"/>
                  <a:gd name="connsiteX1" fmla="*/ 182880 w 556259"/>
                  <a:gd name="connsiteY1" fmla="*/ 17240 h 990695"/>
                  <a:gd name="connsiteX2" fmla="*/ 190500 w 556259"/>
                  <a:gd name="connsiteY2" fmla="*/ 10573 h 990695"/>
                  <a:gd name="connsiteX3" fmla="*/ 204788 w 556259"/>
                  <a:gd name="connsiteY3" fmla="*/ 0 h 990695"/>
                  <a:gd name="connsiteX4" fmla="*/ 218122 w 556259"/>
                  <a:gd name="connsiteY4" fmla="*/ 10573 h 990695"/>
                  <a:gd name="connsiteX5" fmla="*/ 242888 w 556259"/>
                  <a:gd name="connsiteY5" fmla="*/ 6763 h 990695"/>
                  <a:gd name="connsiteX6" fmla="*/ 260985 w 556259"/>
                  <a:gd name="connsiteY6" fmla="*/ 27622 h 990695"/>
                  <a:gd name="connsiteX7" fmla="*/ 271463 w 556259"/>
                  <a:gd name="connsiteY7" fmla="*/ 3810 h 990695"/>
                  <a:gd name="connsiteX8" fmla="*/ 302895 w 556259"/>
                  <a:gd name="connsiteY8" fmla="*/ 3810 h 990695"/>
                  <a:gd name="connsiteX9" fmla="*/ 306705 w 556259"/>
                  <a:gd name="connsiteY9" fmla="*/ 14288 h 990695"/>
                  <a:gd name="connsiteX10" fmla="*/ 317182 w 556259"/>
                  <a:gd name="connsiteY10" fmla="*/ 27622 h 990695"/>
                  <a:gd name="connsiteX11" fmla="*/ 334328 w 556259"/>
                  <a:gd name="connsiteY11" fmla="*/ 45815 h 990695"/>
                  <a:gd name="connsiteX12" fmla="*/ 338138 w 556259"/>
                  <a:gd name="connsiteY12" fmla="*/ 49625 h 990695"/>
                  <a:gd name="connsiteX13" fmla="*/ 356235 w 556259"/>
                  <a:gd name="connsiteY13" fmla="*/ 60103 h 990695"/>
                  <a:gd name="connsiteX14" fmla="*/ 369570 w 556259"/>
                  <a:gd name="connsiteY14" fmla="*/ 60103 h 990695"/>
                  <a:gd name="connsiteX15" fmla="*/ 387668 w 556259"/>
                  <a:gd name="connsiteY15" fmla="*/ 70485 h 990695"/>
                  <a:gd name="connsiteX16" fmla="*/ 398145 w 556259"/>
                  <a:gd name="connsiteY16" fmla="*/ 80963 h 990695"/>
                  <a:gd name="connsiteX17" fmla="*/ 415290 w 556259"/>
                  <a:gd name="connsiteY17" fmla="*/ 87725 h 990695"/>
                  <a:gd name="connsiteX18" fmla="*/ 433388 w 556259"/>
                  <a:gd name="connsiteY18" fmla="*/ 95250 h 990695"/>
                  <a:gd name="connsiteX19" fmla="*/ 443865 w 556259"/>
                  <a:gd name="connsiteY19" fmla="*/ 109538 h 990695"/>
                  <a:gd name="connsiteX20" fmla="*/ 433388 w 556259"/>
                  <a:gd name="connsiteY20" fmla="*/ 126778 h 990695"/>
                  <a:gd name="connsiteX21" fmla="*/ 419100 w 556259"/>
                  <a:gd name="connsiteY21" fmla="*/ 155353 h 990695"/>
                  <a:gd name="connsiteX22" fmla="*/ 429578 w 556259"/>
                  <a:gd name="connsiteY22" fmla="*/ 169640 h 990695"/>
                  <a:gd name="connsiteX23" fmla="*/ 468630 w 556259"/>
                  <a:gd name="connsiteY23" fmla="*/ 169640 h 990695"/>
                  <a:gd name="connsiteX24" fmla="*/ 493395 w 556259"/>
                  <a:gd name="connsiteY24" fmla="*/ 161925 h 990695"/>
                  <a:gd name="connsiteX25" fmla="*/ 507682 w 556259"/>
                  <a:gd name="connsiteY25" fmla="*/ 151447 h 990695"/>
                  <a:gd name="connsiteX26" fmla="*/ 518160 w 556259"/>
                  <a:gd name="connsiteY26" fmla="*/ 147638 h 990695"/>
                  <a:gd name="connsiteX27" fmla="*/ 528638 w 556259"/>
                  <a:gd name="connsiteY27" fmla="*/ 122872 h 990695"/>
                  <a:gd name="connsiteX28" fmla="*/ 528638 w 556259"/>
                  <a:gd name="connsiteY28" fmla="*/ 105823 h 990695"/>
                  <a:gd name="connsiteX29" fmla="*/ 545782 w 556259"/>
                  <a:gd name="connsiteY29" fmla="*/ 109538 h 990695"/>
                  <a:gd name="connsiteX30" fmla="*/ 553403 w 556259"/>
                  <a:gd name="connsiteY30" fmla="*/ 116300 h 990695"/>
                  <a:gd name="connsiteX31" fmla="*/ 556260 w 556259"/>
                  <a:gd name="connsiteY31" fmla="*/ 134398 h 990695"/>
                  <a:gd name="connsiteX32" fmla="*/ 549593 w 556259"/>
                  <a:gd name="connsiteY32" fmla="*/ 155353 h 990695"/>
                  <a:gd name="connsiteX33" fmla="*/ 542925 w 556259"/>
                  <a:gd name="connsiteY33" fmla="*/ 165735 h 990695"/>
                  <a:gd name="connsiteX34" fmla="*/ 528638 w 556259"/>
                  <a:gd name="connsiteY34" fmla="*/ 172498 h 990695"/>
                  <a:gd name="connsiteX35" fmla="*/ 514350 w 556259"/>
                  <a:gd name="connsiteY35" fmla="*/ 182975 h 990695"/>
                  <a:gd name="connsiteX36" fmla="*/ 496253 w 556259"/>
                  <a:gd name="connsiteY36" fmla="*/ 197263 h 990695"/>
                  <a:gd name="connsiteX37" fmla="*/ 482918 w 556259"/>
                  <a:gd name="connsiteY37" fmla="*/ 207740 h 990695"/>
                  <a:gd name="connsiteX38" fmla="*/ 472440 w 556259"/>
                  <a:gd name="connsiteY38" fmla="*/ 225838 h 990695"/>
                  <a:gd name="connsiteX39" fmla="*/ 461963 w 556259"/>
                  <a:gd name="connsiteY39" fmla="*/ 232410 h 990695"/>
                  <a:gd name="connsiteX40" fmla="*/ 458153 w 556259"/>
                  <a:gd name="connsiteY40" fmla="*/ 240125 h 990695"/>
                  <a:gd name="connsiteX41" fmla="*/ 443865 w 556259"/>
                  <a:gd name="connsiteY41" fmla="*/ 242888 h 990695"/>
                  <a:gd name="connsiteX42" fmla="*/ 433388 w 556259"/>
                  <a:gd name="connsiteY42" fmla="*/ 282035 h 990695"/>
                  <a:gd name="connsiteX43" fmla="*/ 429578 w 556259"/>
                  <a:gd name="connsiteY43" fmla="*/ 306800 h 990695"/>
                  <a:gd name="connsiteX44" fmla="*/ 422910 w 556259"/>
                  <a:gd name="connsiteY44" fmla="*/ 338138 h 990695"/>
                  <a:gd name="connsiteX45" fmla="*/ 422910 w 556259"/>
                  <a:gd name="connsiteY45" fmla="*/ 373475 h 990695"/>
                  <a:gd name="connsiteX46" fmla="*/ 415290 w 556259"/>
                  <a:gd name="connsiteY46" fmla="*/ 381000 h 990695"/>
                  <a:gd name="connsiteX47" fmla="*/ 412432 w 556259"/>
                  <a:gd name="connsiteY47" fmla="*/ 391573 h 990695"/>
                  <a:gd name="connsiteX48" fmla="*/ 429578 w 556259"/>
                  <a:gd name="connsiteY48" fmla="*/ 395288 h 990695"/>
                  <a:gd name="connsiteX49" fmla="*/ 447675 w 556259"/>
                  <a:gd name="connsiteY49" fmla="*/ 402050 h 990695"/>
                  <a:gd name="connsiteX50" fmla="*/ 454343 w 556259"/>
                  <a:gd name="connsiteY50" fmla="*/ 416338 h 990695"/>
                  <a:gd name="connsiteX51" fmla="*/ 450532 w 556259"/>
                  <a:gd name="connsiteY51" fmla="*/ 430625 h 990695"/>
                  <a:gd name="connsiteX52" fmla="*/ 454343 w 556259"/>
                  <a:gd name="connsiteY52" fmla="*/ 437197 h 990695"/>
                  <a:gd name="connsiteX53" fmla="*/ 468630 w 556259"/>
                  <a:gd name="connsiteY53" fmla="*/ 447675 h 990695"/>
                  <a:gd name="connsiteX54" fmla="*/ 468630 w 556259"/>
                  <a:gd name="connsiteY54" fmla="*/ 472535 h 990695"/>
                  <a:gd name="connsiteX55" fmla="*/ 447675 w 556259"/>
                  <a:gd name="connsiteY55" fmla="*/ 501110 h 990695"/>
                  <a:gd name="connsiteX56" fmla="*/ 422910 w 556259"/>
                  <a:gd name="connsiteY56" fmla="*/ 518160 h 990695"/>
                  <a:gd name="connsiteX57" fmla="*/ 387668 w 556259"/>
                  <a:gd name="connsiteY57" fmla="*/ 522065 h 990695"/>
                  <a:gd name="connsiteX58" fmla="*/ 362903 w 556259"/>
                  <a:gd name="connsiteY58" fmla="*/ 524923 h 990695"/>
                  <a:gd name="connsiteX59" fmla="*/ 334328 w 556259"/>
                  <a:gd name="connsiteY59" fmla="*/ 528638 h 990695"/>
                  <a:gd name="connsiteX60" fmla="*/ 317182 w 556259"/>
                  <a:gd name="connsiteY60" fmla="*/ 524923 h 990695"/>
                  <a:gd name="connsiteX61" fmla="*/ 313372 w 556259"/>
                  <a:gd name="connsiteY61" fmla="*/ 536353 h 990695"/>
                  <a:gd name="connsiteX62" fmla="*/ 317182 w 556259"/>
                  <a:gd name="connsiteY62" fmla="*/ 553498 h 990695"/>
                  <a:gd name="connsiteX63" fmla="*/ 313372 w 556259"/>
                  <a:gd name="connsiteY63" fmla="*/ 582073 h 990695"/>
                  <a:gd name="connsiteX64" fmla="*/ 299085 w 556259"/>
                  <a:gd name="connsiteY64" fmla="*/ 596360 h 990695"/>
                  <a:gd name="connsiteX65" fmla="*/ 285750 w 556259"/>
                  <a:gd name="connsiteY65" fmla="*/ 603028 h 990695"/>
                  <a:gd name="connsiteX66" fmla="*/ 260985 w 556259"/>
                  <a:gd name="connsiteY66" fmla="*/ 592550 h 990695"/>
                  <a:gd name="connsiteX67" fmla="*/ 250507 w 556259"/>
                  <a:gd name="connsiteY67" fmla="*/ 588740 h 990695"/>
                  <a:gd name="connsiteX68" fmla="*/ 240030 w 556259"/>
                  <a:gd name="connsiteY68" fmla="*/ 584835 h 990695"/>
                  <a:gd name="connsiteX69" fmla="*/ 236220 w 556259"/>
                  <a:gd name="connsiteY69" fmla="*/ 596360 h 990695"/>
                  <a:gd name="connsiteX70" fmla="*/ 240030 w 556259"/>
                  <a:gd name="connsiteY70" fmla="*/ 623888 h 990695"/>
                  <a:gd name="connsiteX71" fmla="*/ 240030 w 556259"/>
                  <a:gd name="connsiteY71" fmla="*/ 638175 h 990695"/>
                  <a:gd name="connsiteX72" fmla="*/ 250507 w 556259"/>
                  <a:gd name="connsiteY72" fmla="*/ 641985 h 990695"/>
                  <a:gd name="connsiteX73" fmla="*/ 263843 w 556259"/>
                  <a:gd name="connsiteY73" fmla="*/ 641985 h 990695"/>
                  <a:gd name="connsiteX74" fmla="*/ 263843 w 556259"/>
                  <a:gd name="connsiteY74" fmla="*/ 638175 h 990695"/>
                  <a:gd name="connsiteX75" fmla="*/ 271463 w 556259"/>
                  <a:gd name="connsiteY75" fmla="*/ 634460 h 990695"/>
                  <a:gd name="connsiteX76" fmla="*/ 278130 w 556259"/>
                  <a:gd name="connsiteY76" fmla="*/ 641985 h 990695"/>
                  <a:gd name="connsiteX77" fmla="*/ 278130 w 556259"/>
                  <a:gd name="connsiteY77" fmla="*/ 652463 h 990695"/>
                  <a:gd name="connsiteX78" fmla="*/ 267653 w 556259"/>
                  <a:gd name="connsiteY78" fmla="*/ 659225 h 990695"/>
                  <a:gd name="connsiteX79" fmla="*/ 260985 w 556259"/>
                  <a:gd name="connsiteY79" fmla="*/ 655415 h 990695"/>
                  <a:gd name="connsiteX80" fmla="*/ 257175 w 556259"/>
                  <a:gd name="connsiteY80" fmla="*/ 648748 h 990695"/>
                  <a:gd name="connsiteX81" fmla="*/ 250507 w 556259"/>
                  <a:gd name="connsiteY81" fmla="*/ 648748 h 990695"/>
                  <a:gd name="connsiteX82" fmla="*/ 242888 w 556259"/>
                  <a:gd name="connsiteY82" fmla="*/ 652463 h 990695"/>
                  <a:gd name="connsiteX83" fmla="*/ 246697 w 556259"/>
                  <a:gd name="connsiteY83" fmla="*/ 663035 h 990695"/>
                  <a:gd name="connsiteX84" fmla="*/ 240030 w 556259"/>
                  <a:gd name="connsiteY84" fmla="*/ 673513 h 990695"/>
                  <a:gd name="connsiteX85" fmla="*/ 228600 w 556259"/>
                  <a:gd name="connsiteY85" fmla="*/ 677323 h 990695"/>
                  <a:gd name="connsiteX86" fmla="*/ 232410 w 556259"/>
                  <a:gd name="connsiteY86" fmla="*/ 698278 h 990695"/>
                  <a:gd name="connsiteX87" fmla="*/ 221932 w 556259"/>
                  <a:gd name="connsiteY87" fmla="*/ 719138 h 990695"/>
                  <a:gd name="connsiteX88" fmla="*/ 218122 w 556259"/>
                  <a:gd name="connsiteY88" fmla="*/ 722947 h 990695"/>
                  <a:gd name="connsiteX89" fmla="*/ 207645 w 556259"/>
                  <a:gd name="connsiteY89" fmla="*/ 729710 h 990695"/>
                  <a:gd name="connsiteX90" fmla="*/ 186690 w 556259"/>
                  <a:gd name="connsiteY90" fmla="*/ 740188 h 990695"/>
                  <a:gd name="connsiteX91" fmla="*/ 165735 w 556259"/>
                  <a:gd name="connsiteY91" fmla="*/ 762000 h 990695"/>
                  <a:gd name="connsiteX92" fmla="*/ 169545 w 556259"/>
                  <a:gd name="connsiteY92" fmla="*/ 783050 h 990695"/>
                  <a:gd name="connsiteX93" fmla="*/ 186690 w 556259"/>
                  <a:gd name="connsiteY93" fmla="*/ 800100 h 990695"/>
                  <a:gd name="connsiteX94" fmla="*/ 186690 w 556259"/>
                  <a:gd name="connsiteY94" fmla="*/ 803910 h 990695"/>
                  <a:gd name="connsiteX95" fmla="*/ 197168 w 556259"/>
                  <a:gd name="connsiteY95" fmla="*/ 803910 h 990695"/>
                  <a:gd name="connsiteX96" fmla="*/ 215265 w 556259"/>
                  <a:gd name="connsiteY96" fmla="*/ 807815 h 990695"/>
                  <a:gd name="connsiteX97" fmla="*/ 215265 w 556259"/>
                  <a:gd name="connsiteY97" fmla="*/ 821055 h 990695"/>
                  <a:gd name="connsiteX98" fmla="*/ 207645 w 556259"/>
                  <a:gd name="connsiteY98" fmla="*/ 835343 h 990695"/>
                  <a:gd name="connsiteX99" fmla="*/ 182880 w 556259"/>
                  <a:gd name="connsiteY99" fmla="*/ 856297 h 990695"/>
                  <a:gd name="connsiteX100" fmla="*/ 165735 w 556259"/>
                  <a:gd name="connsiteY100" fmla="*/ 874490 h 990695"/>
                  <a:gd name="connsiteX101" fmla="*/ 159068 w 556259"/>
                  <a:gd name="connsiteY101" fmla="*/ 899160 h 990695"/>
                  <a:gd name="connsiteX102" fmla="*/ 155257 w 556259"/>
                  <a:gd name="connsiteY102" fmla="*/ 909733 h 990695"/>
                  <a:gd name="connsiteX103" fmla="*/ 134303 w 556259"/>
                  <a:gd name="connsiteY103" fmla="*/ 913447 h 990695"/>
                  <a:gd name="connsiteX104" fmla="*/ 123825 w 556259"/>
                  <a:gd name="connsiteY104" fmla="*/ 924020 h 990695"/>
                  <a:gd name="connsiteX105" fmla="*/ 116205 w 556259"/>
                  <a:gd name="connsiteY105" fmla="*/ 948785 h 990695"/>
                  <a:gd name="connsiteX106" fmla="*/ 120015 w 556259"/>
                  <a:gd name="connsiteY106" fmla="*/ 963073 h 990695"/>
                  <a:gd name="connsiteX107" fmla="*/ 126682 w 556259"/>
                  <a:gd name="connsiteY107" fmla="*/ 973455 h 990695"/>
                  <a:gd name="connsiteX108" fmla="*/ 137160 w 556259"/>
                  <a:gd name="connsiteY108" fmla="*/ 986885 h 990695"/>
                  <a:gd name="connsiteX109" fmla="*/ 134303 w 556259"/>
                  <a:gd name="connsiteY109" fmla="*/ 990695 h 990695"/>
                  <a:gd name="connsiteX110" fmla="*/ 105728 w 556259"/>
                  <a:gd name="connsiteY110" fmla="*/ 984028 h 990695"/>
                  <a:gd name="connsiteX111" fmla="*/ 60007 w 556259"/>
                  <a:gd name="connsiteY111" fmla="*/ 984028 h 990695"/>
                  <a:gd name="connsiteX112" fmla="*/ 42863 w 556259"/>
                  <a:gd name="connsiteY112" fmla="*/ 980122 h 990695"/>
                  <a:gd name="connsiteX113" fmla="*/ 31432 w 556259"/>
                  <a:gd name="connsiteY113" fmla="*/ 959168 h 990695"/>
                  <a:gd name="connsiteX114" fmla="*/ 31432 w 556259"/>
                  <a:gd name="connsiteY114" fmla="*/ 930593 h 990695"/>
                  <a:gd name="connsiteX115" fmla="*/ 10478 w 556259"/>
                  <a:gd name="connsiteY115" fmla="*/ 927735 h 990695"/>
                  <a:gd name="connsiteX116" fmla="*/ 3810 w 556259"/>
                  <a:gd name="connsiteY116" fmla="*/ 916305 h 990695"/>
                  <a:gd name="connsiteX117" fmla="*/ 0 w 556259"/>
                  <a:gd name="connsiteY117" fmla="*/ 899160 h 990695"/>
                  <a:gd name="connsiteX118" fmla="*/ 3810 w 556259"/>
                  <a:gd name="connsiteY118" fmla="*/ 881158 h 990695"/>
                  <a:gd name="connsiteX119" fmla="*/ 18097 w 556259"/>
                  <a:gd name="connsiteY119" fmla="*/ 867823 h 990695"/>
                  <a:gd name="connsiteX120" fmla="*/ 31432 w 556259"/>
                  <a:gd name="connsiteY120" fmla="*/ 845915 h 990695"/>
                  <a:gd name="connsiteX121" fmla="*/ 35243 w 556259"/>
                  <a:gd name="connsiteY121" fmla="*/ 814483 h 990695"/>
                  <a:gd name="connsiteX122" fmla="*/ 49530 w 556259"/>
                  <a:gd name="connsiteY122" fmla="*/ 793528 h 990695"/>
                  <a:gd name="connsiteX123" fmla="*/ 49530 w 556259"/>
                  <a:gd name="connsiteY123" fmla="*/ 747713 h 990695"/>
                  <a:gd name="connsiteX124" fmla="*/ 53340 w 556259"/>
                  <a:gd name="connsiteY124" fmla="*/ 726853 h 990695"/>
                  <a:gd name="connsiteX125" fmla="*/ 45720 w 556259"/>
                  <a:gd name="connsiteY125" fmla="*/ 704850 h 990695"/>
                  <a:gd name="connsiteX126" fmla="*/ 45720 w 556259"/>
                  <a:gd name="connsiteY126" fmla="*/ 669703 h 990695"/>
                  <a:gd name="connsiteX127" fmla="*/ 39053 w 556259"/>
                  <a:gd name="connsiteY127" fmla="*/ 663035 h 990695"/>
                  <a:gd name="connsiteX128" fmla="*/ 42863 w 556259"/>
                  <a:gd name="connsiteY128" fmla="*/ 634460 h 990695"/>
                  <a:gd name="connsiteX129" fmla="*/ 45720 w 556259"/>
                  <a:gd name="connsiteY129" fmla="*/ 613410 h 990695"/>
                  <a:gd name="connsiteX130" fmla="*/ 49530 w 556259"/>
                  <a:gd name="connsiteY130" fmla="*/ 561022 h 990695"/>
                  <a:gd name="connsiteX131" fmla="*/ 63818 w 556259"/>
                  <a:gd name="connsiteY131" fmla="*/ 532447 h 990695"/>
                  <a:gd name="connsiteX132" fmla="*/ 66675 w 556259"/>
                  <a:gd name="connsiteY132" fmla="*/ 522065 h 990695"/>
                  <a:gd name="connsiteX133" fmla="*/ 70485 w 556259"/>
                  <a:gd name="connsiteY133" fmla="*/ 514350 h 990695"/>
                  <a:gd name="connsiteX134" fmla="*/ 70485 w 556259"/>
                  <a:gd name="connsiteY134" fmla="*/ 489585 h 990695"/>
                  <a:gd name="connsiteX135" fmla="*/ 66675 w 556259"/>
                  <a:gd name="connsiteY135" fmla="*/ 447675 h 990695"/>
                  <a:gd name="connsiteX136" fmla="*/ 77153 w 556259"/>
                  <a:gd name="connsiteY136" fmla="*/ 437197 h 990695"/>
                  <a:gd name="connsiteX137" fmla="*/ 84772 w 556259"/>
                  <a:gd name="connsiteY137" fmla="*/ 430625 h 990695"/>
                  <a:gd name="connsiteX138" fmla="*/ 88582 w 556259"/>
                  <a:gd name="connsiteY138" fmla="*/ 395288 h 990695"/>
                  <a:gd name="connsiteX139" fmla="*/ 95250 w 556259"/>
                  <a:gd name="connsiteY139" fmla="*/ 381000 h 990695"/>
                  <a:gd name="connsiteX140" fmla="*/ 99060 w 556259"/>
                  <a:gd name="connsiteY140" fmla="*/ 345853 h 990695"/>
                  <a:gd name="connsiteX141" fmla="*/ 91440 w 556259"/>
                  <a:gd name="connsiteY141" fmla="*/ 317278 h 990695"/>
                  <a:gd name="connsiteX142" fmla="*/ 84772 w 556259"/>
                  <a:gd name="connsiteY142" fmla="*/ 302990 h 990695"/>
                  <a:gd name="connsiteX143" fmla="*/ 84772 w 556259"/>
                  <a:gd name="connsiteY143" fmla="*/ 275272 h 990695"/>
                  <a:gd name="connsiteX144" fmla="*/ 91440 w 556259"/>
                  <a:gd name="connsiteY144" fmla="*/ 260985 h 990695"/>
                  <a:gd name="connsiteX145" fmla="*/ 99060 w 556259"/>
                  <a:gd name="connsiteY145" fmla="*/ 211550 h 990695"/>
                  <a:gd name="connsiteX146" fmla="*/ 112395 w 556259"/>
                  <a:gd name="connsiteY146" fmla="*/ 186785 h 990695"/>
                  <a:gd name="connsiteX147" fmla="*/ 130493 w 556259"/>
                  <a:gd name="connsiteY147" fmla="*/ 161925 h 990695"/>
                  <a:gd name="connsiteX148" fmla="*/ 140970 w 556259"/>
                  <a:gd name="connsiteY148" fmla="*/ 144875 h 990695"/>
                  <a:gd name="connsiteX149" fmla="*/ 134303 w 556259"/>
                  <a:gd name="connsiteY149" fmla="*/ 91535 h 990695"/>
                  <a:gd name="connsiteX150" fmla="*/ 144780 w 556259"/>
                  <a:gd name="connsiteY150" fmla="*/ 80963 h 990695"/>
                  <a:gd name="connsiteX151" fmla="*/ 159068 w 556259"/>
                  <a:gd name="connsiteY151" fmla="*/ 74390 h 990695"/>
                  <a:gd name="connsiteX152" fmla="*/ 176213 w 556259"/>
                  <a:gd name="connsiteY152" fmla="*/ 52388 h 990695"/>
                  <a:gd name="connsiteX153" fmla="*/ 180022 w 556259"/>
                  <a:gd name="connsiteY153" fmla="*/ 31528 h 9906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556259" h="990695">
                    <a:moveTo>
                      <a:pt x="180022" y="31528"/>
                    </a:moveTo>
                    <a:lnTo>
                      <a:pt x="182880" y="17240"/>
                    </a:lnTo>
                    <a:lnTo>
                      <a:pt x="190500" y="10573"/>
                    </a:lnTo>
                    <a:lnTo>
                      <a:pt x="204788" y="0"/>
                    </a:lnTo>
                    <a:lnTo>
                      <a:pt x="218122" y="10573"/>
                    </a:lnTo>
                    <a:lnTo>
                      <a:pt x="242888" y="6763"/>
                    </a:lnTo>
                    <a:lnTo>
                      <a:pt x="260985" y="27622"/>
                    </a:lnTo>
                    <a:lnTo>
                      <a:pt x="271463" y="3810"/>
                    </a:lnTo>
                    <a:lnTo>
                      <a:pt x="302895" y="3810"/>
                    </a:lnTo>
                    <a:lnTo>
                      <a:pt x="306705" y="14288"/>
                    </a:lnTo>
                    <a:lnTo>
                      <a:pt x="317182" y="27622"/>
                    </a:lnTo>
                    <a:lnTo>
                      <a:pt x="334328" y="45815"/>
                    </a:lnTo>
                    <a:lnTo>
                      <a:pt x="338138" y="49625"/>
                    </a:lnTo>
                    <a:lnTo>
                      <a:pt x="356235" y="60103"/>
                    </a:lnTo>
                    <a:lnTo>
                      <a:pt x="369570" y="60103"/>
                    </a:lnTo>
                    <a:lnTo>
                      <a:pt x="387668" y="70485"/>
                    </a:lnTo>
                    <a:lnTo>
                      <a:pt x="398145" y="80963"/>
                    </a:lnTo>
                    <a:lnTo>
                      <a:pt x="415290" y="87725"/>
                    </a:lnTo>
                    <a:lnTo>
                      <a:pt x="433388" y="95250"/>
                    </a:lnTo>
                    <a:lnTo>
                      <a:pt x="443865" y="109538"/>
                    </a:lnTo>
                    <a:lnTo>
                      <a:pt x="433388" y="126778"/>
                    </a:lnTo>
                    <a:lnTo>
                      <a:pt x="419100" y="155353"/>
                    </a:lnTo>
                    <a:lnTo>
                      <a:pt x="429578" y="169640"/>
                    </a:lnTo>
                    <a:lnTo>
                      <a:pt x="468630" y="169640"/>
                    </a:lnTo>
                    <a:lnTo>
                      <a:pt x="493395" y="161925"/>
                    </a:lnTo>
                    <a:lnTo>
                      <a:pt x="507682" y="151447"/>
                    </a:lnTo>
                    <a:lnTo>
                      <a:pt x="518160" y="147638"/>
                    </a:lnTo>
                    <a:lnTo>
                      <a:pt x="528638" y="122872"/>
                    </a:lnTo>
                    <a:lnTo>
                      <a:pt x="528638" y="105823"/>
                    </a:lnTo>
                    <a:lnTo>
                      <a:pt x="545782" y="109538"/>
                    </a:lnTo>
                    <a:lnTo>
                      <a:pt x="553403" y="116300"/>
                    </a:lnTo>
                    <a:lnTo>
                      <a:pt x="556260" y="134398"/>
                    </a:lnTo>
                    <a:lnTo>
                      <a:pt x="549593" y="155353"/>
                    </a:lnTo>
                    <a:lnTo>
                      <a:pt x="542925" y="165735"/>
                    </a:lnTo>
                    <a:lnTo>
                      <a:pt x="528638" y="172498"/>
                    </a:lnTo>
                    <a:lnTo>
                      <a:pt x="514350" y="182975"/>
                    </a:lnTo>
                    <a:lnTo>
                      <a:pt x="496253" y="197263"/>
                    </a:lnTo>
                    <a:lnTo>
                      <a:pt x="482918" y="207740"/>
                    </a:lnTo>
                    <a:lnTo>
                      <a:pt x="472440" y="225838"/>
                    </a:lnTo>
                    <a:lnTo>
                      <a:pt x="461963" y="232410"/>
                    </a:lnTo>
                    <a:lnTo>
                      <a:pt x="458153" y="240125"/>
                    </a:lnTo>
                    <a:lnTo>
                      <a:pt x="443865" y="242888"/>
                    </a:lnTo>
                    <a:lnTo>
                      <a:pt x="433388" y="282035"/>
                    </a:lnTo>
                    <a:lnTo>
                      <a:pt x="429578" y="306800"/>
                    </a:lnTo>
                    <a:lnTo>
                      <a:pt x="422910" y="338138"/>
                    </a:lnTo>
                    <a:lnTo>
                      <a:pt x="422910" y="373475"/>
                    </a:lnTo>
                    <a:lnTo>
                      <a:pt x="415290" y="381000"/>
                    </a:lnTo>
                    <a:lnTo>
                      <a:pt x="412432" y="391573"/>
                    </a:lnTo>
                    <a:lnTo>
                      <a:pt x="429578" y="395288"/>
                    </a:lnTo>
                    <a:lnTo>
                      <a:pt x="447675" y="402050"/>
                    </a:lnTo>
                    <a:lnTo>
                      <a:pt x="454343" y="416338"/>
                    </a:lnTo>
                    <a:lnTo>
                      <a:pt x="450532" y="430625"/>
                    </a:lnTo>
                    <a:lnTo>
                      <a:pt x="454343" y="437197"/>
                    </a:lnTo>
                    <a:lnTo>
                      <a:pt x="468630" y="447675"/>
                    </a:lnTo>
                    <a:lnTo>
                      <a:pt x="468630" y="472535"/>
                    </a:lnTo>
                    <a:lnTo>
                      <a:pt x="447675" y="501110"/>
                    </a:lnTo>
                    <a:lnTo>
                      <a:pt x="422910" y="518160"/>
                    </a:lnTo>
                    <a:lnTo>
                      <a:pt x="387668" y="522065"/>
                    </a:lnTo>
                    <a:lnTo>
                      <a:pt x="362903" y="524923"/>
                    </a:lnTo>
                    <a:lnTo>
                      <a:pt x="334328" y="528638"/>
                    </a:lnTo>
                    <a:lnTo>
                      <a:pt x="317182" y="524923"/>
                    </a:lnTo>
                    <a:lnTo>
                      <a:pt x="313372" y="536353"/>
                    </a:lnTo>
                    <a:lnTo>
                      <a:pt x="317182" y="553498"/>
                    </a:lnTo>
                    <a:lnTo>
                      <a:pt x="313372" y="582073"/>
                    </a:lnTo>
                    <a:lnTo>
                      <a:pt x="299085" y="596360"/>
                    </a:lnTo>
                    <a:lnTo>
                      <a:pt x="285750" y="603028"/>
                    </a:lnTo>
                    <a:lnTo>
                      <a:pt x="260985" y="592550"/>
                    </a:lnTo>
                    <a:lnTo>
                      <a:pt x="250507" y="588740"/>
                    </a:lnTo>
                    <a:lnTo>
                      <a:pt x="240030" y="584835"/>
                    </a:lnTo>
                    <a:lnTo>
                      <a:pt x="236220" y="596360"/>
                    </a:lnTo>
                    <a:lnTo>
                      <a:pt x="240030" y="623888"/>
                    </a:lnTo>
                    <a:lnTo>
                      <a:pt x="240030" y="638175"/>
                    </a:lnTo>
                    <a:lnTo>
                      <a:pt x="250507" y="641985"/>
                    </a:lnTo>
                    <a:lnTo>
                      <a:pt x="263843" y="641985"/>
                    </a:lnTo>
                    <a:lnTo>
                      <a:pt x="263843" y="638175"/>
                    </a:lnTo>
                    <a:lnTo>
                      <a:pt x="271463" y="634460"/>
                    </a:lnTo>
                    <a:lnTo>
                      <a:pt x="278130" y="641985"/>
                    </a:lnTo>
                    <a:lnTo>
                      <a:pt x="278130" y="652463"/>
                    </a:lnTo>
                    <a:lnTo>
                      <a:pt x="267653" y="659225"/>
                    </a:lnTo>
                    <a:lnTo>
                      <a:pt x="260985" y="655415"/>
                    </a:lnTo>
                    <a:lnTo>
                      <a:pt x="257175" y="648748"/>
                    </a:lnTo>
                    <a:lnTo>
                      <a:pt x="250507" y="648748"/>
                    </a:lnTo>
                    <a:lnTo>
                      <a:pt x="242888" y="652463"/>
                    </a:lnTo>
                    <a:lnTo>
                      <a:pt x="246697" y="663035"/>
                    </a:lnTo>
                    <a:lnTo>
                      <a:pt x="240030" y="673513"/>
                    </a:lnTo>
                    <a:lnTo>
                      <a:pt x="228600" y="677323"/>
                    </a:lnTo>
                    <a:lnTo>
                      <a:pt x="232410" y="698278"/>
                    </a:lnTo>
                    <a:lnTo>
                      <a:pt x="221932" y="719138"/>
                    </a:lnTo>
                    <a:lnTo>
                      <a:pt x="218122" y="722947"/>
                    </a:lnTo>
                    <a:lnTo>
                      <a:pt x="207645" y="729710"/>
                    </a:lnTo>
                    <a:lnTo>
                      <a:pt x="186690" y="740188"/>
                    </a:lnTo>
                    <a:lnTo>
                      <a:pt x="165735" y="762000"/>
                    </a:lnTo>
                    <a:lnTo>
                      <a:pt x="169545" y="783050"/>
                    </a:lnTo>
                    <a:lnTo>
                      <a:pt x="186690" y="800100"/>
                    </a:lnTo>
                    <a:lnTo>
                      <a:pt x="186690" y="803910"/>
                    </a:lnTo>
                    <a:lnTo>
                      <a:pt x="197168" y="803910"/>
                    </a:lnTo>
                    <a:lnTo>
                      <a:pt x="215265" y="807815"/>
                    </a:lnTo>
                    <a:lnTo>
                      <a:pt x="215265" y="821055"/>
                    </a:lnTo>
                    <a:lnTo>
                      <a:pt x="207645" y="835343"/>
                    </a:lnTo>
                    <a:lnTo>
                      <a:pt x="182880" y="856297"/>
                    </a:lnTo>
                    <a:lnTo>
                      <a:pt x="165735" y="874490"/>
                    </a:lnTo>
                    <a:lnTo>
                      <a:pt x="159068" y="899160"/>
                    </a:lnTo>
                    <a:lnTo>
                      <a:pt x="155257" y="909733"/>
                    </a:lnTo>
                    <a:lnTo>
                      <a:pt x="134303" y="913447"/>
                    </a:lnTo>
                    <a:lnTo>
                      <a:pt x="123825" y="924020"/>
                    </a:lnTo>
                    <a:lnTo>
                      <a:pt x="116205" y="948785"/>
                    </a:lnTo>
                    <a:lnTo>
                      <a:pt x="120015" y="963073"/>
                    </a:lnTo>
                    <a:lnTo>
                      <a:pt x="126682" y="973455"/>
                    </a:lnTo>
                    <a:lnTo>
                      <a:pt x="137160" y="986885"/>
                    </a:lnTo>
                    <a:lnTo>
                      <a:pt x="134303" y="990695"/>
                    </a:lnTo>
                    <a:lnTo>
                      <a:pt x="105728" y="984028"/>
                    </a:lnTo>
                    <a:lnTo>
                      <a:pt x="60007" y="984028"/>
                    </a:lnTo>
                    <a:lnTo>
                      <a:pt x="42863" y="980122"/>
                    </a:lnTo>
                    <a:lnTo>
                      <a:pt x="31432" y="959168"/>
                    </a:lnTo>
                    <a:lnTo>
                      <a:pt x="31432" y="930593"/>
                    </a:lnTo>
                    <a:lnTo>
                      <a:pt x="10478" y="927735"/>
                    </a:lnTo>
                    <a:lnTo>
                      <a:pt x="3810" y="916305"/>
                    </a:lnTo>
                    <a:lnTo>
                      <a:pt x="0" y="899160"/>
                    </a:lnTo>
                    <a:lnTo>
                      <a:pt x="3810" y="881158"/>
                    </a:lnTo>
                    <a:lnTo>
                      <a:pt x="18097" y="867823"/>
                    </a:lnTo>
                    <a:lnTo>
                      <a:pt x="31432" y="845915"/>
                    </a:lnTo>
                    <a:lnTo>
                      <a:pt x="35243" y="814483"/>
                    </a:lnTo>
                    <a:lnTo>
                      <a:pt x="49530" y="793528"/>
                    </a:lnTo>
                    <a:lnTo>
                      <a:pt x="49530" y="747713"/>
                    </a:lnTo>
                    <a:lnTo>
                      <a:pt x="53340" y="726853"/>
                    </a:lnTo>
                    <a:lnTo>
                      <a:pt x="45720" y="704850"/>
                    </a:lnTo>
                    <a:lnTo>
                      <a:pt x="45720" y="669703"/>
                    </a:lnTo>
                    <a:lnTo>
                      <a:pt x="39053" y="663035"/>
                    </a:lnTo>
                    <a:lnTo>
                      <a:pt x="42863" y="634460"/>
                    </a:lnTo>
                    <a:lnTo>
                      <a:pt x="45720" y="613410"/>
                    </a:lnTo>
                    <a:lnTo>
                      <a:pt x="49530" y="561022"/>
                    </a:lnTo>
                    <a:lnTo>
                      <a:pt x="63818" y="532447"/>
                    </a:lnTo>
                    <a:lnTo>
                      <a:pt x="66675" y="522065"/>
                    </a:lnTo>
                    <a:lnTo>
                      <a:pt x="70485" y="514350"/>
                    </a:lnTo>
                    <a:lnTo>
                      <a:pt x="70485" y="489585"/>
                    </a:lnTo>
                    <a:lnTo>
                      <a:pt x="66675" y="447675"/>
                    </a:lnTo>
                    <a:lnTo>
                      <a:pt x="77153" y="437197"/>
                    </a:lnTo>
                    <a:lnTo>
                      <a:pt x="84772" y="430625"/>
                    </a:lnTo>
                    <a:lnTo>
                      <a:pt x="88582" y="395288"/>
                    </a:lnTo>
                    <a:lnTo>
                      <a:pt x="95250" y="381000"/>
                    </a:lnTo>
                    <a:lnTo>
                      <a:pt x="99060" y="345853"/>
                    </a:lnTo>
                    <a:lnTo>
                      <a:pt x="91440" y="317278"/>
                    </a:lnTo>
                    <a:lnTo>
                      <a:pt x="84772" y="302990"/>
                    </a:lnTo>
                    <a:lnTo>
                      <a:pt x="84772" y="275272"/>
                    </a:lnTo>
                    <a:lnTo>
                      <a:pt x="91440" y="260985"/>
                    </a:lnTo>
                    <a:lnTo>
                      <a:pt x="99060" y="211550"/>
                    </a:lnTo>
                    <a:lnTo>
                      <a:pt x="112395" y="186785"/>
                    </a:lnTo>
                    <a:lnTo>
                      <a:pt x="130493" y="161925"/>
                    </a:lnTo>
                    <a:lnTo>
                      <a:pt x="140970" y="144875"/>
                    </a:lnTo>
                    <a:lnTo>
                      <a:pt x="134303" y="91535"/>
                    </a:lnTo>
                    <a:lnTo>
                      <a:pt x="144780" y="80963"/>
                    </a:lnTo>
                    <a:lnTo>
                      <a:pt x="159068" y="74390"/>
                    </a:lnTo>
                    <a:lnTo>
                      <a:pt x="176213" y="52388"/>
                    </a:lnTo>
                    <a:lnTo>
                      <a:pt x="180022" y="3152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CA7BE897-D17B-83E9-7A31-ED0C040E1101}"/>
                  </a:ext>
                </a:extLst>
              </p:cNvPr>
              <p:cNvSpPr/>
              <p:nvPr/>
            </p:nvSpPr>
            <p:spPr>
              <a:xfrm>
                <a:off x="3924719" y="5020782"/>
                <a:ext cx="235298" cy="1161562"/>
              </a:xfrm>
              <a:custGeom>
                <a:avLst/>
                <a:gdLst>
                  <a:gd name="connsiteX0" fmla="*/ 148590 w 240029"/>
                  <a:gd name="connsiteY0" fmla="*/ 32385 h 1184909"/>
                  <a:gd name="connsiteX1" fmla="*/ 159067 w 240029"/>
                  <a:gd name="connsiteY1" fmla="*/ 28575 h 1184909"/>
                  <a:gd name="connsiteX2" fmla="*/ 169545 w 240029"/>
                  <a:gd name="connsiteY2" fmla="*/ 3810 h 1184909"/>
                  <a:gd name="connsiteX3" fmla="*/ 172402 w 240029"/>
                  <a:gd name="connsiteY3" fmla="*/ 0 h 1184909"/>
                  <a:gd name="connsiteX4" fmla="*/ 180022 w 240029"/>
                  <a:gd name="connsiteY4" fmla="*/ 22003 h 1184909"/>
                  <a:gd name="connsiteX5" fmla="*/ 197167 w 240029"/>
                  <a:gd name="connsiteY5" fmla="*/ 67723 h 1184909"/>
                  <a:gd name="connsiteX6" fmla="*/ 197167 w 240029"/>
                  <a:gd name="connsiteY6" fmla="*/ 99060 h 1184909"/>
                  <a:gd name="connsiteX7" fmla="*/ 211455 w 240029"/>
                  <a:gd name="connsiteY7" fmla="*/ 120110 h 1184909"/>
                  <a:gd name="connsiteX8" fmla="*/ 219075 w 240029"/>
                  <a:gd name="connsiteY8" fmla="*/ 144875 h 1184909"/>
                  <a:gd name="connsiteX9" fmla="*/ 221932 w 240029"/>
                  <a:gd name="connsiteY9" fmla="*/ 169640 h 1184909"/>
                  <a:gd name="connsiteX10" fmla="*/ 240030 w 240029"/>
                  <a:gd name="connsiteY10" fmla="*/ 169640 h 1184909"/>
                  <a:gd name="connsiteX11" fmla="*/ 236220 w 240029"/>
                  <a:gd name="connsiteY11" fmla="*/ 190500 h 1184909"/>
                  <a:gd name="connsiteX12" fmla="*/ 219075 w 240029"/>
                  <a:gd name="connsiteY12" fmla="*/ 212503 h 1184909"/>
                  <a:gd name="connsiteX13" fmla="*/ 204788 w 240029"/>
                  <a:gd name="connsiteY13" fmla="*/ 219075 h 1184909"/>
                  <a:gd name="connsiteX14" fmla="*/ 194310 w 240029"/>
                  <a:gd name="connsiteY14" fmla="*/ 229648 h 1184909"/>
                  <a:gd name="connsiteX15" fmla="*/ 200977 w 240029"/>
                  <a:gd name="connsiteY15" fmla="*/ 282988 h 1184909"/>
                  <a:gd name="connsiteX16" fmla="*/ 169545 w 240029"/>
                  <a:gd name="connsiteY16" fmla="*/ 328613 h 1184909"/>
                  <a:gd name="connsiteX17" fmla="*/ 159067 w 240029"/>
                  <a:gd name="connsiteY17" fmla="*/ 349663 h 1184909"/>
                  <a:gd name="connsiteX18" fmla="*/ 151447 w 240029"/>
                  <a:gd name="connsiteY18" fmla="*/ 391573 h 1184909"/>
                  <a:gd name="connsiteX19" fmla="*/ 144780 w 240029"/>
                  <a:gd name="connsiteY19" fmla="*/ 413385 h 1184909"/>
                  <a:gd name="connsiteX20" fmla="*/ 144780 w 240029"/>
                  <a:gd name="connsiteY20" fmla="*/ 441103 h 1184909"/>
                  <a:gd name="connsiteX21" fmla="*/ 159067 w 240029"/>
                  <a:gd name="connsiteY21" fmla="*/ 483965 h 1184909"/>
                  <a:gd name="connsiteX22" fmla="*/ 155257 w 240029"/>
                  <a:gd name="connsiteY22" fmla="*/ 515398 h 1184909"/>
                  <a:gd name="connsiteX23" fmla="*/ 148590 w 240029"/>
                  <a:gd name="connsiteY23" fmla="*/ 533400 h 1184909"/>
                  <a:gd name="connsiteX24" fmla="*/ 144780 w 240029"/>
                  <a:gd name="connsiteY24" fmla="*/ 568738 h 1184909"/>
                  <a:gd name="connsiteX25" fmla="*/ 126682 w 240029"/>
                  <a:gd name="connsiteY25" fmla="*/ 585788 h 1184909"/>
                  <a:gd name="connsiteX26" fmla="*/ 130492 w 240029"/>
                  <a:gd name="connsiteY26" fmla="*/ 624935 h 1184909"/>
                  <a:gd name="connsiteX27" fmla="*/ 130492 w 240029"/>
                  <a:gd name="connsiteY27" fmla="*/ 652463 h 1184909"/>
                  <a:gd name="connsiteX28" fmla="*/ 109538 w 240029"/>
                  <a:gd name="connsiteY28" fmla="*/ 699135 h 1184909"/>
                  <a:gd name="connsiteX29" fmla="*/ 105727 w 240029"/>
                  <a:gd name="connsiteY29" fmla="*/ 751522 h 1184909"/>
                  <a:gd name="connsiteX30" fmla="*/ 102870 w 240029"/>
                  <a:gd name="connsiteY30" fmla="*/ 772573 h 1184909"/>
                  <a:gd name="connsiteX31" fmla="*/ 99060 w 240029"/>
                  <a:gd name="connsiteY31" fmla="*/ 801148 h 1184909"/>
                  <a:gd name="connsiteX32" fmla="*/ 105727 w 240029"/>
                  <a:gd name="connsiteY32" fmla="*/ 807815 h 1184909"/>
                  <a:gd name="connsiteX33" fmla="*/ 105727 w 240029"/>
                  <a:gd name="connsiteY33" fmla="*/ 842963 h 1184909"/>
                  <a:gd name="connsiteX34" fmla="*/ 113347 w 240029"/>
                  <a:gd name="connsiteY34" fmla="*/ 864965 h 1184909"/>
                  <a:gd name="connsiteX35" fmla="*/ 109538 w 240029"/>
                  <a:gd name="connsiteY35" fmla="*/ 885825 h 1184909"/>
                  <a:gd name="connsiteX36" fmla="*/ 109538 w 240029"/>
                  <a:gd name="connsiteY36" fmla="*/ 931640 h 1184909"/>
                  <a:gd name="connsiteX37" fmla="*/ 95250 w 240029"/>
                  <a:gd name="connsiteY37" fmla="*/ 952595 h 1184909"/>
                  <a:gd name="connsiteX38" fmla="*/ 91440 w 240029"/>
                  <a:gd name="connsiteY38" fmla="*/ 984028 h 1184909"/>
                  <a:gd name="connsiteX39" fmla="*/ 78105 w 240029"/>
                  <a:gd name="connsiteY39" fmla="*/ 1005935 h 1184909"/>
                  <a:gd name="connsiteX40" fmla="*/ 63817 w 240029"/>
                  <a:gd name="connsiteY40" fmla="*/ 1019270 h 1184909"/>
                  <a:gd name="connsiteX41" fmla="*/ 60007 w 240029"/>
                  <a:gd name="connsiteY41" fmla="*/ 1037272 h 1184909"/>
                  <a:gd name="connsiteX42" fmla="*/ 63817 w 240029"/>
                  <a:gd name="connsiteY42" fmla="*/ 1051560 h 1184909"/>
                  <a:gd name="connsiteX43" fmla="*/ 70485 w 240029"/>
                  <a:gd name="connsiteY43" fmla="*/ 1065848 h 1184909"/>
                  <a:gd name="connsiteX44" fmla="*/ 91440 w 240029"/>
                  <a:gd name="connsiteY44" fmla="*/ 1068705 h 1184909"/>
                  <a:gd name="connsiteX45" fmla="*/ 91440 w 240029"/>
                  <a:gd name="connsiteY45" fmla="*/ 1097280 h 1184909"/>
                  <a:gd name="connsiteX46" fmla="*/ 102870 w 240029"/>
                  <a:gd name="connsiteY46" fmla="*/ 1118235 h 1184909"/>
                  <a:gd name="connsiteX47" fmla="*/ 120015 w 240029"/>
                  <a:gd name="connsiteY47" fmla="*/ 1122140 h 1184909"/>
                  <a:gd name="connsiteX48" fmla="*/ 165735 w 240029"/>
                  <a:gd name="connsiteY48" fmla="*/ 1122140 h 1184909"/>
                  <a:gd name="connsiteX49" fmla="*/ 169545 w 240029"/>
                  <a:gd name="connsiteY49" fmla="*/ 1136428 h 1184909"/>
                  <a:gd name="connsiteX50" fmla="*/ 155257 w 240029"/>
                  <a:gd name="connsiteY50" fmla="*/ 1143095 h 1184909"/>
                  <a:gd name="connsiteX51" fmla="*/ 140970 w 240029"/>
                  <a:gd name="connsiteY51" fmla="*/ 1146810 h 1184909"/>
                  <a:gd name="connsiteX52" fmla="*/ 130492 w 240029"/>
                  <a:gd name="connsiteY52" fmla="*/ 1157383 h 1184909"/>
                  <a:gd name="connsiteX53" fmla="*/ 130492 w 240029"/>
                  <a:gd name="connsiteY53" fmla="*/ 1174528 h 1184909"/>
                  <a:gd name="connsiteX54" fmla="*/ 126682 w 240029"/>
                  <a:gd name="connsiteY54" fmla="*/ 1184910 h 1184909"/>
                  <a:gd name="connsiteX55" fmla="*/ 113347 w 240029"/>
                  <a:gd name="connsiteY55" fmla="*/ 1184910 h 1184909"/>
                  <a:gd name="connsiteX56" fmla="*/ 102870 w 240029"/>
                  <a:gd name="connsiteY56" fmla="*/ 1178243 h 1184909"/>
                  <a:gd name="connsiteX57" fmla="*/ 105727 w 240029"/>
                  <a:gd name="connsiteY57" fmla="*/ 1171670 h 1184909"/>
                  <a:gd name="connsiteX58" fmla="*/ 116205 w 240029"/>
                  <a:gd name="connsiteY58" fmla="*/ 1163955 h 1184909"/>
                  <a:gd name="connsiteX59" fmla="*/ 123825 w 240029"/>
                  <a:gd name="connsiteY59" fmla="*/ 1149668 h 1184909"/>
                  <a:gd name="connsiteX60" fmla="*/ 113347 w 240029"/>
                  <a:gd name="connsiteY60" fmla="*/ 1143095 h 1184909"/>
                  <a:gd name="connsiteX61" fmla="*/ 99060 w 240029"/>
                  <a:gd name="connsiteY61" fmla="*/ 1153573 h 1184909"/>
                  <a:gd name="connsiteX62" fmla="*/ 91440 w 240029"/>
                  <a:gd name="connsiteY62" fmla="*/ 1167860 h 1184909"/>
                  <a:gd name="connsiteX63" fmla="*/ 78105 w 240029"/>
                  <a:gd name="connsiteY63" fmla="*/ 1163955 h 1184909"/>
                  <a:gd name="connsiteX64" fmla="*/ 67627 w 240029"/>
                  <a:gd name="connsiteY64" fmla="*/ 1153573 h 1184909"/>
                  <a:gd name="connsiteX65" fmla="*/ 80963 w 240029"/>
                  <a:gd name="connsiteY65" fmla="*/ 1143095 h 1184909"/>
                  <a:gd name="connsiteX66" fmla="*/ 84772 w 240029"/>
                  <a:gd name="connsiteY66" fmla="*/ 1136428 h 1184909"/>
                  <a:gd name="connsiteX67" fmla="*/ 80963 w 240029"/>
                  <a:gd name="connsiteY67" fmla="*/ 1128808 h 1184909"/>
                  <a:gd name="connsiteX68" fmla="*/ 67627 w 240029"/>
                  <a:gd name="connsiteY68" fmla="*/ 1139285 h 1184909"/>
                  <a:gd name="connsiteX69" fmla="*/ 49530 w 240029"/>
                  <a:gd name="connsiteY69" fmla="*/ 1139285 h 1184909"/>
                  <a:gd name="connsiteX70" fmla="*/ 53340 w 240029"/>
                  <a:gd name="connsiteY70" fmla="*/ 1124998 h 1184909"/>
                  <a:gd name="connsiteX71" fmla="*/ 74295 w 240029"/>
                  <a:gd name="connsiteY71" fmla="*/ 1114520 h 1184909"/>
                  <a:gd name="connsiteX72" fmla="*/ 74295 w 240029"/>
                  <a:gd name="connsiteY72" fmla="*/ 1107853 h 1184909"/>
                  <a:gd name="connsiteX73" fmla="*/ 60007 w 240029"/>
                  <a:gd name="connsiteY73" fmla="*/ 1111568 h 1184909"/>
                  <a:gd name="connsiteX74" fmla="*/ 45720 w 240029"/>
                  <a:gd name="connsiteY74" fmla="*/ 1111568 h 1184909"/>
                  <a:gd name="connsiteX75" fmla="*/ 49530 w 240029"/>
                  <a:gd name="connsiteY75" fmla="*/ 1097280 h 1184909"/>
                  <a:gd name="connsiteX76" fmla="*/ 39052 w 240029"/>
                  <a:gd name="connsiteY76" fmla="*/ 1089660 h 1184909"/>
                  <a:gd name="connsiteX77" fmla="*/ 35242 w 240029"/>
                  <a:gd name="connsiteY77" fmla="*/ 1068705 h 1184909"/>
                  <a:gd name="connsiteX78" fmla="*/ 35242 w 240029"/>
                  <a:gd name="connsiteY78" fmla="*/ 1062133 h 1184909"/>
                  <a:gd name="connsiteX79" fmla="*/ 35242 w 240029"/>
                  <a:gd name="connsiteY79" fmla="*/ 1047845 h 1184909"/>
                  <a:gd name="connsiteX80" fmla="*/ 28575 w 240029"/>
                  <a:gd name="connsiteY80" fmla="*/ 1041178 h 1184909"/>
                  <a:gd name="connsiteX81" fmla="*/ 18097 w 240029"/>
                  <a:gd name="connsiteY81" fmla="*/ 1026890 h 1184909"/>
                  <a:gd name="connsiteX82" fmla="*/ 10477 w 240029"/>
                  <a:gd name="connsiteY82" fmla="*/ 1012603 h 1184909"/>
                  <a:gd name="connsiteX83" fmla="*/ 14288 w 240029"/>
                  <a:gd name="connsiteY83" fmla="*/ 984028 h 1184909"/>
                  <a:gd name="connsiteX84" fmla="*/ 24765 w 240029"/>
                  <a:gd name="connsiteY84" fmla="*/ 984028 h 1184909"/>
                  <a:gd name="connsiteX85" fmla="*/ 28575 w 240029"/>
                  <a:gd name="connsiteY85" fmla="*/ 987743 h 1184909"/>
                  <a:gd name="connsiteX86" fmla="*/ 32385 w 240029"/>
                  <a:gd name="connsiteY86" fmla="*/ 1002030 h 1184909"/>
                  <a:gd name="connsiteX87" fmla="*/ 42863 w 240029"/>
                  <a:gd name="connsiteY87" fmla="*/ 998315 h 1184909"/>
                  <a:gd name="connsiteX88" fmla="*/ 42863 w 240029"/>
                  <a:gd name="connsiteY88" fmla="*/ 981170 h 1184909"/>
                  <a:gd name="connsiteX89" fmla="*/ 49530 w 240029"/>
                  <a:gd name="connsiteY89" fmla="*/ 981170 h 1184909"/>
                  <a:gd name="connsiteX90" fmla="*/ 56197 w 240029"/>
                  <a:gd name="connsiteY90" fmla="*/ 977360 h 1184909"/>
                  <a:gd name="connsiteX91" fmla="*/ 56197 w 240029"/>
                  <a:gd name="connsiteY91" fmla="*/ 963073 h 1184909"/>
                  <a:gd name="connsiteX92" fmla="*/ 49530 w 240029"/>
                  <a:gd name="connsiteY92" fmla="*/ 966883 h 1184909"/>
                  <a:gd name="connsiteX93" fmla="*/ 35242 w 240029"/>
                  <a:gd name="connsiteY93" fmla="*/ 970597 h 1184909"/>
                  <a:gd name="connsiteX94" fmla="*/ 32385 w 240029"/>
                  <a:gd name="connsiteY94" fmla="*/ 959168 h 1184909"/>
                  <a:gd name="connsiteX95" fmla="*/ 32385 w 240029"/>
                  <a:gd name="connsiteY95" fmla="*/ 945928 h 1184909"/>
                  <a:gd name="connsiteX96" fmla="*/ 42863 w 240029"/>
                  <a:gd name="connsiteY96" fmla="*/ 942022 h 1184909"/>
                  <a:gd name="connsiteX97" fmla="*/ 42863 w 240029"/>
                  <a:gd name="connsiteY97" fmla="*/ 935450 h 1184909"/>
                  <a:gd name="connsiteX98" fmla="*/ 28575 w 240029"/>
                  <a:gd name="connsiteY98" fmla="*/ 935450 h 1184909"/>
                  <a:gd name="connsiteX99" fmla="*/ 0 w 240029"/>
                  <a:gd name="connsiteY99" fmla="*/ 935450 h 1184909"/>
                  <a:gd name="connsiteX100" fmla="*/ 10477 w 240029"/>
                  <a:gd name="connsiteY100" fmla="*/ 921163 h 1184909"/>
                  <a:gd name="connsiteX101" fmla="*/ 18097 w 240029"/>
                  <a:gd name="connsiteY101" fmla="*/ 906875 h 1184909"/>
                  <a:gd name="connsiteX102" fmla="*/ 28575 w 240029"/>
                  <a:gd name="connsiteY102" fmla="*/ 892588 h 1184909"/>
                  <a:gd name="connsiteX103" fmla="*/ 39052 w 240029"/>
                  <a:gd name="connsiteY103" fmla="*/ 885825 h 1184909"/>
                  <a:gd name="connsiteX104" fmla="*/ 42863 w 240029"/>
                  <a:gd name="connsiteY104" fmla="*/ 892588 h 1184909"/>
                  <a:gd name="connsiteX105" fmla="*/ 49530 w 240029"/>
                  <a:gd name="connsiteY105" fmla="*/ 913447 h 1184909"/>
                  <a:gd name="connsiteX106" fmla="*/ 63817 w 240029"/>
                  <a:gd name="connsiteY106" fmla="*/ 896398 h 1184909"/>
                  <a:gd name="connsiteX107" fmla="*/ 74295 w 240029"/>
                  <a:gd name="connsiteY107" fmla="*/ 871538 h 1184909"/>
                  <a:gd name="connsiteX108" fmla="*/ 70485 w 240029"/>
                  <a:gd name="connsiteY108" fmla="*/ 853535 h 1184909"/>
                  <a:gd name="connsiteX109" fmla="*/ 67627 w 240029"/>
                  <a:gd name="connsiteY109" fmla="*/ 832485 h 1184909"/>
                  <a:gd name="connsiteX110" fmla="*/ 78105 w 240029"/>
                  <a:gd name="connsiteY110" fmla="*/ 815435 h 1184909"/>
                  <a:gd name="connsiteX111" fmla="*/ 74295 w 240029"/>
                  <a:gd name="connsiteY111" fmla="*/ 797338 h 1184909"/>
                  <a:gd name="connsiteX112" fmla="*/ 78105 w 240029"/>
                  <a:gd name="connsiteY112" fmla="*/ 786860 h 1184909"/>
                  <a:gd name="connsiteX113" fmla="*/ 80963 w 240029"/>
                  <a:gd name="connsiteY113" fmla="*/ 776288 h 1184909"/>
                  <a:gd name="connsiteX114" fmla="*/ 80963 w 240029"/>
                  <a:gd name="connsiteY114" fmla="*/ 755428 h 1184909"/>
                  <a:gd name="connsiteX115" fmla="*/ 70485 w 240029"/>
                  <a:gd name="connsiteY115" fmla="*/ 751522 h 1184909"/>
                  <a:gd name="connsiteX116" fmla="*/ 63817 w 240029"/>
                  <a:gd name="connsiteY116" fmla="*/ 755428 h 1184909"/>
                  <a:gd name="connsiteX117" fmla="*/ 60007 w 240029"/>
                  <a:gd name="connsiteY117" fmla="*/ 772573 h 1184909"/>
                  <a:gd name="connsiteX118" fmla="*/ 56197 w 240029"/>
                  <a:gd name="connsiteY118" fmla="*/ 783050 h 1184909"/>
                  <a:gd name="connsiteX119" fmla="*/ 56197 w 240029"/>
                  <a:gd name="connsiteY119" fmla="*/ 804863 h 1184909"/>
                  <a:gd name="connsiteX120" fmla="*/ 49530 w 240029"/>
                  <a:gd name="connsiteY120" fmla="*/ 815435 h 1184909"/>
                  <a:gd name="connsiteX121" fmla="*/ 39052 w 240029"/>
                  <a:gd name="connsiteY121" fmla="*/ 807815 h 1184909"/>
                  <a:gd name="connsiteX122" fmla="*/ 39052 w 240029"/>
                  <a:gd name="connsiteY122" fmla="*/ 793528 h 1184909"/>
                  <a:gd name="connsiteX123" fmla="*/ 39052 w 240029"/>
                  <a:gd name="connsiteY123" fmla="*/ 772573 h 1184909"/>
                  <a:gd name="connsiteX124" fmla="*/ 45720 w 240029"/>
                  <a:gd name="connsiteY124" fmla="*/ 758285 h 1184909"/>
                  <a:gd name="connsiteX125" fmla="*/ 49530 w 240029"/>
                  <a:gd name="connsiteY125" fmla="*/ 751522 h 1184909"/>
                  <a:gd name="connsiteX126" fmla="*/ 49530 w 240029"/>
                  <a:gd name="connsiteY126" fmla="*/ 734473 h 1184909"/>
                  <a:gd name="connsiteX127" fmla="*/ 53340 w 240029"/>
                  <a:gd name="connsiteY127" fmla="*/ 709613 h 1184909"/>
                  <a:gd name="connsiteX128" fmla="*/ 56197 w 240029"/>
                  <a:gd name="connsiteY128" fmla="*/ 695325 h 1184909"/>
                  <a:gd name="connsiteX129" fmla="*/ 70485 w 240029"/>
                  <a:gd name="connsiteY129" fmla="*/ 681038 h 1184909"/>
                  <a:gd name="connsiteX130" fmla="*/ 63817 w 240029"/>
                  <a:gd name="connsiteY130" fmla="*/ 663035 h 1184909"/>
                  <a:gd name="connsiteX131" fmla="*/ 60007 w 240029"/>
                  <a:gd name="connsiteY131" fmla="*/ 645890 h 1184909"/>
                  <a:gd name="connsiteX132" fmla="*/ 60007 w 240029"/>
                  <a:gd name="connsiteY132" fmla="*/ 631603 h 1184909"/>
                  <a:gd name="connsiteX133" fmla="*/ 56197 w 240029"/>
                  <a:gd name="connsiteY133" fmla="*/ 610648 h 1184909"/>
                  <a:gd name="connsiteX134" fmla="*/ 67627 w 240029"/>
                  <a:gd name="connsiteY134" fmla="*/ 610648 h 1184909"/>
                  <a:gd name="connsiteX135" fmla="*/ 74295 w 240029"/>
                  <a:gd name="connsiteY135" fmla="*/ 585788 h 1184909"/>
                  <a:gd name="connsiteX136" fmla="*/ 84772 w 240029"/>
                  <a:gd name="connsiteY136" fmla="*/ 564928 h 1184909"/>
                  <a:gd name="connsiteX137" fmla="*/ 91440 w 240029"/>
                  <a:gd name="connsiteY137" fmla="*/ 543973 h 1184909"/>
                  <a:gd name="connsiteX138" fmla="*/ 102870 w 240029"/>
                  <a:gd name="connsiteY138" fmla="*/ 515398 h 1184909"/>
                  <a:gd name="connsiteX139" fmla="*/ 105727 w 240029"/>
                  <a:gd name="connsiteY139" fmla="*/ 490538 h 1184909"/>
                  <a:gd name="connsiteX140" fmla="*/ 113347 w 240029"/>
                  <a:gd name="connsiteY140" fmla="*/ 476250 h 1184909"/>
                  <a:gd name="connsiteX141" fmla="*/ 109538 w 240029"/>
                  <a:gd name="connsiteY141" fmla="*/ 409575 h 1184909"/>
                  <a:gd name="connsiteX142" fmla="*/ 109538 w 240029"/>
                  <a:gd name="connsiteY142" fmla="*/ 388715 h 1184909"/>
                  <a:gd name="connsiteX143" fmla="*/ 123825 w 240029"/>
                  <a:gd name="connsiteY143" fmla="*/ 378238 h 1184909"/>
                  <a:gd name="connsiteX144" fmla="*/ 123825 w 240029"/>
                  <a:gd name="connsiteY144" fmla="*/ 363950 h 1184909"/>
                  <a:gd name="connsiteX145" fmla="*/ 116205 w 240029"/>
                  <a:gd name="connsiteY145" fmla="*/ 353473 h 1184909"/>
                  <a:gd name="connsiteX146" fmla="*/ 123825 w 240029"/>
                  <a:gd name="connsiteY146" fmla="*/ 342900 h 1184909"/>
                  <a:gd name="connsiteX147" fmla="*/ 130492 w 240029"/>
                  <a:gd name="connsiteY147" fmla="*/ 307753 h 1184909"/>
                  <a:gd name="connsiteX148" fmla="*/ 140970 w 240029"/>
                  <a:gd name="connsiteY148" fmla="*/ 254413 h 1184909"/>
                  <a:gd name="connsiteX149" fmla="*/ 144780 w 240029"/>
                  <a:gd name="connsiteY149" fmla="*/ 173450 h 1184909"/>
                  <a:gd name="connsiteX150" fmla="*/ 155257 w 240029"/>
                  <a:gd name="connsiteY150" fmla="*/ 92488 h 1184909"/>
                  <a:gd name="connsiteX151" fmla="*/ 151447 w 240029"/>
                  <a:gd name="connsiteY151" fmla="*/ 49625 h 1184909"/>
                  <a:gd name="connsiteX152" fmla="*/ 148590 w 240029"/>
                  <a:gd name="connsiteY152" fmla="*/ 32385 h 1184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240029" h="1184909">
                    <a:moveTo>
                      <a:pt x="148590" y="32385"/>
                    </a:moveTo>
                    <a:lnTo>
                      <a:pt x="159067" y="28575"/>
                    </a:lnTo>
                    <a:lnTo>
                      <a:pt x="169545" y="3810"/>
                    </a:lnTo>
                    <a:lnTo>
                      <a:pt x="172402" y="0"/>
                    </a:lnTo>
                    <a:lnTo>
                      <a:pt x="180022" y="22003"/>
                    </a:lnTo>
                    <a:lnTo>
                      <a:pt x="197167" y="67723"/>
                    </a:lnTo>
                    <a:lnTo>
                      <a:pt x="197167" y="99060"/>
                    </a:lnTo>
                    <a:lnTo>
                      <a:pt x="211455" y="120110"/>
                    </a:lnTo>
                    <a:lnTo>
                      <a:pt x="219075" y="144875"/>
                    </a:lnTo>
                    <a:lnTo>
                      <a:pt x="221932" y="169640"/>
                    </a:lnTo>
                    <a:lnTo>
                      <a:pt x="240030" y="169640"/>
                    </a:lnTo>
                    <a:lnTo>
                      <a:pt x="236220" y="190500"/>
                    </a:lnTo>
                    <a:lnTo>
                      <a:pt x="219075" y="212503"/>
                    </a:lnTo>
                    <a:lnTo>
                      <a:pt x="204788" y="219075"/>
                    </a:lnTo>
                    <a:lnTo>
                      <a:pt x="194310" y="229648"/>
                    </a:lnTo>
                    <a:lnTo>
                      <a:pt x="200977" y="282988"/>
                    </a:lnTo>
                    <a:lnTo>
                      <a:pt x="169545" y="328613"/>
                    </a:lnTo>
                    <a:lnTo>
                      <a:pt x="159067" y="349663"/>
                    </a:lnTo>
                    <a:lnTo>
                      <a:pt x="151447" y="391573"/>
                    </a:lnTo>
                    <a:lnTo>
                      <a:pt x="144780" y="413385"/>
                    </a:lnTo>
                    <a:lnTo>
                      <a:pt x="144780" y="441103"/>
                    </a:lnTo>
                    <a:lnTo>
                      <a:pt x="159067" y="483965"/>
                    </a:lnTo>
                    <a:lnTo>
                      <a:pt x="155257" y="515398"/>
                    </a:lnTo>
                    <a:lnTo>
                      <a:pt x="148590" y="533400"/>
                    </a:lnTo>
                    <a:lnTo>
                      <a:pt x="144780" y="568738"/>
                    </a:lnTo>
                    <a:lnTo>
                      <a:pt x="126682" y="585788"/>
                    </a:lnTo>
                    <a:lnTo>
                      <a:pt x="130492" y="624935"/>
                    </a:lnTo>
                    <a:lnTo>
                      <a:pt x="130492" y="652463"/>
                    </a:lnTo>
                    <a:lnTo>
                      <a:pt x="109538" y="699135"/>
                    </a:lnTo>
                    <a:lnTo>
                      <a:pt x="105727" y="751522"/>
                    </a:lnTo>
                    <a:lnTo>
                      <a:pt x="102870" y="772573"/>
                    </a:lnTo>
                    <a:lnTo>
                      <a:pt x="99060" y="801148"/>
                    </a:lnTo>
                    <a:lnTo>
                      <a:pt x="105727" y="807815"/>
                    </a:lnTo>
                    <a:lnTo>
                      <a:pt x="105727" y="842963"/>
                    </a:lnTo>
                    <a:lnTo>
                      <a:pt x="113347" y="864965"/>
                    </a:lnTo>
                    <a:lnTo>
                      <a:pt x="109538" y="885825"/>
                    </a:lnTo>
                    <a:lnTo>
                      <a:pt x="109538" y="931640"/>
                    </a:lnTo>
                    <a:lnTo>
                      <a:pt x="95250" y="952595"/>
                    </a:lnTo>
                    <a:lnTo>
                      <a:pt x="91440" y="984028"/>
                    </a:lnTo>
                    <a:lnTo>
                      <a:pt x="78105" y="1005935"/>
                    </a:lnTo>
                    <a:lnTo>
                      <a:pt x="63817" y="1019270"/>
                    </a:lnTo>
                    <a:lnTo>
                      <a:pt x="60007" y="1037272"/>
                    </a:lnTo>
                    <a:lnTo>
                      <a:pt x="63817" y="1051560"/>
                    </a:lnTo>
                    <a:lnTo>
                      <a:pt x="70485" y="1065848"/>
                    </a:lnTo>
                    <a:lnTo>
                      <a:pt x="91440" y="1068705"/>
                    </a:lnTo>
                    <a:lnTo>
                      <a:pt x="91440" y="1097280"/>
                    </a:lnTo>
                    <a:lnTo>
                      <a:pt x="102870" y="1118235"/>
                    </a:lnTo>
                    <a:lnTo>
                      <a:pt x="120015" y="1122140"/>
                    </a:lnTo>
                    <a:lnTo>
                      <a:pt x="165735" y="1122140"/>
                    </a:lnTo>
                    <a:lnTo>
                      <a:pt x="169545" y="1136428"/>
                    </a:lnTo>
                    <a:lnTo>
                      <a:pt x="155257" y="1143095"/>
                    </a:lnTo>
                    <a:lnTo>
                      <a:pt x="140970" y="1146810"/>
                    </a:lnTo>
                    <a:lnTo>
                      <a:pt x="130492" y="1157383"/>
                    </a:lnTo>
                    <a:lnTo>
                      <a:pt x="130492" y="1174528"/>
                    </a:lnTo>
                    <a:lnTo>
                      <a:pt x="126682" y="1184910"/>
                    </a:lnTo>
                    <a:lnTo>
                      <a:pt x="113347" y="1184910"/>
                    </a:lnTo>
                    <a:lnTo>
                      <a:pt x="102870" y="1178243"/>
                    </a:lnTo>
                    <a:lnTo>
                      <a:pt x="105727" y="1171670"/>
                    </a:lnTo>
                    <a:lnTo>
                      <a:pt x="116205" y="1163955"/>
                    </a:lnTo>
                    <a:lnTo>
                      <a:pt x="123825" y="1149668"/>
                    </a:lnTo>
                    <a:lnTo>
                      <a:pt x="113347" y="1143095"/>
                    </a:lnTo>
                    <a:lnTo>
                      <a:pt x="99060" y="1153573"/>
                    </a:lnTo>
                    <a:lnTo>
                      <a:pt x="91440" y="1167860"/>
                    </a:lnTo>
                    <a:lnTo>
                      <a:pt x="78105" y="1163955"/>
                    </a:lnTo>
                    <a:lnTo>
                      <a:pt x="67627" y="1153573"/>
                    </a:lnTo>
                    <a:lnTo>
                      <a:pt x="80963" y="1143095"/>
                    </a:lnTo>
                    <a:lnTo>
                      <a:pt x="84772" y="1136428"/>
                    </a:lnTo>
                    <a:lnTo>
                      <a:pt x="80963" y="1128808"/>
                    </a:lnTo>
                    <a:lnTo>
                      <a:pt x="67627" y="1139285"/>
                    </a:lnTo>
                    <a:lnTo>
                      <a:pt x="49530" y="1139285"/>
                    </a:lnTo>
                    <a:lnTo>
                      <a:pt x="53340" y="1124998"/>
                    </a:lnTo>
                    <a:lnTo>
                      <a:pt x="74295" y="1114520"/>
                    </a:lnTo>
                    <a:lnTo>
                      <a:pt x="74295" y="1107853"/>
                    </a:lnTo>
                    <a:lnTo>
                      <a:pt x="60007" y="1111568"/>
                    </a:lnTo>
                    <a:lnTo>
                      <a:pt x="45720" y="1111568"/>
                    </a:lnTo>
                    <a:lnTo>
                      <a:pt x="49530" y="1097280"/>
                    </a:lnTo>
                    <a:lnTo>
                      <a:pt x="39052" y="1089660"/>
                    </a:lnTo>
                    <a:lnTo>
                      <a:pt x="35242" y="1068705"/>
                    </a:lnTo>
                    <a:lnTo>
                      <a:pt x="35242" y="1062133"/>
                    </a:lnTo>
                    <a:lnTo>
                      <a:pt x="35242" y="1047845"/>
                    </a:lnTo>
                    <a:lnTo>
                      <a:pt x="28575" y="1041178"/>
                    </a:lnTo>
                    <a:lnTo>
                      <a:pt x="18097" y="1026890"/>
                    </a:lnTo>
                    <a:lnTo>
                      <a:pt x="10477" y="1012603"/>
                    </a:lnTo>
                    <a:lnTo>
                      <a:pt x="14288" y="984028"/>
                    </a:lnTo>
                    <a:lnTo>
                      <a:pt x="24765" y="984028"/>
                    </a:lnTo>
                    <a:lnTo>
                      <a:pt x="28575" y="987743"/>
                    </a:lnTo>
                    <a:lnTo>
                      <a:pt x="32385" y="1002030"/>
                    </a:lnTo>
                    <a:lnTo>
                      <a:pt x="42863" y="998315"/>
                    </a:lnTo>
                    <a:lnTo>
                      <a:pt x="42863" y="981170"/>
                    </a:lnTo>
                    <a:lnTo>
                      <a:pt x="49530" y="981170"/>
                    </a:lnTo>
                    <a:lnTo>
                      <a:pt x="56197" y="977360"/>
                    </a:lnTo>
                    <a:lnTo>
                      <a:pt x="56197" y="963073"/>
                    </a:lnTo>
                    <a:lnTo>
                      <a:pt x="49530" y="966883"/>
                    </a:lnTo>
                    <a:lnTo>
                      <a:pt x="35242" y="970597"/>
                    </a:lnTo>
                    <a:lnTo>
                      <a:pt x="32385" y="959168"/>
                    </a:lnTo>
                    <a:lnTo>
                      <a:pt x="32385" y="945928"/>
                    </a:lnTo>
                    <a:lnTo>
                      <a:pt x="42863" y="942022"/>
                    </a:lnTo>
                    <a:lnTo>
                      <a:pt x="42863" y="935450"/>
                    </a:lnTo>
                    <a:lnTo>
                      <a:pt x="28575" y="935450"/>
                    </a:lnTo>
                    <a:lnTo>
                      <a:pt x="0" y="935450"/>
                    </a:lnTo>
                    <a:lnTo>
                      <a:pt x="10477" y="921163"/>
                    </a:lnTo>
                    <a:lnTo>
                      <a:pt x="18097" y="906875"/>
                    </a:lnTo>
                    <a:lnTo>
                      <a:pt x="28575" y="892588"/>
                    </a:lnTo>
                    <a:lnTo>
                      <a:pt x="39052" y="885825"/>
                    </a:lnTo>
                    <a:lnTo>
                      <a:pt x="42863" y="892588"/>
                    </a:lnTo>
                    <a:lnTo>
                      <a:pt x="49530" y="913447"/>
                    </a:lnTo>
                    <a:lnTo>
                      <a:pt x="63817" y="896398"/>
                    </a:lnTo>
                    <a:lnTo>
                      <a:pt x="74295" y="871538"/>
                    </a:lnTo>
                    <a:lnTo>
                      <a:pt x="70485" y="853535"/>
                    </a:lnTo>
                    <a:lnTo>
                      <a:pt x="67627" y="832485"/>
                    </a:lnTo>
                    <a:lnTo>
                      <a:pt x="78105" y="815435"/>
                    </a:lnTo>
                    <a:lnTo>
                      <a:pt x="74295" y="797338"/>
                    </a:lnTo>
                    <a:lnTo>
                      <a:pt x="78105" y="786860"/>
                    </a:lnTo>
                    <a:lnTo>
                      <a:pt x="80963" y="776288"/>
                    </a:lnTo>
                    <a:lnTo>
                      <a:pt x="80963" y="755428"/>
                    </a:lnTo>
                    <a:lnTo>
                      <a:pt x="70485" y="751522"/>
                    </a:lnTo>
                    <a:lnTo>
                      <a:pt x="63817" y="755428"/>
                    </a:lnTo>
                    <a:lnTo>
                      <a:pt x="60007" y="772573"/>
                    </a:lnTo>
                    <a:lnTo>
                      <a:pt x="56197" y="783050"/>
                    </a:lnTo>
                    <a:lnTo>
                      <a:pt x="56197" y="804863"/>
                    </a:lnTo>
                    <a:lnTo>
                      <a:pt x="49530" y="815435"/>
                    </a:lnTo>
                    <a:lnTo>
                      <a:pt x="39052" y="807815"/>
                    </a:lnTo>
                    <a:lnTo>
                      <a:pt x="39052" y="793528"/>
                    </a:lnTo>
                    <a:lnTo>
                      <a:pt x="39052" y="772573"/>
                    </a:lnTo>
                    <a:lnTo>
                      <a:pt x="45720" y="758285"/>
                    </a:lnTo>
                    <a:lnTo>
                      <a:pt x="49530" y="751522"/>
                    </a:lnTo>
                    <a:lnTo>
                      <a:pt x="49530" y="734473"/>
                    </a:lnTo>
                    <a:lnTo>
                      <a:pt x="53340" y="709613"/>
                    </a:lnTo>
                    <a:lnTo>
                      <a:pt x="56197" y="695325"/>
                    </a:lnTo>
                    <a:lnTo>
                      <a:pt x="70485" y="681038"/>
                    </a:lnTo>
                    <a:lnTo>
                      <a:pt x="63817" y="663035"/>
                    </a:lnTo>
                    <a:lnTo>
                      <a:pt x="60007" y="645890"/>
                    </a:lnTo>
                    <a:lnTo>
                      <a:pt x="60007" y="631603"/>
                    </a:lnTo>
                    <a:lnTo>
                      <a:pt x="56197" y="610648"/>
                    </a:lnTo>
                    <a:lnTo>
                      <a:pt x="67627" y="610648"/>
                    </a:lnTo>
                    <a:lnTo>
                      <a:pt x="74295" y="585788"/>
                    </a:lnTo>
                    <a:lnTo>
                      <a:pt x="84772" y="564928"/>
                    </a:lnTo>
                    <a:lnTo>
                      <a:pt x="91440" y="543973"/>
                    </a:lnTo>
                    <a:lnTo>
                      <a:pt x="102870" y="515398"/>
                    </a:lnTo>
                    <a:lnTo>
                      <a:pt x="105727" y="490538"/>
                    </a:lnTo>
                    <a:lnTo>
                      <a:pt x="113347" y="476250"/>
                    </a:lnTo>
                    <a:lnTo>
                      <a:pt x="109538" y="409575"/>
                    </a:lnTo>
                    <a:lnTo>
                      <a:pt x="109538" y="388715"/>
                    </a:lnTo>
                    <a:lnTo>
                      <a:pt x="123825" y="378238"/>
                    </a:lnTo>
                    <a:lnTo>
                      <a:pt x="123825" y="363950"/>
                    </a:lnTo>
                    <a:lnTo>
                      <a:pt x="116205" y="353473"/>
                    </a:lnTo>
                    <a:lnTo>
                      <a:pt x="123825" y="342900"/>
                    </a:lnTo>
                    <a:lnTo>
                      <a:pt x="130492" y="307753"/>
                    </a:lnTo>
                    <a:lnTo>
                      <a:pt x="140970" y="254413"/>
                    </a:lnTo>
                    <a:lnTo>
                      <a:pt x="144780" y="173450"/>
                    </a:lnTo>
                    <a:lnTo>
                      <a:pt x="155257" y="92488"/>
                    </a:lnTo>
                    <a:lnTo>
                      <a:pt x="151447" y="49625"/>
                    </a:lnTo>
                    <a:lnTo>
                      <a:pt x="148590" y="3238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E829F7DA-3003-CA71-62D2-82C5A2D3087E}"/>
                  </a:ext>
                </a:extLst>
              </p:cNvPr>
              <p:cNvSpPr/>
              <p:nvPr/>
            </p:nvSpPr>
            <p:spPr>
              <a:xfrm>
                <a:off x="3924719" y="5020782"/>
                <a:ext cx="235298" cy="1161562"/>
              </a:xfrm>
              <a:custGeom>
                <a:avLst/>
                <a:gdLst>
                  <a:gd name="connsiteX0" fmla="*/ 148590 w 240029"/>
                  <a:gd name="connsiteY0" fmla="*/ 32385 h 1184909"/>
                  <a:gd name="connsiteX1" fmla="*/ 159067 w 240029"/>
                  <a:gd name="connsiteY1" fmla="*/ 28575 h 1184909"/>
                  <a:gd name="connsiteX2" fmla="*/ 169545 w 240029"/>
                  <a:gd name="connsiteY2" fmla="*/ 3810 h 1184909"/>
                  <a:gd name="connsiteX3" fmla="*/ 172402 w 240029"/>
                  <a:gd name="connsiteY3" fmla="*/ 0 h 1184909"/>
                  <a:gd name="connsiteX4" fmla="*/ 180022 w 240029"/>
                  <a:gd name="connsiteY4" fmla="*/ 22003 h 1184909"/>
                  <a:gd name="connsiteX5" fmla="*/ 197167 w 240029"/>
                  <a:gd name="connsiteY5" fmla="*/ 67723 h 1184909"/>
                  <a:gd name="connsiteX6" fmla="*/ 197167 w 240029"/>
                  <a:gd name="connsiteY6" fmla="*/ 99060 h 1184909"/>
                  <a:gd name="connsiteX7" fmla="*/ 211455 w 240029"/>
                  <a:gd name="connsiteY7" fmla="*/ 120110 h 1184909"/>
                  <a:gd name="connsiteX8" fmla="*/ 219075 w 240029"/>
                  <a:gd name="connsiteY8" fmla="*/ 144875 h 1184909"/>
                  <a:gd name="connsiteX9" fmla="*/ 221932 w 240029"/>
                  <a:gd name="connsiteY9" fmla="*/ 169640 h 1184909"/>
                  <a:gd name="connsiteX10" fmla="*/ 240030 w 240029"/>
                  <a:gd name="connsiteY10" fmla="*/ 169640 h 1184909"/>
                  <a:gd name="connsiteX11" fmla="*/ 236220 w 240029"/>
                  <a:gd name="connsiteY11" fmla="*/ 190500 h 1184909"/>
                  <a:gd name="connsiteX12" fmla="*/ 219075 w 240029"/>
                  <a:gd name="connsiteY12" fmla="*/ 212503 h 1184909"/>
                  <a:gd name="connsiteX13" fmla="*/ 204788 w 240029"/>
                  <a:gd name="connsiteY13" fmla="*/ 219075 h 1184909"/>
                  <a:gd name="connsiteX14" fmla="*/ 194310 w 240029"/>
                  <a:gd name="connsiteY14" fmla="*/ 229648 h 1184909"/>
                  <a:gd name="connsiteX15" fmla="*/ 200977 w 240029"/>
                  <a:gd name="connsiteY15" fmla="*/ 282988 h 1184909"/>
                  <a:gd name="connsiteX16" fmla="*/ 169545 w 240029"/>
                  <a:gd name="connsiteY16" fmla="*/ 328613 h 1184909"/>
                  <a:gd name="connsiteX17" fmla="*/ 159067 w 240029"/>
                  <a:gd name="connsiteY17" fmla="*/ 349663 h 1184909"/>
                  <a:gd name="connsiteX18" fmla="*/ 151447 w 240029"/>
                  <a:gd name="connsiteY18" fmla="*/ 391573 h 1184909"/>
                  <a:gd name="connsiteX19" fmla="*/ 144780 w 240029"/>
                  <a:gd name="connsiteY19" fmla="*/ 413385 h 1184909"/>
                  <a:gd name="connsiteX20" fmla="*/ 144780 w 240029"/>
                  <a:gd name="connsiteY20" fmla="*/ 441103 h 1184909"/>
                  <a:gd name="connsiteX21" fmla="*/ 159067 w 240029"/>
                  <a:gd name="connsiteY21" fmla="*/ 483965 h 1184909"/>
                  <a:gd name="connsiteX22" fmla="*/ 155257 w 240029"/>
                  <a:gd name="connsiteY22" fmla="*/ 515398 h 1184909"/>
                  <a:gd name="connsiteX23" fmla="*/ 148590 w 240029"/>
                  <a:gd name="connsiteY23" fmla="*/ 533400 h 1184909"/>
                  <a:gd name="connsiteX24" fmla="*/ 144780 w 240029"/>
                  <a:gd name="connsiteY24" fmla="*/ 568738 h 1184909"/>
                  <a:gd name="connsiteX25" fmla="*/ 126682 w 240029"/>
                  <a:gd name="connsiteY25" fmla="*/ 585788 h 1184909"/>
                  <a:gd name="connsiteX26" fmla="*/ 130492 w 240029"/>
                  <a:gd name="connsiteY26" fmla="*/ 624935 h 1184909"/>
                  <a:gd name="connsiteX27" fmla="*/ 130492 w 240029"/>
                  <a:gd name="connsiteY27" fmla="*/ 652463 h 1184909"/>
                  <a:gd name="connsiteX28" fmla="*/ 109538 w 240029"/>
                  <a:gd name="connsiteY28" fmla="*/ 699135 h 1184909"/>
                  <a:gd name="connsiteX29" fmla="*/ 105727 w 240029"/>
                  <a:gd name="connsiteY29" fmla="*/ 751522 h 1184909"/>
                  <a:gd name="connsiteX30" fmla="*/ 102870 w 240029"/>
                  <a:gd name="connsiteY30" fmla="*/ 772573 h 1184909"/>
                  <a:gd name="connsiteX31" fmla="*/ 99060 w 240029"/>
                  <a:gd name="connsiteY31" fmla="*/ 801148 h 1184909"/>
                  <a:gd name="connsiteX32" fmla="*/ 105727 w 240029"/>
                  <a:gd name="connsiteY32" fmla="*/ 807815 h 1184909"/>
                  <a:gd name="connsiteX33" fmla="*/ 105727 w 240029"/>
                  <a:gd name="connsiteY33" fmla="*/ 842963 h 1184909"/>
                  <a:gd name="connsiteX34" fmla="*/ 113347 w 240029"/>
                  <a:gd name="connsiteY34" fmla="*/ 864965 h 1184909"/>
                  <a:gd name="connsiteX35" fmla="*/ 109538 w 240029"/>
                  <a:gd name="connsiteY35" fmla="*/ 885825 h 1184909"/>
                  <a:gd name="connsiteX36" fmla="*/ 109538 w 240029"/>
                  <a:gd name="connsiteY36" fmla="*/ 931640 h 1184909"/>
                  <a:gd name="connsiteX37" fmla="*/ 95250 w 240029"/>
                  <a:gd name="connsiteY37" fmla="*/ 952595 h 1184909"/>
                  <a:gd name="connsiteX38" fmla="*/ 91440 w 240029"/>
                  <a:gd name="connsiteY38" fmla="*/ 984028 h 1184909"/>
                  <a:gd name="connsiteX39" fmla="*/ 78105 w 240029"/>
                  <a:gd name="connsiteY39" fmla="*/ 1005935 h 1184909"/>
                  <a:gd name="connsiteX40" fmla="*/ 63817 w 240029"/>
                  <a:gd name="connsiteY40" fmla="*/ 1019270 h 1184909"/>
                  <a:gd name="connsiteX41" fmla="*/ 60007 w 240029"/>
                  <a:gd name="connsiteY41" fmla="*/ 1037272 h 1184909"/>
                  <a:gd name="connsiteX42" fmla="*/ 63817 w 240029"/>
                  <a:gd name="connsiteY42" fmla="*/ 1051560 h 1184909"/>
                  <a:gd name="connsiteX43" fmla="*/ 70485 w 240029"/>
                  <a:gd name="connsiteY43" fmla="*/ 1065848 h 1184909"/>
                  <a:gd name="connsiteX44" fmla="*/ 91440 w 240029"/>
                  <a:gd name="connsiteY44" fmla="*/ 1068705 h 1184909"/>
                  <a:gd name="connsiteX45" fmla="*/ 91440 w 240029"/>
                  <a:gd name="connsiteY45" fmla="*/ 1097280 h 1184909"/>
                  <a:gd name="connsiteX46" fmla="*/ 102870 w 240029"/>
                  <a:gd name="connsiteY46" fmla="*/ 1118235 h 1184909"/>
                  <a:gd name="connsiteX47" fmla="*/ 120015 w 240029"/>
                  <a:gd name="connsiteY47" fmla="*/ 1122140 h 1184909"/>
                  <a:gd name="connsiteX48" fmla="*/ 165735 w 240029"/>
                  <a:gd name="connsiteY48" fmla="*/ 1122140 h 1184909"/>
                  <a:gd name="connsiteX49" fmla="*/ 169545 w 240029"/>
                  <a:gd name="connsiteY49" fmla="*/ 1136428 h 1184909"/>
                  <a:gd name="connsiteX50" fmla="*/ 155257 w 240029"/>
                  <a:gd name="connsiteY50" fmla="*/ 1143095 h 1184909"/>
                  <a:gd name="connsiteX51" fmla="*/ 140970 w 240029"/>
                  <a:gd name="connsiteY51" fmla="*/ 1146810 h 1184909"/>
                  <a:gd name="connsiteX52" fmla="*/ 130492 w 240029"/>
                  <a:gd name="connsiteY52" fmla="*/ 1157383 h 1184909"/>
                  <a:gd name="connsiteX53" fmla="*/ 130492 w 240029"/>
                  <a:gd name="connsiteY53" fmla="*/ 1174528 h 1184909"/>
                  <a:gd name="connsiteX54" fmla="*/ 126682 w 240029"/>
                  <a:gd name="connsiteY54" fmla="*/ 1184910 h 1184909"/>
                  <a:gd name="connsiteX55" fmla="*/ 113347 w 240029"/>
                  <a:gd name="connsiteY55" fmla="*/ 1184910 h 1184909"/>
                  <a:gd name="connsiteX56" fmla="*/ 102870 w 240029"/>
                  <a:gd name="connsiteY56" fmla="*/ 1178243 h 1184909"/>
                  <a:gd name="connsiteX57" fmla="*/ 105727 w 240029"/>
                  <a:gd name="connsiteY57" fmla="*/ 1171670 h 1184909"/>
                  <a:gd name="connsiteX58" fmla="*/ 116205 w 240029"/>
                  <a:gd name="connsiteY58" fmla="*/ 1163955 h 1184909"/>
                  <a:gd name="connsiteX59" fmla="*/ 123825 w 240029"/>
                  <a:gd name="connsiteY59" fmla="*/ 1149668 h 1184909"/>
                  <a:gd name="connsiteX60" fmla="*/ 113347 w 240029"/>
                  <a:gd name="connsiteY60" fmla="*/ 1143095 h 1184909"/>
                  <a:gd name="connsiteX61" fmla="*/ 99060 w 240029"/>
                  <a:gd name="connsiteY61" fmla="*/ 1153573 h 1184909"/>
                  <a:gd name="connsiteX62" fmla="*/ 91440 w 240029"/>
                  <a:gd name="connsiteY62" fmla="*/ 1167860 h 1184909"/>
                  <a:gd name="connsiteX63" fmla="*/ 78105 w 240029"/>
                  <a:gd name="connsiteY63" fmla="*/ 1163955 h 1184909"/>
                  <a:gd name="connsiteX64" fmla="*/ 67627 w 240029"/>
                  <a:gd name="connsiteY64" fmla="*/ 1153573 h 1184909"/>
                  <a:gd name="connsiteX65" fmla="*/ 80963 w 240029"/>
                  <a:gd name="connsiteY65" fmla="*/ 1143095 h 1184909"/>
                  <a:gd name="connsiteX66" fmla="*/ 84772 w 240029"/>
                  <a:gd name="connsiteY66" fmla="*/ 1136428 h 1184909"/>
                  <a:gd name="connsiteX67" fmla="*/ 80963 w 240029"/>
                  <a:gd name="connsiteY67" fmla="*/ 1128808 h 1184909"/>
                  <a:gd name="connsiteX68" fmla="*/ 67627 w 240029"/>
                  <a:gd name="connsiteY68" fmla="*/ 1139285 h 1184909"/>
                  <a:gd name="connsiteX69" fmla="*/ 49530 w 240029"/>
                  <a:gd name="connsiteY69" fmla="*/ 1139285 h 1184909"/>
                  <a:gd name="connsiteX70" fmla="*/ 53340 w 240029"/>
                  <a:gd name="connsiteY70" fmla="*/ 1124998 h 1184909"/>
                  <a:gd name="connsiteX71" fmla="*/ 74295 w 240029"/>
                  <a:gd name="connsiteY71" fmla="*/ 1114520 h 1184909"/>
                  <a:gd name="connsiteX72" fmla="*/ 74295 w 240029"/>
                  <a:gd name="connsiteY72" fmla="*/ 1107853 h 1184909"/>
                  <a:gd name="connsiteX73" fmla="*/ 60007 w 240029"/>
                  <a:gd name="connsiteY73" fmla="*/ 1111568 h 1184909"/>
                  <a:gd name="connsiteX74" fmla="*/ 45720 w 240029"/>
                  <a:gd name="connsiteY74" fmla="*/ 1111568 h 1184909"/>
                  <a:gd name="connsiteX75" fmla="*/ 49530 w 240029"/>
                  <a:gd name="connsiteY75" fmla="*/ 1097280 h 1184909"/>
                  <a:gd name="connsiteX76" fmla="*/ 39052 w 240029"/>
                  <a:gd name="connsiteY76" fmla="*/ 1089660 h 1184909"/>
                  <a:gd name="connsiteX77" fmla="*/ 35242 w 240029"/>
                  <a:gd name="connsiteY77" fmla="*/ 1068705 h 1184909"/>
                  <a:gd name="connsiteX78" fmla="*/ 35242 w 240029"/>
                  <a:gd name="connsiteY78" fmla="*/ 1062133 h 1184909"/>
                  <a:gd name="connsiteX79" fmla="*/ 35242 w 240029"/>
                  <a:gd name="connsiteY79" fmla="*/ 1047845 h 1184909"/>
                  <a:gd name="connsiteX80" fmla="*/ 28575 w 240029"/>
                  <a:gd name="connsiteY80" fmla="*/ 1041178 h 1184909"/>
                  <a:gd name="connsiteX81" fmla="*/ 18097 w 240029"/>
                  <a:gd name="connsiteY81" fmla="*/ 1026890 h 1184909"/>
                  <a:gd name="connsiteX82" fmla="*/ 10477 w 240029"/>
                  <a:gd name="connsiteY82" fmla="*/ 1012603 h 1184909"/>
                  <a:gd name="connsiteX83" fmla="*/ 14288 w 240029"/>
                  <a:gd name="connsiteY83" fmla="*/ 984028 h 1184909"/>
                  <a:gd name="connsiteX84" fmla="*/ 24765 w 240029"/>
                  <a:gd name="connsiteY84" fmla="*/ 984028 h 1184909"/>
                  <a:gd name="connsiteX85" fmla="*/ 28575 w 240029"/>
                  <a:gd name="connsiteY85" fmla="*/ 987743 h 1184909"/>
                  <a:gd name="connsiteX86" fmla="*/ 32385 w 240029"/>
                  <a:gd name="connsiteY86" fmla="*/ 1002030 h 1184909"/>
                  <a:gd name="connsiteX87" fmla="*/ 42863 w 240029"/>
                  <a:gd name="connsiteY87" fmla="*/ 998315 h 1184909"/>
                  <a:gd name="connsiteX88" fmla="*/ 42863 w 240029"/>
                  <a:gd name="connsiteY88" fmla="*/ 981170 h 1184909"/>
                  <a:gd name="connsiteX89" fmla="*/ 49530 w 240029"/>
                  <a:gd name="connsiteY89" fmla="*/ 981170 h 1184909"/>
                  <a:gd name="connsiteX90" fmla="*/ 56197 w 240029"/>
                  <a:gd name="connsiteY90" fmla="*/ 977360 h 1184909"/>
                  <a:gd name="connsiteX91" fmla="*/ 56197 w 240029"/>
                  <a:gd name="connsiteY91" fmla="*/ 963073 h 1184909"/>
                  <a:gd name="connsiteX92" fmla="*/ 49530 w 240029"/>
                  <a:gd name="connsiteY92" fmla="*/ 966883 h 1184909"/>
                  <a:gd name="connsiteX93" fmla="*/ 35242 w 240029"/>
                  <a:gd name="connsiteY93" fmla="*/ 970597 h 1184909"/>
                  <a:gd name="connsiteX94" fmla="*/ 32385 w 240029"/>
                  <a:gd name="connsiteY94" fmla="*/ 959168 h 1184909"/>
                  <a:gd name="connsiteX95" fmla="*/ 32385 w 240029"/>
                  <a:gd name="connsiteY95" fmla="*/ 945928 h 1184909"/>
                  <a:gd name="connsiteX96" fmla="*/ 42863 w 240029"/>
                  <a:gd name="connsiteY96" fmla="*/ 942022 h 1184909"/>
                  <a:gd name="connsiteX97" fmla="*/ 42863 w 240029"/>
                  <a:gd name="connsiteY97" fmla="*/ 935450 h 1184909"/>
                  <a:gd name="connsiteX98" fmla="*/ 28575 w 240029"/>
                  <a:gd name="connsiteY98" fmla="*/ 935450 h 1184909"/>
                  <a:gd name="connsiteX99" fmla="*/ 0 w 240029"/>
                  <a:gd name="connsiteY99" fmla="*/ 935450 h 1184909"/>
                  <a:gd name="connsiteX100" fmla="*/ 10477 w 240029"/>
                  <a:gd name="connsiteY100" fmla="*/ 921163 h 1184909"/>
                  <a:gd name="connsiteX101" fmla="*/ 18097 w 240029"/>
                  <a:gd name="connsiteY101" fmla="*/ 906875 h 1184909"/>
                  <a:gd name="connsiteX102" fmla="*/ 28575 w 240029"/>
                  <a:gd name="connsiteY102" fmla="*/ 892588 h 1184909"/>
                  <a:gd name="connsiteX103" fmla="*/ 39052 w 240029"/>
                  <a:gd name="connsiteY103" fmla="*/ 885825 h 1184909"/>
                  <a:gd name="connsiteX104" fmla="*/ 42863 w 240029"/>
                  <a:gd name="connsiteY104" fmla="*/ 892588 h 1184909"/>
                  <a:gd name="connsiteX105" fmla="*/ 49530 w 240029"/>
                  <a:gd name="connsiteY105" fmla="*/ 913447 h 1184909"/>
                  <a:gd name="connsiteX106" fmla="*/ 63817 w 240029"/>
                  <a:gd name="connsiteY106" fmla="*/ 896398 h 1184909"/>
                  <a:gd name="connsiteX107" fmla="*/ 74295 w 240029"/>
                  <a:gd name="connsiteY107" fmla="*/ 871538 h 1184909"/>
                  <a:gd name="connsiteX108" fmla="*/ 70485 w 240029"/>
                  <a:gd name="connsiteY108" fmla="*/ 853535 h 1184909"/>
                  <a:gd name="connsiteX109" fmla="*/ 67627 w 240029"/>
                  <a:gd name="connsiteY109" fmla="*/ 832485 h 1184909"/>
                  <a:gd name="connsiteX110" fmla="*/ 78105 w 240029"/>
                  <a:gd name="connsiteY110" fmla="*/ 815435 h 1184909"/>
                  <a:gd name="connsiteX111" fmla="*/ 74295 w 240029"/>
                  <a:gd name="connsiteY111" fmla="*/ 797338 h 1184909"/>
                  <a:gd name="connsiteX112" fmla="*/ 78105 w 240029"/>
                  <a:gd name="connsiteY112" fmla="*/ 786860 h 1184909"/>
                  <a:gd name="connsiteX113" fmla="*/ 80963 w 240029"/>
                  <a:gd name="connsiteY113" fmla="*/ 776288 h 1184909"/>
                  <a:gd name="connsiteX114" fmla="*/ 80963 w 240029"/>
                  <a:gd name="connsiteY114" fmla="*/ 755428 h 1184909"/>
                  <a:gd name="connsiteX115" fmla="*/ 70485 w 240029"/>
                  <a:gd name="connsiteY115" fmla="*/ 751522 h 1184909"/>
                  <a:gd name="connsiteX116" fmla="*/ 63817 w 240029"/>
                  <a:gd name="connsiteY116" fmla="*/ 755428 h 1184909"/>
                  <a:gd name="connsiteX117" fmla="*/ 60007 w 240029"/>
                  <a:gd name="connsiteY117" fmla="*/ 772573 h 1184909"/>
                  <a:gd name="connsiteX118" fmla="*/ 56197 w 240029"/>
                  <a:gd name="connsiteY118" fmla="*/ 783050 h 1184909"/>
                  <a:gd name="connsiteX119" fmla="*/ 56197 w 240029"/>
                  <a:gd name="connsiteY119" fmla="*/ 804863 h 1184909"/>
                  <a:gd name="connsiteX120" fmla="*/ 49530 w 240029"/>
                  <a:gd name="connsiteY120" fmla="*/ 815435 h 1184909"/>
                  <a:gd name="connsiteX121" fmla="*/ 39052 w 240029"/>
                  <a:gd name="connsiteY121" fmla="*/ 807815 h 1184909"/>
                  <a:gd name="connsiteX122" fmla="*/ 39052 w 240029"/>
                  <a:gd name="connsiteY122" fmla="*/ 793528 h 1184909"/>
                  <a:gd name="connsiteX123" fmla="*/ 39052 w 240029"/>
                  <a:gd name="connsiteY123" fmla="*/ 772573 h 1184909"/>
                  <a:gd name="connsiteX124" fmla="*/ 45720 w 240029"/>
                  <a:gd name="connsiteY124" fmla="*/ 758285 h 1184909"/>
                  <a:gd name="connsiteX125" fmla="*/ 49530 w 240029"/>
                  <a:gd name="connsiteY125" fmla="*/ 751522 h 1184909"/>
                  <a:gd name="connsiteX126" fmla="*/ 49530 w 240029"/>
                  <a:gd name="connsiteY126" fmla="*/ 734473 h 1184909"/>
                  <a:gd name="connsiteX127" fmla="*/ 53340 w 240029"/>
                  <a:gd name="connsiteY127" fmla="*/ 709613 h 1184909"/>
                  <a:gd name="connsiteX128" fmla="*/ 56197 w 240029"/>
                  <a:gd name="connsiteY128" fmla="*/ 695325 h 1184909"/>
                  <a:gd name="connsiteX129" fmla="*/ 70485 w 240029"/>
                  <a:gd name="connsiteY129" fmla="*/ 681038 h 1184909"/>
                  <a:gd name="connsiteX130" fmla="*/ 63817 w 240029"/>
                  <a:gd name="connsiteY130" fmla="*/ 663035 h 1184909"/>
                  <a:gd name="connsiteX131" fmla="*/ 60007 w 240029"/>
                  <a:gd name="connsiteY131" fmla="*/ 645890 h 1184909"/>
                  <a:gd name="connsiteX132" fmla="*/ 60007 w 240029"/>
                  <a:gd name="connsiteY132" fmla="*/ 631603 h 1184909"/>
                  <a:gd name="connsiteX133" fmla="*/ 56197 w 240029"/>
                  <a:gd name="connsiteY133" fmla="*/ 610648 h 1184909"/>
                  <a:gd name="connsiteX134" fmla="*/ 67627 w 240029"/>
                  <a:gd name="connsiteY134" fmla="*/ 610648 h 1184909"/>
                  <a:gd name="connsiteX135" fmla="*/ 74295 w 240029"/>
                  <a:gd name="connsiteY135" fmla="*/ 585788 h 1184909"/>
                  <a:gd name="connsiteX136" fmla="*/ 84772 w 240029"/>
                  <a:gd name="connsiteY136" fmla="*/ 564928 h 1184909"/>
                  <a:gd name="connsiteX137" fmla="*/ 91440 w 240029"/>
                  <a:gd name="connsiteY137" fmla="*/ 543973 h 1184909"/>
                  <a:gd name="connsiteX138" fmla="*/ 102870 w 240029"/>
                  <a:gd name="connsiteY138" fmla="*/ 515398 h 1184909"/>
                  <a:gd name="connsiteX139" fmla="*/ 105727 w 240029"/>
                  <a:gd name="connsiteY139" fmla="*/ 490538 h 1184909"/>
                  <a:gd name="connsiteX140" fmla="*/ 113347 w 240029"/>
                  <a:gd name="connsiteY140" fmla="*/ 476250 h 1184909"/>
                  <a:gd name="connsiteX141" fmla="*/ 109538 w 240029"/>
                  <a:gd name="connsiteY141" fmla="*/ 409575 h 1184909"/>
                  <a:gd name="connsiteX142" fmla="*/ 109538 w 240029"/>
                  <a:gd name="connsiteY142" fmla="*/ 388715 h 1184909"/>
                  <a:gd name="connsiteX143" fmla="*/ 123825 w 240029"/>
                  <a:gd name="connsiteY143" fmla="*/ 378238 h 1184909"/>
                  <a:gd name="connsiteX144" fmla="*/ 123825 w 240029"/>
                  <a:gd name="connsiteY144" fmla="*/ 363950 h 1184909"/>
                  <a:gd name="connsiteX145" fmla="*/ 116205 w 240029"/>
                  <a:gd name="connsiteY145" fmla="*/ 353473 h 1184909"/>
                  <a:gd name="connsiteX146" fmla="*/ 123825 w 240029"/>
                  <a:gd name="connsiteY146" fmla="*/ 342900 h 1184909"/>
                  <a:gd name="connsiteX147" fmla="*/ 130492 w 240029"/>
                  <a:gd name="connsiteY147" fmla="*/ 307753 h 1184909"/>
                  <a:gd name="connsiteX148" fmla="*/ 140970 w 240029"/>
                  <a:gd name="connsiteY148" fmla="*/ 254413 h 1184909"/>
                  <a:gd name="connsiteX149" fmla="*/ 144780 w 240029"/>
                  <a:gd name="connsiteY149" fmla="*/ 173450 h 1184909"/>
                  <a:gd name="connsiteX150" fmla="*/ 155257 w 240029"/>
                  <a:gd name="connsiteY150" fmla="*/ 92488 h 1184909"/>
                  <a:gd name="connsiteX151" fmla="*/ 151447 w 240029"/>
                  <a:gd name="connsiteY151" fmla="*/ 49625 h 1184909"/>
                  <a:gd name="connsiteX152" fmla="*/ 148590 w 240029"/>
                  <a:gd name="connsiteY152" fmla="*/ 32385 h 1184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</a:cxnLst>
                <a:rect l="l" t="t" r="r" b="b"/>
                <a:pathLst>
                  <a:path w="240029" h="1184909">
                    <a:moveTo>
                      <a:pt x="148590" y="32385"/>
                    </a:moveTo>
                    <a:lnTo>
                      <a:pt x="159067" y="28575"/>
                    </a:lnTo>
                    <a:lnTo>
                      <a:pt x="169545" y="3810"/>
                    </a:lnTo>
                    <a:lnTo>
                      <a:pt x="172402" y="0"/>
                    </a:lnTo>
                    <a:lnTo>
                      <a:pt x="180022" y="22003"/>
                    </a:lnTo>
                    <a:lnTo>
                      <a:pt x="197167" y="67723"/>
                    </a:lnTo>
                    <a:lnTo>
                      <a:pt x="197167" y="99060"/>
                    </a:lnTo>
                    <a:lnTo>
                      <a:pt x="211455" y="120110"/>
                    </a:lnTo>
                    <a:lnTo>
                      <a:pt x="219075" y="144875"/>
                    </a:lnTo>
                    <a:lnTo>
                      <a:pt x="221932" y="169640"/>
                    </a:lnTo>
                    <a:lnTo>
                      <a:pt x="240030" y="169640"/>
                    </a:lnTo>
                    <a:lnTo>
                      <a:pt x="236220" y="190500"/>
                    </a:lnTo>
                    <a:lnTo>
                      <a:pt x="219075" y="212503"/>
                    </a:lnTo>
                    <a:lnTo>
                      <a:pt x="204788" y="219075"/>
                    </a:lnTo>
                    <a:lnTo>
                      <a:pt x="194310" y="229648"/>
                    </a:lnTo>
                    <a:lnTo>
                      <a:pt x="200977" y="282988"/>
                    </a:lnTo>
                    <a:lnTo>
                      <a:pt x="169545" y="328613"/>
                    </a:lnTo>
                    <a:lnTo>
                      <a:pt x="159067" y="349663"/>
                    </a:lnTo>
                    <a:lnTo>
                      <a:pt x="151447" y="391573"/>
                    </a:lnTo>
                    <a:lnTo>
                      <a:pt x="144780" y="413385"/>
                    </a:lnTo>
                    <a:lnTo>
                      <a:pt x="144780" y="441103"/>
                    </a:lnTo>
                    <a:lnTo>
                      <a:pt x="159067" y="483965"/>
                    </a:lnTo>
                    <a:lnTo>
                      <a:pt x="155257" y="515398"/>
                    </a:lnTo>
                    <a:lnTo>
                      <a:pt x="148590" y="533400"/>
                    </a:lnTo>
                    <a:lnTo>
                      <a:pt x="144780" y="568738"/>
                    </a:lnTo>
                    <a:lnTo>
                      <a:pt x="126682" y="585788"/>
                    </a:lnTo>
                    <a:lnTo>
                      <a:pt x="130492" y="624935"/>
                    </a:lnTo>
                    <a:lnTo>
                      <a:pt x="130492" y="652463"/>
                    </a:lnTo>
                    <a:lnTo>
                      <a:pt x="109538" y="699135"/>
                    </a:lnTo>
                    <a:lnTo>
                      <a:pt x="105727" y="751522"/>
                    </a:lnTo>
                    <a:lnTo>
                      <a:pt x="102870" y="772573"/>
                    </a:lnTo>
                    <a:lnTo>
                      <a:pt x="99060" y="801148"/>
                    </a:lnTo>
                    <a:lnTo>
                      <a:pt x="105727" y="807815"/>
                    </a:lnTo>
                    <a:lnTo>
                      <a:pt x="105727" y="842963"/>
                    </a:lnTo>
                    <a:lnTo>
                      <a:pt x="113347" y="864965"/>
                    </a:lnTo>
                    <a:lnTo>
                      <a:pt x="109538" y="885825"/>
                    </a:lnTo>
                    <a:lnTo>
                      <a:pt x="109538" y="931640"/>
                    </a:lnTo>
                    <a:lnTo>
                      <a:pt x="95250" y="952595"/>
                    </a:lnTo>
                    <a:lnTo>
                      <a:pt x="91440" y="984028"/>
                    </a:lnTo>
                    <a:lnTo>
                      <a:pt x="78105" y="1005935"/>
                    </a:lnTo>
                    <a:lnTo>
                      <a:pt x="63817" y="1019270"/>
                    </a:lnTo>
                    <a:lnTo>
                      <a:pt x="60007" y="1037272"/>
                    </a:lnTo>
                    <a:lnTo>
                      <a:pt x="63817" y="1051560"/>
                    </a:lnTo>
                    <a:lnTo>
                      <a:pt x="70485" y="1065848"/>
                    </a:lnTo>
                    <a:lnTo>
                      <a:pt x="91440" y="1068705"/>
                    </a:lnTo>
                    <a:lnTo>
                      <a:pt x="91440" y="1097280"/>
                    </a:lnTo>
                    <a:lnTo>
                      <a:pt x="102870" y="1118235"/>
                    </a:lnTo>
                    <a:lnTo>
                      <a:pt x="120015" y="1122140"/>
                    </a:lnTo>
                    <a:lnTo>
                      <a:pt x="165735" y="1122140"/>
                    </a:lnTo>
                    <a:lnTo>
                      <a:pt x="169545" y="1136428"/>
                    </a:lnTo>
                    <a:lnTo>
                      <a:pt x="155257" y="1143095"/>
                    </a:lnTo>
                    <a:lnTo>
                      <a:pt x="140970" y="1146810"/>
                    </a:lnTo>
                    <a:lnTo>
                      <a:pt x="130492" y="1157383"/>
                    </a:lnTo>
                    <a:lnTo>
                      <a:pt x="130492" y="1174528"/>
                    </a:lnTo>
                    <a:lnTo>
                      <a:pt x="126682" y="1184910"/>
                    </a:lnTo>
                    <a:lnTo>
                      <a:pt x="113347" y="1184910"/>
                    </a:lnTo>
                    <a:lnTo>
                      <a:pt x="102870" y="1178243"/>
                    </a:lnTo>
                    <a:lnTo>
                      <a:pt x="105727" y="1171670"/>
                    </a:lnTo>
                    <a:lnTo>
                      <a:pt x="116205" y="1163955"/>
                    </a:lnTo>
                    <a:lnTo>
                      <a:pt x="123825" y="1149668"/>
                    </a:lnTo>
                    <a:lnTo>
                      <a:pt x="113347" y="1143095"/>
                    </a:lnTo>
                    <a:lnTo>
                      <a:pt x="99060" y="1153573"/>
                    </a:lnTo>
                    <a:lnTo>
                      <a:pt x="91440" y="1167860"/>
                    </a:lnTo>
                    <a:lnTo>
                      <a:pt x="78105" y="1163955"/>
                    </a:lnTo>
                    <a:lnTo>
                      <a:pt x="67627" y="1153573"/>
                    </a:lnTo>
                    <a:lnTo>
                      <a:pt x="80963" y="1143095"/>
                    </a:lnTo>
                    <a:lnTo>
                      <a:pt x="84772" y="1136428"/>
                    </a:lnTo>
                    <a:lnTo>
                      <a:pt x="80963" y="1128808"/>
                    </a:lnTo>
                    <a:lnTo>
                      <a:pt x="67627" y="1139285"/>
                    </a:lnTo>
                    <a:lnTo>
                      <a:pt x="49530" y="1139285"/>
                    </a:lnTo>
                    <a:lnTo>
                      <a:pt x="53340" y="1124998"/>
                    </a:lnTo>
                    <a:lnTo>
                      <a:pt x="74295" y="1114520"/>
                    </a:lnTo>
                    <a:lnTo>
                      <a:pt x="74295" y="1107853"/>
                    </a:lnTo>
                    <a:lnTo>
                      <a:pt x="60007" y="1111568"/>
                    </a:lnTo>
                    <a:lnTo>
                      <a:pt x="45720" y="1111568"/>
                    </a:lnTo>
                    <a:lnTo>
                      <a:pt x="49530" y="1097280"/>
                    </a:lnTo>
                    <a:lnTo>
                      <a:pt x="39052" y="1089660"/>
                    </a:lnTo>
                    <a:lnTo>
                      <a:pt x="35242" y="1068705"/>
                    </a:lnTo>
                    <a:lnTo>
                      <a:pt x="35242" y="1062133"/>
                    </a:lnTo>
                    <a:lnTo>
                      <a:pt x="35242" y="1047845"/>
                    </a:lnTo>
                    <a:lnTo>
                      <a:pt x="28575" y="1041178"/>
                    </a:lnTo>
                    <a:lnTo>
                      <a:pt x="18097" y="1026890"/>
                    </a:lnTo>
                    <a:lnTo>
                      <a:pt x="10477" y="1012603"/>
                    </a:lnTo>
                    <a:lnTo>
                      <a:pt x="14288" y="984028"/>
                    </a:lnTo>
                    <a:lnTo>
                      <a:pt x="24765" y="984028"/>
                    </a:lnTo>
                    <a:lnTo>
                      <a:pt x="28575" y="987743"/>
                    </a:lnTo>
                    <a:lnTo>
                      <a:pt x="32385" y="1002030"/>
                    </a:lnTo>
                    <a:lnTo>
                      <a:pt x="42863" y="998315"/>
                    </a:lnTo>
                    <a:lnTo>
                      <a:pt x="42863" y="981170"/>
                    </a:lnTo>
                    <a:lnTo>
                      <a:pt x="49530" y="981170"/>
                    </a:lnTo>
                    <a:lnTo>
                      <a:pt x="56197" y="977360"/>
                    </a:lnTo>
                    <a:lnTo>
                      <a:pt x="56197" y="963073"/>
                    </a:lnTo>
                    <a:lnTo>
                      <a:pt x="49530" y="966883"/>
                    </a:lnTo>
                    <a:lnTo>
                      <a:pt x="35242" y="970597"/>
                    </a:lnTo>
                    <a:lnTo>
                      <a:pt x="32385" y="959168"/>
                    </a:lnTo>
                    <a:lnTo>
                      <a:pt x="32385" y="945928"/>
                    </a:lnTo>
                    <a:lnTo>
                      <a:pt x="42863" y="942022"/>
                    </a:lnTo>
                    <a:lnTo>
                      <a:pt x="42863" y="935450"/>
                    </a:lnTo>
                    <a:lnTo>
                      <a:pt x="28575" y="935450"/>
                    </a:lnTo>
                    <a:lnTo>
                      <a:pt x="0" y="935450"/>
                    </a:lnTo>
                    <a:lnTo>
                      <a:pt x="10477" y="921163"/>
                    </a:lnTo>
                    <a:lnTo>
                      <a:pt x="18097" y="906875"/>
                    </a:lnTo>
                    <a:lnTo>
                      <a:pt x="28575" y="892588"/>
                    </a:lnTo>
                    <a:lnTo>
                      <a:pt x="39052" y="885825"/>
                    </a:lnTo>
                    <a:lnTo>
                      <a:pt x="42863" y="892588"/>
                    </a:lnTo>
                    <a:lnTo>
                      <a:pt x="49530" y="913447"/>
                    </a:lnTo>
                    <a:lnTo>
                      <a:pt x="63817" y="896398"/>
                    </a:lnTo>
                    <a:lnTo>
                      <a:pt x="74295" y="871538"/>
                    </a:lnTo>
                    <a:lnTo>
                      <a:pt x="70485" y="853535"/>
                    </a:lnTo>
                    <a:lnTo>
                      <a:pt x="67627" y="832485"/>
                    </a:lnTo>
                    <a:lnTo>
                      <a:pt x="78105" y="815435"/>
                    </a:lnTo>
                    <a:lnTo>
                      <a:pt x="74295" y="797338"/>
                    </a:lnTo>
                    <a:lnTo>
                      <a:pt x="78105" y="786860"/>
                    </a:lnTo>
                    <a:lnTo>
                      <a:pt x="80963" y="776288"/>
                    </a:lnTo>
                    <a:lnTo>
                      <a:pt x="80963" y="755428"/>
                    </a:lnTo>
                    <a:lnTo>
                      <a:pt x="70485" y="751522"/>
                    </a:lnTo>
                    <a:lnTo>
                      <a:pt x="63817" y="755428"/>
                    </a:lnTo>
                    <a:lnTo>
                      <a:pt x="60007" y="772573"/>
                    </a:lnTo>
                    <a:lnTo>
                      <a:pt x="56197" y="783050"/>
                    </a:lnTo>
                    <a:lnTo>
                      <a:pt x="56197" y="804863"/>
                    </a:lnTo>
                    <a:lnTo>
                      <a:pt x="49530" y="815435"/>
                    </a:lnTo>
                    <a:lnTo>
                      <a:pt x="39052" y="807815"/>
                    </a:lnTo>
                    <a:lnTo>
                      <a:pt x="39052" y="793528"/>
                    </a:lnTo>
                    <a:lnTo>
                      <a:pt x="39052" y="772573"/>
                    </a:lnTo>
                    <a:lnTo>
                      <a:pt x="45720" y="758285"/>
                    </a:lnTo>
                    <a:lnTo>
                      <a:pt x="49530" y="751522"/>
                    </a:lnTo>
                    <a:lnTo>
                      <a:pt x="49530" y="734473"/>
                    </a:lnTo>
                    <a:lnTo>
                      <a:pt x="53340" y="709613"/>
                    </a:lnTo>
                    <a:lnTo>
                      <a:pt x="56197" y="695325"/>
                    </a:lnTo>
                    <a:lnTo>
                      <a:pt x="70485" y="681038"/>
                    </a:lnTo>
                    <a:lnTo>
                      <a:pt x="63817" y="663035"/>
                    </a:lnTo>
                    <a:lnTo>
                      <a:pt x="60007" y="645890"/>
                    </a:lnTo>
                    <a:lnTo>
                      <a:pt x="60007" y="631603"/>
                    </a:lnTo>
                    <a:lnTo>
                      <a:pt x="56197" y="610648"/>
                    </a:lnTo>
                    <a:lnTo>
                      <a:pt x="67627" y="610648"/>
                    </a:lnTo>
                    <a:lnTo>
                      <a:pt x="74295" y="585788"/>
                    </a:lnTo>
                    <a:lnTo>
                      <a:pt x="84772" y="564928"/>
                    </a:lnTo>
                    <a:lnTo>
                      <a:pt x="91440" y="543973"/>
                    </a:lnTo>
                    <a:lnTo>
                      <a:pt x="102870" y="515398"/>
                    </a:lnTo>
                    <a:lnTo>
                      <a:pt x="105727" y="490538"/>
                    </a:lnTo>
                    <a:lnTo>
                      <a:pt x="113347" y="476250"/>
                    </a:lnTo>
                    <a:lnTo>
                      <a:pt x="109538" y="409575"/>
                    </a:lnTo>
                    <a:lnTo>
                      <a:pt x="109538" y="388715"/>
                    </a:lnTo>
                    <a:lnTo>
                      <a:pt x="123825" y="378238"/>
                    </a:lnTo>
                    <a:lnTo>
                      <a:pt x="123825" y="363950"/>
                    </a:lnTo>
                    <a:lnTo>
                      <a:pt x="116205" y="353473"/>
                    </a:lnTo>
                    <a:lnTo>
                      <a:pt x="123825" y="342900"/>
                    </a:lnTo>
                    <a:lnTo>
                      <a:pt x="130492" y="307753"/>
                    </a:lnTo>
                    <a:lnTo>
                      <a:pt x="140970" y="254413"/>
                    </a:lnTo>
                    <a:lnTo>
                      <a:pt x="144780" y="173450"/>
                    </a:lnTo>
                    <a:lnTo>
                      <a:pt x="155257" y="92488"/>
                    </a:lnTo>
                    <a:lnTo>
                      <a:pt x="151447" y="49625"/>
                    </a:lnTo>
                    <a:lnTo>
                      <a:pt x="148590" y="3238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AEE66534-9C6E-F1AF-EBC6-AC4AA50FD50E}"/>
                  </a:ext>
                </a:extLst>
              </p:cNvPr>
              <p:cNvSpPr/>
              <p:nvPr/>
            </p:nvSpPr>
            <p:spPr>
              <a:xfrm>
                <a:off x="4117999" y="6151624"/>
                <a:ext cx="97106" cy="79367"/>
              </a:xfrm>
              <a:custGeom>
                <a:avLst/>
                <a:gdLst>
                  <a:gd name="connsiteX0" fmla="*/ 0 w 99059"/>
                  <a:gd name="connsiteY0" fmla="*/ 0 h 80962"/>
                  <a:gd name="connsiteX1" fmla="*/ 0 w 99059"/>
                  <a:gd name="connsiteY1" fmla="*/ 74200 h 80962"/>
                  <a:gd name="connsiteX2" fmla="*/ 21908 w 99059"/>
                  <a:gd name="connsiteY2" fmla="*/ 74200 h 80962"/>
                  <a:gd name="connsiteX3" fmla="*/ 39053 w 99059"/>
                  <a:gd name="connsiteY3" fmla="*/ 74200 h 80962"/>
                  <a:gd name="connsiteX4" fmla="*/ 63818 w 99059"/>
                  <a:gd name="connsiteY4" fmla="*/ 80963 h 80962"/>
                  <a:gd name="connsiteX5" fmla="*/ 88583 w 99059"/>
                  <a:gd name="connsiteY5" fmla="*/ 78105 h 80962"/>
                  <a:gd name="connsiteX6" fmla="*/ 99060 w 99059"/>
                  <a:gd name="connsiteY6" fmla="*/ 74200 h 80962"/>
                  <a:gd name="connsiteX7" fmla="*/ 84772 w 99059"/>
                  <a:gd name="connsiteY7" fmla="*/ 70485 h 80962"/>
                  <a:gd name="connsiteX8" fmla="*/ 57150 w 99059"/>
                  <a:gd name="connsiteY8" fmla="*/ 63818 h 80962"/>
                  <a:gd name="connsiteX9" fmla="*/ 35243 w 99059"/>
                  <a:gd name="connsiteY9" fmla="*/ 49530 h 80962"/>
                  <a:gd name="connsiteX10" fmla="*/ 14288 w 99059"/>
                  <a:gd name="connsiteY10" fmla="*/ 28575 h 80962"/>
                  <a:gd name="connsiteX11" fmla="*/ 10478 w 99059"/>
                  <a:gd name="connsiteY11" fmla="*/ 14288 h 80962"/>
                  <a:gd name="connsiteX12" fmla="*/ 7620 w 99059"/>
                  <a:gd name="connsiteY12" fmla="*/ 3810 h 80962"/>
                  <a:gd name="connsiteX13" fmla="*/ 0 w 99059"/>
                  <a:gd name="connsiteY13" fmla="*/ 0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059" h="80962">
                    <a:moveTo>
                      <a:pt x="0" y="0"/>
                    </a:moveTo>
                    <a:lnTo>
                      <a:pt x="0" y="74200"/>
                    </a:lnTo>
                    <a:lnTo>
                      <a:pt x="21908" y="74200"/>
                    </a:lnTo>
                    <a:lnTo>
                      <a:pt x="39053" y="74200"/>
                    </a:lnTo>
                    <a:lnTo>
                      <a:pt x="63818" y="80963"/>
                    </a:lnTo>
                    <a:lnTo>
                      <a:pt x="88583" y="78105"/>
                    </a:lnTo>
                    <a:lnTo>
                      <a:pt x="99060" y="74200"/>
                    </a:lnTo>
                    <a:lnTo>
                      <a:pt x="84772" y="70485"/>
                    </a:lnTo>
                    <a:lnTo>
                      <a:pt x="57150" y="63818"/>
                    </a:lnTo>
                    <a:lnTo>
                      <a:pt x="35243" y="49530"/>
                    </a:lnTo>
                    <a:lnTo>
                      <a:pt x="14288" y="28575"/>
                    </a:lnTo>
                    <a:lnTo>
                      <a:pt x="10478" y="14288"/>
                    </a:lnTo>
                    <a:lnTo>
                      <a:pt x="7620" y="38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EAF8E214-85EB-59E6-2D06-5AA51B21295E}"/>
                  </a:ext>
                </a:extLst>
              </p:cNvPr>
              <p:cNvSpPr/>
              <p:nvPr/>
            </p:nvSpPr>
            <p:spPr>
              <a:xfrm>
                <a:off x="4117999" y="6151624"/>
                <a:ext cx="97106" cy="79367"/>
              </a:xfrm>
              <a:custGeom>
                <a:avLst/>
                <a:gdLst>
                  <a:gd name="connsiteX0" fmla="*/ 0 w 99059"/>
                  <a:gd name="connsiteY0" fmla="*/ 0 h 80962"/>
                  <a:gd name="connsiteX1" fmla="*/ 0 w 99059"/>
                  <a:gd name="connsiteY1" fmla="*/ 74200 h 80962"/>
                  <a:gd name="connsiteX2" fmla="*/ 21908 w 99059"/>
                  <a:gd name="connsiteY2" fmla="*/ 74200 h 80962"/>
                  <a:gd name="connsiteX3" fmla="*/ 39053 w 99059"/>
                  <a:gd name="connsiteY3" fmla="*/ 74200 h 80962"/>
                  <a:gd name="connsiteX4" fmla="*/ 63818 w 99059"/>
                  <a:gd name="connsiteY4" fmla="*/ 80963 h 80962"/>
                  <a:gd name="connsiteX5" fmla="*/ 88583 w 99059"/>
                  <a:gd name="connsiteY5" fmla="*/ 78105 h 80962"/>
                  <a:gd name="connsiteX6" fmla="*/ 99060 w 99059"/>
                  <a:gd name="connsiteY6" fmla="*/ 74200 h 80962"/>
                  <a:gd name="connsiteX7" fmla="*/ 84772 w 99059"/>
                  <a:gd name="connsiteY7" fmla="*/ 70485 h 80962"/>
                  <a:gd name="connsiteX8" fmla="*/ 57150 w 99059"/>
                  <a:gd name="connsiteY8" fmla="*/ 63818 h 80962"/>
                  <a:gd name="connsiteX9" fmla="*/ 35243 w 99059"/>
                  <a:gd name="connsiteY9" fmla="*/ 49530 h 80962"/>
                  <a:gd name="connsiteX10" fmla="*/ 14288 w 99059"/>
                  <a:gd name="connsiteY10" fmla="*/ 28575 h 80962"/>
                  <a:gd name="connsiteX11" fmla="*/ 10478 w 99059"/>
                  <a:gd name="connsiteY11" fmla="*/ 14288 h 80962"/>
                  <a:gd name="connsiteX12" fmla="*/ 7620 w 99059"/>
                  <a:gd name="connsiteY12" fmla="*/ 3810 h 80962"/>
                  <a:gd name="connsiteX13" fmla="*/ 0 w 99059"/>
                  <a:gd name="connsiteY13" fmla="*/ 0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9059" h="80962">
                    <a:moveTo>
                      <a:pt x="0" y="0"/>
                    </a:moveTo>
                    <a:lnTo>
                      <a:pt x="0" y="74200"/>
                    </a:lnTo>
                    <a:lnTo>
                      <a:pt x="21908" y="74200"/>
                    </a:lnTo>
                    <a:lnTo>
                      <a:pt x="39053" y="74200"/>
                    </a:lnTo>
                    <a:lnTo>
                      <a:pt x="63818" y="80963"/>
                    </a:lnTo>
                    <a:lnTo>
                      <a:pt x="88583" y="78105"/>
                    </a:lnTo>
                    <a:lnTo>
                      <a:pt x="99060" y="74200"/>
                    </a:lnTo>
                    <a:lnTo>
                      <a:pt x="84772" y="70485"/>
                    </a:lnTo>
                    <a:lnTo>
                      <a:pt x="57150" y="63818"/>
                    </a:lnTo>
                    <a:lnTo>
                      <a:pt x="35243" y="49530"/>
                    </a:lnTo>
                    <a:lnTo>
                      <a:pt x="14288" y="28575"/>
                    </a:lnTo>
                    <a:lnTo>
                      <a:pt x="10478" y="14288"/>
                    </a:lnTo>
                    <a:lnTo>
                      <a:pt x="7620" y="38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81C78E12-55B6-F416-C2C7-0C35821B0776}"/>
                  </a:ext>
                </a:extLst>
              </p:cNvPr>
              <p:cNvSpPr/>
              <p:nvPr/>
            </p:nvSpPr>
            <p:spPr>
              <a:xfrm>
                <a:off x="4046103" y="6141354"/>
                <a:ext cx="116715" cy="110180"/>
              </a:xfrm>
              <a:custGeom>
                <a:avLst/>
                <a:gdLst>
                  <a:gd name="connsiteX0" fmla="*/ 2857 w 119062"/>
                  <a:gd name="connsiteY0" fmla="*/ 80962 h 112395"/>
                  <a:gd name="connsiteX1" fmla="*/ 0 w 119062"/>
                  <a:gd name="connsiteY1" fmla="*/ 70390 h 112395"/>
                  <a:gd name="connsiteX2" fmla="*/ 10477 w 119062"/>
                  <a:gd name="connsiteY2" fmla="*/ 66675 h 112395"/>
                  <a:gd name="connsiteX3" fmla="*/ 17145 w 119062"/>
                  <a:gd name="connsiteY3" fmla="*/ 66675 h 112395"/>
                  <a:gd name="connsiteX4" fmla="*/ 35242 w 119062"/>
                  <a:gd name="connsiteY4" fmla="*/ 66675 h 112395"/>
                  <a:gd name="connsiteX5" fmla="*/ 45720 w 119062"/>
                  <a:gd name="connsiteY5" fmla="*/ 70390 h 112395"/>
                  <a:gd name="connsiteX6" fmla="*/ 52388 w 119062"/>
                  <a:gd name="connsiteY6" fmla="*/ 66675 h 112395"/>
                  <a:gd name="connsiteX7" fmla="*/ 38100 w 119062"/>
                  <a:gd name="connsiteY7" fmla="*/ 56102 h 112395"/>
                  <a:gd name="connsiteX8" fmla="*/ 27622 w 119062"/>
                  <a:gd name="connsiteY8" fmla="*/ 49435 h 112395"/>
                  <a:gd name="connsiteX9" fmla="*/ 31432 w 119062"/>
                  <a:gd name="connsiteY9" fmla="*/ 39052 h 112395"/>
                  <a:gd name="connsiteX10" fmla="*/ 38100 w 119062"/>
                  <a:gd name="connsiteY10" fmla="*/ 39052 h 112395"/>
                  <a:gd name="connsiteX11" fmla="*/ 48577 w 119062"/>
                  <a:gd name="connsiteY11" fmla="*/ 35147 h 112395"/>
                  <a:gd name="connsiteX12" fmla="*/ 45720 w 119062"/>
                  <a:gd name="connsiteY12" fmla="*/ 24765 h 112395"/>
                  <a:gd name="connsiteX13" fmla="*/ 35242 w 119062"/>
                  <a:gd name="connsiteY13" fmla="*/ 28575 h 112395"/>
                  <a:gd name="connsiteX14" fmla="*/ 24765 w 119062"/>
                  <a:gd name="connsiteY14" fmla="*/ 31432 h 112395"/>
                  <a:gd name="connsiteX15" fmla="*/ 20955 w 119062"/>
                  <a:gd name="connsiteY15" fmla="*/ 20860 h 112395"/>
                  <a:gd name="connsiteX16" fmla="*/ 24765 w 119062"/>
                  <a:gd name="connsiteY16" fmla="*/ 14288 h 112395"/>
                  <a:gd name="connsiteX17" fmla="*/ 35242 w 119062"/>
                  <a:gd name="connsiteY17" fmla="*/ 10477 h 112395"/>
                  <a:gd name="connsiteX18" fmla="*/ 41910 w 119062"/>
                  <a:gd name="connsiteY18" fmla="*/ 3715 h 112395"/>
                  <a:gd name="connsiteX19" fmla="*/ 56197 w 119062"/>
                  <a:gd name="connsiteY19" fmla="*/ 0 h 112395"/>
                  <a:gd name="connsiteX20" fmla="*/ 66675 w 119062"/>
                  <a:gd name="connsiteY20" fmla="*/ 0 h 112395"/>
                  <a:gd name="connsiteX21" fmla="*/ 73342 w 119062"/>
                  <a:gd name="connsiteY21" fmla="*/ 10477 h 112395"/>
                  <a:gd name="connsiteX22" fmla="*/ 73342 w 119062"/>
                  <a:gd name="connsiteY22" fmla="*/ 84677 h 112395"/>
                  <a:gd name="connsiteX23" fmla="*/ 112395 w 119062"/>
                  <a:gd name="connsiteY23" fmla="*/ 84677 h 112395"/>
                  <a:gd name="connsiteX24" fmla="*/ 119063 w 119062"/>
                  <a:gd name="connsiteY24" fmla="*/ 91440 h 112395"/>
                  <a:gd name="connsiteX25" fmla="*/ 119063 w 119062"/>
                  <a:gd name="connsiteY25" fmla="*/ 98965 h 112395"/>
                  <a:gd name="connsiteX26" fmla="*/ 105727 w 119062"/>
                  <a:gd name="connsiteY26" fmla="*/ 101822 h 112395"/>
                  <a:gd name="connsiteX27" fmla="*/ 91440 w 119062"/>
                  <a:gd name="connsiteY27" fmla="*/ 101822 h 112395"/>
                  <a:gd name="connsiteX28" fmla="*/ 77152 w 119062"/>
                  <a:gd name="connsiteY28" fmla="*/ 105728 h 112395"/>
                  <a:gd name="connsiteX29" fmla="*/ 73342 w 119062"/>
                  <a:gd name="connsiteY29" fmla="*/ 112395 h 112395"/>
                  <a:gd name="connsiteX30" fmla="*/ 60007 w 119062"/>
                  <a:gd name="connsiteY30" fmla="*/ 109537 h 112395"/>
                  <a:gd name="connsiteX31" fmla="*/ 41910 w 119062"/>
                  <a:gd name="connsiteY31" fmla="*/ 105728 h 112395"/>
                  <a:gd name="connsiteX32" fmla="*/ 35242 w 119062"/>
                  <a:gd name="connsiteY32" fmla="*/ 98965 h 112395"/>
                  <a:gd name="connsiteX33" fmla="*/ 35242 w 119062"/>
                  <a:gd name="connsiteY33" fmla="*/ 88583 h 112395"/>
                  <a:gd name="connsiteX34" fmla="*/ 27622 w 119062"/>
                  <a:gd name="connsiteY34" fmla="*/ 88583 h 112395"/>
                  <a:gd name="connsiteX35" fmla="*/ 20955 w 119062"/>
                  <a:gd name="connsiteY35" fmla="*/ 88583 h 112395"/>
                  <a:gd name="connsiteX36" fmla="*/ 20955 w 119062"/>
                  <a:gd name="connsiteY36" fmla="*/ 98965 h 112395"/>
                  <a:gd name="connsiteX37" fmla="*/ 2857 w 119062"/>
                  <a:gd name="connsiteY37" fmla="*/ 91440 h 112395"/>
                  <a:gd name="connsiteX38" fmla="*/ 2857 w 119062"/>
                  <a:gd name="connsiteY38" fmla="*/ 80962 h 112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19062" h="112395">
                    <a:moveTo>
                      <a:pt x="2857" y="80962"/>
                    </a:moveTo>
                    <a:lnTo>
                      <a:pt x="0" y="70390"/>
                    </a:lnTo>
                    <a:lnTo>
                      <a:pt x="10477" y="66675"/>
                    </a:lnTo>
                    <a:lnTo>
                      <a:pt x="17145" y="66675"/>
                    </a:lnTo>
                    <a:lnTo>
                      <a:pt x="35242" y="66675"/>
                    </a:lnTo>
                    <a:lnTo>
                      <a:pt x="45720" y="70390"/>
                    </a:lnTo>
                    <a:lnTo>
                      <a:pt x="52388" y="66675"/>
                    </a:lnTo>
                    <a:lnTo>
                      <a:pt x="38100" y="56102"/>
                    </a:lnTo>
                    <a:lnTo>
                      <a:pt x="27622" y="49435"/>
                    </a:lnTo>
                    <a:lnTo>
                      <a:pt x="31432" y="39052"/>
                    </a:lnTo>
                    <a:lnTo>
                      <a:pt x="38100" y="39052"/>
                    </a:lnTo>
                    <a:lnTo>
                      <a:pt x="48577" y="35147"/>
                    </a:lnTo>
                    <a:lnTo>
                      <a:pt x="45720" y="24765"/>
                    </a:lnTo>
                    <a:lnTo>
                      <a:pt x="35242" y="28575"/>
                    </a:lnTo>
                    <a:lnTo>
                      <a:pt x="24765" y="31432"/>
                    </a:lnTo>
                    <a:lnTo>
                      <a:pt x="20955" y="20860"/>
                    </a:lnTo>
                    <a:lnTo>
                      <a:pt x="24765" y="14288"/>
                    </a:lnTo>
                    <a:lnTo>
                      <a:pt x="35242" y="10477"/>
                    </a:lnTo>
                    <a:lnTo>
                      <a:pt x="41910" y="3715"/>
                    </a:lnTo>
                    <a:lnTo>
                      <a:pt x="56197" y="0"/>
                    </a:lnTo>
                    <a:lnTo>
                      <a:pt x="66675" y="0"/>
                    </a:lnTo>
                    <a:lnTo>
                      <a:pt x="73342" y="10477"/>
                    </a:lnTo>
                    <a:lnTo>
                      <a:pt x="73342" y="84677"/>
                    </a:lnTo>
                    <a:lnTo>
                      <a:pt x="112395" y="84677"/>
                    </a:lnTo>
                    <a:lnTo>
                      <a:pt x="119063" y="91440"/>
                    </a:lnTo>
                    <a:lnTo>
                      <a:pt x="119063" y="98965"/>
                    </a:lnTo>
                    <a:lnTo>
                      <a:pt x="105727" y="101822"/>
                    </a:lnTo>
                    <a:lnTo>
                      <a:pt x="91440" y="101822"/>
                    </a:lnTo>
                    <a:lnTo>
                      <a:pt x="77152" y="105728"/>
                    </a:lnTo>
                    <a:lnTo>
                      <a:pt x="73342" y="112395"/>
                    </a:lnTo>
                    <a:lnTo>
                      <a:pt x="60007" y="109537"/>
                    </a:lnTo>
                    <a:lnTo>
                      <a:pt x="41910" y="105728"/>
                    </a:lnTo>
                    <a:lnTo>
                      <a:pt x="35242" y="98965"/>
                    </a:lnTo>
                    <a:lnTo>
                      <a:pt x="35242" y="88583"/>
                    </a:lnTo>
                    <a:lnTo>
                      <a:pt x="27622" y="88583"/>
                    </a:lnTo>
                    <a:lnTo>
                      <a:pt x="20955" y="88583"/>
                    </a:lnTo>
                    <a:lnTo>
                      <a:pt x="20955" y="98965"/>
                    </a:lnTo>
                    <a:lnTo>
                      <a:pt x="2857" y="91440"/>
                    </a:lnTo>
                    <a:lnTo>
                      <a:pt x="2857" y="8096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93A5D940-D4A0-6B72-3958-1FC32ED7E1FC}"/>
                  </a:ext>
                </a:extLst>
              </p:cNvPr>
              <p:cNvSpPr/>
              <p:nvPr/>
            </p:nvSpPr>
            <p:spPr>
              <a:xfrm>
                <a:off x="4046103" y="6141354"/>
                <a:ext cx="116715" cy="110180"/>
              </a:xfrm>
              <a:custGeom>
                <a:avLst/>
                <a:gdLst>
                  <a:gd name="connsiteX0" fmla="*/ 2857 w 119062"/>
                  <a:gd name="connsiteY0" fmla="*/ 80962 h 112395"/>
                  <a:gd name="connsiteX1" fmla="*/ 0 w 119062"/>
                  <a:gd name="connsiteY1" fmla="*/ 70390 h 112395"/>
                  <a:gd name="connsiteX2" fmla="*/ 10477 w 119062"/>
                  <a:gd name="connsiteY2" fmla="*/ 66675 h 112395"/>
                  <a:gd name="connsiteX3" fmla="*/ 17145 w 119062"/>
                  <a:gd name="connsiteY3" fmla="*/ 66675 h 112395"/>
                  <a:gd name="connsiteX4" fmla="*/ 35242 w 119062"/>
                  <a:gd name="connsiteY4" fmla="*/ 66675 h 112395"/>
                  <a:gd name="connsiteX5" fmla="*/ 45720 w 119062"/>
                  <a:gd name="connsiteY5" fmla="*/ 70390 h 112395"/>
                  <a:gd name="connsiteX6" fmla="*/ 52388 w 119062"/>
                  <a:gd name="connsiteY6" fmla="*/ 66675 h 112395"/>
                  <a:gd name="connsiteX7" fmla="*/ 38100 w 119062"/>
                  <a:gd name="connsiteY7" fmla="*/ 56102 h 112395"/>
                  <a:gd name="connsiteX8" fmla="*/ 27622 w 119062"/>
                  <a:gd name="connsiteY8" fmla="*/ 49435 h 112395"/>
                  <a:gd name="connsiteX9" fmla="*/ 31432 w 119062"/>
                  <a:gd name="connsiteY9" fmla="*/ 39052 h 112395"/>
                  <a:gd name="connsiteX10" fmla="*/ 38100 w 119062"/>
                  <a:gd name="connsiteY10" fmla="*/ 39052 h 112395"/>
                  <a:gd name="connsiteX11" fmla="*/ 48577 w 119062"/>
                  <a:gd name="connsiteY11" fmla="*/ 35147 h 112395"/>
                  <a:gd name="connsiteX12" fmla="*/ 45720 w 119062"/>
                  <a:gd name="connsiteY12" fmla="*/ 24765 h 112395"/>
                  <a:gd name="connsiteX13" fmla="*/ 35242 w 119062"/>
                  <a:gd name="connsiteY13" fmla="*/ 28575 h 112395"/>
                  <a:gd name="connsiteX14" fmla="*/ 24765 w 119062"/>
                  <a:gd name="connsiteY14" fmla="*/ 31432 h 112395"/>
                  <a:gd name="connsiteX15" fmla="*/ 20955 w 119062"/>
                  <a:gd name="connsiteY15" fmla="*/ 20860 h 112395"/>
                  <a:gd name="connsiteX16" fmla="*/ 24765 w 119062"/>
                  <a:gd name="connsiteY16" fmla="*/ 14288 h 112395"/>
                  <a:gd name="connsiteX17" fmla="*/ 35242 w 119062"/>
                  <a:gd name="connsiteY17" fmla="*/ 10477 h 112395"/>
                  <a:gd name="connsiteX18" fmla="*/ 41910 w 119062"/>
                  <a:gd name="connsiteY18" fmla="*/ 3715 h 112395"/>
                  <a:gd name="connsiteX19" fmla="*/ 56197 w 119062"/>
                  <a:gd name="connsiteY19" fmla="*/ 0 h 112395"/>
                  <a:gd name="connsiteX20" fmla="*/ 66675 w 119062"/>
                  <a:gd name="connsiteY20" fmla="*/ 0 h 112395"/>
                  <a:gd name="connsiteX21" fmla="*/ 73342 w 119062"/>
                  <a:gd name="connsiteY21" fmla="*/ 10477 h 112395"/>
                  <a:gd name="connsiteX22" fmla="*/ 73342 w 119062"/>
                  <a:gd name="connsiteY22" fmla="*/ 84677 h 112395"/>
                  <a:gd name="connsiteX23" fmla="*/ 112395 w 119062"/>
                  <a:gd name="connsiteY23" fmla="*/ 84677 h 112395"/>
                  <a:gd name="connsiteX24" fmla="*/ 119063 w 119062"/>
                  <a:gd name="connsiteY24" fmla="*/ 91440 h 112395"/>
                  <a:gd name="connsiteX25" fmla="*/ 119063 w 119062"/>
                  <a:gd name="connsiteY25" fmla="*/ 98965 h 112395"/>
                  <a:gd name="connsiteX26" fmla="*/ 105727 w 119062"/>
                  <a:gd name="connsiteY26" fmla="*/ 101822 h 112395"/>
                  <a:gd name="connsiteX27" fmla="*/ 91440 w 119062"/>
                  <a:gd name="connsiteY27" fmla="*/ 101822 h 112395"/>
                  <a:gd name="connsiteX28" fmla="*/ 77152 w 119062"/>
                  <a:gd name="connsiteY28" fmla="*/ 105728 h 112395"/>
                  <a:gd name="connsiteX29" fmla="*/ 73342 w 119062"/>
                  <a:gd name="connsiteY29" fmla="*/ 112395 h 112395"/>
                  <a:gd name="connsiteX30" fmla="*/ 60007 w 119062"/>
                  <a:gd name="connsiteY30" fmla="*/ 109537 h 112395"/>
                  <a:gd name="connsiteX31" fmla="*/ 41910 w 119062"/>
                  <a:gd name="connsiteY31" fmla="*/ 105728 h 112395"/>
                  <a:gd name="connsiteX32" fmla="*/ 35242 w 119062"/>
                  <a:gd name="connsiteY32" fmla="*/ 98965 h 112395"/>
                  <a:gd name="connsiteX33" fmla="*/ 35242 w 119062"/>
                  <a:gd name="connsiteY33" fmla="*/ 88583 h 112395"/>
                  <a:gd name="connsiteX34" fmla="*/ 27622 w 119062"/>
                  <a:gd name="connsiteY34" fmla="*/ 88583 h 112395"/>
                  <a:gd name="connsiteX35" fmla="*/ 20955 w 119062"/>
                  <a:gd name="connsiteY35" fmla="*/ 88583 h 112395"/>
                  <a:gd name="connsiteX36" fmla="*/ 20955 w 119062"/>
                  <a:gd name="connsiteY36" fmla="*/ 98965 h 112395"/>
                  <a:gd name="connsiteX37" fmla="*/ 2857 w 119062"/>
                  <a:gd name="connsiteY37" fmla="*/ 91440 h 112395"/>
                  <a:gd name="connsiteX38" fmla="*/ 2857 w 119062"/>
                  <a:gd name="connsiteY38" fmla="*/ 80962 h 112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119062" h="112395">
                    <a:moveTo>
                      <a:pt x="2857" y="80962"/>
                    </a:moveTo>
                    <a:lnTo>
                      <a:pt x="0" y="70390"/>
                    </a:lnTo>
                    <a:lnTo>
                      <a:pt x="10477" y="66675"/>
                    </a:lnTo>
                    <a:lnTo>
                      <a:pt x="17145" y="66675"/>
                    </a:lnTo>
                    <a:lnTo>
                      <a:pt x="35242" y="66675"/>
                    </a:lnTo>
                    <a:lnTo>
                      <a:pt x="45720" y="70390"/>
                    </a:lnTo>
                    <a:lnTo>
                      <a:pt x="52388" y="66675"/>
                    </a:lnTo>
                    <a:lnTo>
                      <a:pt x="38100" y="56102"/>
                    </a:lnTo>
                    <a:lnTo>
                      <a:pt x="27622" y="49435"/>
                    </a:lnTo>
                    <a:lnTo>
                      <a:pt x="31432" y="39052"/>
                    </a:lnTo>
                    <a:lnTo>
                      <a:pt x="38100" y="39052"/>
                    </a:lnTo>
                    <a:lnTo>
                      <a:pt x="48577" y="35147"/>
                    </a:lnTo>
                    <a:lnTo>
                      <a:pt x="45720" y="24765"/>
                    </a:lnTo>
                    <a:lnTo>
                      <a:pt x="35242" y="28575"/>
                    </a:lnTo>
                    <a:lnTo>
                      <a:pt x="24765" y="31432"/>
                    </a:lnTo>
                    <a:lnTo>
                      <a:pt x="20955" y="20860"/>
                    </a:lnTo>
                    <a:lnTo>
                      <a:pt x="24765" y="14288"/>
                    </a:lnTo>
                    <a:lnTo>
                      <a:pt x="35242" y="10477"/>
                    </a:lnTo>
                    <a:lnTo>
                      <a:pt x="41910" y="3715"/>
                    </a:lnTo>
                    <a:lnTo>
                      <a:pt x="56197" y="0"/>
                    </a:lnTo>
                    <a:lnTo>
                      <a:pt x="66675" y="0"/>
                    </a:lnTo>
                    <a:lnTo>
                      <a:pt x="73342" y="10477"/>
                    </a:lnTo>
                    <a:lnTo>
                      <a:pt x="73342" y="84677"/>
                    </a:lnTo>
                    <a:lnTo>
                      <a:pt x="112395" y="84677"/>
                    </a:lnTo>
                    <a:lnTo>
                      <a:pt x="119063" y="91440"/>
                    </a:lnTo>
                    <a:lnTo>
                      <a:pt x="119063" y="98965"/>
                    </a:lnTo>
                    <a:lnTo>
                      <a:pt x="105727" y="101822"/>
                    </a:lnTo>
                    <a:lnTo>
                      <a:pt x="91440" y="101822"/>
                    </a:lnTo>
                    <a:lnTo>
                      <a:pt x="77152" y="105728"/>
                    </a:lnTo>
                    <a:lnTo>
                      <a:pt x="73342" y="112395"/>
                    </a:lnTo>
                    <a:lnTo>
                      <a:pt x="60007" y="109537"/>
                    </a:lnTo>
                    <a:lnTo>
                      <a:pt x="41910" y="105728"/>
                    </a:lnTo>
                    <a:lnTo>
                      <a:pt x="35242" y="98965"/>
                    </a:lnTo>
                    <a:lnTo>
                      <a:pt x="35242" y="88583"/>
                    </a:lnTo>
                    <a:lnTo>
                      <a:pt x="27622" y="88583"/>
                    </a:lnTo>
                    <a:lnTo>
                      <a:pt x="20955" y="88583"/>
                    </a:lnTo>
                    <a:lnTo>
                      <a:pt x="20955" y="98965"/>
                    </a:lnTo>
                    <a:lnTo>
                      <a:pt x="2857" y="91440"/>
                    </a:lnTo>
                    <a:lnTo>
                      <a:pt x="2857" y="8096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1D901504-F5C3-217D-B696-32C53B33D1A0}"/>
                  </a:ext>
                </a:extLst>
              </p:cNvPr>
              <p:cNvSpPr/>
              <p:nvPr/>
            </p:nvSpPr>
            <p:spPr>
              <a:xfrm>
                <a:off x="4335558" y="6092800"/>
                <a:ext cx="31746" cy="30813"/>
              </a:xfrm>
              <a:custGeom>
                <a:avLst/>
                <a:gdLst>
                  <a:gd name="connsiteX0" fmla="*/ 10477 w 32384"/>
                  <a:gd name="connsiteY0" fmla="*/ 7620 h 31432"/>
                  <a:gd name="connsiteX1" fmla="*/ 20955 w 32384"/>
                  <a:gd name="connsiteY1" fmla="*/ 0 h 31432"/>
                  <a:gd name="connsiteX2" fmla="*/ 32385 w 32384"/>
                  <a:gd name="connsiteY2" fmla="*/ 3715 h 31432"/>
                  <a:gd name="connsiteX3" fmla="*/ 32385 w 32384"/>
                  <a:gd name="connsiteY3" fmla="*/ 10382 h 31432"/>
                  <a:gd name="connsiteX4" fmla="*/ 24765 w 32384"/>
                  <a:gd name="connsiteY4" fmla="*/ 18002 h 31432"/>
                  <a:gd name="connsiteX5" fmla="*/ 14288 w 32384"/>
                  <a:gd name="connsiteY5" fmla="*/ 28575 h 31432"/>
                  <a:gd name="connsiteX6" fmla="*/ 7620 w 32384"/>
                  <a:gd name="connsiteY6" fmla="*/ 31432 h 31432"/>
                  <a:gd name="connsiteX7" fmla="*/ 0 w 32384"/>
                  <a:gd name="connsiteY7" fmla="*/ 28575 h 31432"/>
                  <a:gd name="connsiteX8" fmla="*/ 0 w 32384"/>
                  <a:gd name="connsiteY8" fmla="*/ 20955 h 31432"/>
                  <a:gd name="connsiteX9" fmla="*/ 7620 w 32384"/>
                  <a:gd name="connsiteY9" fmla="*/ 14288 h 31432"/>
                  <a:gd name="connsiteX10" fmla="*/ 10477 w 32384"/>
                  <a:gd name="connsiteY10" fmla="*/ 7620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2384" h="31432">
                    <a:moveTo>
                      <a:pt x="10477" y="7620"/>
                    </a:moveTo>
                    <a:lnTo>
                      <a:pt x="20955" y="0"/>
                    </a:lnTo>
                    <a:lnTo>
                      <a:pt x="32385" y="3715"/>
                    </a:lnTo>
                    <a:lnTo>
                      <a:pt x="32385" y="10382"/>
                    </a:lnTo>
                    <a:lnTo>
                      <a:pt x="24765" y="18002"/>
                    </a:lnTo>
                    <a:lnTo>
                      <a:pt x="14288" y="28575"/>
                    </a:lnTo>
                    <a:lnTo>
                      <a:pt x="7620" y="31432"/>
                    </a:lnTo>
                    <a:lnTo>
                      <a:pt x="0" y="28575"/>
                    </a:lnTo>
                    <a:lnTo>
                      <a:pt x="0" y="20955"/>
                    </a:lnTo>
                    <a:lnTo>
                      <a:pt x="7620" y="14288"/>
                    </a:lnTo>
                    <a:lnTo>
                      <a:pt x="10477" y="762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DFAE7904-29F2-26A4-3AE9-59C6DC8B574A}"/>
                  </a:ext>
                </a:extLst>
              </p:cNvPr>
              <p:cNvSpPr/>
              <p:nvPr/>
            </p:nvSpPr>
            <p:spPr>
              <a:xfrm>
                <a:off x="4335558" y="6092800"/>
                <a:ext cx="31746" cy="30813"/>
              </a:xfrm>
              <a:custGeom>
                <a:avLst/>
                <a:gdLst>
                  <a:gd name="connsiteX0" fmla="*/ 10477 w 32384"/>
                  <a:gd name="connsiteY0" fmla="*/ 7620 h 31432"/>
                  <a:gd name="connsiteX1" fmla="*/ 20955 w 32384"/>
                  <a:gd name="connsiteY1" fmla="*/ 0 h 31432"/>
                  <a:gd name="connsiteX2" fmla="*/ 32385 w 32384"/>
                  <a:gd name="connsiteY2" fmla="*/ 3715 h 31432"/>
                  <a:gd name="connsiteX3" fmla="*/ 32385 w 32384"/>
                  <a:gd name="connsiteY3" fmla="*/ 10382 h 31432"/>
                  <a:gd name="connsiteX4" fmla="*/ 24765 w 32384"/>
                  <a:gd name="connsiteY4" fmla="*/ 18002 h 31432"/>
                  <a:gd name="connsiteX5" fmla="*/ 14288 w 32384"/>
                  <a:gd name="connsiteY5" fmla="*/ 28575 h 31432"/>
                  <a:gd name="connsiteX6" fmla="*/ 7620 w 32384"/>
                  <a:gd name="connsiteY6" fmla="*/ 31432 h 31432"/>
                  <a:gd name="connsiteX7" fmla="*/ 0 w 32384"/>
                  <a:gd name="connsiteY7" fmla="*/ 28575 h 31432"/>
                  <a:gd name="connsiteX8" fmla="*/ 0 w 32384"/>
                  <a:gd name="connsiteY8" fmla="*/ 20955 h 31432"/>
                  <a:gd name="connsiteX9" fmla="*/ 7620 w 32384"/>
                  <a:gd name="connsiteY9" fmla="*/ 14288 h 31432"/>
                  <a:gd name="connsiteX10" fmla="*/ 10477 w 32384"/>
                  <a:gd name="connsiteY10" fmla="*/ 7620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2384" h="31432">
                    <a:moveTo>
                      <a:pt x="10477" y="7620"/>
                    </a:moveTo>
                    <a:lnTo>
                      <a:pt x="20955" y="0"/>
                    </a:lnTo>
                    <a:lnTo>
                      <a:pt x="32385" y="3715"/>
                    </a:lnTo>
                    <a:lnTo>
                      <a:pt x="32385" y="10382"/>
                    </a:lnTo>
                    <a:lnTo>
                      <a:pt x="24765" y="18002"/>
                    </a:lnTo>
                    <a:lnTo>
                      <a:pt x="14288" y="28575"/>
                    </a:lnTo>
                    <a:lnTo>
                      <a:pt x="7620" y="31432"/>
                    </a:lnTo>
                    <a:lnTo>
                      <a:pt x="0" y="28575"/>
                    </a:lnTo>
                    <a:lnTo>
                      <a:pt x="0" y="20955"/>
                    </a:lnTo>
                    <a:lnTo>
                      <a:pt x="7620" y="14288"/>
                    </a:lnTo>
                    <a:lnTo>
                      <a:pt x="10477" y="762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129B7763-B384-B3A6-50EF-4E3A1D3063D5}"/>
                  </a:ext>
                </a:extLst>
              </p:cNvPr>
              <p:cNvSpPr/>
              <p:nvPr/>
            </p:nvSpPr>
            <p:spPr>
              <a:xfrm>
                <a:off x="4363569" y="6096441"/>
                <a:ext cx="48553" cy="34548"/>
              </a:xfrm>
              <a:custGeom>
                <a:avLst/>
                <a:gdLst>
                  <a:gd name="connsiteX0" fmla="*/ 10477 w 49529"/>
                  <a:gd name="connsiteY0" fmla="*/ 14288 h 35242"/>
                  <a:gd name="connsiteX1" fmla="*/ 17145 w 49529"/>
                  <a:gd name="connsiteY1" fmla="*/ 0 h 35242"/>
                  <a:gd name="connsiteX2" fmla="*/ 27622 w 49529"/>
                  <a:gd name="connsiteY2" fmla="*/ 0 h 35242"/>
                  <a:gd name="connsiteX3" fmla="*/ 39052 w 49529"/>
                  <a:gd name="connsiteY3" fmla="*/ 0 h 35242"/>
                  <a:gd name="connsiteX4" fmla="*/ 49530 w 49529"/>
                  <a:gd name="connsiteY4" fmla="*/ 3905 h 35242"/>
                  <a:gd name="connsiteX5" fmla="*/ 49530 w 49529"/>
                  <a:gd name="connsiteY5" fmla="*/ 10573 h 35242"/>
                  <a:gd name="connsiteX6" fmla="*/ 39052 w 49529"/>
                  <a:gd name="connsiteY6" fmla="*/ 14288 h 35242"/>
                  <a:gd name="connsiteX7" fmla="*/ 31432 w 49529"/>
                  <a:gd name="connsiteY7" fmla="*/ 17240 h 35242"/>
                  <a:gd name="connsiteX8" fmla="*/ 27622 w 49529"/>
                  <a:gd name="connsiteY8" fmla="*/ 17240 h 35242"/>
                  <a:gd name="connsiteX9" fmla="*/ 20955 w 49529"/>
                  <a:gd name="connsiteY9" fmla="*/ 24860 h 35242"/>
                  <a:gd name="connsiteX10" fmla="*/ 14288 w 49529"/>
                  <a:gd name="connsiteY10" fmla="*/ 27717 h 35242"/>
                  <a:gd name="connsiteX11" fmla="*/ 10477 w 49529"/>
                  <a:gd name="connsiteY11" fmla="*/ 35242 h 35242"/>
                  <a:gd name="connsiteX12" fmla="*/ 0 w 49529"/>
                  <a:gd name="connsiteY12" fmla="*/ 31528 h 35242"/>
                  <a:gd name="connsiteX13" fmla="*/ 0 w 49529"/>
                  <a:gd name="connsiteY13" fmla="*/ 20955 h 35242"/>
                  <a:gd name="connsiteX14" fmla="*/ 3810 w 49529"/>
                  <a:gd name="connsiteY14" fmla="*/ 17240 h 35242"/>
                  <a:gd name="connsiteX15" fmla="*/ 10477 w 49529"/>
                  <a:gd name="connsiteY15" fmla="*/ 14288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9529" h="35242">
                    <a:moveTo>
                      <a:pt x="10477" y="14288"/>
                    </a:moveTo>
                    <a:lnTo>
                      <a:pt x="17145" y="0"/>
                    </a:lnTo>
                    <a:lnTo>
                      <a:pt x="27622" y="0"/>
                    </a:lnTo>
                    <a:lnTo>
                      <a:pt x="39052" y="0"/>
                    </a:lnTo>
                    <a:lnTo>
                      <a:pt x="49530" y="3905"/>
                    </a:lnTo>
                    <a:lnTo>
                      <a:pt x="49530" y="10573"/>
                    </a:lnTo>
                    <a:lnTo>
                      <a:pt x="39052" y="14288"/>
                    </a:lnTo>
                    <a:lnTo>
                      <a:pt x="31432" y="17240"/>
                    </a:lnTo>
                    <a:lnTo>
                      <a:pt x="27622" y="17240"/>
                    </a:lnTo>
                    <a:lnTo>
                      <a:pt x="20955" y="24860"/>
                    </a:lnTo>
                    <a:lnTo>
                      <a:pt x="14288" y="27717"/>
                    </a:lnTo>
                    <a:lnTo>
                      <a:pt x="10477" y="35242"/>
                    </a:lnTo>
                    <a:lnTo>
                      <a:pt x="0" y="31528"/>
                    </a:lnTo>
                    <a:lnTo>
                      <a:pt x="0" y="20955"/>
                    </a:lnTo>
                    <a:lnTo>
                      <a:pt x="3810" y="17240"/>
                    </a:lnTo>
                    <a:lnTo>
                      <a:pt x="10477" y="142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E7467ED1-B40D-EB38-D6F8-0A31C90E8A26}"/>
                  </a:ext>
                </a:extLst>
              </p:cNvPr>
              <p:cNvSpPr/>
              <p:nvPr/>
            </p:nvSpPr>
            <p:spPr>
              <a:xfrm>
                <a:off x="4363569" y="6096441"/>
                <a:ext cx="48553" cy="34548"/>
              </a:xfrm>
              <a:custGeom>
                <a:avLst/>
                <a:gdLst>
                  <a:gd name="connsiteX0" fmla="*/ 10477 w 49529"/>
                  <a:gd name="connsiteY0" fmla="*/ 14288 h 35242"/>
                  <a:gd name="connsiteX1" fmla="*/ 17145 w 49529"/>
                  <a:gd name="connsiteY1" fmla="*/ 0 h 35242"/>
                  <a:gd name="connsiteX2" fmla="*/ 27622 w 49529"/>
                  <a:gd name="connsiteY2" fmla="*/ 0 h 35242"/>
                  <a:gd name="connsiteX3" fmla="*/ 39052 w 49529"/>
                  <a:gd name="connsiteY3" fmla="*/ 0 h 35242"/>
                  <a:gd name="connsiteX4" fmla="*/ 49530 w 49529"/>
                  <a:gd name="connsiteY4" fmla="*/ 3905 h 35242"/>
                  <a:gd name="connsiteX5" fmla="*/ 49530 w 49529"/>
                  <a:gd name="connsiteY5" fmla="*/ 10573 h 35242"/>
                  <a:gd name="connsiteX6" fmla="*/ 39052 w 49529"/>
                  <a:gd name="connsiteY6" fmla="*/ 14288 h 35242"/>
                  <a:gd name="connsiteX7" fmla="*/ 31432 w 49529"/>
                  <a:gd name="connsiteY7" fmla="*/ 17240 h 35242"/>
                  <a:gd name="connsiteX8" fmla="*/ 27622 w 49529"/>
                  <a:gd name="connsiteY8" fmla="*/ 17240 h 35242"/>
                  <a:gd name="connsiteX9" fmla="*/ 20955 w 49529"/>
                  <a:gd name="connsiteY9" fmla="*/ 24860 h 35242"/>
                  <a:gd name="connsiteX10" fmla="*/ 14288 w 49529"/>
                  <a:gd name="connsiteY10" fmla="*/ 27717 h 35242"/>
                  <a:gd name="connsiteX11" fmla="*/ 10477 w 49529"/>
                  <a:gd name="connsiteY11" fmla="*/ 35242 h 35242"/>
                  <a:gd name="connsiteX12" fmla="*/ 0 w 49529"/>
                  <a:gd name="connsiteY12" fmla="*/ 31528 h 35242"/>
                  <a:gd name="connsiteX13" fmla="*/ 0 w 49529"/>
                  <a:gd name="connsiteY13" fmla="*/ 20955 h 35242"/>
                  <a:gd name="connsiteX14" fmla="*/ 3810 w 49529"/>
                  <a:gd name="connsiteY14" fmla="*/ 17240 h 35242"/>
                  <a:gd name="connsiteX15" fmla="*/ 10477 w 49529"/>
                  <a:gd name="connsiteY15" fmla="*/ 14288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9529" h="35242">
                    <a:moveTo>
                      <a:pt x="10477" y="14288"/>
                    </a:moveTo>
                    <a:lnTo>
                      <a:pt x="17145" y="0"/>
                    </a:lnTo>
                    <a:lnTo>
                      <a:pt x="27622" y="0"/>
                    </a:lnTo>
                    <a:lnTo>
                      <a:pt x="39052" y="0"/>
                    </a:lnTo>
                    <a:lnTo>
                      <a:pt x="49530" y="3905"/>
                    </a:lnTo>
                    <a:lnTo>
                      <a:pt x="49530" y="10573"/>
                    </a:lnTo>
                    <a:lnTo>
                      <a:pt x="39052" y="14288"/>
                    </a:lnTo>
                    <a:lnTo>
                      <a:pt x="31432" y="17240"/>
                    </a:lnTo>
                    <a:lnTo>
                      <a:pt x="27622" y="17240"/>
                    </a:lnTo>
                    <a:lnTo>
                      <a:pt x="20955" y="24860"/>
                    </a:lnTo>
                    <a:lnTo>
                      <a:pt x="14288" y="27717"/>
                    </a:lnTo>
                    <a:lnTo>
                      <a:pt x="10477" y="35242"/>
                    </a:lnTo>
                    <a:lnTo>
                      <a:pt x="0" y="31528"/>
                    </a:lnTo>
                    <a:lnTo>
                      <a:pt x="0" y="20955"/>
                    </a:lnTo>
                    <a:lnTo>
                      <a:pt x="3810" y="17240"/>
                    </a:lnTo>
                    <a:lnTo>
                      <a:pt x="10477" y="142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DBB0FAB-8B71-9971-F269-EC3D60465E51}"/>
                  </a:ext>
                </a:extLst>
              </p:cNvPr>
              <p:cNvSpPr/>
              <p:nvPr/>
            </p:nvSpPr>
            <p:spPr>
              <a:xfrm>
                <a:off x="6674538" y="3645488"/>
                <a:ext cx="296923" cy="296833"/>
              </a:xfrm>
              <a:custGeom>
                <a:avLst/>
                <a:gdLst>
                  <a:gd name="connsiteX0" fmla="*/ 10477 w 302894"/>
                  <a:gd name="connsiteY0" fmla="*/ 0 h 302799"/>
                  <a:gd name="connsiteX1" fmla="*/ 28575 w 302894"/>
                  <a:gd name="connsiteY1" fmla="*/ 6572 h 302799"/>
                  <a:gd name="connsiteX2" fmla="*/ 42863 w 302894"/>
                  <a:gd name="connsiteY2" fmla="*/ 3810 h 302799"/>
                  <a:gd name="connsiteX3" fmla="*/ 84772 w 302894"/>
                  <a:gd name="connsiteY3" fmla="*/ 20860 h 302799"/>
                  <a:gd name="connsiteX4" fmla="*/ 116205 w 302894"/>
                  <a:gd name="connsiteY4" fmla="*/ 28575 h 302799"/>
                  <a:gd name="connsiteX5" fmla="*/ 140970 w 302894"/>
                  <a:gd name="connsiteY5" fmla="*/ 24765 h 302799"/>
                  <a:gd name="connsiteX6" fmla="*/ 159068 w 302894"/>
                  <a:gd name="connsiteY6" fmla="*/ 14288 h 302799"/>
                  <a:gd name="connsiteX7" fmla="*/ 197168 w 302894"/>
                  <a:gd name="connsiteY7" fmla="*/ 10478 h 302799"/>
                  <a:gd name="connsiteX8" fmla="*/ 215265 w 302894"/>
                  <a:gd name="connsiteY8" fmla="*/ 20860 h 302799"/>
                  <a:gd name="connsiteX9" fmla="*/ 236220 w 302894"/>
                  <a:gd name="connsiteY9" fmla="*/ 18098 h 302799"/>
                  <a:gd name="connsiteX10" fmla="*/ 264795 w 302894"/>
                  <a:gd name="connsiteY10" fmla="*/ 20860 h 302799"/>
                  <a:gd name="connsiteX11" fmla="*/ 271463 w 302894"/>
                  <a:gd name="connsiteY11" fmla="*/ 35147 h 302799"/>
                  <a:gd name="connsiteX12" fmla="*/ 285750 w 302894"/>
                  <a:gd name="connsiteY12" fmla="*/ 70485 h 302799"/>
                  <a:gd name="connsiteX13" fmla="*/ 278130 w 302894"/>
                  <a:gd name="connsiteY13" fmla="*/ 77153 h 302799"/>
                  <a:gd name="connsiteX14" fmla="*/ 267652 w 302894"/>
                  <a:gd name="connsiteY14" fmla="*/ 99060 h 302799"/>
                  <a:gd name="connsiteX15" fmla="*/ 264795 w 302894"/>
                  <a:gd name="connsiteY15" fmla="*/ 116110 h 302799"/>
                  <a:gd name="connsiteX16" fmla="*/ 257175 w 302894"/>
                  <a:gd name="connsiteY16" fmla="*/ 123825 h 302799"/>
                  <a:gd name="connsiteX17" fmla="*/ 246697 w 302894"/>
                  <a:gd name="connsiteY17" fmla="*/ 105728 h 302799"/>
                  <a:gd name="connsiteX18" fmla="*/ 240030 w 302894"/>
                  <a:gd name="connsiteY18" fmla="*/ 84773 h 302799"/>
                  <a:gd name="connsiteX19" fmla="*/ 229552 w 302894"/>
                  <a:gd name="connsiteY19" fmla="*/ 70485 h 302799"/>
                  <a:gd name="connsiteX20" fmla="*/ 221932 w 302894"/>
                  <a:gd name="connsiteY20" fmla="*/ 49435 h 302799"/>
                  <a:gd name="connsiteX21" fmla="*/ 215265 w 302894"/>
                  <a:gd name="connsiteY21" fmla="*/ 28575 h 302799"/>
                  <a:gd name="connsiteX22" fmla="*/ 215265 w 302894"/>
                  <a:gd name="connsiteY22" fmla="*/ 41910 h 302799"/>
                  <a:gd name="connsiteX23" fmla="*/ 219075 w 302894"/>
                  <a:gd name="connsiteY23" fmla="*/ 74200 h 302799"/>
                  <a:gd name="connsiteX24" fmla="*/ 225743 w 302894"/>
                  <a:gd name="connsiteY24" fmla="*/ 95250 h 302799"/>
                  <a:gd name="connsiteX25" fmla="*/ 240030 w 302894"/>
                  <a:gd name="connsiteY25" fmla="*/ 112300 h 302799"/>
                  <a:gd name="connsiteX26" fmla="*/ 250507 w 302894"/>
                  <a:gd name="connsiteY26" fmla="*/ 126587 h 302799"/>
                  <a:gd name="connsiteX27" fmla="*/ 264795 w 302894"/>
                  <a:gd name="connsiteY27" fmla="*/ 169450 h 302799"/>
                  <a:gd name="connsiteX28" fmla="*/ 300038 w 302894"/>
                  <a:gd name="connsiteY28" fmla="*/ 229553 h 302799"/>
                  <a:gd name="connsiteX29" fmla="*/ 302895 w 302894"/>
                  <a:gd name="connsiteY29" fmla="*/ 239935 h 302799"/>
                  <a:gd name="connsiteX30" fmla="*/ 302895 w 302894"/>
                  <a:gd name="connsiteY30" fmla="*/ 267653 h 302799"/>
                  <a:gd name="connsiteX31" fmla="*/ 288607 w 302894"/>
                  <a:gd name="connsiteY31" fmla="*/ 267653 h 302799"/>
                  <a:gd name="connsiteX32" fmla="*/ 254318 w 302894"/>
                  <a:gd name="connsiteY32" fmla="*/ 302800 h 302799"/>
                  <a:gd name="connsiteX33" fmla="*/ 236220 w 302894"/>
                  <a:gd name="connsiteY33" fmla="*/ 292322 h 302799"/>
                  <a:gd name="connsiteX34" fmla="*/ 10477 w 302894"/>
                  <a:gd name="connsiteY34" fmla="*/ 289560 h 302799"/>
                  <a:gd name="connsiteX35" fmla="*/ 10477 w 302894"/>
                  <a:gd name="connsiteY35" fmla="*/ 66675 h 302799"/>
                  <a:gd name="connsiteX36" fmla="*/ 3810 w 302894"/>
                  <a:gd name="connsiteY36" fmla="*/ 63722 h 302799"/>
                  <a:gd name="connsiteX37" fmla="*/ 0 w 302894"/>
                  <a:gd name="connsiteY37" fmla="*/ 41910 h 302799"/>
                  <a:gd name="connsiteX38" fmla="*/ 10477 w 302894"/>
                  <a:gd name="connsiteY38" fmla="*/ 35147 h 302799"/>
                  <a:gd name="connsiteX39" fmla="*/ 10477 w 302894"/>
                  <a:gd name="connsiteY39" fmla="*/ 0 h 302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</a:cxnLst>
                <a:rect l="l" t="t" r="r" b="b"/>
                <a:pathLst>
                  <a:path w="302894" h="302799">
                    <a:moveTo>
                      <a:pt x="10477" y="0"/>
                    </a:moveTo>
                    <a:lnTo>
                      <a:pt x="28575" y="6572"/>
                    </a:lnTo>
                    <a:lnTo>
                      <a:pt x="42863" y="3810"/>
                    </a:lnTo>
                    <a:lnTo>
                      <a:pt x="84772" y="20860"/>
                    </a:lnTo>
                    <a:lnTo>
                      <a:pt x="116205" y="28575"/>
                    </a:lnTo>
                    <a:lnTo>
                      <a:pt x="140970" y="24765"/>
                    </a:lnTo>
                    <a:lnTo>
                      <a:pt x="159068" y="14288"/>
                    </a:lnTo>
                    <a:lnTo>
                      <a:pt x="197168" y="10478"/>
                    </a:lnTo>
                    <a:lnTo>
                      <a:pt x="215265" y="20860"/>
                    </a:lnTo>
                    <a:lnTo>
                      <a:pt x="236220" y="18098"/>
                    </a:lnTo>
                    <a:lnTo>
                      <a:pt x="264795" y="20860"/>
                    </a:lnTo>
                    <a:lnTo>
                      <a:pt x="271463" y="35147"/>
                    </a:lnTo>
                    <a:lnTo>
                      <a:pt x="285750" y="70485"/>
                    </a:lnTo>
                    <a:lnTo>
                      <a:pt x="278130" y="77153"/>
                    </a:lnTo>
                    <a:lnTo>
                      <a:pt x="267652" y="99060"/>
                    </a:lnTo>
                    <a:lnTo>
                      <a:pt x="264795" y="116110"/>
                    </a:lnTo>
                    <a:lnTo>
                      <a:pt x="257175" y="123825"/>
                    </a:lnTo>
                    <a:lnTo>
                      <a:pt x="246697" y="105728"/>
                    </a:lnTo>
                    <a:lnTo>
                      <a:pt x="240030" y="84773"/>
                    </a:lnTo>
                    <a:lnTo>
                      <a:pt x="229552" y="70485"/>
                    </a:lnTo>
                    <a:lnTo>
                      <a:pt x="221932" y="49435"/>
                    </a:lnTo>
                    <a:lnTo>
                      <a:pt x="215265" y="28575"/>
                    </a:lnTo>
                    <a:lnTo>
                      <a:pt x="215265" y="41910"/>
                    </a:lnTo>
                    <a:lnTo>
                      <a:pt x="219075" y="74200"/>
                    </a:lnTo>
                    <a:lnTo>
                      <a:pt x="225743" y="95250"/>
                    </a:lnTo>
                    <a:lnTo>
                      <a:pt x="240030" y="112300"/>
                    </a:lnTo>
                    <a:lnTo>
                      <a:pt x="250507" y="126587"/>
                    </a:lnTo>
                    <a:lnTo>
                      <a:pt x="264795" y="169450"/>
                    </a:lnTo>
                    <a:lnTo>
                      <a:pt x="300038" y="229553"/>
                    </a:lnTo>
                    <a:lnTo>
                      <a:pt x="302895" y="239935"/>
                    </a:lnTo>
                    <a:lnTo>
                      <a:pt x="302895" y="267653"/>
                    </a:lnTo>
                    <a:lnTo>
                      <a:pt x="288607" y="267653"/>
                    </a:lnTo>
                    <a:lnTo>
                      <a:pt x="254318" y="302800"/>
                    </a:lnTo>
                    <a:lnTo>
                      <a:pt x="236220" y="292322"/>
                    </a:lnTo>
                    <a:lnTo>
                      <a:pt x="10477" y="289560"/>
                    </a:lnTo>
                    <a:lnTo>
                      <a:pt x="10477" y="66675"/>
                    </a:lnTo>
                    <a:lnTo>
                      <a:pt x="3810" y="63722"/>
                    </a:lnTo>
                    <a:lnTo>
                      <a:pt x="0" y="41910"/>
                    </a:lnTo>
                    <a:lnTo>
                      <a:pt x="10477" y="35147"/>
                    </a:lnTo>
                    <a:lnTo>
                      <a:pt x="10477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23B92742-FC94-B625-3B88-1A82842DC006}"/>
                  </a:ext>
                </a:extLst>
              </p:cNvPr>
              <p:cNvSpPr/>
              <p:nvPr/>
            </p:nvSpPr>
            <p:spPr>
              <a:xfrm>
                <a:off x="6255295" y="3604403"/>
                <a:ext cx="429513" cy="383670"/>
              </a:xfrm>
              <a:custGeom>
                <a:avLst/>
                <a:gdLst>
                  <a:gd name="connsiteX0" fmla="*/ 61913 w 438150"/>
                  <a:gd name="connsiteY0" fmla="*/ 0 h 391382"/>
                  <a:gd name="connsiteX1" fmla="*/ 89535 w 438150"/>
                  <a:gd name="connsiteY1" fmla="*/ 6572 h 391382"/>
                  <a:gd name="connsiteX2" fmla="*/ 139065 w 438150"/>
                  <a:gd name="connsiteY2" fmla="*/ 13335 h 391382"/>
                  <a:gd name="connsiteX3" fmla="*/ 163830 w 438150"/>
                  <a:gd name="connsiteY3" fmla="*/ 27622 h 391382"/>
                  <a:gd name="connsiteX4" fmla="*/ 174307 w 438150"/>
                  <a:gd name="connsiteY4" fmla="*/ 48482 h 391382"/>
                  <a:gd name="connsiteX5" fmla="*/ 188595 w 438150"/>
                  <a:gd name="connsiteY5" fmla="*/ 60008 h 391382"/>
                  <a:gd name="connsiteX6" fmla="*/ 220028 w 438150"/>
                  <a:gd name="connsiteY6" fmla="*/ 60008 h 391382"/>
                  <a:gd name="connsiteX7" fmla="*/ 240982 w 438150"/>
                  <a:gd name="connsiteY7" fmla="*/ 73247 h 391382"/>
                  <a:gd name="connsiteX8" fmla="*/ 276225 w 438150"/>
                  <a:gd name="connsiteY8" fmla="*/ 95250 h 391382"/>
                  <a:gd name="connsiteX9" fmla="*/ 300990 w 438150"/>
                  <a:gd name="connsiteY9" fmla="*/ 70485 h 391382"/>
                  <a:gd name="connsiteX10" fmla="*/ 304800 w 438150"/>
                  <a:gd name="connsiteY10" fmla="*/ 52388 h 391382"/>
                  <a:gd name="connsiteX11" fmla="*/ 294323 w 438150"/>
                  <a:gd name="connsiteY11" fmla="*/ 38100 h 391382"/>
                  <a:gd name="connsiteX12" fmla="*/ 311468 w 438150"/>
                  <a:gd name="connsiteY12" fmla="*/ 20860 h 391382"/>
                  <a:gd name="connsiteX13" fmla="*/ 336232 w 438150"/>
                  <a:gd name="connsiteY13" fmla="*/ 10382 h 391382"/>
                  <a:gd name="connsiteX14" fmla="*/ 367665 w 438150"/>
                  <a:gd name="connsiteY14" fmla="*/ 13335 h 391382"/>
                  <a:gd name="connsiteX15" fmla="*/ 392430 w 438150"/>
                  <a:gd name="connsiteY15" fmla="*/ 27622 h 391382"/>
                  <a:gd name="connsiteX16" fmla="*/ 417195 w 438150"/>
                  <a:gd name="connsiteY16" fmla="*/ 38100 h 391382"/>
                  <a:gd name="connsiteX17" fmla="*/ 438150 w 438150"/>
                  <a:gd name="connsiteY17" fmla="*/ 41910 h 391382"/>
                  <a:gd name="connsiteX18" fmla="*/ 438150 w 438150"/>
                  <a:gd name="connsiteY18" fmla="*/ 77057 h 391382"/>
                  <a:gd name="connsiteX19" fmla="*/ 427673 w 438150"/>
                  <a:gd name="connsiteY19" fmla="*/ 83820 h 391382"/>
                  <a:gd name="connsiteX20" fmla="*/ 431482 w 438150"/>
                  <a:gd name="connsiteY20" fmla="*/ 105632 h 391382"/>
                  <a:gd name="connsiteX21" fmla="*/ 438150 w 438150"/>
                  <a:gd name="connsiteY21" fmla="*/ 108585 h 391382"/>
                  <a:gd name="connsiteX22" fmla="*/ 438150 w 438150"/>
                  <a:gd name="connsiteY22" fmla="*/ 331470 h 391382"/>
                  <a:gd name="connsiteX23" fmla="*/ 438150 w 438150"/>
                  <a:gd name="connsiteY23" fmla="*/ 391382 h 391382"/>
                  <a:gd name="connsiteX24" fmla="*/ 406718 w 438150"/>
                  <a:gd name="connsiteY24" fmla="*/ 391382 h 391382"/>
                  <a:gd name="connsiteX25" fmla="*/ 170498 w 438150"/>
                  <a:gd name="connsiteY25" fmla="*/ 296132 h 391382"/>
                  <a:gd name="connsiteX26" fmla="*/ 160020 w 438150"/>
                  <a:gd name="connsiteY26" fmla="*/ 306610 h 391382"/>
                  <a:gd name="connsiteX27" fmla="*/ 139065 w 438150"/>
                  <a:gd name="connsiteY27" fmla="*/ 317182 h 391382"/>
                  <a:gd name="connsiteX28" fmla="*/ 121920 w 438150"/>
                  <a:gd name="connsiteY28" fmla="*/ 302895 h 391382"/>
                  <a:gd name="connsiteX29" fmla="*/ 103823 w 438150"/>
                  <a:gd name="connsiteY29" fmla="*/ 296132 h 391382"/>
                  <a:gd name="connsiteX30" fmla="*/ 76200 w 438150"/>
                  <a:gd name="connsiteY30" fmla="*/ 288607 h 391382"/>
                  <a:gd name="connsiteX31" fmla="*/ 64770 w 438150"/>
                  <a:gd name="connsiteY31" fmla="*/ 278035 h 391382"/>
                  <a:gd name="connsiteX32" fmla="*/ 58103 w 438150"/>
                  <a:gd name="connsiteY32" fmla="*/ 263747 h 391382"/>
                  <a:gd name="connsiteX33" fmla="*/ 24765 w 438150"/>
                  <a:gd name="connsiteY33" fmla="*/ 260985 h 391382"/>
                  <a:gd name="connsiteX34" fmla="*/ 14288 w 438150"/>
                  <a:gd name="connsiteY34" fmla="*/ 238982 h 391382"/>
                  <a:gd name="connsiteX35" fmla="*/ 6668 w 438150"/>
                  <a:gd name="connsiteY35" fmla="*/ 221932 h 391382"/>
                  <a:gd name="connsiteX36" fmla="*/ 0 w 438150"/>
                  <a:gd name="connsiteY36" fmla="*/ 203835 h 391382"/>
                  <a:gd name="connsiteX37" fmla="*/ 14288 w 438150"/>
                  <a:gd name="connsiteY37" fmla="*/ 197072 h 391382"/>
                  <a:gd name="connsiteX38" fmla="*/ 14288 w 438150"/>
                  <a:gd name="connsiteY38" fmla="*/ 116110 h 391382"/>
                  <a:gd name="connsiteX39" fmla="*/ 6668 w 438150"/>
                  <a:gd name="connsiteY39" fmla="*/ 83820 h 391382"/>
                  <a:gd name="connsiteX40" fmla="*/ 20955 w 438150"/>
                  <a:gd name="connsiteY40" fmla="*/ 73247 h 391382"/>
                  <a:gd name="connsiteX41" fmla="*/ 20955 w 438150"/>
                  <a:gd name="connsiteY41" fmla="*/ 45720 h 391382"/>
                  <a:gd name="connsiteX42" fmla="*/ 58103 w 438150"/>
                  <a:gd name="connsiteY42" fmla="*/ 20860 h 391382"/>
                  <a:gd name="connsiteX43" fmla="*/ 61913 w 438150"/>
                  <a:gd name="connsiteY43" fmla="*/ 17145 h 391382"/>
                  <a:gd name="connsiteX44" fmla="*/ 61913 w 438150"/>
                  <a:gd name="connsiteY44" fmla="*/ 0 h 391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438150" h="391382">
                    <a:moveTo>
                      <a:pt x="61913" y="0"/>
                    </a:moveTo>
                    <a:lnTo>
                      <a:pt x="89535" y="6572"/>
                    </a:lnTo>
                    <a:lnTo>
                      <a:pt x="139065" y="13335"/>
                    </a:lnTo>
                    <a:lnTo>
                      <a:pt x="163830" y="27622"/>
                    </a:lnTo>
                    <a:lnTo>
                      <a:pt x="174307" y="48482"/>
                    </a:lnTo>
                    <a:lnTo>
                      <a:pt x="188595" y="60008"/>
                    </a:lnTo>
                    <a:lnTo>
                      <a:pt x="220028" y="60008"/>
                    </a:lnTo>
                    <a:lnTo>
                      <a:pt x="240982" y="73247"/>
                    </a:lnTo>
                    <a:lnTo>
                      <a:pt x="276225" y="95250"/>
                    </a:lnTo>
                    <a:lnTo>
                      <a:pt x="300990" y="70485"/>
                    </a:lnTo>
                    <a:lnTo>
                      <a:pt x="304800" y="52388"/>
                    </a:lnTo>
                    <a:lnTo>
                      <a:pt x="294323" y="38100"/>
                    </a:lnTo>
                    <a:lnTo>
                      <a:pt x="311468" y="20860"/>
                    </a:lnTo>
                    <a:lnTo>
                      <a:pt x="336232" y="10382"/>
                    </a:lnTo>
                    <a:lnTo>
                      <a:pt x="367665" y="13335"/>
                    </a:lnTo>
                    <a:lnTo>
                      <a:pt x="392430" y="27622"/>
                    </a:lnTo>
                    <a:lnTo>
                      <a:pt x="417195" y="38100"/>
                    </a:lnTo>
                    <a:lnTo>
                      <a:pt x="438150" y="41910"/>
                    </a:lnTo>
                    <a:lnTo>
                      <a:pt x="438150" y="77057"/>
                    </a:lnTo>
                    <a:lnTo>
                      <a:pt x="427673" y="83820"/>
                    </a:lnTo>
                    <a:lnTo>
                      <a:pt x="431482" y="105632"/>
                    </a:lnTo>
                    <a:lnTo>
                      <a:pt x="438150" y="108585"/>
                    </a:lnTo>
                    <a:lnTo>
                      <a:pt x="438150" y="331470"/>
                    </a:lnTo>
                    <a:lnTo>
                      <a:pt x="438150" y="391382"/>
                    </a:lnTo>
                    <a:lnTo>
                      <a:pt x="406718" y="391382"/>
                    </a:lnTo>
                    <a:lnTo>
                      <a:pt x="170498" y="296132"/>
                    </a:lnTo>
                    <a:lnTo>
                      <a:pt x="160020" y="306610"/>
                    </a:lnTo>
                    <a:lnTo>
                      <a:pt x="139065" y="317182"/>
                    </a:lnTo>
                    <a:lnTo>
                      <a:pt x="121920" y="302895"/>
                    </a:lnTo>
                    <a:lnTo>
                      <a:pt x="103823" y="296132"/>
                    </a:lnTo>
                    <a:lnTo>
                      <a:pt x="76200" y="288607"/>
                    </a:lnTo>
                    <a:lnTo>
                      <a:pt x="64770" y="278035"/>
                    </a:lnTo>
                    <a:lnTo>
                      <a:pt x="58103" y="263747"/>
                    </a:lnTo>
                    <a:lnTo>
                      <a:pt x="24765" y="260985"/>
                    </a:lnTo>
                    <a:lnTo>
                      <a:pt x="14288" y="238982"/>
                    </a:lnTo>
                    <a:lnTo>
                      <a:pt x="6668" y="221932"/>
                    </a:lnTo>
                    <a:lnTo>
                      <a:pt x="0" y="203835"/>
                    </a:lnTo>
                    <a:lnTo>
                      <a:pt x="14288" y="197072"/>
                    </a:lnTo>
                    <a:lnTo>
                      <a:pt x="14288" y="116110"/>
                    </a:lnTo>
                    <a:lnTo>
                      <a:pt x="6668" y="83820"/>
                    </a:lnTo>
                    <a:lnTo>
                      <a:pt x="20955" y="73247"/>
                    </a:lnTo>
                    <a:lnTo>
                      <a:pt x="20955" y="45720"/>
                    </a:lnTo>
                    <a:lnTo>
                      <a:pt x="58103" y="20860"/>
                    </a:lnTo>
                    <a:lnTo>
                      <a:pt x="61913" y="17145"/>
                    </a:lnTo>
                    <a:lnTo>
                      <a:pt x="61913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D488F11D-EED3-942B-27FC-A477097F0525}"/>
                  </a:ext>
                </a:extLst>
              </p:cNvPr>
              <p:cNvSpPr/>
              <p:nvPr/>
            </p:nvSpPr>
            <p:spPr>
              <a:xfrm>
                <a:off x="6203939" y="3476483"/>
                <a:ext cx="112047" cy="210089"/>
              </a:xfrm>
              <a:custGeom>
                <a:avLst/>
                <a:gdLst>
                  <a:gd name="connsiteX0" fmla="*/ 27623 w 114300"/>
                  <a:gd name="connsiteY0" fmla="*/ 10477 h 214312"/>
                  <a:gd name="connsiteX1" fmla="*/ 52388 w 114300"/>
                  <a:gd name="connsiteY1" fmla="*/ 0 h 214312"/>
                  <a:gd name="connsiteX2" fmla="*/ 66675 w 114300"/>
                  <a:gd name="connsiteY2" fmla="*/ 0 h 214312"/>
                  <a:gd name="connsiteX3" fmla="*/ 73343 w 114300"/>
                  <a:gd name="connsiteY3" fmla="*/ 13240 h 214312"/>
                  <a:gd name="connsiteX4" fmla="*/ 83820 w 114300"/>
                  <a:gd name="connsiteY4" fmla="*/ 17145 h 214312"/>
                  <a:gd name="connsiteX5" fmla="*/ 94298 w 114300"/>
                  <a:gd name="connsiteY5" fmla="*/ 10477 h 214312"/>
                  <a:gd name="connsiteX6" fmla="*/ 101918 w 114300"/>
                  <a:gd name="connsiteY6" fmla="*/ 13240 h 214312"/>
                  <a:gd name="connsiteX7" fmla="*/ 98107 w 114300"/>
                  <a:gd name="connsiteY7" fmla="*/ 24765 h 214312"/>
                  <a:gd name="connsiteX8" fmla="*/ 87630 w 114300"/>
                  <a:gd name="connsiteY8" fmla="*/ 27527 h 214312"/>
                  <a:gd name="connsiteX9" fmla="*/ 80963 w 114300"/>
                  <a:gd name="connsiteY9" fmla="*/ 41815 h 214312"/>
                  <a:gd name="connsiteX10" fmla="*/ 87630 w 114300"/>
                  <a:gd name="connsiteY10" fmla="*/ 48577 h 214312"/>
                  <a:gd name="connsiteX11" fmla="*/ 101918 w 114300"/>
                  <a:gd name="connsiteY11" fmla="*/ 56102 h 214312"/>
                  <a:gd name="connsiteX12" fmla="*/ 101918 w 114300"/>
                  <a:gd name="connsiteY12" fmla="*/ 66675 h 214312"/>
                  <a:gd name="connsiteX13" fmla="*/ 91440 w 114300"/>
                  <a:gd name="connsiteY13" fmla="*/ 77152 h 214312"/>
                  <a:gd name="connsiteX14" fmla="*/ 80963 w 114300"/>
                  <a:gd name="connsiteY14" fmla="*/ 80963 h 214312"/>
                  <a:gd name="connsiteX15" fmla="*/ 70485 w 114300"/>
                  <a:gd name="connsiteY15" fmla="*/ 95250 h 214312"/>
                  <a:gd name="connsiteX16" fmla="*/ 77153 w 114300"/>
                  <a:gd name="connsiteY16" fmla="*/ 112300 h 214312"/>
                  <a:gd name="connsiteX17" fmla="*/ 94298 w 114300"/>
                  <a:gd name="connsiteY17" fmla="*/ 112300 h 214312"/>
                  <a:gd name="connsiteX18" fmla="*/ 101918 w 114300"/>
                  <a:gd name="connsiteY18" fmla="*/ 122777 h 214312"/>
                  <a:gd name="connsiteX19" fmla="*/ 114300 w 114300"/>
                  <a:gd name="connsiteY19" fmla="*/ 130492 h 214312"/>
                  <a:gd name="connsiteX20" fmla="*/ 114300 w 114300"/>
                  <a:gd name="connsiteY20" fmla="*/ 147638 h 214312"/>
                  <a:gd name="connsiteX21" fmla="*/ 73343 w 114300"/>
                  <a:gd name="connsiteY21" fmla="*/ 176213 h 214312"/>
                  <a:gd name="connsiteX22" fmla="*/ 73343 w 114300"/>
                  <a:gd name="connsiteY22" fmla="*/ 203740 h 214312"/>
                  <a:gd name="connsiteX23" fmla="*/ 59055 w 114300"/>
                  <a:gd name="connsiteY23" fmla="*/ 214313 h 214312"/>
                  <a:gd name="connsiteX24" fmla="*/ 48578 w 114300"/>
                  <a:gd name="connsiteY24" fmla="*/ 211455 h 214312"/>
                  <a:gd name="connsiteX25" fmla="*/ 45720 w 114300"/>
                  <a:gd name="connsiteY25" fmla="*/ 190500 h 214312"/>
                  <a:gd name="connsiteX26" fmla="*/ 41910 w 114300"/>
                  <a:gd name="connsiteY26" fmla="*/ 161925 h 214312"/>
                  <a:gd name="connsiteX27" fmla="*/ 17145 w 114300"/>
                  <a:gd name="connsiteY27" fmla="*/ 133350 h 214312"/>
                  <a:gd name="connsiteX28" fmla="*/ 0 w 114300"/>
                  <a:gd name="connsiteY28" fmla="*/ 112300 h 214312"/>
                  <a:gd name="connsiteX29" fmla="*/ 0 w 114300"/>
                  <a:gd name="connsiteY29" fmla="*/ 98012 h 214312"/>
                  <a:gd name="connsiteX30" fmla="*/ 20955 w 114300"/>
                  <a:gd name="connsiteY30" fmla="*/ 80963 h 214312"/>
                  <a:gd name="connsiteX31" fmla="*/ 20955 w 114300"/>
                  <a:gd name="connsiteY31" fmla="*/ 17145 h 214312"/>
                  <a:gd name="connsiteX32" fmla="*/ 27623 w 114300"/>
                  <a:gd name="connsiteY32" fmla="*/ 10477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14300" h="214312">
                    <a:moveTo>
                      <a:pt x="27623" y="10477"/>
                    </a:moveTo>
                    <a:lnTo>
                      <a:pt x="52388" y="0"/>
                    </a:lnTo>
                    <a:lnTo>
                      <a:pt x="66675" y="0"/>
                    </a:lnTo>
                    <a:lnTo>
                      <a:pt x="73343" y="13240"/>
                    </a:lnTo>
                    <a:lnTo>
                      <a:pt x="83820" y="17145"/>
                    </a:lnTo>
                    <a:lnTo>
                      <a:pt x="94298" y="10477"/>
                    </a:lnTo>
                    <a:lnTo>
                      <a:pt x="101918" y="13240"/>
                    </a:lnTo>
                    <a:lnTo>
                      <a:pt x="98107" y="24765"/>
                    </a:lnTo>
                    <a:lnTo>
                      <a:pt x="87630" y="27527"/>
                    </a:lnTo>
                    <a:lnTo>
                      <a:pt x="80963" y="41815"/>
                    </a:lnTo>
                    <a:lnTo>
                      <a:pt x="87630" y="48577"/>
                    </a:lnTo>
                    <a:lnTo>
                      <a:pt x="101918" y="56102"/>
                    </a:lnTo>
                    <a:lnTo>
                      <a:pt x="101918" y="66675"/>
                    </a:lnTo>
                    <a:lnTo>
                      <a:pt x="91440" y="77152"/>
                    </a:lnTo>
                    <a:lnTo>
                      <a:pt x="80963" y="80963"/>
                    </a:lnTo>
                    <a:lnTo>
                      <a:pt x="70485" y="95250"/>
                    </a:lnTo>
                    <a:lnTo>
                      <a:pt x="77153" y="112300"/>
                    </a:lnTo>
                    <a:lnTo>
                      <a:pt x="94298" y="112300"/>
                    </a:lnTo>
                    <a:lnTo>
                      <a:pt x="101918" y="122777"/>
                    </a:lnTo>
                    <a:lnTo>
                      <a:pt x="114300" y="130492"/>
                    </a:lnTo>
                    <a:lnTo>
                      <a:pt x="114300" y="147638"/>
                    </a:lnTo>
                    <a:lnTo>
                      <a:pt x="73343" y="176213"/>
                    </a:lnTo>
                    <a:lnTo>
                      <a:pt x="73343" y="203740"/>
                    </a:lnTo>
                    <a:lnTo>
                      <a:pt x="59055" y="214313"/>
                    </a:lnTo>
                    <a:lnTo>
                      <a:pt x="48578" y="211455"/>
                    </a:lnTo>
                    <a:lnTo>
                      <a:pt x="45720" y="190500"/>
                    </a:lnTo>
                    <a:lnTo>
                      <a:pt x="41910" y="161925"/>
                    </a:lnTo>
                    <a:lnTo>
                      <a:pt x="17145" y="133350"/>
                    </a:lnTo>
                    <a:lnTo>
                      <a:pt x="0" y="112300"/>
                    </a:lnTo>
                    <a:lnTo>
                      <a:pt x="0" y="98012"/>
                    </a:lnTo>
                    <a:lnTo>
                      <a:pt x="20955" y="80963"/>
                    </a:lnTo>
                    <a:lnTo>
                      <a:pt x="20955" y="17145"/>
                    </a:lnTo>
                    <a:lnTo>
                      <a:pt x="27623" y="1047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AC1B3EF-00AB-042A-001E-C9125A827160}"/>
                  </a:ext>
                </a:extLst>
              </p:cNvPr>
              <p:cNvSpPr/>
              <p:nvPr/>
            </p:nvSpPr>
            <p:spPr>
              <a:xfrm>
                <a:off x="6203939" y="3476483"/>
                <a:ext cx="112047" cy="210089"/>
              </a:xfrm>
              <a:custGeom>
                <a:avLst/>
                <a:gdLst>
                  <a:gd name="connsiteX0" fmla="*/ 27623 w 114300"/>
                  <a:gd name="connsiteY0" fmla="*/ 10477 h 214312"/>
                  <a:gd name="connsiteX1" fmla="*/ 52388 w 114300"/>
                  <a:gd name="connsiteY1" fmla="*/ 0 h 214312"/>
                  <a:gd name="connsiteX2" fmla="*/ 66675 w 114300"/>
                  <a:gd name="connsiteY2" fmla="*/ 0 h 214312"/>
                  <a:gd name="connsiteX3" fmla="*/ 73343 w 114300"/>
                  <a:gd name="connsiteY3" fmla="*/ 13240 h 214312"/>
                  <a:gd name="connsiteX4" fmla="*/ 83820 w 114300"/>
                  <a:gd name="connsiteY4" fmla="*/ 17145 h 214312"/>
                  <a:gd name="connsiteX5" fmla="*/ 94298 w 114300"/>
                  <a:gd name="connsiteY5" fmla="*/ 10477 h 214312"/>
                  <a:gd name="connsiteX6" fmla="*/ 101918 w 114300"/>
                  <a:gd name="connsiteY6" fmla="*/ 13240 h 214312"/>
                  <a:gd name="connsiteX7" fmla="*/ 98107 w 114300"/>
                  <a:gd name="connsiteY7" fmla="*/ 24765 h 214312"/>
                  <a:gd name="connsiteX8" fmla="*/ 87630 w 114300"/>
                  <a:gd name="connsiteY8" fmla="*/ 27527 h 214312"/>
                  <a:gd name="connsiteX9" fmla="*/ 80963 w 114300"/>
                  <a:gd name="connsiteY9" fmla="*/ 41815 h 214312"/>
                  <a:gd name="connsiteX10" fmla="*/ 87630 w 114300"/>
                  <a:gd name="connsiteY10" fmla="*/ 48577 h 214312"/>
                  <a:gd name="connsiteX11" fmla="*/ 101918 w 114300"/>
                  <a:gd name="connsiteY11" fmla="*/ 56102 h 214312"/>
                  <a:gd name="connsiteX12" fmla="*/ 101918 w 114300"/>
                  <a:gd name="connsiteY12" fmla="*/ 66675 h 214312"/>
                  <a:gd name="connsiteX13" fmla="*/ 91440 w 114300"/>
                  <a:gd name="connsiteY13" fmla="*/ 77152 h 214312"/>
                  <a:gd name="connsiteX14" fmla="*/ 80963 w 114300"/>
                  <a:gd name="connsiteY14" fmla="*/ 80963 h 214312"/>
                  <a:gd name="connsiteX15" fmla="*/ 70485 w 114300"/>
                  <a:gd name="connsiteY15" fmla="*/ 95250 h 214312"/>
                  <a:gd name="connsiteX16" fmla="*/ 77153 w 114300"/>
                  <a:gd name="connsiteY16" fmla="*/ 112300 h 214312"/>
                  <a:gd name="connsiteX17" fmla="*/ 94298 w 114300"/>
                  <a:gd name="connsiteY17" fmla="*/ 112300 h 214312"/>
                  <a:gd name="connsiteX18" fmla="*/ 101918 w 114300"/>
                  <a:gd name="connsiteY18" fmla="*/ 122777 h 214312"/>
                  <a:gd name="connsiteX19" fmla="*/ 114300 w 114300"/>
                  <a:gd name="connsiteY19" fmla="*/ 130492 h 214312"/>
                  <a:gd name="connsiteX20" fmla="*/ 114300 w 114300"/>
                  <a:gd name="connsiteY20" fmla="*/ 147638 h 214312"/>
                  <a:gd name="connsiteX21" fmla="*/ 73343 w 114300"/>
                  <a:gd name="connsiteY21" fmla="*/ 176213 h 214312"/>
                  <a:gd name="connsiteX22" fmla="*/ 73343 w 114300"/>
                  <a:gd name="connsiteY22" fmla="*/ 203740 h 214312"/>
                  <a:gd name="connsiteX23" fmla="*/ 59055 w 114300"/>
                  <a:gd name="connsiteY23" fmla="*/ 214313 h 214312"/>
                  <a:gd name="connsiteX24" fmla="*/ 48578 w 114300"/>
                  <a:gd name="connsiteY24" fmla="*/ 211455 h 214312"/>
                  <a:gd name="connsiteX25" fmla="*/ 45720 w 114300"/>
                  <a:gd name="connsiteY25" fmla="*/ 190500 h 214312"/>
                  <a:gd name="connsiteX26" fmla="*/ 41910 w 114300"/>
                  <a:gd name="connsiteY26" fmla="*/ 161925 h 214312"/>
                  <a:gd name="connsiteX27" fmla="*/ 17145 w 114300"/>
                  <a:gd name="connsiteY27" fmla="*/ 133350 h 214312"/>
                  <a:gd name="connsiteX28" fmla="*/ 0 w 114300"/>
                  <a:gd name="connsiteY28" fmla="*/ 112300 h 214312"/>
                  <a:gd name="connsiteX29" fmla="*/ 0 w 114300"/>
                  <a:gd name="connsiteY29" fmla="*/ 98012 h 214312"/>
                  <a:gd name="connsiteX30" fmla="*/ 20955 w 114300"/>
                  <a:gd name="connsiteY30" fmla="*/ 80963 h 214312"/>
                  <a:gd name="connsiteX31" fmla="*/ 20955 w 114300"/>
                  <a:gd name="connsiteY31" fmla="*/ 17145 h 214312"/>
                  <a:gd name="connsiteX32" fmla="*/ 27623 w 114300"/>
                  <a:gd name="connsiteY32" fmla="*/ 10477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14300" h="214312">
                    <a:moveTo>
                      <a:pt x="27623" y="10477"/>
                    </a:moveTo>
                    <a:lnTo>
                      <a:pt x="52388" y="0"/>
                    </a:lnTo>
                    <a:lnTo>
                      <a:pt x="66675" y="0"/>
                    </a:lnTo>
                    <a:lnTo>
                      <a:pt x="73343" y="13240"/>
                    </a:lnTo>
                    <a:lnTo>
                      <a:pt x="83820" y="17145"/>
                    </a:lnTo>
                    <a:lnTo>
                      <a:pt x="94298" y="10477"/>
                    </a:lnTo>
                    <a:lnTo>
                      <a:pt x="101918" y="13240"/>
                    </a:lnTo>
                    <a:lnTo>
                      <a:pt x="98107" y="24765"/>
                    </a:lnTo>
                    <a:lnTo>
                      <a:pt x="87630" y="27527"/>
                    </a:lnTo>
                    <a:lnTo>
                      <a:pt x="80963" y="41815"/>
                    </a:lnTo>
                    <a:lnTo>
                      <a:pt x="87630" y="48577"/>
                    </a:lnTo>
                    <a:lnTo>
                      <a:pt x="101918" y="56102"/>
                    </a:lnTo>
                    <a:lnTo>
                      <a:pt x="101918" y="66675"/>
                    </a:lnTo>
                    <a:lnTo>
                      <a:pt x="91440" y="77152"/>
                    </a:lnTo>
                    <a:lnTo>
                      <a:pt x="80963" y="80963"/>
                    </a:lnTo>
                    <a:lnTo>
                      <a:pt x="70485" y="95250"/>
                    </a:lnTo>
                    <a:lnTo>
                      <a:pt x="77153" y="112300"/>
                    </a:lnTo>
                    <a:lnTo>
                      <a:pt x="94298" y="112300"/>
                    </a:lnTo>
                    <a:lnTo>
                      <a:pt x="101918" y="122777"/>
                    </a:lnTo>
                    <a:lnTo>
                      <a:pt x="114300" y="130492"/>
                    </a:lnTo>
                    <a:lnTo>
                      <a:pt x="114300" y="147638"/>
                    </a:lnTo>
                    <a:lnTo>
                      <a:pt x="73343" y="176213"/>
                    </a:lnTo>
                    <a:lnTo>
                      <a:pt x="73343" y="203740"/>
                    </a:lnTo>
                    <a:lnTo>
                      <a:pt x="59055" y="214313"/>
                    </a:lnTo>
                    <a:lnTo>
                      <a:pt x="48578" y="211455"/>
                    </a:lnTo>
                    <a:lnTo>
                      <a:pt x="45720" y="190500"/>
                    </a:lnTo>
                    <a:lnTo>
                      <a:pt x="41910" y="161925"/>
                    </a:lnTo>
                    <a:lnTo>
                      <a:pt x="17145" y="133350"/>
                    </a:lnTo>
                    <a:lnTo>
                      <a:pt x="0" y="112300"/>
                    </a:lnTo>
                    <a:lnTo>
                      <a:pt x="0" y="98012"/>
                    </a:lnTo>
                    <a:lnTo>
                      <a:pt x="20955" y="80963"/>
                    </a:lnTo>
                    <a:lnTo>
                      <a:pt x="20955" y="17145"/>
                    </a:lnTo>
                    <a:lnTo>
                      <a:pt x="27623" y="1047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25A5AB4E-AC49-6282-0D33-9CDCED55A235}"/>
                  </a:ext>
                </a:extLst>
              </p:cNvPr>
              <p:cNvSpPr/>
              <p:nvPr/>
            </p:nvSpPr>
            <p:spPr>
              <a:xfrm>
                <a:off x="5758553" y="3486753"/>
                <a:ext cx="571438" cy="535961"/>
              </a:xfrm>
              <a:custGeom>
                <a:avLst/>
                <a:gdLst>
                  <a:gd name="connsiteX0" fmla="*/ 0 w 582929"/>
                  <a:gd name="connsiteY0" fmla="*/ 288512 h 546734"/>
                  <a:gd name="connsiteX1" fmla="*/ 0 w 582929"/>
                  <a:gd name="connsiteY1" fmla="*/ 257175 h 546734"/>
                  <a:gd name="connsiteX2" fmla="*/ 56197 w 582929"/>
                  <a:gd name="connsiteY2" fmla="*/ 221837 h 546734"/>
                  <a:gd name="connsiteX3" fmla="*/ 94297 w 582929"/>
                  <a:gd name="connsiteY3" fmla="*/ 218123 h 546734"/>
                  <a:gd name="connsiteX4" fmla="*/ 137160 w 582929"/>
                  <a:gd name="connsiteY4" fmla="*/ 182785 h 546734"/>
                  <a:gd name="connsiteX5" fmla="*/ 140970 w 582929"/>
                  <a:gd name="connsiteY5" fmla="*/ 168497 h 546734"/>
                  <a:gd name="connsiteX6" fmla="*/ 168592 w 582929"/>
                  <a:gd name="connsiteY6" fmla="*/ 151448 h 546734"/>
                  <a:gd name="connsiteX7" fmla="*/ 210503 w 582929"/>
                  <a:gd name="connsiteY7" fmla="*/ 147638 h 546734"/>
                  <a:gd name="connsiteX8" fmla="*/ 210503 w 582929"/>
                  <a:gd name="connsiteY8" fmla="*/ 133350 h 546734"/>
                  <a:gd name="connsiteX9" fmla="*/ 197167 w 582929"/>
                  <a:gd name="connsiteY9" fmla="*/ 116110 h 546734"/>
                  <a:gd name="connsiteX10" fmla="*/ 197167 w 582929"/>
                  <a:gd name="connsiteY10" fmla="*/ 70485 h 546734"/>
                  <a:gd name="connsiteX11" fmla="*/ 193357 w 582929"/>
                  <a:gd name="connsiteY11" fmla="*/ 59912 h 546734"/>
                  <a:gd name="connsiteX12" fmla="*/ 221932 w 582929"/>
                  <a:gd name="connsiteY12" fmla="*/ 38100 h 546734"/>
                  <a:gd name="connsiteX13" fmla="*/ 242888 w 582929"/>
                  <a:gd name="connsiteY13" fmla="*/ 35243 h 546734"/>
                  <a:gd name="connsiteX14" fmla="*/ 270510 w 582929"/>
                  <a:gd name="connsiteY14" fmla="*/ 17050 h 546734"/>
                  <a:gd name="connsiteX15" fmla="*/ 316230 w 582929"/>
                  <a:gd name="connsiteY15" fmla="*/ 10382 h 546734"/>
                  <a:gd name="connsiteX16" fmla="*/ 359092 w 582929"/>
                  <a:gd name="connsiteY16" fmla="*/ 2762 h 546734"/>
                  <a:gd name="connsiteX17" fmla="*/ 383857 w 582929"/>
                  <a:gd name="connsiteY17" fmla="*/ 6668 h 546734"/>
                  <a:gd name="connsiteX18" fmla="*/ 397192 w 582929"/>
                  <a:gd name="connsiteY18" fmla="*/ 10382 h 546734"/>
                  <a:gd name="connsiteX19" fmla="*/ 419100 w 582929"/>
                  <a:gd name="connsiteY19" fmla="*/ 0 h 546734"/>
                  <a:gd name="connsiteX20" fmla="*/ 446722 w 582929"/>
                  <a:gd name="connsiteY20" fmla="*/ 0 h 546734"/>
                  <a:gd name="connsiteX21" fmla="*/ 461010 w 582929"/>
                  <a:gd name="connsiteY21" fmla="*/ 0 h 546734"/>
                  <a:gd name="connsiteX22" fmla="*/ 475297 w 582929"/>
                  <a:gd name="connsiteY22" fmla="*/ 6668 h 546734"/>
                  <a:gd name="connsiteX23" fmla="*/ 475297 w 582929"/>
                  <a:gd name="connsiteY23" fmla="*/ 70485 h 546734"/>
                  <a:gd name="connsiteX24" fmla="*/ 454342 w 582929"/>
                  <a:gd name="connsiteY24" fmla="*/ 87535 h 546734"/>
                  <a:gd name="connsiteX25" fmla="*/ 454342 w 582929"/>
                  <a:gd name="connsiteY25" fmla="*/ 101822 h 546734"/>
                  <a:gd name="connsiteX26" fmla="*/ 496253 w 582929"/>
                  <a:gd name="connsiteY26" fmla="*/ 151448 h 546734"/>
                  <a:gd name="connsiteX27" fmla="*/ 502920 w 582929"/>
                  <a:gd name="connsiteY27" fmla="*/ 200978 h 546734"/>
                  <a:gd name="connsiteX28" fmla="*/ 513397 w 582929"/>
                  <a:gd name="connsiteY28" fmla="*/ 203835 h 546734"/>
                  <a:gd name="connsiteX29" fmla="*/ 517208 w 582929"/>
                  <a:gd name="connsiteY29" fmla="*/ 232410 h 546734"/>
                  <a:gd name="connsiteX30" fmla="*/ 521017 w 582929"/>
                  <a:gd name="connsiteY30" fmla="*/ 317087 h 546734"/>
                  <a:gd name="connsiteX31" fmla="*/ 506730 w 582929"/>
                  <a:gd name="connsiteY31" fmla="*/ 323850 h 546734"/>
                  <a:gd name="connsiteX32" fmla="*/ 513397 w 582929"/>
                  <a:gd name="connsiteY32" fmla="*/ 341947 h 546734"/>
                  <a:gd name="connsiteX33" fmla="*/ 531495 w 582929"/>
                  <a:gd name="connsiteY33" fmla="*/ 381000 h 546734"/>
                  <a:gd name="connsiteX34" fmla="*/ 564833 w 582929"/>
                  <a:gd name="connsiteY34" fmla="*/ 383762 h 546734"/>
                  <a:gd name="connsiteX35" fmla="*/ 571500 w 582929"/>
                  <a:gd name="connsiteY35" fmla="*/ 398050 h 546734"/>
                  <a:gd name="connsiteX36" fmla="*/ 582930 w 582929"/>
                  <a:gd name="connsiteY36" fmla="*/ 408622 h 546734"/>
                  <a:gd name="connsiteX37" fmla="*/ 464820 w 582929"/>
                  <a:gd name="connsiteY37" fmla="*/ 479012 h 546734"/>
                  <a:gd name="connsiteX38" fmla="*/ 397192 w 582929"/>
                  <a:gd name="connsiteY38" fmla="*/ 535210 h 546734"/>
                  <a:gd name="connsiteX39" fmla="*/ 361950 w 582929"/>
                  <a:gd name="connsiteY39" fmla="*/ 542925 h 546734"/>
                  <a:gd name="connsiteX40" fmla="*/ 330517 w 582929"/>
                  <a:gd name="connsiteY40" fmla="*/ 546735 h 546734"/>
                  <a:gd name="connsiteX41" fmla="*/ 334328 w 582929"/>
                  <a:gd name="connsiteY41" fmla="*/ 518160 h 546734"/>
                  <a:gd name="connsiteX42" fmla="*/ 299085 w 582929"/>
                  <a:gd name="connsiteY42" fmla="*/ 503872 h 546734"/>
                  <a:gd name="connsiteX43" fmla="*/ 280988 w 582929"/>
                  <a:gd name="connsiteY43" fmla="*/ 486728 h 546734"/>
                  <a:gd name="connsiteX44" fmla="*/ 0 w 582929"/>
                  <a:gd name="connsiteY44" fmla="*/ 288512 h 546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</a:cxnLst>
                <a:rect l="l" t="t" r="r" b="b"/>
                <a:pathLst>
                  <a:path w="582929" h="546734">
                    <a:moveTo>
                      <a:pt x="0" y="288512"/>
                    </a:moveTo>
                    <a:lnTo>
                      <a:pt x="0" y="257175"/>
                    </a:lnTo>
                    <a:lnTo>
                      <a:pt x="56197" y="221837"/>
                    </a:lnTo>
                    <a:lnTo>
                      <a:pt x="94297" y="218123"/>
                    </a:lnTo>
                    <a:lnTo>
                      <a:pt x="137160" y="182785"/>
                    </a:lnTo>
                    <a:lnTo>
                      <a:pt x="140970" y="168497"/>
                    </a:lnTo>
                    <a:lnTo>
                      <a:pt x="168592" y="151448"/>
                    </a:lnTo>
                    <a:lnTo>
                      <a:pt x="210503" y="147638"/>
                    </a:lnTo>
                    <a:lnTo>
                      <a:pt x="210503" y="133350"/>
                    </a:lnTo>
                    <a:lnTo>
                      <a:pt x="197167" y="116110"/>
                    </a:lnTo>
                    <a:lnTo>
                      <a:pt x="197167" y="70485"/>
                    </a:lnTo>
                    <a:lnTo>
                      <a:pt x="193357" y="59912"/>
                    </a:lnTo>
                    <a:lnTo>
                      <a:pt x="221932" y="38100"/>
                    </a:lnTo>
                    <a:lnTo>
                      <a:pt x="242888" y="35243"/>
                    </a:lnTo>
                    <a:lnTo>
                      <a:pt x="270510" y="17050"/>
                    </a:lnTo>
                    <a:lnTo>
                      <a:pt x="316230" y="10382"/>
                    </a:lnTo>
                    <a:lnTo>
                      <a:pt x="359092" y="2762"/>
                    </a:lnTo>
                    <a:lnTo>
                      <a:pt x="383857" y="6668"/>
                    </a:lnTo>
                    <a:lnTo>
                      <a:pt x="397192" y="10382"/>
                    </a:lnTo>
                    <a:lnTo>
                      <a:pt x="419100" y="0"/>
                    </a:lnTo>
                    <a:lnTo>
                      <a:pt x="446722" y="0"/>
                    </a:lnTo>
                    <a:lnTo>
                      <a:pt x="461010" y="0"/>
                    </a:lnTo>
                    <a:lnTo>
                      <a:pt x="475297" y="6668"/>
                    </a:lnTo>
                    <a:lnTo>
                      <a:pt x="475297" y="70485"/>
                    </a:lnTo>
                    <a:lnTo>
                      <a:pt x="454342" y="87535"/>
                    </a:lnTo>
                    <a:lnTo>
                      <a:pt x="454342" y="101822"/>
                    </a:lnTo>
                    <a:lnTo>
                      <a:pt x="496253" y="151448"/>
                    </a:lnTo>
                    <a:lnTo>
                      <a:pt x="502920" y="200978"/>
                    </a:lnTo>
                    <a:lnTo>
                      <a:pt x="513397" y="203835"/>
                    </a:lnTo>
                    <a:lnTo>
                      <a:pt x="517208" y="232410"/>
                    </a:lnTo>
                    <a:lnTo>
                      <a:pt x="521017" y="317087"/>
                    </a:lnTo>
                    <a:lnTo>
                      <a:pt x="506730" y="323850"/>
                    </a:lnTo>
                    <a:lnTo>
                      <a:pt x="513397" y="341947"/>
                    </a:lnTo>
                    <a:lnTo>
                      <a:pt x="531495" y="381000"/>
                    </a:lnTo>
                    <a:lnTo>
                      <a:pt x="564833" y="383762"/>
                    </a:lnTo>
                    <a:lnTo>
                      <a:pt x="571500" y="398050"/>
                    </a:lnTo>
                    <a:lnTo>
                      <a:pt x="582930" y="408622"/>
                    </a:lnTo>
                    <a:lnTo>
                      <a:pt x="464820" y="479012"/>
                    </a:lnTo>
                    <a:lnTo>
                      <a:pt x="397192" y="535210"/>
                    </a:lnTo>
                    <a:lnTo>
                      <a:pt x="361950" y="542925"/>
                    </a:lnTo>
                    <a:lnTo>
                      <a:pt x="330517" y="546735"/>
                    </a:lnTo>
                    <a:lnTo>
                      <a:pt x="334328" y="518160"/>
                    </a:lnTo>
                    <a:lnTo>
                      <a:pt x="299085" y="503872"/>
                    </a:lnTo>
                    <a:lnTo>
                      <a:pt x="280988" y="486728"/>
                    </a:lnTo>
                    <a:lnTo>
                      <a:pt x="0" y="28851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AAC3E7D2-3916-0623-5065-51D6A086CF3A}"/>
                  </a:ext>
                </a:extLst>
              </p:cNvPr>
              <p:cNvSpPr/>
              <p:nvPr/>
            </p:nvSpPr>
            <p:spPr>
              <a:xfrm>
                <a:off x="5640904" y="3521302"/>
                <a:ext cx="324002" cy="248279"/>
              </a:xfrm>
              <a:custGeom>
                <a:avLst/>
                <a:gdLst>
                  <a:gd name="connsiteX0" fmla="*/ 120015 w 330517"/>
                  <a:gd name="connsiteY0" fmla="*/ 253270 h 253269"/>
                  <a:gd name="connsiteX1" fmla="*/ 0 w 330517"/>
                  <a:gd name="connsiteY1" fmla="*/ 253270 h 253269"/>
                  <a:gd name="connsiteX2" fmla="*/ 17145 w 330517"/>
                  <a:gd name="connsiteY2" fmla="*/ 242792 h 253269"/>
                  <a:gd name="connsiteX3" fmla="*/ 49530 w 330517"/>
                  <a:gd name="connsiteY3" fmla="*/ 225742 h 253269"/>
                  <a:gd name="connsiteX4" fmla="*/ 87630 w 330517"/>
                  <a:gd name="connsiteY4" fmla="*/ 193357 h 253269"/>
                  <a:gd name="connsiteX5" fmla="*/ 91440 w 330517"/>
                  <a:gd name="connsiteY5" fmla="*/ 182880 h 253269"/>
                  <a:gd name="connsiteX6" fmla="*/ 91440 w 330517"/>
                  <a:gd name="connsiteY6" fmla="*/ 119920 h 253269"/>
                  <a:gd name="connsiteX7" fmla="*/ 109538 w 330517"/>
                  <a:gd name="connsiteY7" fmla="*/ 98107 h 253269"/>
                  <a:gd name="connsiteX8" fmla="*/ 130493 w 330517"/>
                  <a:gd name="connsiteY8" fmla="*/ 77057 h 253269"/>
                  <a:gd name="connsiteX9" fmla="*/ 155257 w 330517"/>
                  <a:gd name="connsiteY9" fmla="*/ 70485 h 253269"/>
                  <a:gd name="connsiteX10" fmla="*/ 179070 w 330517"/>
                  <a:gd name="connsiteY10" fmla="*/ 52292 h 253269"/>
                  <a:gd name="connsiteX11" fmla="*/ 190500 w 330517"/>
                  <a:gd name="connsiteY11" fmla="*/ 24670 h 253269"/>
                  <a:gd name="connsiteX12" fmla="*/ 197168 w 330517"/>
                  <a:gd name="connsiteY12" fmla="*/ 6667 h 253269"/>
                  <a:gd name="connsiteX13" fmla="*/ 203835 w 330517"/>
                  <a:gd name="connsiteY13" fmla="*/ 0 h 253269"/>
                  <a:gd name="connsiteX14" fmla="*/ 214313 w 330517"/>
                  <a:gd name="connsiteY14" fmla="*/ 0 h 253269"/>
                  <a:gd name="connsiteX15" fmla="*/ 221932 w 330517"/>
                  <a:gd name="connsiteY15" fmla="*/ 14288 h 253269"/>
                  <a:gd name="connsiteX16" fmla="*/ 232410 w 330517"/>
                  <a:gd name="connsiteY16" fmla="*/ 20955 h 253269"/>
                  <a:gd name="connsiteX17" fmla="*/ 271463 w 330517"/>
                  <a:gd name="connsiteY17" fmla="*/ 17145 h 253269"/>
                  <a:gd name="connsiteX18" fmla="*/ 288607 w 330517"/>
                  <a:gd name="connsiteY18" fmla="*/ 17145 h 253269"/>
                  <a:gd name="connsiteX19" fmla="*/ 295275 w 330517"/>
                  <a:gd name="connsiteY19" fmla="*/ 24670 h 253269"/>
                  <a:gd name="connsiteX20" fmla="*/ 313372 w 330517"/>
                  <a:gd name="connsiteY20" fmla="*/ 24670 h 253269"/>
                  <a:gd name="connsiteX21" fmla="*/ 317182 w 330517"/>
                  <a:gd name="connsiteY21" fmla="*/ 35242 h 253269"/>
                  <a:gd name="connsiteX22" fmla="*/ 317182 w 330517"/>
                  <a:gd name="connsiteY22" fmla="*/ 80867 h 253269"/>
                  <a:gd name="connsiteX23" fmla="*/ 330518 w 330517"/>
                  <a:gd name="connsiteY23" fmla="*/ 98107 h 253269"/>
                  <a:gd name="connsiteX24" fmla="*/ 330518 w 330517"/>
                  <a:gd name="connsiteY24" fmla="*/ 112395 h 253269"/>
                  <a:gd name="connsiteX25" fmla="*/ 288607 w 330517"/>
                  <a:gd name="connsiteY25" fmla="*/ 116205 h 253269"/>
                  <a:gd name="connsiteX26" fmla="*/ 260985 w 330517"/>
                  <a:gd name="connsiteY26" fmla="*/ 133255 h 253269"/>
                  <a:gd name="connsiteX27" fmla="*/ 257175 w 330517"/>
                  <a:gd name="connsiteY27" fmla="*/ 147542 h 253269"/>
                  <a:gd name="connsiteX28" fmla="*/ 214313 w 330517"/>
                  <a:gd name="connsiteY28" fmla="*/ 182880 h 253269"/>
                  <a:gd name="connsiteX29" fmla="*/ 176213 w 330517"/>
                  <a:gd name="connsiteY29" fmla="*/ 186595 h 253269"/>
                  <a:gd name="connsiteX30" fmla="*/ 120015 w 330517"/>
                  <a:gd name="connsiteY30" fmla="*/ 221932 h 253269"/>
                  <a:gd name="connsiteX31" fmla="*/ 120015 w 330517"/>
                  <a:gd name="connsiteY31" fmla="*/ 253270 h 2532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0517" h="253269">
                    <a:moveTo>
                      <a:pt x="120015" y="253270"/>
                    </a:moveTo>
                    <a:lnTo>
                      <a:pt x="0" y="253270"/>
                    </a:lnTo>
                    <a:lnTo>
                      <a:pt x="17145" y="242792"/>
                    </a:lnTo>
                    <a:lnTo>
                      <a:pt x="49530" y="225742"/>
                    </a:lnTo>
                    <a:lnTo>
                      <a:pt x="87630" y="193357"/>
                    </a:lnTo>
                    <a:lnTo>
                      <a:pt x="91440" y="182880"/>
                    </a:lnTo>
                    <a:lnTo>
                      <a:pt x="91440" y="119920"/>
                    </a:lnTo>
                    <a:lnTo>
                      <a:pt x="109538" y="98107"/>
                    </a:lnTo>
                    <a:lnTo>
                      <a:pt x="130493" y="77057"/>
                    </a:lnTo>
                    <a:lnTo>
                      <a:pt x="155257" y="70485"/>
                    </a:lnTo>
                    <a:lnTo>
                      <a:pt x="179070" y="52292"/>
                    </a:lnTo>
                    <a:lnTo>
                      <a:pt x="190500" y="24670"/>
                    </a:lnTo>
                    <a:lnTo>
                      <a:pt x="197168" y="6667"/>
                    </a:lnTo>
                    <a:lnTo>
                      <a:pt x="203835" y="0"/>
                    </a:lnTo>
                    <a:lnTo>
                      <a:pt x="214313" y="0"/>
                    </a:lnTo>
                    <a:lnTo>
                      <a:pt x="221932" y="14288"/>
                    </a:lnTo>
                    <a:lnTo>
                      <a:pt x="232410" y="20955"/>
                    </a:lnTo>
                    <a:lnTo>
                      <a:pt x="271463" y="17145"/>
                    </a:lnTo>
                    <a:lnTo>
                      <a:pt x="288607" y="17145"/>
                    </a:lnTo>
                    <a:lnTo>
                      <a:pt x="295275" y="24670"/>
                    </a:lnTo>
                    <a:lnTo>
                      <a:pt x="313372" y="24670"/>
                    </a:lnTo>
                    <a:lnTo>
                      <a:pt x="317182" y="35242"/>
                    </a:lnTo>
                    <a:lnTo>
                      <a:pt x="317182" y="80867"/>
                    </a:lnTo>
                    <a:lnTo>
                      <a:pt x="330518" y="98107"/>
                    </a:lnTo>
                    <a:lnTo>
                      <a:pt x="330518" y="112395"/>
                    </a:lnTo>
                    <a:lnTo>
                      <a:pt x="288607" y="116205"/>
                    </a:lnTo>
                    <a:lnTo>
                      <a:pt x="260985" y="133255"/>
                    </a:lnTo>
                    <a:lnTo>
                      <a:pt x="257175" y="147542"/>
                    </a:lnTo>
                    <a:lnTo>
                      <a:pt x="214313" y="182880"/>
                    </a:lnTo>
                    <a:lnTo>
                      <a:pt x="176213" y="186595"/>
                    </a:lnTo>
                    <a:lnTo>
                      <a:pt x="120015" y="221932"/>
                    </a:lnTo>
                    <a:lnTo>
                      <a:pt x="120015" y="2532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D79C65A8-9572-CD5A-59A8-F374A2E4AC8D}"/>
                  </a:ext>
                </a:extLst>
              </p:cNvPr>
              <p:cNvSpPr/>
              <p:nvPr/>
            </p:nvSpPr>
            <p:spPr>
              <a:xfrm>
                <a:off x="5530725" y="3769581"/>
                <a:ext cx="227828" cy="184038"/>
              </a:xfrm>
              <a:custGeom>
                <a:avLst/>
                <a:gdLst>
                  <a:gd name="connsiteX0" fmla="*/ 0 w 232409"/>
                  <a:gd name="connsiteY0" fmla="*/ 187738 h 187737"/>
                  <a:gd name="connsiteX1" fmla="*/ 6667 w 232409"/>
                  <a:gd name="connsiteY1" fmla="*/ 165735 h 187737"/>
                  <a:gd name="connsiteX2" fmla="*/ 23813 w 232409"/>
                  <a:gd name="connsiteY2" fmla="*/ 138113 h 187737"/>
                  <a:gd name="connsiteX3" fmla="*/ 35242 w 232409"/>
                  <a:gd name="connsiteY3" fmla="*/ 109538 h 187737"/>
                  <a:gd name="connsiteX4" fmla="*/ 52388 w 232409"/>
                  <a:gd name="connsiteY4" fmla="*/ 95250 h 187737"/>
                  <a:gd name="connsiteX5" fmla="*/ 62865 w 232409"/>
                  <a:gd name="connsiteY5" fmla="*/ 67723 h 187737"/>
                  <a:gd name="connsiteX6" fmla="*/ 80963 w 232409"/>
                  <a:gd name="connsiteY6" fmla="*/ 42863 h 187737"/>
                  <a:gd name="connsiteX7" fmla="*/ 91440 w 232409"/>
                  <a:gd name="connsiteY7" fmla="*/ 32385 h 187737"/>
                  <a:gd name="connsiteX8" fmla="*/ 105727 w 232409"/>
                  <a:gd name="connsiteY8" fmla="*/ 14288 h 187737"/>
                  <a:gd name="connsiteX9" fmla="*/ 112395 w 232409"/>
                  <a:gd name="connsiteY9" fmla="*/ 0 h 187737"/>
                  <a:gd name="connsiteX10" fmla="*/ 232410 w 232409"/>
                  <a:gd name="connsiteY10" fmla="*/ 0 h 187737"/>
                  <a:gd name="connsiteX11" fmla="*/ 232410 w 232409"/>
                  <a:gd name="connsiteY11" fmla="*/ 49625 h 187737"/>
                  <a:gd name="connsiteX12" fmla="*/ 143827 w 232409"/>
                  <a:gd name="connsiteY12" fmla="*/ 49625 h 187737"/>
                  <a:gd name="connsiteX13" fmla="*/ 143827 w 232409"/>
                  <a:gd name="connsiteY13" fmla="*/ 123825 h 187737"/>
                  <a:gd name="connsiteX14" fmla="*/ 126682 w 232409"/>
                  <a:gd name="connsiteY14" fmla="*/ 123825 h 187737"/>
                  <a:gd name="connsiteX15" fmla="*/ 112395 w 232409"/>
                  <a:gd name="connsiteY15" fmla="*/ 130588 h 187737"/>
                  <a:gd name="connsiteX16" fmla="*/ 112395 w 232409"/>
                  <a:gd name="connsiteY16" fmla="*/ 144875 h 187737"/>
                  <a:gd name="connsiteX17" fmla="*/ 112395 w 232409"/>
                  <a:gd name="connsiteY17" fmla="*/ 187738 h 187737"/>
                  <a:gd name="connsiteX18" fmla="*/ 0 w 232409"/>
                  <a:gd name="connsiteY18" fmla="*/ 187738 h 187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32409" h="187737">
                    <a:moveTo>
                      <a:pt x="0" y="187738"/>
                    </a:moveTo>
                    <a:lnTo>
                      <a:pt x="6667" y="165735"/>
                    </a:lnTo>
                    <a:lnTo>
                      <a:pt x="23813" y="138113"/>
                    </a:lnTo>
                    <a:lnTo>
                      <a:pt x="35242" y="109538"/>
                    </a:lnTo>
                    <a:lnTo>
                      <a:pt x="52388" y="95250"/>
                    </a:lnTo>
                    <a:lnTo>
                      <a:pt x="62865" y="67723"/>
                    </a:lnTo>
                    <a:lnTo>
                      <a:pt x="80963" y="42863"/>
                    </a:lnTo>
                    <a:lnTo>
                      <a:pt x="91440" y="32385"/>
                    </a:lnTo>
                    <a:lnTo>
                      <a:pt x="105727" y="14288"/>
                    </a:lnTo>
                    <a:lnTo>
                      <a:pt x="112395" y="0"/>
                    </a:lnTo>
                    <a:lnTo>
                      <a:pt x="232410" y="0"/>
                    </a:lnTo>
                    <a:lnTo>
                      <a:pt x="232410" y="49625"/>
                    </a:lnTo>
                    <a:lnTo>
                      <a:pt x="143827" y="49625"/>
                    </a:lnTo>
                    <a:lnTo>
                      <a:pt x="143827" y="123825"/>
                    </a:lnTo>
                    <a:lnTo>
                      <a:pt x="126682" y="123825"/>
                    </a:lnTo>
                    <a:lnTo>
                      <a:pt x="112395" y="130588"/>
                    </a:lnTo>
                    <a:lnTo>
                      <a:pt x="112395" y="144875"/>
                    </a:lnTo>
                    <a:lnTo>
                      <a:pt x="112395" y="187738"/>
                    </a:lnTo>
                    <a:lnTo>
                      <a:pt x="0" y="1877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A978E7CA-1944-C73D-15CD-58685BFF3099}"/>
                  </a:ext>
                </a:extLst>
              </p:cNvPr>
              <p:cNvSpPr/>
              <p:nvPr/>
            </p:nvSpPr>
            <p:spPr>
              <a:xfrm>
                <a:off x="5530725" y="3769581"/>
                <a:ext cx="227828" cy="184038"/>
              </a:xfrm>
              <a:custGeom>
                <a:avLst/>
                <a:gdLst>
                  <a:gd name="connsiteX0" fmla="*/ 0 w 232409"/>
                  <a:gd name="connsiteY0" fmla="*/ 187738 h 187737"/>
                  <a:gd name="connsiteX1" fmla="*/ 6667 w 232409"/>
                  <a:gd name="connsiteY1" fmla="*/ 165735 h 187737"/>
                  <a:gd name="connsiteX2" fmla="*/ 23813 w 232409"/>
                  <a:gd name="connsiteY2" fmla="*/ 138113 h 187737"/>
                  <a:gd name="connsiteX3" fmla="*/ 35242 w 232409"/>
                  <a:gd name="connsiteY3" fmla="*/ 109538 h 187737"/>
                  <a:gd name="connsiteX4" fmla="*/ 52388 w 232409"/>
                  <a:gd name="connsiteY4" fmla="*/ 95250 h 187737"/>
                  <a:gd name="connsiteX5" fmla="*/ 62865 w 232409"/>
                  <a:gd name="connsiteY5" fmla="*/ 67723 h 187737"/>
                  <a:gd name="connsiteX6" fmla="*/ 80963 w 232409"/>
                  <a:gd name="connsiteY6" fmla="*/ 42863 h 187737"/>
                  <a:gd name="connsiteX7" fmla="*/ 91440 w 232409"/>
                  <a:gd name="connsiteY7" fmla="*/ 32385 h 187737"/>
                  <a:gd name="connsiteX8" fmla="*/ 105727 w 232409"/>
                  <a:gd name="connsiteY8" fmla="*/ 14288 h 187737"/>
                  <a:gd name="connsiteX9" fmla="*/ 112395 w 232409"/>
                  <a:gd name="connsiteY9" fmla="*/ 0 h 187737"/>
                  <a:gd name="connsiteX10" fmla="*/ 232410 w 232409"/>
                  <a:gd name="connsiteY10" fmla="*/ 0 h 187737"/>
                  <a:gd name="connsiteX11" fmla="*/ 232410 w 232409"/>
                  <a:gd name="connsiteY11" fmla="*/ 49625 h 187737"/>
                  <a:gd name="connsiteX12" fmla="*/ 143827 w 232409"/>
                  <a:gd name="connsiteY12" fmla="*/ 49625 h 187737"/>
                  <a:gd name="connsiteX13" fmla="*/ 143827 w 232409"/>
                  <a:gd name="connsiteY13" fmla="*/ 123825 h 187737"/>
                  <a:gd name="connsiteX14" fmla="*/ 126682 w 232409"/>
                  <a:gd name="connsiteY14" fmla="*/ 123825 h 187737"/>
                  <a:gd name="connsiteX15" fmla="*/ 112395 w 232409"/>
                  <a:gd name="connsiteY15" fmla="*/ 130588 h 187737"/>
                  <a:gd name="connsiteX16" fmla="*/ 112395 w 232409"/>
                  <a:gd name="connsiteY16" fmla="*/ 144875 h 187737"/>
                  <a:gd name="connsiteX17" fmla="*/ 112395 w 232409"/>
                  <a:gd name="connsiteY17" fmla="*/ 187738 h 187737"/>
                  <a:gd name="connsiteX18" fmla="*/ 0 w 232409"/>
                  <a:gd name="connsiteY18" fmla="*/ 187738 h 187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32409" h="187737">
                    <a:moveTo>
                      <a:pt x="0" y="187738"/>
                    </a:moveTo>
                    <a:lnTo>
                      <a:pt x="6667" y="165735"/>
                    </a:lnTo>
                    <a:lnTo>
                      <a:pt x="23813" y="138113"/>
                    </a:lnTo>
                    <a:lnTo>
                      <a:pt x="35242" y="109538"/>
                    </a:lnTo>
                    <a:lnTo>
                      <a:pt x="52388" y="95250"/>
                    </a:lnTo>
                    <a:lnTo>
                      <a:pt x="62865" y="67723"/>
                    </a:lnTo>
                    <a:lnTo>
                      <a:pt x="80963" y="42863"/>
                    </a:lnTo>
                    <a:lnTo>
                      <a:pt x="91440" y="32385"/>
                    </a:lnTo>
                    <a:lnTo>
                      <a:pt x="105727" y="14288"/>
                    </a:lnTo>
                    <a:lnTo>
                      <a:pt x="112395" y="0"/>
                    </a:lnTo>
                    <a:lnTo>
                      <a:pt x="232410" y="0"/>
                    </a:lnTo>
                    <a:lnTo>
                      <a:pt x="232410" y="49625"/>
                    </a:lnTo>
                    <a:lnTo>
                      <a:pt x="143827" y="49625"/>
                    </a:lnTo>
                    <a:lnTo>
                      <a:pt x="143827" y="123825"/>
                    </a:lnTo>
                    <a:lnTo>
                      <a:pt x="126682" y="123825"/>
                    </a:lnTo>
                    <a:lnTo>
                      <a:pt x="112395" y="130588"/>
                    </a:lnTo>
                    <a:lnTo>
                      <a:pt x="112395" y="144875"/>
                    </a:lnTo>
                    <a:lnTo>
                      <a:pt x="112395" y="187738"/>
                    </a:lnTo>
                    <a:lnTo>
                      <a:pt x="0" y="1877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CC96B258-7715-8DEA-BC5D-E4096605D24C}"/>
                  </a:ext>
                </a:extLst>
              </p:cNvPr>
              <p:cNvSpPr/>
              <p:nvPr/>
            </p:nvSpPr>
            <p:spPr>
              <a:xfrm>
                <a:off x="5543797" y="4195456"/>
                <a:ext cx="83101" cy="47620"/>
              </a:xfrm>
              <a:custGeom>
                <a:avLst/>
                <a:gdLst>
                  <a:gd name="connsiteX0" fmla="*/ 0 w 84772"/>
                  <a:gd name="connsiteY0" fmla="*/ 10478 h 48577"/>
                  <a:gd name="connsiteX1" fmla="*/ 32385 w 84772"/>
                  <a:gd name="connsiteY1" fmla="*/ 6668 h 48577"/>
                  <a:gd name="connsiteX2" fmla="*/ 39053 w 84772"/>
                  <a:gd name="connsiteY2" fmla="*/ 0 h 48577"/>
                  <a:gd name="connsiteX3" fmla="*/ 84772 w 84772"/>
                  <a:gd name="connsiteY3" fmla="*/ 0 h 48577"/>
                  <a:gd name="connsiteX4" fmla="*/ 78105 w 84772"/>
                  <a:gd name="connsiteY4" fmla="*/ 17050 h 48577"/>
                  <a:gd name="connsiteX5" fmla="*/ 74295 w 84772"/>
                  <a:gd name="connsiteY5" fmla="*/ 27527 h 48577"/>
                  <a:gd name="connsiteX6" fmla="*/ 53340 w 84772"/>
                  <a:gd name="connsiteY6" fmla="*/ 35243 h 48577"/>
                  <a:gd name="connsiteX7" fmla="*/ 39053 w 84772"/>
                  <a:gd name="connsiteY7" fmla="*/ 48578 h 48577"/>
                  <a:gd name="connsiteX8" fmla="*/ 28575 w 84772"/>
                  <a:gd name="connsiteY8" fmla="*/ 38100 h 48577"/>
                  <a:gd name="connsiteX9" fmla="*/ 14288 w 84772"/>
                  <a:gd name="connsiteY9" fmla="*/ 24765 h 48577"/>
                  <a:gd name="connsiteX10" fmla="*/ 10478 w 84772"/>
                  <a:gd name="connsiteY10" fmla="*/ 20955 h 48577"/>
                  <a:gd name="connsiteX11" fmla="*/ 0 w 84772"/>
                  <a:gd name="connsiteY11" fmla="*/ 10478 h 4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4772" h="48577">
                    <a:moveTo>
                      <a:pt x="0" y="10478"/>
                    </a:moveTo>
                    <a:lnTo>
                      <a:pt x="32385" y="6668"/>
                    </a:lnTo>
                    <a:lnTo>
                      <a:pt x="39053" y="0"/>
                    </a:lnTo>
                    <a:lnTo>
                      <a:pt x="84772" y="0"/>
                    </a:lnTo>
                    <a:lnTo>
                      <a:pt x="78105" y="17050"/>
                    </a:lnTo>
                    <a:lnTo>
                      <a:pt x="74295" y="27527"/>
                    </a:lnTo>
                    <a:lnTo>
                      <a:pt x="53340" y="35243"/>
                    </a:lnTo>
                    <a:lnTo>
                      <a:pt x="39053" y="48578"/>
                    </a:lnTo>
                    <a:lnTo>
                      <a:pt x="28575" y="38100"/>
                    </a:lnTo>
                    <a:lnTo>
                      <a:pt x="14288" y="24765"/>
                    </a:lnTo>
                    <a:lnTo>
                      <a:pt x="10478" y="20955"/>
                    </a:lnTo>
                    <a:lnTo>
                      <a:pt x="0" y="1047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F021CA3A-1294-7EE2-0163-C798B31FEB92}"/>
                  </a:ext>
                </a:extLst>
              </p:cNvPr>
              <p:cNvSpPr/>
              <p:nvPr/>
            </p:nvSpPr>
            <p:spPr>
              <a:xfrm>
                <a:off x="5543797" y="4195456"/>
                <a:ext cx="83101" cy="47620"/>
              </a:xfrm>
              <a:custGeom>
                <a:avLst/>
                <a:gdLst>
                  <a:gd name="connsiteX0" fmla="*/ 0 w 84772"/>
                  <a:gd name="connsiteY0" fmla="*/ 10478 h 48577"/>
                  <a:gd name="connsiteX1" fmla="*/ 32385 w 84772"/>
                  <a:gd name="connsiteY1" fmla="*/ 6668 h 48577"/>
                  <a:gd name="connsiteX2" fmla="*/ 39053 w 84772"/>
                  <a:gd name="connsiteY2" fmla="*/ 0 h 48577"/>
                  <a:gd name="connsiteX3" fmla="*/ 84772 w 84772"/>
                  <a:gd name="connsiteY3" fmla="*/ 0 h 48577"/>
                  <a:gd name="connsiteX4" fmla="*/ 78105 w 84772"/>
                  <a:gd name="connsiteY4" fmla="*/ 17050 h 48577"/>
                  <a:gd name="connsiteX5" fmla="*/ 74295 w 84772"/>
                  <a:gd name="connsiteY5" fmla="*/ 27527 h 48577"/>
                  <a:gd name="connsiteX6" fmla="*/ 53340 w 84772"/>
                  <a:gd name="connsiteY6" fmla="*/ 35243 h 48577"/>
                  <a:gd name="connsiteX7" fmla="*/ 39053 w 84772"/>
                  <a:gd name="connsiteY7" fmla="*/ 48578 h 48577"/>
                  <a:gd name="connsiteX8" fmla="*/ 28575 w 84772"/>
                  <a:gd name="connsiteY8" fmla="*/ 38100 h 48577"/>
                  <a:gd name="connsiteX9" fmla="*/ 14288 w 84772"/>
                  <a:gd name="connsiteY9" fmla="*/ 24765 h 48577"/>
                  <a:gd name="connsiteX10" fmla="*/ 10478 w 84772"/>
                  <a:gd name="connsiteY10" fmla="*/ 20955 h 48577"/>
                  <a:gd name="connsiteX11" fmla="*/ 0 w 84772"/>
                  <a:gd name="connsiteY11" fmla="*/ 10478 h 48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4772" h="48577">
                    <a:moveTo>
                      <a:pt x="0" y="10478"/>
                    </a:moveTo>
                    <a:lnTo>
                      <a:pt x="32385" y="6668"/>
                    </a:lnTo>
                    <a:lnTo>
                      <a:pt x="39053" y="0"/>
                    </a:lnTo>
                    <a:lnTo>
                      <a:pt x="84772" y="0"/>
                    </a:lnTo>
                    <a:lnTo>
                      <a:pt x="78105" y="17050"/>
                    </a:lnTo>
                    <a:lnTo>
                      <a:pt x="74295" y="27527"/>
                    </a:lnTo>
                    <a:lnTo>
                      <a:pt x="53340" y="35243"/>
                    </a:lnTo>
                    <a:lnTo>
                      <a:pt x="39053" y="48578"/>
                    </a:lnTo>
                    <a:lnTo>
                      <a:pt x="28575" y="38100"/>
                    </a:lnTo>
                    <a:lnTo>
                      <a:pt x="14288" y="24765"/>
                    </a:lnTo>
                    <a:lnTo>
                      <a:pt x="10478" y="20955"/>
                    </a:lnTo>
                    <a:lnTo>
                      <a:pt x="0" y="1047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50C9F733-380F-D2E9-4433-A1C36711301E}"/>
                  </a:ext>
                </a:extLst>
              </p:cNvPr>
              <p:cNvSpPr/>
              <p:nvPr/>
            </p:nvSpPr>
            <p:spPr>
              <a:xfrm>
                <a:off x="5637169" y="4271088"/>
                <a:ext cx="76564" cy="83102"/>
              </a:xfrm>
              <a:custGeom>
                <a:avLst/>
                <a:gdLst>
                  <a:gd name="connsiteX0" fmla="*/ 0 w 78104"/>
                  <a:gd name="connsiteY0" fmla="*/ 28575 h 84772"/>
                  <a:gd name="connsiteX1" fmla="*/ 14288 w 78104"/>
                  <a:gd name="connsiteY1" fmla="*/ 14288 h 84772"/>
                  <a:gd name="connsiteX2" fmla="*/ 28575 w 78104"/>
                  <a:gd name="connsiteY2" fmla="*/ 3810 h 84772"/>
                  <a:gd name="connsiteX3" fmla="*/ 53340 w 78104"/>
                  <a:gd name="connsiteY3" fmla="*/ 0 h 84772"/>
                  <a:gd name="connsiteX4" fmla="*/ 66675 w 78104"/>
                  <a:gd name="connsiteY4" fmla="*/ 14288 h 84772"/>
                  <a:gd name="connsiteX5" fmla="*/ 78105 w 78104"/>
                  <a:gd name="connsiteY5" fmla="*/ 28575 h 84772"/>
                  <a:gd name="connsiteX6" fmla="*/ 74295 w 78104"/>
                  <a:gd name="connsiteY6" fmla="*/ 42863 h 84772"/>
                  <a:gd name="connsiteX7" fmla="*/ 70485 w 78104"/>
                  <a:gd name="connsiteY7" fmla="*/ 56197 h 84772"/>
                  <a:gd name="connsiteX8" fmla="*/ 60007 w 78104"/>
                  <a:gd name="connsiteY8" fmla="*/ 70485 h 84772"/>
                  <a:gd name="connsiteX9" fmla="*/ 42863 w 78104"/>
                  <a:gd name="connsiteY9" fmla="*/ 84772 h 84772"/>
                  <a:gd name="connsiteX10" fmla="*/ 28575 w 78104"/>
                  <a:gd name="connsiteY10" fmla="*/ 78010 h 84772"/>
                  <a:gd name="connsiteX11" fmla="*/ 7620 w 78104"/>
                  <a:gd name="connsiteY11" fmla="*/ 56197 h 84772"/>
                  <a:gd name="connsiteX12" fmla="*/ 0 w 78104"/>
                  <a:gd name="connsiteY12" fmla="*/ 42863 h 84772"/>
                  <a:gd name="connsiteX13" fmla="*/ 0 w 78104"/>
                  <a:gd name="connsiteY13" fmla="*/ 28575 h 8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8104" h="84772">
                    <a:moveTo>
                      <a:pt x="0" y="28575"/>
                    </a:moveTo>
                    <a:lnTo>
                      <a:pt x="14288" y="14288"/>
                    </a:lnTo>
                    <a:lnTo>
                      <a:pt x="28575" y="3810"/>
                    </a:lnTo>
                    <a:lnTo>
                      <a:pt x="53340" y="0"/>
                    </a:lnTo>
                    <a:lnTo>
                      <a:pt x="66675" y="14288"/>
                    </a:lnTo>
                    <a:lnTo>
                      <a:pt x="78105" y="28575"/>
                    </a:lnTo>
                    <a:lnTo>
                      <a:pt x="74295" y="42863"/>
                    </a:lnTo>
                    <a:lnTo>
                      <a:pt x="70485" y="56197"/>
                    </a:lnTo>
                    <a:lnTo>
                      <a:pt x="60007" y="70485"/>
                    </a:lnTo>
                    <a:lnTo>
                      <a:pt x="42863" y="84772"/>
                    </a:lnTo>
                    <a:lnTo>
                      <a:pt x="28575" y="78010"/>
                    </a:lnTo>
                    <a:lnTo>
                      <a:pt x="7620" y="56197"/>
                    </a:lnTo>
                    <a:lnTo>
                      <a:pt x="0" y="42863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913A4C83-D346-86A1-AB1F-3F132941E1DF}"/>
                  </a:ext>
                </a:extLst>
              </p:cNvPr>
              <p:cNvSpPr/>
              <p:nvPr/>
            </p:nvSpPr>
            <p:spPr>
              <a:xfrm>
                <a:off x="5637169" y="4271088"/>
                <a:ext cx="76564" cy="83102"/>
              </a:xfrm>
              <a:custGeom>
                <a:avLst/>
                <a:gdLst>
                  <a:gd name="connsiteX0" fmla="*/ 0 w 78104"/>
                  <a:gd name="connsiteY0" fmla="*/ 28575 h 84772"/>
                  <a:gd name="connsiteX1" fmla="*/ 14288 w 78104"/>
                  <a:gd name="connsiteY1" fmla="*/ 14288 h 84772"/>
                  <a:gd name="connsiteX2" fmla="*/ 28575 w 78104"/>
                  <a:gd name="connsiteY2" fmla="*/ 3810 h 84772"/>
                  <a:gd name="connsiteX3" fmla="*/ 53340 w 78104"/>
                  <a:gd name="connsiteY3" fmla="*/ 0 h 84772"/>
                  <a:gd name="connsiteX4" fmla="*/ 66675 w 78104"/>
                  <a:gd name="connsiteY4" fmla="*/ 14288 h 84772"/>
                  <a:gd name="connsiteX5" fmla="*/ 78105 w 78104"/>
                  <a:gd name="connsiteY5" fmla="*/ 28575 h 84772"/>
                  <a:gd name="connsiteX6" fmla="*/ 74295 w 78104"/>
                  <a:gd name="connsiteY6" fmla="*/ 42863 h 84772"/>
                  <a:gd name="connsiteX7" fmla="*/ 70485 w 78104"/>
                  <a:gd name="connsiteY7" fmla="*/ 56197 h 84772"/>
                  <a:gd name="connsiteX8" fmla="*/ 60007 w 78104"/>
                  <a:gd name="connsiteY8" fmla="*/ 70485 h 84772"/>
                  <a:gd name="connsiteX9" fmla="*/ 42863 w 78104"/>
                  <a:gd name="connsiteY9" fmla="*/ 84772 h 84772"/>
                  <a:gd name="connsiteX10" fmla="*/ 28575 w 78104"/>
                  <a:gd name="connsiteY10" fmla="*/ 78010 h 84772"/>
                  <a:gd name="connsiteX11" fmla="*/ 7620 w 78104"/>
                  <a:gd name="connsiteY11" fmla="*/ 56197 h 84772"/>
                  <a:gd name="connsiteX12" fmla="*/ 0 w 78104"/>
                  <a:gd name="connsiteY12" fmla="*/ 42863 h 84772"/>
                  <a:gd name="connsiteX13" fmla="*/ 0 w 78104"/>
                  <a:gd name="connsiteY13" fmla="*/ 28575 h 8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8104" h="84772">
                    <a:moveTo>
                      <a:pt x="0" y="28575"/>
                    </a:moveTo>
                    <a:lnTo>
                      <a:pt x="14288" y="14288"/>
                    </a:lnTo>
                    <a:lnTo>
                      <a:pt x="28575" y="3810"/>
                    </a:lnTo>
                    <a:lnTo>
                      <a:pt x="53340" y="0"/>
                    </a:lnTo>
                    <a:lnTo>
                      <a:pt x="66675" y="14288"/>
                    </a:lnTo>
                    <a:lnTo>
                      <a:pt x="78105" y="28575"/>
                    </a:lnTo>
                    <a:lnTo>
                      <a:pt x="74295" y="42863"/>
                    </a:lnTo>
                    <a:lnTo>
                      <a:pt x="70485" y="56197"/>
                    </a:lnTo>
                    <a:lnTo>
                      <a:pt x="60007" y="70485"/>
                    </a:lnTo>
                    <a:lnTo>
                      <a:pt x="42863" y="84772"/>
                    </a:lnTo>
                    <a:lnTo>
                      <a:pt x="28575" y="78010"/>
                    </a:lnTo>
                    <a:lnTo>
                      <a:pt x="7620" y="56197"/>
                    </a:lnTo>
                    <a:lnTo>
                      <a:pt x="0" y="42863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9465C893-567F-534E-A1DA-C9CB1033B8F7}"/>
                  </a:ext>
                </a:extLst>
              </p:cNvPr>
              <p:cNvSpPr/>
              <p:nvPr/>
            </p:nvSpPr>
            <p:spPr>
              <a:xfrm>
                <a:off x="5530725" y="3769581"/>
                <a:ext cx="341742" cy="369851"/>
              </a:xfrm>
              <a:custGeom>
                <a:avLst/>
                <a:gdLst>
                  <a:gd name="connsiteX0" fmla="*/ 0 w 348614"/>
                  <a:gd name="connsiteY0" fmla="*/ 187738 h 377285"/>
                  <a:gd name="connsiteX1" fmla="*/ 112395 w 348614"/>
                  <a:gd name="connsiteY1" fmla="*/ 187738 h 377285"/>
                  <a:gd name="connsiteX2" fmla="*/ 112395 w 348614"/>
                  <a:gd name="connsiteY2" fmla="*/ 144875 h 377285"/>
                  <a:gd name="connsiteX3" fmla="*/ 112395 w 348614"/>
                  <a:gd name="connsiteY3" fmla="*/ 130588 h 377285"/>
                  <a:gd name="connsiteX4" fmla="*/ 119063 w 348614"/>
                  <a:gd name="connsiteY4" fmla="*/ 127635 h 377285"/>
                  <a:gd name="connsiteX5" fmla="*/ 126682 w 348614"/>
                  <a:gd name="connsiteY5" fmla="*/ 123825 h 377285"/>
                  <a:gd name="connsiteX6" fmla="*/ 143827 w 348614"/>
                  <a:gd name="connsiteY6" fmla="*/ 123825 h 377285"/>
                  <a:gd name="connsiteX7" fmla="*/ 143827 w 348614"/>
                  <a:gd name="connsiteY7" fmla="*/ 49625 h 377285"/>
                  <a:gd name="connsiteX8" fmla="*/ 232410 w 348614"/>
                  <a:gd name="connsiteY8" fmla="*/ 49625 h 377285"/>
                  <a:gd name="connsiteX9" fmla="*/ 232410 w 348614"/>
                  <a:gd name="connsiteY9" fmla="*/ 0 h 377285"/>
                  <a:gd name="connsiteX10" fmla="*/ 348615 w 348614"/>
                  <a:gd name="connsiteY10" fmla="*/ 84772 h 377285"/>
                  <a:gd name="connsiteX11" fmla="*/ 295275 w 348614"/>
                  <a:gd name="connsiteY11" fmla="*/ 84772 h 377285"/>
                  <a:gd name="connsiteX12" fmla="*/ 316230 w 348614"/>
                  <a:gd name="connsiteY12" fmla="*/ 324898 h 377285"/>
                  <a:gd name="connsiteX13" fmla="*/ 326707 w 348614"/>
                  <a:gd name="connsiteY13" fmla="*/ 339185 h 377285"/>
                  <a:gd name="connsiteX14" fmla="*/ 323850 w 348614"/>
                  <a:gd name="connsiteY14" fmla="*/ 356235 h 377285"/>
                  <a:gd name="connsiteX15" fmla="*/ 147638 w 348614"/>
                  <a:gd name="connsiteY15" fmla="*/ 353473 h 377285"/>
                  <a:gd name="connsiteX16" fmla="*/ 137160 w 348614"/>
                  <a:gd name="connsiteY16" fmla="*/ 377285 h 377285"/>
                  <a:gd name="connsiteX17" fmla="*/ 119063 w 348614"/>
                  <a:gd name="connsiteY17" fmla="*/ 363950 h 377285"/>
                  <a:gd name="connsiteX18" fmla="*/ 105727 w 348614"/>
                  <a:gd name="connsiteY18" fmla="*/ 341947 h 377285"/>
                  <a:gd name="connsiteX19" fmla="*/ 91440 w 348614"/>
                  <a:gd name="connsiteY19" fmla="*/ 331565 h 377285"/>
                  <a:gd name="connsiteX20" fmla="*/ 70485 w 348614"/>
                  <a:gd name="connsiteY20" fmla="*/ 321088 h 377285"/>
                  <a:gd name="connsiteX21" fmla="*/ 45720 w 348614"/>
                  <a:gd name="connsiteY21" fmla="*/ 321088 h 377285"/>
                  <a:gd name="connsiteX22" fmla="*/ 20955 w 348614"/>
                  <a:gd name="connsiteY22" fmla="*/ 324898 h 377285"/>
                  <a:gd name="connsiteX23" fmla="*/ 20955 w 348614"/>
                  <a:gd name="connsiteY23" fmla="*/ 303847 h 377285"/>
                  <a:gd name="connsiteX24" fmla="*/ 31432 w 348614"/>
                  <a:gd name="connsiteY24" fmla="*/ 268700 h 377285"/>
                  <a:gd name="connsiteX25" fmla="*/ 20955 w 348614"/>
                  <a:gd name="connsiteY25" fmla="*/ 254413 h 377285"/>
                  <a:gd name="connsiteX26" fmla="*/ 13335 w 348614"/>
                  <a:gd name="connsiteY26" fmla="*/ 243935 h 377285"/>
                  <a:gd name="connsiteX27" fmla="*/ 20955 w 348614"/>
                  <a:gd name="connsiteY27" fmla="*/ 229648 h 377285"/>
                  <a:gd name="connsiteX28" fmla="*/ 20955 w 348614"/>
                  <a:gd name="connsiteY28" fmla="*/ 215360 h 377285"/>
                  <a:gd name="connsiteX29" fmla="*/ 13335 w 348614"/>
                  <a:gd name="connsiteY29" fmla="*/ 204788 h 377285"/>
                  <a:gd name="connsiteX30" fmla="*/ 0 w 348614"/>
                  <a:gd name="connsiteY30" fmla="*/ 198215 h 377285"/>
                  <a:gd name="connsiteX31" fmla="*/ 0 w 348614"/>
                  <a:gd name="connsiteY31" fmla="*/ 187738 h 3772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48614" h="377285">
                    <a:moveTo>
                      <a:pt x="0" y="187738"/>
                    </a:moveTo>
                    <a:lnTo>
                      <a:pt x="112395" y="187738"/>
                    </a:lnTo>
                    <a:lnTo>
                      <a:pt x="112395" y="144875"/>
                    </a:lnTo>
                    <a:lnTo>
                      <a:pt x="112395" y="130588"/>
                    </a:lnTo>
                    <a:lnTo>
                      <a:pt x="119063" y="127635"/>
                    </a:lnTo>
                    <a:lnTo>
                      <a:pt x="126682" y="123825"/>
                    </a:lnTo>
                    <a:lnTo>
                      <a:pt x="143827" y="123825"/>
                    </a:lnTo>
                    <a:lnTo>
                      <a:pt x="143827" y="49625"/>
                    </a:lnTo>
                    <a:lnTo>
                      <a:pt x="232410" y="49625"/>
                    </a:lnTo>
                    <a:lnTo>
                      <a:pt x="232410" y="0"/>
                    </a:lnTo>
                    <a:lnTo>
                      <a:pt x="348615" y="84772"/>
                    </a:lnTo>
                    <a:lnTo>
                      <a:pt x="295275" y="84772"/>
                    </a:lnTo>
                    <a:lnTo>
                      <a:pt x="316230" y="324898"/>
                    </a:lnTo>
                    <a:lnTo>
                      <a:pt x="326707" y="339185"/>
                    </a:lnTo>
                    <a:lnTo>
                      <a:pt x="323850" y="356235"/>
                    </a:lnTo>
                    <a:lnTo>
                      <a:pt x="147638" y="353473"/>
                    </a:lnTo>
                    <a:lnTo>
                      <a:pt x="137160" y="377285"/>
                    </a:lnTo>
                    <a:lnTo>
                      <a:pt x="119063" y="363950"/>
                    </a:lnTo>
                    <a:lnTo>
                      <a:pt x="105727" y="341947"/>
                    </a:lnTo>
                    <a:lnTo>
                      <a:pt x="91440" y="331565"/>
                    </a:lnTo>
                    <a:lnTo>
                      <a:pt x="70485" y="321088"/>
                    </a:lnTo>
                    <a:lnTo>
                      <a:pt x="45720" y="321088"/>
                    </a:lnTo>
                    <a:lnTo>
                      <a:pt x="20955" y="324898"/>
                    </a:lnTo>
                    <a:lnTo>
                      <a:pt x="20955" y="303847"/>
                    </a:lnTo>
                    <a:lnTo>
                      <a:pt x="31432" y="268700"/>
                    </a:lnTo>
                    <a:lnTo>
                      <a:pt x="20955" y="254413"/>
                    </a:lnTo>
                    <a:lnTo>
                      <a:pt x="13335" y="243935"/>
                    </a:lnTo>
                    <a:lnTo>
                      <a:pt x="20955" y="229648"/>
                    </a:lnTo>
                    <a:lnTo>
                      <a:pt x="20955" y="215360"/>
                    </a:lnTo>
                    <a:lnTo>
                      <a:pt x="13335" y="204788"/>
                    </a:lnTo>
                    <a:lnTo>
                      <a:pt x="0" y="198215"/>
                    </a:lnTo>
                    <a:lnTo>
                      <a:pt x="0" y="1877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F6C6CF15-3015-74E0-C3AC-FF6F26305472}"/>
                  </a:ext>
                </a:extLst>
              </p:cNvPr>
              <p:cNvSpPr/>
              <p:nvPr/>
            </p:nvSpPr>
            <p:spPr>
              <a:xfrm>
                <a:off x="5582080" y="4195456"/>
                <a:ext cx="200750" cy="152105"/>
              </a:xfrm>
              <a:custGeom>
                <a:avLst/>
                <a:gdLst>
                  <a:gd name="connsiteX0" fmla="*/ 105727 w 204787"/>
                  <a:gd name="connsiteY0" fmla="*/ 10478 h 155162"/>
                  <a:gd name="connsiteX1" fmla="*/ 105727 w 204787"/>
                  <a:gd name="connsiteY1" fmla="*/ 13240 h 155162"/>
                  <a:gd name="connsiteX2" fmla="*/ 126682 w 204787"/>
                  <a:gd name="connsiteY2" fmla="*/ 20955 h 155162"/>
                  <a:gd name="connsiteX3" fmla="*/ 147638 w 204787"/>
                  <a:gd name="connsiteY3" fmla="*/ 13240 h 155162"/>
                  <a:gd name="connsiteX4" fmla="*/ 172402 w 204787"/>
                  <a:gd name="connsiteY4" fmla="*/ 10478 h 155162"/>
                  <a:gd name="connsiteX5" fmla="*/ 176213 w 204787"/>
                  <a:gd name="connsiteY5" fmla="*/ 24765 h 155162"/>
                  <a:gd name="connsiteX6" fmla="*/ 186690 w 204787"/>
                  <a:gd name="connsiteY6" fmla="*/ 41815 h 155162"/>
                  <a:gd name="connsiteX7" fmla="*/ 197167 w 204787"/>
                  <a:gd name="connsiteY7" fmla="*/ 66675 h 155162"/>
                  <a:gd name="connsiteX8" fmla="*/ 193357 w 204787"/>
                  <a:gd name="connsiteY8" fmla="*/ 80963 h 155162"/>
                  <a:gd name="connsiteX9" fmla="*/ 197167 w 204787"/>
                  <a:gd name="connsiteY9" fmla="*/ 87630 h 155162"/>
                  <a:gd name="connsiteX10" fmla="*/ 200977 w 204787"/>
                  <a:gd name="connsiteY10" fmla="*/ 95250 h 155162"/>
                  <a:gd name="connsiteX11" fmla="*/ 204788 w 204787"/>
                  <a:gd name="connsiteY11" fmla="*/ 120015 h 155162"/>
                  <a:gd name="connsiteX12" fmla="*/ 193357 w 204787"/>
                  <a:gd name="connsiteY12" fmla="*/ 122777 h 155162"/>
                  <a:gd name="connsiteX13" fmla="*/ 197167 w 204787"/>
                  <a:gd name="connsiteY13" fmla="*/ 140875 h 155162"/>
                  <a:gd name="connsiteX14" fmla="*/ 186690 w 204787"/>
                  <a:gd name="connsiteY14" fmla="*/ 147638 h 155162"/>
                  <a:gd name="connsiteX15" fmla="*/ 176213 w 204787"/>
                  <a:gd name="connsiteY15" fmla="*/ 143828 h 155162"/>
                  <a:gd name="connsiteX16" fmla="*/ 169545 w 204787"/>
                  <a:gd name="connsiteY16" fmla="*/ 155162 h 155162"/>
                  <a:gd name="connsiteX17" fmla="*/ 158115 w 204787"/>
                  <a:gd name="connsiteY17" fmla="*/ 151352 h 155162"/>
                  <a:gd name="connsiteX18" fmla="*/ 155257 w 204787"/>
                  <a:gd name="connsiteY18" fmla="*/ 126587 h 155162"/>
                  <a:gd name="connsiteX19" fmla="*/ 144780 w 204787"/>
                  <a:gd name="connsiteY19" fmla="*/ 122777 h 155162"/>
                  <a:gd name="connsiteX20" fmla="*/ 130492 w 204787"/>
                  <a:gd name="connsiteY20" fmla="*/ 120015 h 155162"/>
                  <a:gd name="connsiteX21" fmla="*/ 134302 w 204787"/>
                  <a:gd name="connsiteY21" fmla="*/ 105728 h 155162"/>
                  <a:gd name="connsiteX22" fmla="*/ 122872 w 204787"/>
                  <a:gd name="connsiteY22" fmla="*/ 91440 h 155162"/>
                  <a:gd name="connsiteX23" fmla="*/ 109538 w 204787"/>
                  <a:gd name="connsiteY23" fmla="*/ 77153 h 155162"/>
                  <a:gd name="connsiteX24" fmla="*/ 84772 w 204787"/>
                  <a:gd name="connsiteY24" fmla="*/ 80963 h 155162"/>
                  <a:gd name="connsiteX25" fmla="*/ 70485 w 204787"/>
                  <a:gd name="connsiteY25" fmla="*/ 91440 h 155162"/>
                  <a:gd name="connsiteX26" fmla="*/ 56197 w 204787"/>
                  <a:gd name="connsiteY26" fmla="*/ 105728 h 155162"/>
                  <a:gd name="connsiteX27" fmla="*/ 41910 w 204787"/>
                  <a:gd name="connsiteY27" fmla="*/ 87630 h 155162"/>
                  <a:gd name="connsiteX28" fmla="*/ 24765 w 204787"/>
                  <a:gd name="connsiteY28" fmla="*/ 70390 h 155162"/>
                  <a:gd name="connsiteX29" fmla="*/ 10477 w 204787"/>
                  <a:gd name="connsiteY29" fmla="*/ 66675 h 155162"/>
                  <a:gd name="connsiteX30" fmla="*/ 0 w 204787"/>
                  <a:gd name="connsiteY30" fmla="*/ 48578 h 155162"/>
                  <a:gd name="connsiteX31" fmla="*/ 14288 w 204787"/>
                  <a:gd name="connsiteY31" fmla="*/ 35243 h 155162"/>
                  <a:gd name="connsiteX32" fmla="*/ 35242 w 204787"/>
                  <a:gd name="connsiteY32" fmla="*/ 27527 h 155162"/>
                  <a:gd name="connsiteX33" fmla="*/ 39052 w 204787"/>
                  <a:gd name="connsiteY33" fmla="*/ 17050 h 155162"/>
                  <a:gd name="connsiteX34" fmla="*/ 45720 w 204787"/>
                  <a:gd name="connsiteY34" fmla="*/ 0 h 155162"/>
                  <a:gd name="connsiteX35" fmla="*/ 56197 w 204787"/>
                  <a:gd name="connsiteY35" fmla="*/ 0 h 155162"/>
                  <a:gd name="connsiteX36" fmla="*/ 66675 w 204787"/>
                  <a:gd name="connsiteY36" fmla="*/ 6668 h 155162"/>
                  <a:gd name="connsiteX37" fmla="*/ 87630 w 204787"/>
                  <a:gd name="connsiteY37" fmla="*/ 6668 h 155162"/>
                  <a:gd name="connsiteX38" fmla="*/ 105727 w 204787"/>
                  <a:gd name="connsiteY38" fmla="*/ 10478 h 155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04787" h="155162">
                    <a:moveTo>
                      <a:pt x="105727" y="10478"/>
                    </a:moveTo>
                    <a:lnTo>
                      <a:pt x="105727" y="13240"/>
                    </a:lnTo>
                    <a:lnTo>
                      <a:pt x="126682" y="20955"/>
                    </a:lnTo>
                    <a:lnTo>
                      <a:pt x="147638" y="13240"/>
                    </a:lnTo>
                    <a:lnTo>
                      <a:pt x="172402" y="10478"/>
                    </a:lnTo>
                    <a:lnTo>
                      <a:pt x="176213" y="24765"/>
                    </a:lnTo>
                    <a:lnTo>
                      <a:pt x="186690" y="41815"/>
                    </a:lnTo>
                    <a:lnTo>
                      <a:pt x="197167" y="66675"/>
                    </a:lnTo>
                    <a:lnTo>
                      <a:pt x="193357" y="80963"/>
                    </a:lnTo>
                    <a:lnTo>
                      <a:pt x="197167" y="87630"/>
                    </a:lnTo>
                    <a:lnTo>
                      <a:pt x="200977" y="95250"/>
                    </a:lnTo>
                    <a:lnTo>
                      <a:pt x="204788" y="120015"/>
                    </a:lnTo>
                    <a:lnTo>
                      <a:pt x="193357" y="122777"/>
                    </a:lnTo>
                    <a:lnTo>
                      <a:pt x="197167" y="140875"/>
                    </a:lnTo>
                    <a:lnTo>
                      <a:pt x="186690" y="147638"/>
                    </a:lnTo>
                    <a:lnTo>
                      <a:pt x="176213" y="143828"/>
                    </a:lnTo>
                    <a:lnTo>
                      <a:pt x="169545" y="155162"/>
                    </a:lnTo>
                    <a:lnTo>
                      <a:pt x="158115" y="151352"/>
                    </a:lnTo>
                    <a:lnTo>
                      <a:pt x="155257" y="126587"/>
                    </a:lnTo>
                    <a:lnTo>
                      <a:pt x="144780" y="122777"/>
                    </a:lnTo>
                    <a:lnTo>
                      <a:pt x="130492" y="120015"/>
                    </a:lnTo>
                    <a:lnTo>
                      <a:pt x="134302" y="105728"/>
                    </a:lnTo>
                    <a:lnTo>
                      <a:pt x="122872" y="91440"/>
                    </a:lnTo>
                    <a:lnTo>
                      <a:pt x="109538" y="77153"/>
                    </a:lnTo>
                    <a:lnTo>
                      <a:pt x="84772" y="80963"/>
                    </a:lnTo>
                    <a:lnTo>
                      <a:pt x="70485" y="91440"/>
                    </a:lnTo>
                    <a:lnTo>
                      <a:pt x="56197" y="105728"/>
                    </a:lnTo>
                    <a:lnTo>
                      <a:pt x="41910" y="87630"/>
                    </a:lnTo>
                    <a:lnTo>
                      <a:pt x="24765" y="70390"/>
                    </a:lnTo>
                    <a:lnTo>
                      <a:pt x="10477" y="66675"/>
                    </a:lnTo>
                    <a:lnTo>
                      <a:pt x="0" y="48578"/>
                    </a:lnTo>
                    <a:lnTo>
                      <a:pt x="14288" y="35243"/>
                    </a:lnTo>
                    <a:lnTo>
                      <a:pt x="35242" y="27527"/>
                    </a:lnTo>
                    <a:lnTo>
                      <a:pt x="39052" y="17050"/>
                    </a:lnTo>
                    <a:lnTo>
                      <a:pt x="45720" y="0"/>
                    </a:lnTo>
                    <a:lnTo>
                      <a:pt x="56197" y="0"/>
                    </a:lnTo>
                    <a:lnTo>
                      <a:pt x="66675" y="6668"/>
                    </a:lnTo>
                    <a:lnTo>
                      <a:pt x="87630" y="6668"/>
                    </a:lnTo>
                    <a:lnTo>
                      <a:pt x="105727" y="1047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6EC21640-410B-ADB5-B4FE-D680A750D5B0}"/>
                  </a:ext>
                </a:extLst>
              </p:cNvPr>
              <p:cNvSpPr/>
              <p:nvPr/>
            </p:nvSpPr>
            <p:spPr>
              <a:xfrm>
                <a:off x="5582080" y="4195456"/>
                <a:ext cx="200750" cy="152105"/>
              </a:xfrm>
              <a:custGeom>
                <a:avLst/>
                <a:gdLst>
                  <a:gd name="connsiteX0" fmla="*/ 105727 w 204787"/>
                  <a:gd name="connsiteY0" fmla="*/ 10478 h 155162"/>
                  <a:gd name="connsiteX1" fmla="*/ 105727 w 204787"/>
                  <a:gd name="connsiteY1" fmla="*/ 13240 h 155162"/>
                  <a:gd name="connsiteX2" fmla="*/ 126682 w 204787"/>
                  <a:gd name="connsiteY2" fmla="*/ 20955 h 155162"/>
                  <a:gd name="connsiteX3" fmla="*/ 147638 w 204787"/>
                  <a:gd name="connsiteY3" fmla="*/ 13240 h 155162"/>
                  <a:gd name="connsiteX4" fmla="*/ 172402 w 204787"/>
                  <a:gd name="connsiteY4" fmla="*/ 10478 h 155162"/>
                  <a:gd name="connsiteX5" fmla="*/ 176213 w 204787"/>
                  <a:gd name="connsiteY5" fmla="*/ 24765 h 155162"/>
                  <a:gd name="connsiteX6" fmla="*/ 186690 w 204787"/>
                  <a:gd name="connsiteY6" fmla="*/ 41815 h 155162"/>
                  <a:gd name="connsiteX7" fmla="*/ 197167 w 204787"/>
                  <a:gd name="connsiteY7" fmla="*/ 66675 h 155162"/>
                  <a:gd name="connsiteX8" fmla="*/ 193357 w 204787"/>
                  <a:gd name="connsiteY8" fmla="*/ 80963 h 155162"/>
                  <a:gd name="connsiteX9" fmla="*/ 197167 w 204787"/>
                  <a:gd name="connsiteY9" fmla="*/ 87630 h 155162"/>
                  <a:gd name="connsiteX10" fmla="*/ 200977 w 204787"/>
                  <a:gd name="connsiteY10" fmla="*/ 95250 h 155162"/>
                  <a:gd name="connsiteX11" fmla="*/ 204788 w 204787"/>
                  <a:gd name="connsiteY11" fmla="*/ 120015 h 155162"/>
                  <a:gd name="connsiteX12" fmla="*/ 193357 w 204787"/>
                  <a:gd name="connsiteY12" fmla="*/ 122777 h 155162"/>
                  <a:gd name="connsiteX13" fmla="*/ 197167 w 204787"/>
                  <a:gd name="connsiteY13" fmla="*/ 140875 h 155162"/>
                  <a:gd name="connsiteX14" fmla="*/ 186690 w 204787"/>
                  <a:gd name="connsiteY14" fmla="*/ 147638 h 155162"/>
                  <a:gd name="connsiteX15" fmla="*/ 176213 w 204787"/>
                  <a:gd name="connsiteY15" fmla="*/ 143828 h 155162"/>
                  <a:gd name="connsiteX16" fmla="*/ 169545 w 204787"/>
                  <a:gd name="connsiteY16" fmla="*/ 155162 h 155162"/>
                  <a:gd name="connsiteX17" fmla="*/ 158115 w 204787"/>
                  <a:gd name="connsiteY17" fmla="*/ 151352 h 155162"/>
                  <a:gd name="connsiteX18" fmla="*/ 155257 w 204787"/>
                  <a:gd name="connsiteY18" fmla="*/ 126587 h 155162"/>
                  <a:gd name="connsiteX19" fmla="*/ 144780 w 204787"/>
                  <a:gd name="connsiteY19" fmla="*/ 122777 h 155162"/>
                  <a:gd name="connsiteX20" fmla="*/ 130492 w 204787"/>
                  <a:gd name="connsiteY20" fmla="*/ 120015 h 155162"/>
                  <a:gd name="connsiteX21" fmla="*/ 134302 w 204787"/>
                  <a:gd name="connsiteY21" fmla="*/ 105728 h 155162"/>
                  <a:gd name="connsiteX22" fmla="*/ 122872 w 204787"/>
                  <a:gd name="connsiteY22" fmla="*/ 91440 h 155162"/>
                  <a:gd name="connsiteX23" fmla="*/ 109538 w 204787"/>
                  <a:gd name="connsiteY23" fmla="*/ 77153 h 155162"/>
                  <a:gd name="connsiteX24" fmla="*/ 84772 w 204787"/>
                  <a:gd name="connsiteY24" fmla="*/ 80963 h 155162"/>
                  <a:gd name="connsiteX25" fmla="*/ 70485 w 204787"/>
                  <a:gd name="connsiteY25" fmla="*/ 91440 h 155162"/>
                  <a:gd name="connsiteX26" fmla="*/ 56197 w 204787"/>
                  <a:gd name="connsiteY26" fmla="*/ 105728 h 155162"/>
                  <a:gd name="connsiteX27" fmla="*/ 41910 w 204787"/>
                  <a:gd name="connsiteY27" fmla="*/ 87630 h 155162"/>
                  <a:gd name="connsiteX28" fmla="*/ 24765 w 204787"/>
                  <a:gd name="connsiteY28" fmla="*/ 70390 h 155162"/>
                  <a:gd name="connsiteX29" fmla="*/ 10477 w 204787"/>
                  <a:gd name="connsiteY29" fmla="*/ 66675 h 155162"/>
                  <a:gd name="connsiteX30" fmla="*/ 0 w 204787"/>
                  <a:gd name="connsiteY30" fmla="*/ 48578 h 155162"/>
                  <a:gd name="connsiteX31" fmla="*/ 14288 w 204787"/>
                  <a:gd name="connsiteY31" fmla="*/ 35243 h 155162"/>
                  <a:gd name="connsiteX32" fmla="*/ 35242 w 204787"/>
                  <a:gd name="connsiteY32" fmla="*/ 27527 h 155162"/>
                  <a:gd name="connsiteX33" fmla="*/ 39052 w 204787"/>
                  <a:gd name="connsiteY33" fmla="*/ 17050 h 155162"/>
                  <a:gd name="connsiteX34" fmla="*/ 45720 w 204787"/>
                  <a:gd name="connsiteY34" fmla="*/ 0 h 155162"/>
                  <a:gd name="connsiteX35" fmla="*/ 56197 w 204787"/>
                  <a:gd name="connsiteY35" fmla="*/ 0 h 155162"/>
                  <a:gd name="connsiteX36" fmla="*/ 66675 w 204787"/>
                  <a:gd name="connsiteY36" fmla="*/ 6668 h 155162"/>
                  <a:gd name="connsiteX37" fmla="*/ 87630 w 204787"/>
                  <a:gd name="connsiteY37" fmla="*/ 6668 h 155162"/>
                  <a:gd name="connsiteX38" fmla="*/ 105727 w 204787"/>
                  <a:gd name="connsiteY38" fmla="*/ 10478 h 155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04787" h="155162">
                    <a:moveTo>
                      <a:pt x="105727" y="10478"/>
                    </a:moveTo>
                    <a:lnTo>
                      <a:pt x="105727" y="13240"/>
                    </a:lnTo>
                    <a:lnTo>
                      <a:pt x="126682" y="20955"/>
                    </a:lnTo>
                    <a:lnTo>
                      <a:pt x="147638" y="13240"/>
                    </a:lnTo>
                    <a:lnTo>
                      <a:pt x="172402" y="10478"/>
                    </a:lnTo>
                    <a:lnTo>
                      <a:pt x="176213" y="24765"/>
                    </a:lnTo>
                    <a:lnTo>
                      <a:pt x="186690" y="41815"/>
                    </a:lnTo>
                    <a:lnTo>
                      <a:pt x="197167" y="66675"/>
                    </a:lnTo>
                    <a:lnTo>
                      <a:pt x="193357" y="80963"/>
                    </a:lnTo>
                    <a:lnTo>
                      <a:pt x="197167" y="87630"/>
                    </a:lnTo>
                    <a:lnTo>
                      <a:pt x="200977" y="95250"/>
                    </a:lnTo>
                    <a:lnTo>
                      <a:pt x="204788" y="120015"/>
                    </a:lnTo>
                    <a:lnTo>
                      <a:pt x="193357" y="122777"/>
                    </a:lnTo>
                    <a:lnTo>
                      <a:pt x="197167" y="140875"/>
                    </a:lnTo>
                    <a:lnTo>
                      <a:pt x="186690" y="147638"/>
                    </a:lnTo>
                    <a:lnTo>
                      <a:pt x="176213" y="143828"/>
                    </a:lnTo>
                    <a:lnTo>
                      <a:pt x="169545" y="155162"/>
                    </a:lnTo>
                    <a:lnTo>
                      <a:pt x="158115" y="151352"/>
                    </a:lnTo>
                    <a:lnTo>
                      <a:pt x="155257" y="126587"/>
                    </a:lnTo>
                    <a:lnTo>
                      <a:pt x="144780" y="122777"/>
                    </a:lnTo>
                    <a:lnTo>
                      <a:pt x="130492" y="120015"/>
                    </a:lnTo>
                    <a:lnTo>
                      <a:pt x="134302" y="105728"/>
                    </a:lnTo>
                    <a:lnTo>
                      <a:pt x="122872" y="91440"/>
                    </a:lnTo>
                    <a:lnTo>
                      <a:pt x="109538" y="77153"/>
                    </a:lnTo>
                    <a:lnTo>
                      <a:pt x="84772" y="80963"/>
                    </a:lnTo>
                    <a:lnTo>
                      <a:pt x="70485" y="91440"/>
                    </a:lnTo>
                    <a:lnTo>
                      <a:pt x="56197" y="105728"/>
                    </a:lnTo>
                    <a:lnTo>
                      <a:pt x="41910" y="87630"/>
                    </a:lnTo>
                    <a:lnTo>
                      <a:pt x="24765" y="70390"/>
                    </a:lnTo>
                    <a:lnTo>
                      <a:pt x="10477" y="66675"/>
                    </a:lnTo>
                    <a:lnTo>
                      <a:pt x="0" y="48578"/>
                    </a:lnTo>
                    <a:lnTo>
                      <a:pt x="14288" y="35243"/>
                    </a:lnTo>
                    <a:lnTo>
                      <a:pt x="35242" y="27527"/>
                    </a:lnTo>
                    <a:lnTo>
                      <a:pt x="39052" y="17050"/>
                    </a:lnTo>
                    <a:lnTo>
                      <a:pt x="45720" y="0"/>
                    </a:lnTo>
                    <a:lnTo>
                      <a:pt x="56197" y="0"/>
                    </a:lnTo>
                    <a:lnTo>
                      <a:pt x="66675" y="6668"/>
                    </a:lnTo>
                    <a:lnTo>
                      <a:pt x="87630" y="6668"/>
                    </a:lnTo>
                    <a:lnTo>
                      <a:pt x="105727" y="1047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42813658-D149-DA9B-A940-E822D92EF92D}"/>
                  </a:ext>
                </a:extLst>
              </p:cNvPr>
              <p:cNvSpPr/>
              <p:nvPr/>
            </p:nvSpPr>
            <p:spPr>
              <a:xfrm>
                <a:off x="5679187" y="4313106"/>
                <a:ext cx="113913" cy="113821"/>
              </a:xfrm>
              <a:custGeom>
                <a:avLst/>
                <a:gdLst>
                  <a:gd name="connsiteX0" fmla="*/ 87630 w 116204"/>
                  <a:gd name="connsiteY0" fmla="*/ 27622 h 116109"/>
                  <a:gd name="connsiteX1" fmla="*/ 87630 w 116204"/>
                  <a:gd name="connsiteY1" fmla="*/ 45625 h 116109"/>
                  <a:gd name="connsiteX2" fmla="*/ 87630 w 116204"/>
                  <a:gd name="connsiteY2" fmla="*/ 58960 h 116109"/>
                  <a:gd name="connsiteX3" fmla="*/ 101917 w 116204"/>
                  <a:gd name="connsiteY3" fmla="*/ 62865 h 116109"/>
                  <a:gd name="connsiteX4" fmla="*/ 112395 w 116204"/>
                  <a:gd name="connsiteY4" fmla="*/ 70485 h 116109"/>
                  <a:gd name="connsiteX5" fmla="*/ 116205 w 116204"/>
                  <a:gd name="connsiteY5" fmla="*/ 80963 h 116109"/>
                  <a:gd name="connsiteX6" fmla="*/ 116205 w 116204"/>
                  <a:gd name="connsiteY6" fmla="*/ 95250 h 116109"/>
                  <a:gd name="connsiteX7" fmla="*/ 108585 w 116204"/>
                  <a:gd name="connsiteY7" fmla="*/ 116110 h 116109"/>
                  <a:gd name="connsiteX8" fmla="*/ 87630 w 116204"/>
                  <a:gd name="connsiteY8" fmla="*/ 108585 h 116109"/>
                  <a:gd name="connsiteX9" fmla="*/ 66675 w 116204"/>
                  <a:gd name="connsiteY9" fmla="*/ 95250 h 116109"/>
                  <a:gd name="connsiteX10" fmla="*/ 52388 w 116204"/>
                  <a:gd name="connsiteY10" fmla="*/ 77153 h 116109"/>
                  <a:gd name="connsiteX11" fmla="*/ 31432 w 116204"/>
                  <a:gd name="connsiteY11" fmla="*/ 62865 h 116109"/>
                  <a:gd name="connsiteX12" fmla="*/ 13335 w 116204"/>
                  <a:gd name="connsiteY12" fmla="*/ 56197 h 116109"/>
                  <a:gd name="connsiteX13" fmla="*/ 0 w 116204"/>
                  <a:gd name="connsiteY13" fmla="*/ 41910 h 116109"/>
                  <a:gd name="connsiteX14" fmla="*/ 27622 w 116204"/>
                  <a:gd name="connsiteY14" fmla="*/ 13335 h 116109"/>
                  <a:gd name="connsiteX15" fmla="*/ 31432 w 116204"/>
                  <a:gd name="connsiteY15" fmla="*/ 0 h 116109"/>
                  <a:gd name="connsiteX16" fmla="*/ 41910 w 116204"/>
                  <a:gd name="connsiteY16" fmla="*/ 0 h 116109"/>
                  <a:gd name="connsiteX17" fmla="*/ 56197 w 116204"/>
                  <a:gd name="connsiteY17" fmla="*/ 6572 h 116109"/>
                  <a:gd name="connsiteX18" fmla="*/ 59055 w 116204"/>
                  <a:gd name="connsiteY18" fmla="*/ 31337 h 116109"/>
                  <a:gd name="connsiteX19" fmla="*/ 70485 w 116204"/>
                  <a:gd name="connsiteY19" fmla="*/ 35147 h 116109"/>
                  <a:gd name="connsiteX20" fmla="*/ 77153 w 116204"/>
                  <a:gd name="connsiteY20" fmla="*/ 23813 h 116109"/>
                  <a:gd name="connsiteX21" fmla="*/ 87630 w 116204"/>
                  <a:gd name="connsiteY21" fmla="*/ 27622 h 116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6204" h="116109">
                    <a:moveTo>
                      <a:pt x="87630" y="27622"/>
                    </a:moveTo>
                    <a:lnTo>
                      <a:pt x="87630" y="45625"/>
                    </a:lnTo>
                    <a:lnTo>
                      <a:pt x="87630" y="58960"/>
                    </a:lnTo>
                    <a:lnTo>
                      <a:pt x="101917" y="62865"/>
                    </a:lnTo>
                    <a:lnTo>
                      <a:pt x="112395" y="70485"/>
                    </a:lnTo>
                    <a:lnTo>
                      <a:pt x="116205" y="80963"/>
                    </a:lnTo>
                    <a:lnTo>
                      <a:pt x="116205" y="95250"/>
                    </a:lnTo>
                    <a:lnTo>
                      <a:pt x="108585" y="116110"/>
                    </a:lnTo>
                    <a:lnTo>
                      <a:pt x="87630" y="108585"/>
                    </a:lnTo>
                    <a:lnTo>
                      <a:pt x="66675" y="95250"/>
                    </a:lnTo>
                    <a:lnTo>
                      <a:pt x="52388" y="77153"/>
                    </a:lnTo>
                    <a:lnTo>
                      <a:pt x="31432" y="62865"/>
                    </a:lnTo>
                    <a:lnTo>
                      <a:pt x="13335" y="56197"/>
                    </a:lnTo>
                    <a:lnTo>
                      <a:pt x="0" y="41910"/>
                    </a:lnTo>
                    <a:lnTo>
                      <a:pt x="27622" y="13335"/>
                    </a:lnTo>
                    <a:lnTo>
                      <a:pt x="31432" y="0"/>
                    </a:lnTo>
                    <a:lnTo>
                      <a:pt x="41910" y="0"/>
                    </a:lnTo>
                    <a:lnTo>
                      <a:pt x="56197" y="6572"/>
                    </a:lnTo>
                    <a:lnTo>
                      <a:pt x="59055" y="31337"/>
                    </a:lnTo>
                    <a:lnTo>
                      <a:pt x="70485" y="35147"/>
                    </a:lnTo>
                    <a:lnTo>
                      <a:pt x="77153" y="23813"/>
                    </a:lnTo>
                    <a:lnTo>
                      <a:pt x="87630" y="2762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027B74DB-F6C9-2EA4-0097-6CFB7C639B4B}"/>
                  </a:ext>
                </a:extLst>
              </p:cNvPr>
              <p:cNvSpPr/>
              <p:nvPr/>
            </p:nvSpPr>
            <p:spPr>
              <a:xfrm>
                <a:off x="5679187" y="4313106"/>
                <a:ext cx="113913" cy="113821"/>
              </a:xfrm>
              <a:custGeom>
                <a:avLst/>
                <a:gdLst>
                  <a:gd name="connsiteX0" fmla="*/ 87630 w 116204"/>
                  <a:gd name="connsiteY0" fmla="*/ 27622 h 116109"/>
                  <a:gd name="connsiteX1" fmla="*/ 87630 w 116204"/>
                  <a:gd name="connsiteY1" fmla="*/ 45625 h 116109"/>
                  <a:gd name="connsiteX2" fmla="*/ 87630 w 116204"/>
                  <a:gd name="connsiteY2" fmla="*/ 58960 h 116109"/>
                  <a:gd name="connsiteX3" fmla="*/ 101917 w 116204"/>
                  <a:gd name="connsiteY3" fmla="*/ 62865 h 116109"/>
                  <a:gd name="connsiteX4" fmla="*/ 112395 w 116204"/>
                  <a:gd name="connsiteY4" fmla="*/ 70485 h 116109"/>
                  <a:gd name="connsiteX5" fmla="*/ 116205 w 116204"/>
                  <a:gd name="connsiteY5" fmla="*/ 80963 h 116109"/>
                  <a:gd name="connsiteX6" fmla="*/ 116205 w 116204"/>
                  <a:gd name="connsiteY6" fmla="*/ 95250 h 116109"/>
                  <a:gd name="connsiteX7" fmla="*/ 108585 w 116204"/>
                  <a:gd name="connsiteY7" fmla="*/ 116110 h 116109"/>
                  <a:gd name="connsiteX8" fmla="*/ 87630 w 116204"/>
                  <a:gd name="connsiteY8" fmla="*/ 108585 h 116109"/>
                  <a:gd name="connsiteX9" fmla="*/ 66675 w 116204"/>
                  <a:gd name="connsiteY9" fmla="*/ 95250 h 116109"/>
                  <a:gd name="connsiteX10" fmla="*/ 52388 w 116204"/>
                  <a:gd name="connsiteY10" fmla="*/ 77153 h 116109"/>
                  <a:gd name="connsiteX11" fmla="*/ 31432 w 116204"/>
                  <a:gd name="connsiteY11" fmla="*/ 62865 h 116109"/>
                  <a:gd name="connsiteX12" fmla="*/ 13335 w 116204"/>
                  <a:gd name="connsiteY12" fmla="*/ 56197 h 116109"/>
                  <a:gd name="connsiteX13" fmla="*/ 0 w 116204"/>
                  <a:gd name="connsiteY13" fmla="*/ 41910 h 116109"/>
                  <a:gd name="connsiteX14" fmla="*/ 27622 w 116204"/>
                  <a:gd name="connsiteY14" fmla="*/ 13335 h 116109"/>
                  <a:gd name="connsiteX15" fmla="*/ 31432 w 116204"/>
                  <a:gd name="connsiteY15" fmla="*/ 0 h 116109"/>
                  <a:gd name="connsiteX16" fmla="*/ 41910 w 116204"/>
                  <a:gd name="connsiteY16" fmla="*/ 0 h 116109"/>
                  <a:gd name="connsiteX17" fmla="*/ 56197 w 116204"/>
                  <a:gd name="connsiteY17" fmla="*/ 6572 h 116109"/>
                  <a:gd name="connsiteX18" fmla="*/ 59055 w 116204"/>
                  <a:gd name="connsiteY18" fmla="*/ 31337 h 116109"/>
                  <a:gd name="connsiteX19" fmla="*/ 70485 w 116204"/>
                  <a:gd name="connsiteY19" fmla="*/ 35147 h 116109"/>
                  <a:gd name="connsiteX20" fmla="*/ 77153 w 116204"/>
                  <a:gd name="connsiteY20" fmla="*/ 23813 h 116109"/>
                  <a:gd name="connsiteX21" fmla="*/ 87630 w 116204"/>
                  <a:gd name="connsiteY21" fmla="*/ 27622 h 116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6204" h="116109">
                    <a:moveTo>
                      <a:pt x="87630" y="27622"/>
                    </a:moveTo>
                    <a:lnTo>
                      <a:pt x="87630" y="45625"/>
                    </a:lnTo>
                    <a:lnTo>
                      <a:pt x="87630" y="58960"/>
                    </a:lnTo>
                    <a:lnTo>
                      <a:pt x="101917" y="62865"/>
                    </a:lnTo>
                    <a:lnTo>
                      <a:pt x="112395" y="70485"/>
                    </a:lnTo>
                    <a:lnTo>
                      <a:pt x="116205" y="80963"/>
                    </a:lnTo>
                    <a:lnTo>
                      <a:pt x="116205" y="95250"/>
                    </a:lnTo>
                    <a:lnTo>
                      <a:pt x="108585" y="116110"/>
                    </a:lnTo>
                    <a:lnTo>
                      <a:pt x="87630" y="108585"/>
                    </a:lnTo>
                    <a:lnTo>
                      <a:pt x="66675" y="95250"/>
                    </a:lnTo>
                    <a:lnTo>
                      <a:pt x="52388" y="77153"/>
                    </a:lnTo>
                    <a:lnTo>
                      <a:pt x="31432" y="62865"/>
                    </a:lnTo>
                    <a:lnTo>
                      <a:pt x="13335" y="56197"/>
                    </a:lnTo>
                    <a:lnTo>
                      <a:pt x="0" y="41910"/>
                    </a:lnTo>
                    <a:lnTo>
                      <a:pt x="27622" y="13335"/>
                    </a:lnTo>
                    <a:lnTo>
                      <a:pt x="31432" y="0"/>
                    </a:lnTo>
                    <a:lnTo>
                      <a:pt x="41910" y="0"/>
                    </a:lnTo>
                    <a:lnTo>
                      <a:pt x="56197" y="6572"/>
                    </a:lnTo>
                    <a:lnTo>
                      <a:pt x="59055" y="31337"/>
                    </a:lnTo>
                    <a:lnTo>
                      <a:pt x="70485" y="35147"/>
                    </a:lnTo>
                    <a:lnTo>
                      <a:pt x="77153" y="23813"/>
                    </a:lnTo>
                    <a:lnTo>
                      <a:pt x="87630" y="2762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39315AC8-8072-A557-4591-DFD8F1A13BCC}"/>
                  </a:ext>
                </a:extLst>
              </p:cNvPr>
              <p:cNvSpPr/>
              <p:nvPr/>
            </p:nvSpPr>
            <p:spPr>
              <a:xfrm>
                <a:off x="6364540" y="3894700"/>
                <a:ext cx="289455" cy="445483"/>
              </a:xfrm>
              <a:custGeom>
                <a:avLst/>
                <a:gdLst>
                  <a:gd name="connsiteX0" fmla="*/ 291465 w 295275"/>
                  <a:gd name="connsiteY0" fmla="*/ 225838 h 454437"/>
                  <a:gd name="connsiteX1" fmla="*/ 267652 w 295275"/>
                  <a:gd name="connsiteY1" fmla="*/ 228600 h 454437"/>
                  <a:gd name="connsiteX2" fmla="*/ 260032 w 295275"/>
                  <a:gd name="connsiteY2" fmla="*/ 249650 h 454437"/>
                  <a:gd name="connsiteX3" fmla="*/ 239077 w 295275"/>
                  <a:gd name="connsiteY3" fmla="*/ 299180 h 454437"/>
                  <a:gd name="connsiteX4" fmla="*/ 253365 w 295275"/>
                  <a:gd name="connsiteY4" fmla="*/ 313468 h 454437"/>
                  <a:gd name="connsiteX5" fmla="*/ 260032 w 295275"/>
                  <a:gd name="connsiteY5" fmla="*/ 359188 h 454437"/>
                  <a:gd name="connsiteX6" fmla="*/ 239077 w 295275"/>
                  <a:gd name="connsiteY6" fmla="*/ 362903 h 454437"/>
                  <a:gd name="connsiteX7" fmla="*/ 197168 w 295275"/>
                  <a:gd name="connsiteY7" fmla="*/ 404813 h 454437"/>
                  <a:gd name="connsiteX8" fmla="*/ 154305 w 295275"/>
                  <a:gd name="connsiteY8" fmla="*/ 412528 h 454437"/>
                  <a:gd name="connsiteX9" fmla="*/ 151448 w 295275"/>
                  <a:gd name="connsiteY9" fmla="*/ 433388 h 454437"/>
                  <a:gd name="connsiteX10" fmla="*/ 69532 w 295275"/>
                  <a:gd name="connsiteY10" fmla="*/ 454438 h 454437"/>
                  <a:gd name="connsiteX11" fmla="*/ 52388 w 295275"/>
                  <a:gd name="connsiteY11" fmla="*/ 433388 h 454437"/>
                  <a:gd name="connsiteX12" fmla="*/ 17145 w 295275"/>
                  <a:gd name="connsiteY12" fmla="*/ 398240 h 454437"/>
                  <a:gd name="connsiteX13" fmla="*/ 20955 w 295275"/>
                  <a:gd name="connsiteY13" fmla="*/ 380143 h 454437"/>
                  <a:gd name="connsiteX14" fmla="*/ 56198 w 295275"/>
                  <a:gd name="connsiteY14" fmla="*/ 380143 h 454437"/>
                  <a:gd name="connsiteX15" fmla="*/ 45720 w 295275"/>
                  <a:gd name="connsiteY15" fmla="*/ 362903 h 454437"/>
                  <a:gd name="connsiteX16" fmla="*/ 41910 w 295275"/>
                  <a:gd name="connsiteY16" fmla="*/ 320040 h 454437"/>
                  <a:gd name="connsiteX17" fmla="*/ 27623 w 295275"/>
                  <a:gd name="connsiteY17" fmla="*/ 299180 h 454437"/>
                  <a:gd name="connsiteX18" fmla="*/ 2857 w 295275"/>
                  <a:gd name="connsiteY18" fmla="*/ 274415 h 454437"/>
                  <a:gd name="connsiteX19" fmla="*/ 0 w 295275"/>
                  <a:gd name="connsiteY19" fmla="*/ 253365 h 454437"/>
                  <a:gd name="connsiteX20" fmla="*/ 56198 w 295275"/>
                  <a:gd name="connsiteY20" fmla="*/ 186690 h 454437"/>
                  <a:gd name="connsiteX21" fmla="*/ 62865 w 295275"/>
                  <a:gd name="connsiteY21" fmla="*/ 116300 h 454437"/>
                  <a:gd name="connsiteX22" fmla="*/ 69532 w 295275"/>
                  <a:gd name="connsiteY22" fmla="*/ 87725 h 454437"/>
                  <a:gd name="connsiteX23" fmla="*/ 48577 w 295275"/>
                  <a:gd name="connsiteY23" fmla="*/ 10478 h 454437"/>
                  <a:gd name="connsiteX24" fmla="*/ 59055 w 295275"/>
                  <a:gd name="connsiteY24" fmla="*/ 0 h 454437"/>
                  <a:gd name="connsiteX25" fmla="*/ 295275 w 295275"/>
                  <a:gd name="connsiteY25" fmla="*/ 95250 h 454437"/>
                  <a:gd name="connsiteX26" fmla="*/ 291465 w 295275"/>
                  <a:gd name="connsiteY26" fmla="*/ 225838 h 4544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95275" h="454437">
                    <a:moveTo>
                      <a:pt x="291465" y="225838"/>
                    </a:moveTo>
                    <a:lnTo>
                      <a:pt x="267652" y="228600"/>
                    </a:lnTo>
                    <a:lnTo>
                      <a:pt x="260032" y="249650"/>
                    </a:lnTo>
                    <a:lnTo>
                      <a:pt x="239077" y="299180"/>
                    </a:lnTo>
                    <a:lnTo>
                      <a:pt x="253365" y="313468"/>
                    </a:lnTo>
                    <a:lnTo>
                      <a:pt x="260032" y="359188"/>
                    </a:lnTo>
                    <a:lnTo>
                      <a:pt x="239077" y="362903"/>
                    </a:lnTo>
                    <a:lnTo>
                      <a:pt x="197168" y="404813"/>
                    </a:lnTo>
                    <a:lnTo>
                      <a:pt x="154305" y="412528"/>
                    </a:lnTo>
                    <a:lnTo>
                      <a:pt x="151448" y="433388"/>
                    </a:lnTo>
                    <a:lnTo>
                      <a:pt x="69532" y="454438"/>
                    </a:lnTo>
                    <a:lnTo>
                      <a:pt x="52388" y="433388"/>
                    </a:lnTo>
                    <a:lnTo>
                      <a:pt x="17145" y="398240"/>
                    </a:lnTo>
                    <a:lnTo>
                      <a:pt x="20955" y="380143"/>
                    </a:lnTo>
                    <a:lnTo>
                      <a:pt x="56198" y="380143"/>
                    </a:lnTo>
                    <a:lnTo>
                      <a:pt x="45720" y="362903"/>
                    </a:lnTo>
                    <a:lnTo>
                      <a:pt x="41910" y="320040"/>
                    </a:lnTo>
                    <a:lnTo>
                      <a:pt x="27623" y="299180"/>
                    </a:lnTo>
                    <a:lnTo>
                      <a:pt x="2857" y="274415"/>
                    </a:lnTo>
                    <a:lnTo>
                      <a:pt x="0" y="253365"/>
                    </a:lnTo>
                    <a:lnTo>
                      <a:pt x="56198" y="186690"/>
                    </a:lnTo>
                    <a:lnTo>
                      <a:pt x="62865" y="116300"/>
                    </a:lnTo>
                    <a:lnTo>
                      <a:pt x="69532" y="87725"/>
                    </a:lnTo>
                    <a:lnTo>
                      <a:pt x="48577" y="10478"/>
                    </a:lnTo>
                    <a:lnTo>
                      <a:pt x="59055" y="0"/>
                    </a:lnTo>
                    <a:lnTo>
                      <a:pt x="295275" y="95250"/>
                    </a:lnTo>
                    <a:lnTo>
                      <a:pt x="291465" y="2258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2DAF9AA7-0BDD-DD53-E234-396B588B0E03}"/>
                  </a:ext>
                </a:extLst>
              </p:cNvPr>
              <p:cNvSpPr/>
              <p:nvPr/>
            </p:nvSpPr>
            <p:spPr>
              <a:xfrm>
                <a:off x="5999454" y="3887325"/>
                <a:ext cx="433247" cy="335116"/>
              </a:xfrm>
              <a:custGeom>
                <a:avLst/>
                <a:gdLst>
                  <a:gd name="connsiteX0" fmla="*/ 7620 w 441959"/>
                  <a:gd name="connsiteY0" fmla="*/ 250412 h 341852"/>
                  <a:gd name="connsiteX1" fmla="*/ 32385 w 441959"/>
                  <a:gd name="connsiteY1" fmla="*/ 250412 h 341852"/>
                  <a:gd name="connsiteX2" fmla="*/ 92393 w 441959"/>
                  <a:gd name="connsiteY2" fmla="*/ 240030 h 341852"/>
                  <a:gd name="connsiteX3" fmla="*/ 113347 w 441959"/>
                  <a:gd name="connsiteY3" fmla="*/ 208502 h 341852"/>
                  <a:gd name="connsiteX4" fmla="*/ 116205 w 441959"/>
                  <a:gd name="connsiteY4" fmla="*/ 134303 h 341852"/>
                  <a:gd name="connsiteX5" fmla="*/ 151447 w 441959"/>
                  <a:gd name="connsiteY5" fmla="*/ 126587 h 341852"/>
                  <a:gd name="connsiteX6" fmla="*/ 219075 w 441959"/>
                  <a:gd name="connsiteY6" fmla="*/ 70390 h 341852"/>
                  <a:gd name="connsiteX7" fmla="*/ 337185 w 441959"/>
                  <a:gd name="connsiteY7" fmla="*/ 0 h 341852"/>
                  <a:gd name="connsiteX8" fmla="*/ 350520 w 441959"/>
                  <a:gd name="connsiteY8" fmla="*/ 3715 h 341852"/>
                  <a:gd name="connsiteX9" fmla="*/ 364808 w 441959"/>
                  <a:gd name="connsiteY9" fmla="*/ 7525 h 341852"/>
                  <a:gd name="connsiteX10" fmla="*/ 382905 w 441959"/>
                  <a:gd name="connsiteY10" fmla="*/ 14288 h 341852"/>
                  <a:gd name="connsiteX11" fmla="*/ 400050 w 441959"/>
                  <a:gd name="connsiteY11" fmla="*/ 28575 h 341852"/>
                  <a:gd name="connsiteX12" fmla="*/ 421005 w 441959"/>
                  <a:gd name="connsiteY12" fmla="*/ 18002 h 341852"/>
                  <a:gd name="connsiteX13" fmla="*/ 441960 w 441959"/>
                  <a:gd name="connsiteY13" fmla="*/ 95250 h 341852"/>
                  <a:gd name="connsiteX14" fmla="*/ 435292 w 441959"/>
                  <a:gd name="connsiteY14" fmla="*/ 123825 h 341852"/>
                  <a:gd name="connsiteX15" fmla="*/ 428625 w 441959"/>
                  <a:gd name="connsiteY15" fmla="*/ 194215 h 341852"/>
                  <a:gd name="connsiteX16" fmla="*/ 372428 w 441959"/>
                  <a:gd name="connsiteY16" fmla="*/ 260890 h 341852"/>
                  <a:gd name="connsiteX17" fmla="*/ 375285 w 441959"/>
                  <a:gd name="connsiteY17" fmla="*/ 281940 h 341852"/>
                  <a:gd name="connsiteX18" fmla="*/ 337185 w 441959"/>
                  <a:gd name="connsiteY18" fmla="*/ 306705 h 341852"/>
                  <a:gd name="connsiteX19" fmla="*/ 275272 w 441959"/>
                  <a:gd name="connsiteY19" fmla="*/ 300038 h 341852"/>
                  <a:gd name="connsiteX20" fmla="*/ 264795 w 441959"/>
                  <a:gd name="connsiteY20" fmla="*/ 314325 h 341852"/>
                  <a:gd name="connsiteX21" fmla="*/ 215265 w 441959"/>
                  <a:gd name="connsiteY21" fmla="*/ 296228 h 341852"/>
                  <a:gd name="connsiteX22" fmla="*/ 197167 w 441959"/>
                  <a:gd name="connsiteY22" fmla="*/ 306705 h 341852"/>
                  <a:gd name="connsiteX23" fmla="*/ 169545 w 441959"/>
                  <a:gd name="connsiteY23" fmla="*/ 285750 h 341852"/>
                  <a:gd name="connsiteX24" fmla="*/ 116205 w 441959"/>
                  <a:gd name="connsiteY24" fmla="*/ 285750 h 341852"/>
                  <a:gd name="connsiteX25" fmla="*/ 95250 w 441959"/>
                  <a:gd name="connsiteY25" fmla="*/ 341852 h 341852"/>
                  <a:gd name="connsiteX26" fmla="*/ 78105 w 441959"/>
                  <a:gd name="connsiteY26" fmla="*/ 324803 h 341852"/>
                  <a:gd name="connsiteX27" fmla="*/ 53340 w 441959"/>
                  <a:gd name="connsiteY27" fmla="*/ 327565 h 341852"/>
                  <a:gd name="connsiteX28" fmla="*/ 28575 w 441959"/>
                  <a:gd name="connsiteY28" fmla="*/ 314325 h 341852"/>
                  <a:gd name="connsiteX29" fmla="*/ 21908 w 441959"/>
                  <a:gd name="connsiteY29" fmla="*/ 310515 h 341852"/>
                  <a:gd name="connsiteX30" fmla="*/ 24765 w 441959"/>
                  <a:gd name="connsiteY30" fmla="*/ 300038 h 341852"/>
                  <a:gd name="connsiteX31" fmla="*/ 7620 w 441959"/>
                  <a:gd name="connsiteY31" fmla="*/ 278987 h 341852"/>
                  <a:gd name="connsiteX32" fmla="*/ 0 w 441959"/>
                  <a:gd name="connsiteY32" fmla="*/ 264700 h 341852"/>
                  <a:gd name="connsiteX33" fmla="*/ 7620 w 441959"/>
                  <a:gd name="connsiteY33" fmla="*/ 250412 h 341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41959" h="341852">
                    <a:moveTo>
                      <a:pt x="7620" y="250412"/>
                    </a:moveTo>
                    <a:lnTo>
                      <a:pt x="32385" y="250412"/>
                    </a:lnTo>
                    <a:lnTo>
                      <a:pt x="92393" y="240030"/>
                    </a:lnTo>
                    <a:lnTo>
                      <a:pt x="113347" y="208502"/>
                    </a:lnTo>
                    <a:lnTo>
                      <a:pt x="116205" y="134303"/>
                    </a:lnTo>
                    <a:lnTo>
                      <a:pt x="151447" y="126587"/>
                    </a:lnTo>
                    <a:lnTo>
                      <a:pt x="219075" y="70390"/>
                    </a:lnTo>
                    <a:lnTo>
                      <a:pt x="337185" y="0"/>
                    </a:lnTo>
                    <a:lnTo>
                      <a:pt x="350520" y="3715"/>
                    </a:lnTo>
                    <a:lnTo>
                      <a:pt x="364808" y="7525"/>
                    </a:lnTo>
                    <a:lnTo>
                      <a:pt x="382905" y="14288"/>
                    </a:lnTo>
                    <a:lnTo>
                      <a:pt x="400050" y="28575"/>
                    </a:lnTo>
                    <a:lnTo>
                      <a:pt x="421005" y="18002"/>
                    </a:lnTo>
                    <a:lnTo>
                      <a:pt x="441960" y="95250"/>
                    </a:lnTo>
                    <a:lnTo>
                      <a:pt x="435292" y="123825"/>
                    </a:lnTo>
                    <a:lnTo>
                      <a:pt x="428625" y="194215"/>
                    </a:lnTo>
                    <a:lnTo>
                      <a:pt x="372428" y="260890"/>
                    </a:lnTo>
                    <a:lnTo>
                      <a:pt x="375285" y="281940"/>
                    </a:lnTo>
                    <a:lnTo>
                      <a:pt x="337185" y="306705"/>
                    </a:lnTo>
                    <a:lnTo>
                      <a:pt x="275272" y="300038"/>
                    </a:lnTo>
                    <a:lnTo>
                      <a:pt x="264795" y="314325"/>
                    </a:lnTo>
                    <a:lnTo>
                      <a:pt x="215265" y="296228"/>
                    </a:lnTo>
                    <a:lnTo>
                      <a:pt x="197167" y="306705"/>
                    </a:lnTo>
                    <a:lnTo>
                      <a:pt x="169545" y="285750"/>
                    </a:lnTo>
                    <a:lnTo>
                      <a:pt x="116205" y="285750"/>
                    </a:lnTo>
                    <a:lnTo>
                      <a:pt x="95250" y="341852"/>
                    </a:lnTo>
                    <a:lnTo>
                      <a:pt x="78105" y="324803"/>
                    </a:lnTo>
                    <a:lnTo>
                      <a:pt x="53340" y="327565"/>
                    </a:lnTo>
                    <a:lnTo>
                      <a:pt x="28575" y="314325"/>
                    </a:lnTo>
                    <a:lnTo>
                      <a:pt x="21908" y="310515"/>
                    </a:lnTo>
                    <a:lnTo>
                      <a:pt x="24765" y="300038"/>
                    </a:lnTo>
                    <a:lnTo>
                      <a:pt x="7620" y="278987"/>
                    </a:lnTo>
                    <a:lnTo>
                      <a:pt x="0" y="264700"/>
                    </a:lnTo>
                    <a:lnTo>
                      <a:pt x="7620" y="25041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623C242B-89D4-E378-F61C-8CEB8D3DFC5C}"/>
                  </a:ext>
                </a:extLst>
              </p:cNvPr>
              <p:cNvSpPr/>
              <p:nvPr/>
            </p:nvSpPr>
            <p:spPr>
              <a:xfrm>
                <a:off x="6398154" y="4246811"/>
                <a:ext cx="349213" cy="221294"/>
              </a:xfrm>
              <a:custGeom>
                <a:avLst/>
                <a:gdLst>
                  <a:gd name="connsiteX0" fmla="*/ 35243 w 356235"/>
                  <a:gd name="connsiteY0" fmla="*/ 95250 h 225742"/>
                  <a:gd name="connsiteX1" fmla="*/ 117158 w 356235"/>
                  <a:gd name="connsiteY1" fmla="*/ 74200 h 225742"/>
                  <a:gd name="connsiteX2" fmla="*/ 120015 w 356235"/>
                  <a:gd name="connsiteY2" fmla="*/ 53340 h 225742"/>
                  <a:gd name="connsiteX3" fmla="*/ 162878 w 356235"/>
                  <a:gd name="connsiteY3" fmla="*/ 45625 h 225742"/>
                  <a:gd name="connsiteX4" fmla="*/ 204788 w 356235"/>
                  <a:gd name="connsiteY4" fmla="*/ 3715 h 225742"/>
                  <a:gd name="connsiteX5" fmla="*/ 225743 w 356235"/>
                  <a:gd name="connsiteY5" fmla="*/ 0 h 225742"/>
                  <a:gd name="connsiteX6" fmla="*/ 246698 w 356235"/>
                  <a:gd name="connsiteY6" fmla="*/ 14288 h 225742"/>
                  <a:gd name="connsiteX7" fmla="*/ 250508 w 356235"/>
                  <a:gd name="connsiteY7" fmla="*/ 39053 h 225742"/>
                  <a:gd name="connsiteX8" fmla="*/ 250508 w 356235"/>
                  <a:gd name="connsiteY8" fmla="*/ 59912 h 225742"/>
                  <a:gd name="connsiteX9" fmla="*/ 317183 w 356235"/>
                  <a:gd name="connsiteY9" fmla="*/ 105728 h 225742"/>
                  <a:gd name="connsiteX10" fmla="*/ 356235 w 356235"/>
                  <a:gd name="connsiteY10" fmla="*/ 162878 h 225742"/>
                  <a:gd name="connsiteX11" fmla="*/ 302895 w 356235"/>
                  <a:gd name="connsiteY11" fmla="*/ 159068 h 225742"/>
                  <a:gd name="connsiteX12" fmla="*/ 243840 w 356235"/>
                  <a:gd name="connsiteY12" fmla="*/ 176213 h 225742"/>
                  <a:gd name="connsiteX13" fmla="*/ 221933 w 356235"/>
                  <a:gd name="connsiteY13" fmla="*/ 190500 h 225742"/>
                  <a:gd name="connsiteX14" fmla="*/ 183833 w 356235"/>
                  <a:gd name="connsiteY14" fmla="*/ 186690 h 225742"/>
                  <a:gd name="connsiteX15" fmla="*/ 162878 w 356235"/>
                  <a:gd name="connsiteY15" fmla="*/ 179927 h 225742"/>
                  <a:gd name="connsiteX16" fmla="*/ 138113 w 356235"/>
                  <a:gd name="connsiteY16" fmla="*/ 155162 h 225742"/>
                  <a:gd name="connsiteX17" fmla="*/ 113348 w 356235"/>
                  <a:gd name="connsiteY17" fmla="*/ 183737 h 225742"/>
                  <a:gd name="connsiteX18" fmla="*/ 109538 w 356235"/>
                  <a:gd name="connsiteY18" fmla="*/ 208502 h 225742"/>
                  <a:gd name="connsiteX19" fmla="*/ 57150 w 356235"/>
                  <a:gd name="connsiteY19" fmla="*/ 204788 h 225742"/>
                  <a:gd name="connsiteX20" fmla="*/ 42863 w 356235"/>
                  <a:gd name="connsiteY20" fmla="*/ 225743 h 225742"/>
                  <a:gd name="connsiteX21" fmla="*/ 18098 w 356235"/>
                  <a:gd name="connsiteY21" fmla="*/ 198025 h 225742"/>
                  <a:gd name="connsiteX22" fmla="*/ 0 w 356235"/>
                  <a:gd name="connsiteY22" fmla="*/ 151352 h 225742"/>
                  <a:gd name="connsiteX23" fmla="*/ 0 w 356235"/>
                  <a:gd name="connsiteY23" fmla="*/ 123825 h 225742"/>
                  <a:gd name="connsiteX24" fmla="*/ 35243 w 356235"/>
                  <a:gd name="connsiteY24" fmla="*/ 95250 h 2257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56235" h="225742">
                    <a:moveTo>
                      <a:pt x="35243" y="95250"/>
                    </a:moveTo>
                    <a:lnTo>
                      <a:pt x="117158" y="74200"/>
                    </a:lnTo>
                    <a:lnTo>
                      <a:pt x="120015" y="53340"/>
                    </a:lnTo>
                    <a:lnTo>
                      <a:pt x="162878" y="45625"/>
                    </a:lnTo>
                    <a:lnTo>
                      <a:pt x="204788" y="3715"/>
                    </a:lnTo>
                    <a:lnTo>
                      <a:pt x="225743" y="0"/>
                    </a:lnTo>
                    <a:lnTo>
                      <a:pt x="246698" y="14288"/>
                    </a:lnTo>
                    <a:lnTo>
                      <a:pt x="250508" y="39053"/>
                    </a:lnTo>
                    <a:lnTo>
                      <a:pt x="250508" y="59912"/>
                    </a:lnTo>
                    <a:lnTo>
                      <a:pt x="317183" y="105728"/>
                    </a:lnTo>
                    <a:lnTo>
                      <a:pt x="356235" y="162878"/>
                    </a:lnTo>
                    <a:lnTo>
                      <a:pt x="302895" y="159068"/>
                    </a:lnTo>
                    <a:lnTo>
                      <a:pt x="243840" y="176213"/>
                    </a:lnTo>
                    <a:lnTo>
                      <a:pt x="221933" y="190500"/>
                    </a:lnTo>
                    <a:lnTo>
                      <a:pt x="183833" y="186690"/>
                    </a:lnTo>
                    <a:lnTo>
                      <a:pt x="162878" y="179927"/>
                    </a:lnTo>
                    <a:lnTo>
                      <a:pt x="138113" y="155162"/>
                    </a:lnTo>
                    <a:lnTo>
                      <a:pt x="113348" y="183737"/>
                    </a:lnTo>
                    <a:lnTo>
                      <a:pt x="109538" y="208502"/>
                    </a:lnTo>
                    <a:lnTo>
                      <a:pt x="57150" y="204788"/>
                    </a:lnTo>
                    <a:lnTo>
                      <a:pt x="42863" y="225743"/>
                    </a:lnTo>
                    <a:lnTo>
                      <a:pt x="18098" y="198025"/>
                    </a:lnTo>
                    <a:lnTo>
                      <a:pt x="0" y="151352"/>
                    </a:lnTo>
                    <a:lnTo>
                      <a:pt x="0" y="123825"/>
                    </a:lnTo>
                    <a:lnTo>
                      <a:pt x="35243" y="9525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F88D4C8B-2EB9-D084-7B9B-126C9EF099D8}"/>
                  </a:ext>
                </a:extLst>
              </p:cNvPr>
              <p:cNvSpPr/>
              <p:nvPr/>
            </p:nvSpPr>
            <p:spPr>
              <a:xfrm>
                <a:off x="6598905" y="3907867"/>
                <a:ext cx="455657" cy="533067"/>
              </a:xfrm>
              <a:custGeom>
                <a:avLst/>
                <a:gdLst>
                  <a:gd name="connsiteX0" fmla="*/ 331470 w 464820"/>
                  <a:gd name="connsiteY0" fmla="*/ 35147 h 543782"/>
                  <a:gd name="connsiteX1" fmla="*/ 365760 w 464820"/>
                  <a:gd name="connsiteY1" fmla="*/ 0 h 543782"/>
                  <a:gd name="connsiteX2" fmla="*/ 380048 w 464820"/>
                  <a:gd name="connsiteY2" fmla="*/ 0 h 543782"/>
                  <a:gd name="connsiteX3" fmla="*/ 419100 w 464820"/>
                  <a:gd name="connsiteY3" fmla="*/ 32385 h 543782"/>
                  <a:gd name="connsiteX4" fmla="*/ 425768 w 464820"/>
                  <a:gd name="connsiteY4" fmla="*/ 57150 h 543782"/>
                  <a:gd name="connsiteX5" fmla="*/ 422910 w 464820"/>
                  <a:gd name="connsiteY5" fmla="*/ 105632 h 543782"/>
                  <a:gd name="connsiteX6" fmla="*/ 464820 w 464820"/>
                  <a:gd name="connsiteY6" fmla="*/ 152400 h 543782"/>
                  <a:gd name="connsiteX7" fmla="*/ 415290 w 464820"/>
                  <a:gd name="connsiteY7" fmla="*/ 173260 h 543782"/>
                  <a:gd name="connsiteX8" fmla="*/ 404813 w 464820"/>
                  <a:gd name="connsiteY8" fmla="*/ 225647 h 543782"/>
                  <a:gd name="connsiteX9" fmla="*/ 404813 w 464820"/>
                  <a:gd name="connsiteY9" fmla="*/ 250507 h 543782"/>
                  <a:gd name="connsiteX10" fmla="*/ 362903 w 464820"/>
                  <a:gd name="connsiteY10" fmla="*/ 318135 h 543782"/>
                  <a:gd name="connsiteX11" fmla="*/ 362903 w 464820"/>
                  <a:gd name="connsiteY11" fmla="*/ 345757 h 543782"/>
                  <a:gd name="connsiteX12" fmla="*/ 341948 w 464820"/>
                  <a:gd name="connsiteY12" fmla="*/ 349472 h 543782"/>
                  <a:gd name="connsiteX13" fmla="*/ 341948 w 464820"/>
                  <a:gd name="connsiteY13" fmla="*/ 413385 h 543782"/>
                  <a:gd name="connsiteX14" fmla="*/ 306705 w 464820"/>
                  <a:gd name="connsiteY14" fmla="*/ 413385 h 543782"/>
                  <a:gd name="connsiteX15" fmla="*/ 313373 w 464820"/>
                  <a:gd name="connsiteY15" fmla="*/ 437197 h 543782"/>
                  <a:gd name="connsiteX16" fmla="*/ 331470 w 464820"/>
                  <a:gd name="connsiteY16" fmla="*/ 441007 h 543782"/>
                  <a:gd name="connsiteX17" fmla="*/ 373380 w 464820"/>
                  <a:gd name="connsiteY17" fmla="*/ 497110 h 543782"/>
                  <a:gd name="connsiteX18" fmla="*/ 383858 w 464820"/>
                  <a:gd name="connsiteY18" fmla="*/ 497110 h 543782"/>
                  <a:gd name="connsiteX19" fmla="*/ 383858 w 464820"/>
                  <a:gd name="connsiteY19" fmla="*/ 521970 h 543782"/>
                  <a:gd name="connsiteX20" fmla="*/ 348615 w 464820"/>
                  <a:gd name="connsiteY20" fmla="*/ 521970 h 543782"/>
                  <a:gd name="connsiteX21" fmla="*/ 334328 w 464820"/>
                  <a:gd name="connsiteY21" fmla="*/ 536257 h 543782"/>
                  <a:gd name="connsiteX22" fmla="*/ 242888 w 464820"/>
                  <a:gd name="connsiteY22" fmla="*/ 543782 h 543782"/>
                  <a:gd name="connsiteX23" fmla="*/ 214313 w 464820"/>
                  <a:gd name="connsiteY23" fmla="*/ 521970 h 543782"/>
                  <a:gd name="connsiteX24" fmla="*/ 165735 w 464820"/>
                  <a:gd name="connsiteY24" fmla="*/ 525685 h 543782"/>
                  <a:gd name="connsiteX25" fmla="*/ 151448 w 464820"/>
                  <a:gd name="connsiteY25" fmla="*/ 508635 h 543782"/>
                  <a:gd name="connsiteX26" fmla="*/ 112395 w 464820"/>
                  <a:gd name="connsiteY26" fmla="*/ 451485 h 543782"/>
                  <a:gd name="connsiteX27" fmla="*/ 45720 w 464820"/>
                  <a:gd name="connsiteY27" fmla="*/ 405670 h 543782"/>
                  <a:gd name="connsiteX28" fmla="*/ 41910 w 464820"/>
                  <a:gd name="connsiteY28" fmla="*/ 360045 h 543782"/>
                  <a:gd name="connsiteX29" fmla="*/ 20955 w 464820"/>
                  <a:gd name="connsiteY29" fmla="*/ 345757 h 543782"/>
                  <a:gd name="connsiteX30" fmla="*/ 14288 w 464820"/>
                  <a:gd name="connsiteY30" fmla="*/ 300038 h 543782"/>
                  <a:gd name="connsiteX31" fmla="*/ 0 w 464820"/>
                  <a:gd name="connsiteY31" fmla="*/ 285750 h 543782"/>
                  <a:gd name="connsiteX32" fmla="*/ 28575 w 464820"/>
                  <a:gd name="connsiteY32" fmla="*/ 215170 h 543782"/>
                  <a:gd name="connsiteX33" fmla="*/ 52388 w 464820"/>
                  <a:gd name="connsiteY33" fmla="*/ 212407 h 543782"/>
                  <a:gd name="connsiteX34" fmla="*/ 56198 w 464820"/>
                  <a:gd name="connsiteY34" fmla="*/ 81820 h 543782"/>
                  <a:gd name="connsiteX35" fmla="*/ 87630 w 464820"/>
                  <a:gd name="connsiteY35" fmla="*/ 81820 h 543782"/>
                  <a:gd name="connsiteX36" fmla="*/ 87630 w 464820"/>
                  <a:gd name="connsiteY36" fmla="*/ 21907 h 543782"/>
                  <a:gd name="connsiteX37" fmla="*/ 313373 w 464820"/>
                  <a:gd name="connsiteY37" fmla="*/ 24670 h 543782"/>
                  <a:gd name="connsiteX38" fmla="*/ 331470 w 464820"/>
                  <a:gd name="connsiteY38" fmla="*/ 35147 h 543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464820" h="543782">
                    <a:moveTo>
                      <a:pt x="331470" y="35147"/>
                    </a:moveTo>
                    <a:lnTo>
                      <a:pt x="365760" y="0"/>
                    </a:lnTo>
                    <a:lnTo>
                      <a:pt x="380048" y="0"/>
                    </a:lnTo>
                    <a:lnTo>
                      <a:pt x="419100" y="32385"/>
                    </a:lnTo>
                    <a:lnTo>
                      <a:pt x="425768" y="57150"/>
                    </a:lnTo>
                    <a:lnTo>
                      <a:pt x="422910" y="105632"/>
                    </a:lnTo>
                    <a:lnTo>
                      <a:pt x="464820" y="152400"/>
                    </a:lnTo>
                    <a:lnTo>
                      <a:pt x="415290" y="173260"/>
                    </a:lnTo>
                    <a:lnTo>
                      <a:pt x="404813" y="225647"/>
                    </a:lnTo>
                    <a:lnTo>
                      <a:pt x="404813" y="250507"/>
                    </a:lnTo>
                    <a:lnTo>
                      <a:pt x="362903" y="318135"/>
                    </a:lnTo>
                    <a:lnTo>
                      <a:pt x="362903" y="345757"/>
                    </a:lnTo>
                    <a:lnTo>
                      <a:pt x="341948" y="349472"/>
                    </a:lnTo>
                    <a:lnTo>
                      <a:pt x="341948" y="413385"/>
                    </a:lnTo>
                    <a:lnTo>
                      <a:pt x="306705" y="413385"/>
                    </a:lnTo>
                    <a:lnTo>
                      <a:pt x="313373" y="437197"/>
                    </a:lnTo>
                    <a:lnTo>
                      <a:pt x="331470" y="441007"/>
                    </a:lnTo>
                    <a:lnTo>
                      <a:pt x="373380" y="497110"/>
                    </a:lnTo>
                    <a:lnTo>
                      <a:pt x="383858" y="497110"/>
                    </a:lnTo>
                    <a:lnTo>
                      <a:pt x="383858" y="521970"/>
                    </a:lnTo>
                    <a:lnTo>
                      <a:pt x="348615" y="521970"/>
                    </a:lnTo>
                    <a:lnTo>
                      <a:pt x="334328" y="536257"/>
                    </a:lnTo>
                    <a:lnTo>
                      <a:pt x="242888" y="543782"/>
                    </a:lnTo>
                    <a:lnTo>
                      <a:pt x="214313" y="521970"/>
                    </a:lnTo>
                    <a:lnTo>
                      <a:pt x="165735" y="525685"/>
                    </a:lnTo>
                    <a:lnTo>
                      <a:pt x="151448" y="508635"/>
                    </a:lnTo>
                    <a:lnTo>
                      <a:pt x="112395" y="451485"/>
                    </a:lnTo>
                    <a:lnTo>
                      <a:pt x="45720" y="405670"/>
                    </a:lnTo>
                    <a:lnTo>
                      <a:pt x="41910" y="360045"/>
                    </a:lnTo>
                    <a:lnTo>
                      <a:pt x="20955" y="345757"/>
                    </a:lnTo>
                    <a:lnTo>
                      <a:pt x="14288" y="300038"/>
                    </a:lnTo>
                    <a:lnTo>
                      <a:pt x="0" y="285750"/>
                    </a:lnTo>
                    <a:lnTo>
                      <a:pt x="28575" y="215170"/>
                    </a:lnTo>
                    <a:lnTo>
                      <a:pt x="52388" y="212407"/>
                    </a:lnTo>
                    <a:lnTo>
                      <a:pt x="56198" y="81820"/>
                    </a:lnTo>
                    <a:lnTo>
                      <a:pt x="87630" y="81820"/>
                    </a:lnTo>
                    <a:lnTo>
                      <a:pt x="87630" y="21907"/>
                    </a:lnTo>
                    <a:lnTo>
                      <a:pt x="313373" y="24670"/>
                    </a:lnTo>
                    <a:lnTo>
                      <a:pt x="331470" y="3514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904C1C0E-4D73-CC70-8689-4C7F0BCE99DB}"/>
                  </a:ext>
                </a:extLst>
              </p:cNvPr>
              <p:cNvSpPr/>
              <p:nvPr/>
            </p:nvSpPr>
            <p:spPr>
              <a:xfrm>
                <a:off x="6995738" y="4057264"/>
                <a:ext cx="172739" cy="148463"/>
              </a:xfrm>
              <a:custGeom>
                <a:avLst/>
                <a:gdLst>
                  <a:gd name="connsiteX0" fmla="*/ 60008 w 176212"/>
                  <a:gd name="connsiteY0" fmla="*/ 0 h 151447"/>
                  <a:gd name="connsiteX1" fmla="*/ 74295 w 176212"/>
                  <a:gd name="connsiteY1" fmla="*/ 20860 h 151447"/>
                  <a:gd name="connsiteX2" fmla="*/ 84773 w 176212"/>
                  <a:gd name="connsiteY2" fmla="*/ 45720 h 151447"/>
                  <a:gd name="connsiteX3" fmla="*/ 88583 w 176212"/>
                  <a:gd name="connsiteY3" fmla="*/ 77057 h 151447"/>
                  <a:gd name="connsiteX4" fmla="*/ 112395 w 176212"/>
                  <a:gd name="connsiteY4" fmla="*/ 77057 h 151447"/>
                  <a:gd name="connsiteX5" fmla="*/ 176213 w 176212"/>
                  <a:gd name="connsiteY5" fmla="*/ 133350 h 151447"/>
                  <a:gd name="connsiteX6" fmla="*/ 165735 w 176212"/>
                  <a:gd name="connsiteY6" fmla="*/ 151447 h 151447"/>
                  <a:gd name="connsiteX7" fmla="*/ 134303 w 176212"/>
                  <a:gd name="connsiteY7" fmla="*/ 119063 h 151447"/>
                  <a:gd name="connsiteX8" fmla="*/ 101918 w 176212"/>
                  <a:gd name="connsiteY8" fmla="*/ 91345 h 151447"/>
                  <a:gd name="connsiteX9" fmla="*/ 42863 w 176212"/>
                  <a:gd name="connsiteY9" fmla="*/ 87535 h 151447"/>
                  <a:gd name="connsiteX10" fmla="*/ 39053 w 176212"/>
                  <a:gd name="connsiteY10" fmla="*/ 98107 h 151447"/>
                  <a:gd name="connsiteX11" fmla="*/ 0 w 176212"/>
                  <a:gd name="connsiteY11" fmla="*/ 98107 h 151447"/>
                  <a:gd name="connsiteX12" fmla="*/ 0 w 176212"/>
                  <a:gd name="connsiteY12" fmla="*/ 73247 h 151447"/>
                  <a:gd name="connsiteX13" fmla="*/ 7620 w 176212"/>
                  <a:gd name="connsiteY13" fmla="*/ 48482 h 151447"/>
                  <a:gd name="connsiteX14" fmla="*/ 10478 w 176212"/>
                  <a:gd name="connsiteY14" fmla="*/ 20860 h 151447"/>
                  <a:gd name="connsiteX15" fmla="*/ 60008 w 176212"/>
                  <a:gd name="connsiteY15" fmla="*/ 0 h 151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212" h="151447">
                    <a:moveTo>
                      <a:pt x="60008" y="0"/>
                    </a:moveTo>
                    <a:lnTo>
                      <a:pt x="74295" y="20860"/>
                    </a:lnTo>
                    <a:lnTo>
                      <a:pt x="84773" y="45720"/>
                    </a:lnTo>
                    <a:lnTo>
                      <a:pt x="88583" y="77057"/>
                    </a:lnTo>
                    <a:lnTo>
                      <a:pt x="112395" y="77057"/>
                    </a:lnTo>
                    <a:lnTo>
                      <a:pt x="176213" y="133350"/>
                    </a:lnTo>
                    <a:lnTo>
                      <a:pt x="165735" y="151447"/>
                    </a:lnTo>
                    <a:lnTo>
                      <a:pt x="134303" y="119063"/>
                    </a:lnTo>
                    <a:lnTo>
                      <a:pt x="101918" y="91345"/>
                    </a:lnTo>
                    <a:lnTo>
                      <a:pt x="42863" y="87535"/>
                    </a:lnTo>
                    <a:lnTo>
                      <a:pt x="39053" y="98107"/>
                    </a:lnTo>
                    <a:lnTo>
                      <a:pt x="0" y="98107"/>
                    </a:lnTo>
                    <a:lnTo>
                      <a:pt x="0" y="73247"/>
                    </a:lnTo>
                    <a:lnTo>
                      <a:pt x="7620" y="48482"/>
                    </a:lnTo>
                    <a:lnTo>
                      <a:pt x="10478" y="20860"/>
                    </a:lnTo>
                    <a:lnTo>
                      <a:pt x="6000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955BCCB2-945C-518E-13CF-E0500064B83B}"/>
                  </a:ext>
                </a:extLst>
              </p:cNvPr>
              <p:cNvSpPr/>
              <p:nvPr/>
            </p:nvSpPr>
            <p:spPr>
              <a:xfrm>
                <a:off x="6995738" y="4057264"/>
                <a:ext cx="172739" cy="148463"/>
              </a:xfrm>
              <a:custGeom>
                <a:avLst/>
                <a:gdLst>
                  <a:gd name="connsiteX0" fmla="*/ 60008 w 176212"/>
                  <a:gd name="connsiteY0" fmla="*/ 0 h 151447"/>
                  <a:gd name="connsiteX1" fmla="*/ 74295 w 176212"/>
                  <a:gd name="connsiteY1" fmla="*/ 20860 h 151447"/>
                  <a:gd name="connsiteX2" fmla="*/ 84773 w 176212"/>
                  <a:gd name="connsiteY2" fmla="*/ 45720 h 151447"/>
                  <a:gd name="connsiteX3" fmla="*/ 88583 w 176212"/>
                  <a:gd name="connsiteY3" fmla="*/ 77057 h 151447"/>
                  <a:gd name="connsiteX4" fmla="*/ 112395 w 176212"/>
                  <a:gd name="connsiteY4" fmla="*/ 77057 h 151447"/>
                  <a:gd name="connsiteX5" fmla="*/ 176213 w 176212"/>
                  <a:gd name="connsiteY5" fmla="*/ 133350 h 151447"/>
                  <a:gd name="connsiteX6" fmla="*/ 165735 w 176212"/>
                  <a:gd name="connsiteY6" fmla="*/ 151447 h 151447"/>
                  <a:gd name="connsiteX7" fmla="*/ 134303 w 176212"/>
                  <a:gd name="connsiteY7" fmla="*/ 119063 h 151447"/>
                  <a:gd name="connsiteX8" fmla="*/ 101918 w 176212"/>
                  <a:gd name="connsiteY8" fmla="*/ 91345 h 151447"/>
                  <a:gd name="connsiteX9" fmla="*/ 42863 w 176212"/>
                  <a:gd name="connsiteY9" fmla="*/ 87535 h 151447"/>
                  <a:gd name="connsiteX10" fmla="*/ 39053 w 176212"/>
                  <a:gd name="connsiteY10" fmla="*/ 98107 h 151447"/>
                  <a:gd name="connsiteX11" fmla="*/ 0 w 176212"/>
                  <a:gd name="connsiteY11" fmla="*/ 98107 h 151447"/>
                  <a:gd name="connsiteX12" fmla="*/ 0 w 176212"/>
                  <a:gd name="connsiteY12" fmla="*/ 73247 h 151447"/>
                  <a:gd name="connsiteX13" fmla="*/ 7620 w 176212"/>
                  <a:gd name="connsiteY13" fmla="*/ 48482 h 151447"/>
                  <a:gd name="connsiteX14" fmla="*/ 10478 w 176212"/>
                  <a:gd name="connsiteY14" fmla="*/ 20860 h 151447"/>
                  <a:gd name="connsiteX15" fmla="*/ 60008 w 176212"/>
                  <a:gd name="connsiteY15" fmla="*/ 0 h 151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76212" h="151447">
                    <a:moveTo>
                      <a:pt x="60008" y="0"/>
                    </a:moveTo>
                    <a:lnTo>
                      <a:pt x="74295" y="20860"/>
                    </a:lnTo>
                    <a:lnTo>
                      <a:pt x="84773" y="45720"/>
                    </a:lnTo>
                    <a:lnTo>
                      <a:pt x="88583" y="77057"/>
                    </a:lnTo>
                    <a:lnTo>
                      <a:pt x="112395" y="77057"/>
                    </a:lnTo>
                    <a:lnTo>
                      <a:pt x="176213" y="133350"/>
                    </a:lnTo>
                    <a:lnTo>
                      <a:pt x="165735" y="151447"/>
                    </a:lnTo>
                    <a:lnTo>
                      <a:pt x="134303" y="119063"/>
                    </a:lnTo>
                    <a:lnTo>
                      <a:pt x="101918" y="91345"/>
                    </a:lnTo>
                    <a:lnTo>
                      <a:pt x="42863" y="87535"/>
                    </a:lnTo>
                    <a:lnTo>
                      <a:pt x="39053" y="98107"/>
                    </a:lnTo>
                    <a:lnTo>
                      <a:pt x="0" y="98107"/>
                    </a:lnTo>
                    <a:lnTo>
                      <a:pt x="0" y="73247"/>
                    </a:lnTo>
                    <a:lnTo>
                      <a:pt x="7620" y="48482"/>
                    </a:lnTo>
                    <a:lnTo>
                      <a:pt x="10478" y="20860"/>
                    </a:lnTo>
                    <a:lnTo>
                      <a:pt x="6000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4FE637E1-D272-BC6A-F552-F93EE6CA79F1}"/>
                  </a:ext>
                </a:extLst>
              </p:cNvPr>
              <p:cNvSpPr/>
              <p:nvPr/>
            </p:nvSpPr>
            <p:spPr>
              <a:xfrm>
                <a:off x="7144200" y="4187986"/>
                <a:ext cx="38282" cy="58825"/>
              </a:xfrm>
              <a:custGeom>
                <a:avLst/>
                <a:gdLst>
                  <a:gd name="connsiteX0" fmla="*/ 39052 w 39052"/>
                  <a:gd name="connsiteY0" fmla="*/ 28575 h 60007"/>
                  <a:gd name="connsiteX1" fmla="*/ 24765 w 39052"/>
                  <a:gd name="connsiteY1" fmla="*/ 38957 h 60007"/>
                  <a:gd name="connsiteX2" fmla="*/ 28575 w 39052"/>
                  <a:gd name="connsiteY2" fmla="*/ 60007 h 60007"/>
                  <a:gd name="connsiteX3" fmla="*/ 0 w 39052"/>
                  <a:gd name="connsiteY3" fmla="*/ 56197 h 60007"/>
                  <a:gd name="connsiteX4" fmla="*/ 0 w 39052"/>
                  <a:gd name="connsiteY4" fmla="*/ 35147 h 60007"/>
                  <a:gd name="connsiteX5" fmla="*/ 14288 w 39052"/>
                  <a:gd name="connsiteY5" fmla="*/ 18097 h 60007"/>
                  <a:gd name="connsiteX6" fmla="*/ 24765 w 39052"/>
                  <a:gd name="connsiteY6" fmla="*/ 0 h 60007"/>
                  <a:gd name="connsiteX7" fmla="*/ 39052 w 39052"/>
                  <a:gd name="connsiteY7" fmla="*/ 28575 h 60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052" h="60007">
                    <a:moveTo>
                      <a:pt x="39052" y="28575"/>
                    </a:moveTo>
                    <a:lnTo>
                      <a:pt x="24765" y="38957"/>
                    </a:lnTo>
                    <a:lnTo>
                      <a:pt x="28575" y="60007"/>
                    </a:lnTo>
                    <a:lnTo>
                      <a:pt x="0" y="56197"/>
                    </a:lnTo>
                    <a:lnTo>
                      <a:pt x="0" y="35147"/>
                    </a:lnTo>
                    <a:lnTo>
                      <a:pt x="14288" y="18097"/>
                    </a:lnTo>
                    <a:lnTo>
                      <a:pt x="24765" y="0"/>
                    </a:lnTo>
                    <a:lnTo>
                      <a:pt x="39052" y="2857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3604D25E-E5A5-2561-55C3-6594134ED255}"/>
                  </a:ext>
                </a:extLst>
              </p:cNvPr>
              <p:cNvSpPr/>
              <p:nvPr/>
            </p:nvSpPr>
            <p:spPr>
              <a:xfrm>
                <a:off x="7144200" y="4187986"/>
                <a:ext cx="38282" cy="58825"/>
              </a:xfrm>
              <a:custGeom>
                <a:avLst/>
                <a:gdLst>
                  <a:gd name="connsiteX0" fmla="*/ 39052 w 39052"/>
                  <a:gd name="connsiteY0" fmla="*/ 28575 h 60007"/>
                  <a:gd name="connsiteX1" fmla="*/ 24765 w 39052"/>
                  <a:gd name="connsiteY1" fmla="*/ 38957 h 60007"/>
                  <a:gd name="connsiteX2" fmla="*/ 28575 w 39052"/>
                  <a:gd name="connsiteY2" fmla="*/ 60007 h 60007"/>
                  <a:gd name="connsiteX3" fmla="*/ 0 w 39052"/>
                  <a:gd name="connsiteY3" fmla="*/ 56197 h 60007"/>
                  <a:gd name="connsiteX4" fmla="*/ 0 w 39052"/>
                  <a:gd name="connsiteY4" fmla="*/ 35147 h 60007"/>
                  <a:gd name="connsiteX5" fmla="*/ 14288 w 39052"/>
                  <a:gd name="connsiteY5" fmla="*/ 18097 h 60007"/>
                  <a:gd name="connsiteX6" fmla="*/ 24765 w 39052"/>
                  <a:gd name="connsiteY6" fmla="*/ 0 h 60007"/>
                  <a:gd name="connsiteX7" fmla="*/ 39052 w 39052"/>
                  <a:gd name="connsiteY7" fmla="*/ 28575 h 60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052" h="60007">
                    <a:moveTo>
                      <a:pt x="39052" y="28575"/>
                    </a:moveTo>
                    <a:lnTo>
                      <a:pt x="24765" y="38957"/>
                    </a:lnTo>
                    <a:lnTo>
                      <a:pt x="28575" y="60007"/>
                    </a:lnTo>
                    <a:lnTo>
                      <a:pt x="0" y="56197"/>
                    </a:lnTo>
                    <a:lnTo>
                      <a:pt x="0" y="35147"/>
                    </a:lnTo>
                    <a:lnTo>
                      <a:pt x="14288" y="18097"/>
                    </a:lnTo>
                    <a:lnTo>
                      <a:pt x="24765" y="0"/>
                    </a:lnTo>
                    <a:lnTo>
                      <a:pt x="39052" y="2857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23838D71-BB51-0534-2CA4-7449B86CEC93}"/>
                  </a:ext>
                </a:extLst>
              </p:cNvPr>
              <p:cNvSpPr/>
              <p:nvPr/>
            </p:nvSpPr>
            <p:spPr>
              <a:xfrm>
                <a:off x="7117122" y="4219733"/>
                <a:ext cx="285720" cy="372559"/>
              </a:xfrm>
              <a:custGeom>
                <a:avLst/>
                <a:gdLst>
                  <a:gd name="connsiteX0" fmla="*/ 104775 w 291465"/>
                  <a:gd name="connsiteY0" fmla="*/ 45625 h 380047"/>
                  <a:gd name="connsiteX1" fmla="*/ 137160 w 291465"/>
                  <a:gd name="connsiteY1" fmla="*/ 31337 h 380047"/>
                  <a:gd name="connsiteX2" fmla="*/ 256223 w 291465"/>
                  <a:gd name="connsiteY2" fmla="*/ 13335 h 380047"/>
                  <a:gd name="connsiteX3" fmla="*/ 288608 w 291465"/>
                  <a:gd name="connsiteY3" fmla="*/ 0 h 380047"/>
                  <a:gd name="connsiteX4" fmla="*/ 291465 w 291465"/>
                  <a:gd name="connsiteY4" fmla="*/ 38100 h 380047"/>
                  <a:gd name="connsiteX5" fmla="*/ 278130 w 291465"/>
                  <a:gd name="connsiteY5" fmla="*/ 52388 h 380047"/>
                  <a:gd name="connsiteX6" fmla="*/ 232410 w 291465"/>
                  <a:gd name="connsiteY6" fmla="*/ 140875 h 380047"/>
                  <a:gd name="connsiteX7" fmla="*/ 140018 w 291465"/>
                  <a:gd name="connsiteY7" fmla="*/ 267653 h 380047"/>
                  <a:gd name="connsiteX8" fmla="*/ 20955 w 291465"/>
                  <a:gd name="connsiteY8" fmla="*/ 380047 h 380047"/>
                  <a:gd name="connsiteX9" fmla="*/ 2858 w 291465"/>
                  <a:gd name="connsiteY9" fmla="*/ 356235 h 380047"/>
                  <a:gd name="connsiteX10" fmla="*/ 0 w 291465"/>
                  <a:gd name="connsiteY10" fmla="*/ 257175 h 380047"/>
                  <a:gd name="connsiteX11" fmla="*/ 27623 w 291465"/>
                  <a:gd name="connsiteY11" fmla="*/ 239078 h 380047"/>
                  <a:gd name="connsiteX12" fmla="*/ 27623 w 291465"/>
                  <a:gd name="connsiteY12" fmla="*/ 221837 h 380047"/>
                  <a:gd name="connsiteX13" fmla="*/ 70485 w 291465"/>
                  <a:gd name="connsiteY13" fmla="*/ 197072 h 380047"/>
                  <a:gd name="connsiteX14" fmla="*/ 116205 w 291465"/>
                  <a:gd name="connsiteY14" fmla="*/ 190500 h 380047"/>
                  <a:gd name="connsiteX15" fmla="*/ 189548 w 291465"/>
                  <a:gd name="connsiteY15" fmla="*/ 108585 h 380047"/>
                  <a:gd name="connsiteX16" fmla="*/ 91440 w 291465"/>
                  <a:gd name="connsiteY16" fmla="*/ 83725 h 380047"/>
                  <a:gd name="connsiteX17" fmla="*/ 56198 w 291465"/>
                  <a:gd name="connsiteY17" fmla="*/ 45625 h 380047"/>
                  <a:gd name="connsiteX18" fmla="*/ 56198 w 291465"/>
                  <a:gd name="connsiteY18" fmla="*/ 27622 h 380047"/>
                  <a:gd name="connsiteX19" fmla="*/ 70485 w 291465"/>
                  <a:gd name="connsiteY19" fmla="*/ 13335 h 380047"/>
                  <a:gd name="connsiteX20" fmla="*/ 104775 w 291465"/>
                  <a:gd name="connsiteY20" fmla="*/ 45625 h 3800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91465" h="380047">
                    <a:moveTo>
                      <a:pt x="104775" y="45625"/>
                    </a:moveTo>
                    <a:lnTo>
                      <a:pt x="137160" y="31337"/>
                    </a:lnTo>
                    <a:lnTo>
                      <a:pt x="256223" y="13335"/>
                    </a:lnTo>
                    <a:lnTo>
                      <a:pt x="288608" y="0"/>
                    </a:lnTo>
                    <a:lnTo>
                      <a:pt x="291465" y="38100"/>
                    </a:lnTo>
                    <a:lnTo>
                      <a:pt x="278130" y="52388"/>
                    </a:lnTo>
                    <a:lnTo>
                      <a:pt x="232410" y="140875"/>
                    </a:lnTo>
                    <a:lnTo>
                      <a:pt x="140018" y="267653"/>
                    </a:lnTo>
                    <a:lnTo>
                      <a:pt x="20955" y="380047"/>
                    </a:lnTo>
                    <a:lnTo>
                      <a:pt x="2858" y="356235"/>
                    </a:lnTo>
                    <a:lnTo>
                      <a:pt x="0" y="257175"/>
                    </a:lnTo>
                    <a:lnTo>
                      <a:pt x="27623" y="239078"/>
                    </a:lnTo>
                    <a:lnTo>
                      <a:pt x="27623" y="221837"/>
                    </a:lnTo>
                    <a:lnTo>
                      <a:pt x="70485" y="197072"/>
                    </a:lnTo>
                    <a:lnTo>
                      <a:pt x="116205" y="190500"/>
                    </a:lnTo>
                    <a:lnTo>
                      <a:pt x="189548" y="108585"/>
                    </a:lnTo>
                    <a:lnTo>
                      <a:pt x="91440" y="83725"/>
                    </a:lnTo>
                    <a:lnTo>
                      <a:pt x="56198" y="45625"/>
                    </a:lnTo>
                    <a:lnTo>
                      <a:pt x="56198" y="27622"/>
                    </a:lnTo>
                    <a:lnTo>
                      <a:pt x="70485" y="13335"/>
                    </a:lnTo>
                    <a:lnTo>
                      <a:pt x="104775" y="4562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F5FFE610-72AC-D0DB-2674-BAFDE6E0FE4E}"/>
                  </a:ext>
                </a:extLst>
              </p:cNvPr>
              <p:cNvSpPr/>
              <p:nvPr/>
            </p:nvSpPr>
            <p:spPr>
              <a:xfrm>
                <a:off x="6899565" y="4143074"/>
                <a:ext cx="403369" cy="308132"/>
              </a:xfrm>
              <a:custGeom>
                <a:avLst/>
                <a:gdLst>
                  <a:gd name="connsiteX0" fmla="*/ 98107 w 411480"/>
                  <a:gd name="connsiteY0" fmla="*/ 10573 h 314325"/>
                  <a:gd name="connsiteX1" fmla="*/ 137160 w 411480"/>
                  <a:gd name="connsiteY1" fmla="*/ 10573 h 314325"/>
                  <a:gd name="connsiteX2" fmla="*/ 140970 w 411480"/>
                  <a:gd name="connsiteY2" fmla="*/ 0 h 314325"/>
                  <a:gd name="connsiteX3" fmla="*/ 200025 w 411480"/>
                  <a:gd name="connsiteY3" fmla="*/ 3810 h 314325"/>
                  <a:gd name="connsiteX4" fmla="*/ 263843 w 411480"/>
                  <a:gd name="connsiteY4" fmla="*/ 63913 h 314325"/>
                  <a:gd name="connsiteX5" fmla="*/ 249555 w 411480"/>
                  <a:gd name="connsiteY5" fmla="*/ 80963 h 314325"/>
                  <a:gd name="connsiteX6" fmla="*/ 249555 w 411480"/>
                  <a:gd name="connsiteY6" fmla="*/ 102013 h 314325"/>
                  <a:gd name="connsiteX7" fmla="*/ 278130 w 411480"/>
                  <a:gd name="connsiteY7" fmla="*/ 105823 h 314325"/>
                  <a:gd name="connsiteX8" fmla="*/ 278130 w 411480"/>
                  <a:gd name="connsiteY8" fmla="*/ 123825 h 314325"/>
                  <a:gd name="connsiteX9" fmla="*/ 313373 w 411480"/>
                  <a:gd name="connsiteY9" fmla="*/ 161925 h 314325"/>
                  <a:gd name="connsiteX10" fmla="*/ 411480 w 411480"/>
                  <a:gd name="connsiteY10" fmla="*/ 186785 h 314325"/>
                  <a:gd name="connsiteX11" fmla="*/ 338138 w 411480"/>
                  <a:gd name="connsiteY11" fmla="*/ 268700 h 314325"/>
                  <a:gd name="connsiteX12" fmla="*/ 292418 w 411480"/>
                  <a:gd name="connsiteY12" fmla="*/ 275272 h 314325"/>
                  <a:gd name="connsiteX13" fmla="*/ 249555 w 411480"/>
                  <a:gd name="connsiteY13" fmla="*/ 300038 h 314325"/>
                  <a:gd name="connsiteX14" fmla="*/ 228600 w 411480"/>
                  <a:gd name="connsiteY14" fmla="*/ 306800 h 314325"/>
                  <a:gd name="connsiteX15" fmla="*/ 218123 w 411480"/>
                  <a:gd name="connsiteY15" fmla="*/ 292513 h 314325"/>
                  <a:gd name="connsiteX16" fmla="*/ 182880 w 411480"/>
                  <a:gd name="connsiteY16" fmla="*/ 314325 h 314325"/>
                  <a:gd name="connsiteX17" fmla="*/ 140970 w 411480"/>
                  <a:gd name="connsiteY17" fmla="*/ 310610 h 314325"/>
                  <a:gd name="connsiteX18" fmla="*/ 77153 w 411480"/>
                  <a:gd name="connsiteY18" fmla="*/ 282035 h 314325"/>
                  <a:gd name="connsiteX19" fmla="*/ 77153 w 411480"/>
                  <a:gd name="connsiteY19" fmla="*/ 257175 h 314325"/>
                  <a:gd name="connsiteX20" fmla="*/ 66675 w 411480"/>
                  <a:gd name="connsiteY20" fmla="*/ 257175 h 314325"/>
                  <a:gd name="connsiteX21" fmla="*/ 24765 w 411480"/>
                  <a:gd name="connsiteY21" fmla="*/ 201073 h 314325"/>
                  <a:gd name="connsiteX22" fmla="*/ 6668 w 411480"/>
                  <a:gd name="connsiteY22" fmla="*/ 197263 h 314325"/>
                  <a:gd name="connsiteX23" fmla="*/ 0 w 411480"/>
                  <a:gd name="connsiteY23" fmla="*/ 173450 h 314325"/>
                  <a:gd name="connsiteX24" fmla="*/ 35243 w 411480"/>
                  <a:gd name="connsiteY24" fmla="*/ 173450 h 314325"/>
                  <a:gd name="connsiteX25" fmla="*/ 35243 w 411480"/>
                  <a:gd name="connsiteY25" fmla="*/ 109538 h 314325"/>
                  <a:gd name="connsiteX26" fmla="*/ 56198 w 411480"/>
                  <a:gd name="connsiteY26" fmla="*/ 105823 h 314325"/>
                  <a:gd name="connsiteX27" fmla="*/ 56198 w 411480"/>
                  <a:gd name="connsiteY27" fmla="*/ 78200 h 314325"/>
                  <a:gd name="connsiteX28" fmla="*/ 98107 w 411480"/>
                  <a:gd name="connsiteY28" fmla="*/ 10573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411480" h="314325">
                    <a:moveTo>
                      <a:pt x="98107" y="10573"/>
                    </a:moveTo>
                    <a:lnTo>
                      <a:pt x="137160" y="10573"/>
                    </a:lnTo>
                    <a:lnTo>
                      <a:pt x="140970" y="0"/>
                    </a:lnTo>
                    <a:lnTo>
                      <a:pt x="200025" y="3810"/>
                    </a:lnTo>
                    <a:lnTo>
                      <a:pt x="263843" y="63913"/>
                    </a:lnTo>
                    <a:lnTo>
                      <a:pt x="249555" y="80963"/>
                    </a:lnTo>
                    <a:lnTo>
                      <a:pt x="249555" y="102013"/>
                    </a:lnTo>
                    <a:lnTo>
                      <a:pt x="278130" y="105823"/>
                    </a:lnTo>
                    <a:lnTo>
                      <a:pt x="278130" y="123825"/>
                    </a:lnTo>
                    <a:lnTo>
                      <a:pt x="313373" y="161925"/>
                    </a:lnTo>
                    <a:lnTo>
                      <a:pt x="411480" y="186785"/>
                    </a:lnTo>
                    <a:lnTo>
                      <a:pt x="338138" y="268700"/>
                    </a:lnTo>
                    <a:lnTo>
                      <a:pt x="292418" y="275272"/>
                    </a:lnTo>
                    <a:lnTo>
                      <a:pt x="249555" y="300038"/>
                    </a:lnTo>
                    <a:lnTo>
                      <a:pt x="228600" y="306800"/>
                    </a:lnTo>
                    <a:lnTo>
                      <a:pt x="218123" y="292513"/>
                    </a:lnTo>
                    <a:lnTo>
                      <a:pt x="182880" y="314325"/>
                    </a:lnTo>
                    <a:lnTo>
                      <a:pt x="140970" y="310610"/>
                    </a:lnTo>
                    <a:lnTo>
                      <a:pt x="77153" y="282035"/>
                    </a:lnTo>
                    <a:lnTo>
                      <a:pt x="77153" y="257175"/>
                    </a:lnTo>
                    <a:lnTo>
                      <a:pt x="66675" y="257175"/>
                    </a:lnTo>
                    <a:lnTo>
                      <a:pt x="24765" y="201073"/>
                    </a:lnTo>
                    <a:lnTo>
                      <a:pt x="6668" y="197263"/>
                    </a:lnTo>
                    <a:lnTo>
                      <a:pt x="0" y="173450"/>
                    </a:lnTo>
                    <a:lnTo>
                      <a:pt x="35243" y="173450"/>
                    </a:lnTo>
                    <a:lnTo>
                      <a:pt x="35243" y="109538"/>
                    </a:lnTo>
                    <a:lnTo>
                      <a:pt x="56198" y="105823"/>
                    </a:lnTo>
                    <a:lnTo>
                      <a:pt x="56198" y="78200"/>
                    </a:lnTo>
                    <a:lnTo>
                      <a:pt x="98107" y="1057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673171A7-19B6-A2A5-CA90-7464318D8A9B}"/>
                  </a:ext>
                </a:extLst>
              </p:cNvPr>
              <p:cNvSpPr/>
              <p:nvPr/>
            </p:nvSpPr>
            <p:spPr>
              <a:xfrm>
                <a:off x="6234753" y="4187986"/>
                <a:ext cx="205419" cy="308132"/>
              </a:xfrm>
              <a:custGeom>
                <a:avLst/>
                <a:gdLst>
                  <a:gd name="connsiteX0" fmla="*/ 160020 w 209550"/>
                  <a:gd name="connsiteY0" fmla="*/ 0 h 314325"/>
                  <a:gd name="connsiteX1" fmla="*/ 174308 w 209550"/>
                  <a:gd name="connsiteY1" fmla="*/ 20860 h 314325"/>
                  <a:gd name="connsiteX2" fmla="*/ 178118 w 209550"/>
                  <a:gd name="connsiteY2" fmla="*/ 63722 h 314325"/>
                  <a:gd name="connsiteX3" fmla="*/ 188595 w 209550"/>
                  <a:gd name="connsiteY3" fmla="*/ 80963 h 314325"/>
                  <a:gd name="connsiteX4" fmla="*/ 153353 w 209550"/>
                  <a:gd name="connsiteY4" fmla="*/ 80963 h 314325"/>
                  <a:gd name="connsiteX5" fmla="*/ 149543 w 209550"/>
                  <a:gd name="connsiteY5" fmla="*/ 99060 h 314325"/>
                  <a:gd name="connsiteX6" fmla="*/ 201930 w 209550"/>
                  <a:gd name="connsiteY6" fmla="*/ 155257 h 314325"/>
                  <a:gd name="connsiteX7" fmla="*/ 166688 w 209550"/>
                  <a:gd name="connsiteY7" fmla="*/ 183832 h 314325"/>
                  <a:gd name="connsiteX8" fmla="*/ 166688 w 209550"/>
                  <a:gd name="connsiteY8" fmla="*/ 211360 h 314325"/>
                  <a:gd name="connsiteX9" fmla="*/ 184785 w 209550"/>
                  <a:gd name="connsiteY9" fmla="*/ 258032 h 314325"/>
                  <a:gd name="connsiteX10" fmla="*/ 209550 w 209550"/>
                  <a:gd name="connsiteY10" fmla="*/ 285750 h 314325"/>
                  <a:gd name="connsiteX11" fmla="*/ 205740 w 209550"/>
                  <a:gd name="connsiteY11" fmla="*/ 310420 h 314325"/>
                  <a:gd name="connsiteX12" fmla="*/ 174308 w 209550"/>
                  <a:gd name="connsiteY12" fmla="*/ 314325 h 314325"/>
                  <a:gd name="connsiteX13" fmla="*/ 174308 w 209550"/>
                  <a:gd name="connsiteY13" fmla="*/ 300038 h 314325"/>
                  <a:gd name="connsiteX14" fmla="*/ 31433 w 209550"/>
                  <a:gd name="connsiteY14" fmla="*/ 300038 h 314325"/>
                  <a:gd name="connsiteX15" fmla="*/ 31433 w 209550"/>
                  <a:gd name="connsiteY15" fmla="*/ 258032 h 314325"/>
                  <a:gd name="connsiteX16" fmla="*/ 17145 w 209550"/>
                  <a:gd name="connsiteY16" fmla="*/ 243745 h 314325"/>
                  <a:gd name="connsiteX17" fmla="*/ 0 w 209550"/>
                  <a:gd name="connsiteY17" fmla="*/ 233363 h 314325"/>
                  <a:gd name="connsiteX18" fmla="*/ 3810 w 209550"/>
                  <a:gd name="connsiteY18" fmla="*/ 200882 h 314325"/>
                  <a:gd name="connsiteX19" fmla="*/ 39053 w 209550"/>
                  <a:gd name="connsiteY19" fmla="*/ 169545 h 314325"/>
                  <a:gd name="connsiteX20" fmla="*/ 56198 w 209550"/>
                  <a:gd name="connsiteY20" fmla="*/ 169545 h 314325"/>
                  <a:gd name="connsiteX21" fmla="*/ 75248 w 209550"/>
                  <a:gd name="connsiteY21" fmla="*/ 183832 h 314325"/>
                  <a:gd name="connsiteX22" fmla="*/ 145733 w 209550"/>
                  <a:gd name="connsiteY22" fmla="*/ 49435 h 314325"/>
                  <a:gd name="connsiteX23" fmla="*/ 163830 w 209550"/>
                  <a:gd name="connsiteY23" fmla="*/ 45720 h 314325"/>
                  <a:gd name="connsiteX24" fmla="*/ 160020 w 209550"/>
                  <a:gd name="connsiteY24" fmla="*/ 20860 h 314325"/>
                  <a:gd name="connsiteX25" fmla="*/ 160020 w 209550"/>
                  <a:gd name="connsiteY25" fmla="*/ 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09550" h="314325">
                    <a:moveTo>
                      <a:pt x="160020" y="0"/>
                    </a:moveTo>
                    <a:lnTo>
                      <a:pt x="174308" y="20860"/>
                    </a:lnTo>
                    <a:lnTo>
                      <a:pt x="178118" y="63722"/>
                    </a:lnTo>
                    <a:lnTo>
                      <a:pt x="188595" y="80963"/>
                    </a:lnTo>
                    <a:lnTo>
                      <a:pt x="153353" y="80963"/>
                    </a:lnTo>
                    <a:lnTo>
                      <a:pt x="149543" y="99060"/>
                    </a:lnTo>
                    <a:lnTo>
                      <a:pt x="201930" y="155257"/>
                    </a:lnTo>
                    <a:lnTo>
                      <a:pt x="166688" y="183832"/>
                    </a:lnTo>
                    <a:lnTo>
                      <a:pt x="166688" y="211360"/>
                    </a:lnTo>
                    <a:lnTo>
                      <a:pt x="184785" y="258032"/>
                    </a:lnTo>
                    <a:lnTo>
                      <a:pt x="209550" y="285750"/>
                    </a:lnTo>
                    <a:lnTo>
                      <a:pt x="205740" y="310420"/>
                    </a:lnTo>
                    <a:lnTo>
                      <a:pt x="174308" y="314325"/>
                    </a:lnTo>
                    <a:lnTo>
                      <a:pt x="174308" y="300038"/>
                    </a:lnTo>
                    <a:lnTo>
                      <a:pt x="31433" y="300038"/>
                    </a:lnTo>
                    <a:lnTo>
                      <a:pt x="31433" y="258032"/>
                    </a:lnTo>
                    <a:lnTo>
                      <a:pt x="17145" y="243745"/>
                    </a:lnTo>
                    <a:lnTo>
                      <a:pt x="0" y="233363"/>
                    </a:lnTo>
                    <a:lnTo>
                      <a:pt x="3810" y="200882"/>
                    </a:lnTo>
                    <a:lnTo>
                      <a:pt x="39053" y="169545"/>
                    </a:lnTo>
                    <a:lnTo>
                      <a:pt x="56198" y="169545"/>
                    </a:lnTo>
                    <a:lnTo>
                      <a:pt x="75248" y="183832"/>
                    </a:lnTo>
                    <a:lnTo>
                      <a:pt x="145733" y="49435"/>
                    </a:lnTo>
                    <a:lnTo>
                      <a:pt x="163830" y="45720"/>
                    </a:lnTo>
                    <a:lnTo>
                      <a:pt x="160020" y="20860"/>
                    </a:lnTo>
                    <a:lnTo>
                      <a:pt x="16002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9A5FFBA2-ACC1-8396-C202-2A9B812E421B}"/>
                  </a:ext>
                </a:extLst>
              </p:cNvPr>
              <p:cNvSpPr/>
              <p:nvPr/>
            </p:nvSpPr>
            <p:spPr>
              <a:xfrm>
                <a:off x="6234753" y="4187986"/>
                <a:ext cx="205419" cy="308132"/>
              </a:xfrm>
              <a:custGeom>
                <a:avLst/>
                <a:gdLst>
                  <a:gd name="connsiteX0" fmla="*/ 160020 w 209550"/>
                  <a:gd name="connsiteY0" fmla="*/ 0 h 314325"/>
                  <a:gd name="connsiteX1" fmla="*/ 174308 w 209550"/>
                  <a:gd name="connsiteY1" fmla="*/ 20860 h 314325"/>
                  <a:gd name="connsiteX2" fmla="*/ 178118 w 209550"/>
                  <a:gd name="connsiteY2" fmla="*/ 63722 h 314325"/>
                  <a:gd name="connsiteX3" fmla="*/ 188595 w 209550"/>
                  <a:gd name="connsiteY3" fmla="*/ 80963 h 314325"/>
                  <a:gd name="connsiteX4" fmla="*/ 153353 w 209550"/>
                  <a:gd name="connsiteY4" fmla="*/ 80963 h 314325"/>
                  <a:gd name="connsiteX5" fmla="*/ 149543 w 209550"/>
                  <a:gd name="connsiteY5" fmla="*/ 99060 h 314325"/>
                  <a:gd name="connsiteX6" fmla="*/ 201930 w 209550"/>
                  <a:gd name="connsiteY6" fmla="*/ 155257 h 314325"/>
                  <a:gd name="connsiteX7" fmla="*/ 166688 w 209550"/>
                  <a:gd name="connsiteY7" fmla="*/ 183832 h 314325"/>
                  <a:gd name="connsiteX8" fmla="*/ 166688 w 209550"/>
                  <a:gd name="connsiteY8" fmla="*/ 211360 h 314325"/>
                  <a:gd name="connsiteX9" fmla="*/ 184785 w 209550"/>
                  <a:gd name="connsiteY9" fmla="*/ 258032 h 314325"/>
                  <a:gd name="connsiteX10" fmla="*/ 209550 w 209550"/>
                  <a:gd name="connsiteY10" fmla="*/ 285750 h 314325"/>
                  <a:gd name="connsiteX11" fmla="*/ 205740 w 209550"/>
                  <a:gd name="connsiteY11" fmla="*/ 310420 h 314325"/>
                  <a:gd name="connsiteX12" fmla="*/ 174308 w 209550"/>
                  <a:gd name="connsiteY12" fmla="*/ 314325 h 314325"/>
                  <a:gd name="connsiteX13" fmla="*/ 174308 w 209550"/>
                  <a:gd name="connsiteY13" fmla="*/ 300038 h 314325"/>
                  <a:gd name="connsiteX14" fmla="*/ 31433 w 209550"/>
                  <a:gd name="connsiteY14" fmla="*/ 300038 h 314325"/>
                  <a:gd name="connsiteX15" fmla="*/ 31433 w 209550"/>
                  <a:gd name="connsiteY15" fmla="*/ 258032 h 314325"/>
                  <a:gd name="connsiteX16" fmla="*/ 17145 w 209550"/>
                  <a:gd name="connsiteY16" fmla="*/ 243745 h 314325"/>
                  <a:gd name="connsiteX17" fmla="*/ 0 w 209550"/>
                  <a:gd name="connsiteY17" fmla="*/ 233363 h 314325"/>
                  <a:gd name="connsiteX18" fmla="*/ 3810 w 209550"/>
                  <a:gd name="connsiteY18" fmla="*/ 200882 h 314325"/>
                  <a:gd name="connsiteX19" fmla="*/ 39053 w 209550"/>
                  <a:gd name="connsiteY19" fmla="*/ 169545 h 314325"/>
                  <a:gd name="connsiteX20" fmla="*/ 56198 w 209550"/>
                  <a:gd name="connsiteY20" fmla="*/ 169545 h 314325"/>
                  <a:gd name="connsiteX21" fmla="*/ 75248 w 209550"/>
                  <a:gd name="connsiteY21" fmla="*/ 183832 h 314325"/>
                  <a:gd name="connsiteX22" fmla="*/ 145733 w 209550"/>
                  <a:gd name="connsiteY22" fmla="*/ 49435 h 314325"/>
                  <a:gd name="connsiteX23" fmla="*/ 163830 w 209550"/>
                  <a:gd name="connsiteY23" fmla="*/ 45720 h 314325"/>
                  <a:gd name="connsiteX24" fmla="*/ 160020 w 209550"/>
                  <a:gd name="connsiteY24" fmla="*/ 20860 h 314325"/>
                  <a:gd name="connsiteX25" fmla="*/ 160020 w 209550"/>
                  <a:gd name="connsiteY25" fmla="*/ 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09550" h="314325">
                    <a:moveTo>
                      <a:pt x="160020" y="0"/>
                    </a:moveTo>
                    <a:lnTo>
                      <a:pt x="174308" y="20860"/>
                    </a:lnTo>
                    <a:lnTo>
                      <a:pt x="178118" y="63722"/>
                    </a:lnTo>
                    <a:lnTo>
                      <a:pt x="188595" y="80963"/>
                    </a:lnTo>
                    <a:lnTo>
                      <a:pt x="153353" y="80963"/>
                    </a:lnTo>
                    <a:lnTo>
                      <a:pt x="149543" y="99060"/>
                    </a:lnTo>
                    <a:lnTo>
                      <a:pt x="201930" y="155257"/>
                    </a:lnTo>
                    <a:lnTo>
                      <a:pt x="166688" y="183832"/>
                    </a:lnTo>
                    <a:lnTo>
                      <a:pt x="166688" y="211360"/>
                    </a:lnTo>
                    <a:lnTo>
                      <a:pt x="184785" y="258032"/>
                    </a:lnTo>
                    <a:lnTo>
                      <a:pt x="209550" y="285750"/>
                    </a:lnTo>
                    <a:lnTo>
                      <a:pt x="205740" y="310420"/>
                    </a:lnTo>
                    <a:lnTo>
                      <a:pt x="174308" y="314325"/>
                    </a:lnTo>
                    <a:lnTo>
                      <a:pt x="174308" y="300038"/>
                    </a:lnTo>
                    <a:lnTo>
                      <a:pt x="31433" y="300038"/>
                    </a:lnTo>
                    <a:lnTo>
                      <a:pt x="31433" y="258032"/>
                    </a:lnTo>
                    <a:lnTo>
                      <a:pt x="17145" y="243745"/>
                    </a:lnTo>
                    <a:lnTo>
                      <a:pt x="0" y="233363"/>
                    </a:lnTo>
                    <a:lnTo>
                      <a:pt x="3810" y="200882"/>
                    </a:lnTo>
                    <a:lnTo>
                      <a:pt x="39053" y="169545"/>
                    </a:lnTo>
                    <a:lnTo>
                      <a:pt x="56198" y="169545"/>
                    </a:lnTo>
                    <a:lnTo>
                      <a:pt x="75248" y="183832"/>
                    </a:lnTo>
                    <a:lnTo>
                      <a:pt x="145733" y="49435"/>
                    </a:lnTo>
                    <a:lnTo>
                      <a:pt x="163830" y="45720"/>
                    </a:lnTo>
                    <a:lnTo>
                      <a:pt x="160020" y="20860"/>
                    </a:lnTo>
                    <a:lnTo>
                      <a:pt x="16002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0872CEE5-01C6-D869-D9A8-51CE4A49F0E6}"/>
                  </a:ext>
                </a:extLst>
              </p:cNvPr>
              <p:cNvSpPr/>
              <p:nvPr/>
            </p:nvSpPr>
            <p:spPr>
              <a:xfrm>
                <a:off x="6072285" y="4163709"/>
                <a:ext cx="323068" cy="259483"/>
              </a:xfrm>
              <a:custGeom>
                <a:avLst/>
                <a:gdLst>
                  <a:gd name="connsiteX0" fmla="*/ 165735 w 329564"/>
                  <a:gd name="connsiteY0" fmla="*/ 258128 h 264699"/>
                  <a:gd name="connsiteX1" fmla="*/ 112395 w 329564"/>
                  <a:gd name="connsiteY1" fmla="*/ 264700 h 264699"/>
                  <a:gd name="connsiteX2" fmla="*/ 77152 w 329564"/>
                  <a:gd name="connsiteY2" fmla="*/ 260985 h 264699"/>
                  <a:gd name="connsiteX3" fmla="*/ 80963 w 329564"/>
                  <a:gd name="connsiteY3" fmla="*/ 233363 h 264699"/>
                  <a:gd name="connsiteX4" fmla="*/ 39052 w 329564"/>
                  <a:gd name="connsiteY4" fmla="*/ 208597 h 264699"/>
                  <a:gd name="connsiteX5" fmla="*/ 3810 w 329564"/>
                  <a:gd name="connsiteY5" fmla="*/ 204788 h 264699"/>
                  <a:gd name="connsiteX6" fmla="*/ 0 w 329564"/>
                  <a:gd name="connsiteY6" fmla="*/ 138113 h 264699"/>
                  <a:gd name="connsiteX7" fmla="*/ 39052 w 329564"/>
                  <a:gd name="connsiteY7" fmla="*/ 92297 h 264699"/>
                  <a:gd name="connsiteX8" fmla="*/ 18097 w 329564"/>
                  <a:gd name="connsiteY8" fmla="*/ 74200 h 264699"/>
                  <a:gd name="connsiteX9" fmla="*/ 20955 w 329564"/>
                  <a:gd name="connsiteY9" fmla="*/ 59912 h 264699"/>
                  <a:gd name="connsiteX10" fmla="*/ 41910 w 329564"/>
                  <a:gd name="connsiteY10" fmla="*/ 3810 h 264699"/>
                  <a:gd name="connsiteX11" fmla="*/ 95250 w 329564"/>
                  <a:gd name="connsiteY11" fmla="*/ 3810 h 264699"/>
                  <a:gd name="connsiteX12" fmla="*/ 122872 w 329564"/>
                  <a:gd name="connsiteY12" fmla="*/ 24765 h 264699"/>
                  <a:gd name="connsiteX13" fmla="*/ 140970 w 329564"/>
                  <a:gd name="connsiteY13" fmla="*/ 14288 h 264699"/>
                  <a:gd name="connsiteX14" fmla="*/ 190500 w 329564"/>
                  <a:gd name="connsiteY14" fmla="*/ 32385 h 264699"/>
                  <a:gd name="connsiteX15" fmla="*/ 200977 w 329564"/>
                  <a:gd name="connsiteY15" fmla="*/ 18097 h 264699"/>
                  <a:gd name="connsiteX16" fmla="*/ 262890 w 329564"/>
                  <a:gd name="connsiteY16" fmla="*/ 24765 h 264699"/>
                  <a:gd name="connsiteX17" fmla="*/ 300990 w 329564"/>
                  <a:gd name="connsiteY17" fmla="*/ 0 h 264699"/>
                  <a:gd name="connsiteX18" fmla="*/ 325755 w 329564"/>
                  <a:gd name="connsiteY18" fmla="*/ 24765 h 264699"/>
                  <a:gd name="connsiteX19" fmla="*/ 329565 w 329564"/>
                  <a:gd name="connsiteY19" fmla="*/ 70485 h 264699"/>
                  <a:gd name="connsiteX20" fmla="*/ 311468 w 329564"/>
                  <a:gd name="connsiteY20" fmla="*/ 74200 h 264699"/>
                  <a:gd name="connsiteX21" fmla="*/ 240982 w 329564"/>
                  <a:gd name="connsiteY21" fmla="*/ 208597 h 264699"/>
                  <a:gd name="connsiteX22" fmla="*/ 221932 w 329564"/>
                  <a:gd name="connsiteY22" fmla="*/ 194310 h 264699"/>
                  <a:gd name="connsiteX23" fmla="*/ 204788 w 329564"/>
                  <a:gd name="connsiteY23" fmla="*/ 194310 h 264699"/>
                  <a:gd name="connsiteX24" fmla="*/ 169545 w 329564"/>
                  <a:gd name="connsiteY24" fmla="*/ 225647 h 264699"/>
                  <a:gd name="connsiteX25" fmla="*/ 165735 w 329564"/>
                  <a:gd name="connsiteY25" fmla="*/ 258128 h 264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29564" h="264699">
                    <a:moveTo>
                      <a:pt x="165735" y="258128"/>
                    </a:moveTo>
                    <a:lnTo>
                      <a:pt x="112395" y="264700"/>
                    </a:lnTo>
                    <a:lnTo>
                      <a:pt x="77152" y="260985"/>
                    </a:lnTo>
                    <a:lnTo>
                      <a:pt x="80963" y="233363"/>
                    </a:lnTo>
                    <a:lnTo>
                      <a:pt x="39052" y="208597"/>
                    </a:lnTo>
                    <a:lnTo>
                      <a:pt x="3810" y="204788"/>
                    </a:lnTo>
                    <a:lnTo>
                      <a:pt x="0" y="138113"/>
                    </a:lnTo>
                    <a:lnTo>
                      <a:pt x="39052" y="92297"/>
                    </a:lnTo>
                    <a:lnTo>
                      <a:pt x="18097" y="74200"/>
                    </a:lnTo>
                    <a:lnTo>
                      <a:pt x="20955" y="59912"/>
                    </a:lnTo>
                    <a:lnTo>
                      <a:pt x="41910" y="3810"/>
                    </a:lnTo>
                    <a:lnTo>
                      <a:pt x="95250" y="3810"/>
                    </a:lnTo>
                    <a:lnTo>
                      <a:pt x="122872" y="24765"/>
                    </a:lnTo>
                    <a:lnTo>
                      <a:pt x="140970" y="14288"/>
                    </a:lnTo>
                    <a:lnTo>
                      <a:pt x="190500" y="32385"/>
                    </a:lnTo>
                    <a:lnTo>
                      <a:pt x="200977" y="18097"/>
                    </a:lnTo>
                    <a:lnTo>
                      <a:pt x="262890" y="24765"/>
                    </a:lnTo>
                    <a:lnTo>
                      <a:pt x="300990" y="0"/>
                    </a:lnTo>
                    <a:lnTo>
                      <a:pt x="325755" y="24765"/>
                    </a:lnTo>
                    <a:lnTo>
                      <a:pt x="329565" y="70485"/>
                    </a:lnTo>
                    <a:lnTo>
                      <a:pt x="311468" y="74200"/>
                    </a:lnTo>
                    <a:lnTo>
                      <a:pt x="240982" y="208597"/>
                    </a:lnTo>
                    <a:lnTo>
                      <a:pt x="221932" y="194310"/>
                    </a:lnTo>
                    <a:lnTo>
                      <a:pt x="204788" y="194310"/>
                    </a:lnTo>
                    <a:lnTo>
                      <a:pt x="169545" y="225647"/>
                    </a:lnTo>
                    <a:lnTo>
                      <a:pt x="165735" y="25812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0A7DE399-4DD9-A743-9564-4487E4BBE045}"/>
                  </a:ext>
                </a:extLst>
              </p:cNvPr>
              <p:cNvSpPr/>
              <p:nvPr/>
            </p:nvSpPr>
            <p:spPr>
              <a:xfrm>
                <a:off x="6072285" y="4163709"/>
                <a:ext cx="323068" cy="259483"/>
              </a:xfrm>
              <a:custGeom>
                <a:avLst/>
                <a:gdLst>
                  <a:gd name="connsiteX0" fmla="*/ 165735 w 329564"/>
                  <a:gd name="connsiteY0" fmla="*/ 258128 h 264699"/>
                  <a:gd name="connsiteX1" fmla="*/ 112395 w 329564"/>
                  <a:gd name="connsiteY1" fmla="*/ 264700 h 264699"/>
                  <a:gd name="connsiteX2" fmla="*/ 77152 w 329564"/>
                  <a:gd name="connsiteY2" fmla="*/ 260985 h 264699"/>
                  <a:gd name="connsiteX3" fmla="*/ 80963 w 329564"/>
                  <a:gd name="connsiteY3" fmla="*/ 233363 h 264699"/>
                  <a:gd name="connsiteX4" fmla="*/ 39052 w 329564"/>
                  <a:gd name="connsiteY4" fmla="*/ 208597 h 264699"/>
                  <a:gd name="connsiteX5" fmla="*/ 3810 w 329564"/>
                  <a:gd name="connsiteY5" fmla="*/ 204788 h 264699"/>
                  <a:gd name="connsiteX6" fmla="*/ 0 w 329564"/>
                  <a:gd name="connsiteY6" fmla="*/ 138113 h 264699"/>
                  <a:gd name="connsiteX7" fmla="*/ 39052 w 329564"/>
                  <a:gd name="connsiteY7" fmla="*/ 92297 h 264699"/>
                  <a:gd name="connsiteX8" fmla="*/ 18097 w 329564"/>
                  <a:gd name="connsiteY8" fmla="*/ 74200 h 264699"/>
                  <a:gd name="connsiteX9" fmla="*/ 20955 w 329564"/>
                  <a:gd name="connsiteY9" fmla="*/ 59912 h 264699"/>
                  <a:gd name="connsiteX10" fmla="*/ 41910 w 329564"/>
                  <a:gd name="connsiteY10" fmla="*/ 3810 h 264699"/>
                  <a:gd name="connsiteX11" fmla="*/ 95250 w 329564"/>
                  <a:gd name="connsiteY11" fmla="*/ 3810 h 264699"/>
                  <a:gd name="connsiteX12" fmla="*/ 122872 w 329564"/>
                  <a:gd name="connsiteY12" fmla="*/ 24765 h 264699"/>
                  <a:gd name="connsiteX13" fmla="*/ 140970 w 329564"/>
                  <a:gd name="connsiteY13" fmla="*/ 14288 h 264699"/>
                  <a:gd name="connsiteX14" fmla="*/ 190500 w 329564"/>
                  <a:gd name="connsiteY14" fmla="*/ 32385 h 264699"/>
                  <a:gd name="connsiteX15" fmla="*/ 200977 w 329564"/>
                  <a:gd name="connsiteY15" fmla="*/ 18097 h 264699"/>
                  <a:gd name="connsiteX16" fmla="*/ 262890 w 329564"/>
                  <a:gd name="connsiteY16" fmla="*/ 24765 h 264699"/>
                  <a:gd name="connsiteX17" fmla="*/ 300990 w 329564"/>
                  <a:gd name="connsiteY17" fmla="*/ 0 h 264699"/>
                  <a:gd name="connsiteX18" fmla="*/ 325755 w 329564"/>
                  <a:gd name="connsiteY18" fmla="*/ 24765 h 264699"/>
                  <a:gd name="connsiteX19" fmla="*/ 329565 w 329564"/>
                  <a:gd name="connsiteY19" fmla="*/ 70485 h 264699"/>
                  <a:gd name="connsiteX20" fmla="*/ 311468 w 329564"/>
                  <a:gd name="connsiteY20" fmla="*/ 74200 h 264699"/>
                  <a:gd name="connsiteX21" fmla="*/ 240982 w 329564"/>
                  <a:gd name="connsiteY21" fmla="*/ 208597 h 264699"/>
                  <a:gd name="connsiteX22" fmla="*/ 221932 w 329564"/>
                  <a:gd name="connsiteY22" fmla="*/ 194310 h 264699"/>
                  <a:gd name="connsiteX23" fmla="*/ 204788 w 329564"/>
                  <a:gd name="connsiteY23" fmla="*/ 194310 h 264699"/>
                  <a:gd name="connsiteX24" fmla="*/ 169545 w 329564"/>
                  <a:gd name="connsiteY24" fmla="*/ 225647 h 264699"/>
                  <a:gd name="connsiteX25" fmla="*/ 165735 w 329564"/>
                  <a:gd name="connsiteY25" fmla="*/ 258128 h 2646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329564" h="264699">
                    <a:moveTo>
                      <a:pt x="165735" y="258128"/>
                    </a:moveTo>
                    <a:lnTo>
                      <a:pt x="112395" y="264700"/>
                    </a:lnTo>
                    <a:lnTo>
                      <a:pt x="77152" y="260985"/>
                    </a:lnTo>
                    <a:lnTo>
                      <a:pt x="80963" y="233363"/>
                    </a:lnTo>
                    <a:lnTo>
                      <a:pt x="39052" y="208597"/>
                    </a:lnTo>
                    <a:lnTo>
                      <a:pt x="3810" y="204788"/>
                    </a:lnTo>
                    <a:lnTo>
                      <a:pt x="0" y="138113"/>
                    </a:lnTo>
                    <a:lnTo>
                      <a:pt x="39052" y="92297"/>
                    </a:lnTo>
                    <a:lnTo>
                      <a:pt x="18097" y="74200"/>
                    </a:lnTo>
                    <a:lnTo>
                      <a:pt x="20955" y="59912"/>
                    </a:lnTo>
                    <a:lnTo>
                      <a:pt x="41910" y="3810"/>
                    </a:lnTo>
                    <a:lnTo>
                      <a:pt x="95250" y="3810"/>
                    </a:lnTo>
                    <a:lnTo>
                      <a:pt x="122872" y="24765"/>
                    </a:lnTo>
                    <a:lnTo>
                      <a:pt x="140970" y="14288"/>
                    </a:lnTo>
                    <a:lnTo>
                      <a:pt x="190500" y="32385"/>
                    </a:lnTo>
                    <a:lnTo>
                      <a:pt x="200977" y="18097"/>
                    </a:lnTo>
                    <a:lnTo>
                      <a:pt x="262890" y="24765"/>
                    </a:lnTo>
                    <a:lnTo>
                      <a:pt x="300990" y="0"/>
                    </a:lnTo>
                    <a:lnTo>
                      <a:pt x="325755" y="24765"/>
                    </a:lnTo>
                    <a:lnTo>
                      <a:pt x="329565" y="70485"/>
                    </a:lnTo>
                    <a:lnTo>
                      <a:pt x="311468" y="74200"/>
                    </a:lnTo>
                    <a:lnTo>
                      <a:pt x="240982" y="208597"/>
                    </a:lnTo>
                    <a:lnTo>
                      <a:pt x="221932" y="194310"/>
                    </a:lnTo>
                    <a:lnTo>
                      <a:pt x="204788" y="194310"/>
                    </a:lnTo>
                    <a:lnTo>
                      <a:pt x="169545" y="225647"/>
                    </a:lnTo>
                    <a:lnTo>
                      <a:pt x="165735" y="25812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6A1738FB-1DE2-2229-9DD7-D844703C359C}"/>
                  </a:ext>
                </a:extLst>
              </p:cNvPr>
              <p:cNvSpPr/>
              <p:nvPr/>
            </p:nvSpPr>
            <p:spPr>
              <a:xfrm>
                <a:off x="6017195" y="4205727"/>
                <a:ext cx="93372" cy="165177"/>
              </a:xfrm>
              <a:custGeom>
                <a:avLst/>
                <a:gdLst>
                  <a:gd name="connsiteX0" fmla="*/ 35243 w 95250"/>
                  <a:gd name="connsiteY0" fmla="*/ 2762 h 168497"/>
                  <a:gd name="connsiteX1" fmla="*/ 60008 w 95250"/>
                  <a:gd name="connsiteY1" fmla="*/ 0 h 168497"/>
                  <a:gd name="connsiteX2" fmla="*/ 77153 w 95250"/>
                  <a:gd name="connsiteY2" fmla="*/ 17050 h 168497"/>
                  <a:gd name="connsiteX3" fmla="*/ 74295 w 95250"/>
                  <a:gd name="connsiteY3" fmla="*/ 31337 h 168497"/>
                  <a:gd name="connsiteX4" fmla="*/ 95250 w 95250"/>
                  <a:gd name="connsiteY4" fmla="*/ 49435 h 168497"/>
                  <a:gd name="connsiteX5" fmla="*/ 56198 w 95250"/>
                  <a:gd name="connsiteY5" fmla="*/ 95250 h 168497"/>
                  <a:gd name="connsiteX6" fmla="*/ 60008 w 95250"/>
                  <a:gd name="connsiteY6" fmla="*/ 161925 h 168497"/>
                  <a:gd name="connsiteX7" fmla="*/ 20955 w 95250"/>
                  <a:gd name="connsiteY7" fmla="*/ 168497 h 168497"/>
                  <a:gd name="connsiteX8" fmla="*/ 20955 w 95250"/>
                  <a:gd name="connsiteY8" fmla="*/ 84772 h 168497"/>
                  <a:gd name="connsiteX9" fmla="*/ 0 w 95250"/>
                  <a:gd name="connsiteY9" fmla="*/ 56197 h 168497"/>
                  <a:gd name="connsiteX10" fmla="*/ 6668 w 95250"/>
                  <a:gd name="connsiteY10" fmla="*/ 35147 h 168497"/>
                  <a:gd name="connsiteX11" fmla="*/ 35243 w 95250"/>
                  <a:gd name="connsiteY11" fmla="*/ 27622 h 168497"/>
                  <a:gd name="connsiteX12" fmla="*/ 35243 w 95250"/>
                  <a:gd name="connsiteY12" fmla="*/ 2762 h 16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168497">
                    <a:moveTo>
                      <a:pt x="35243" y="2762"/>
                    </a:moveTo>
                    <a:lnTo>
                      <a:pt x="60008" y="0"/>
                    </a:lnTo>
                    <a:lnTo>
                      <a:pt x="77153" y="17050"/>
                    </a:lnTo>
                    <a:lnTo>
                      <a:pt x="74295" y="31337"/>
                    </a:lnTo>
                    <a:lnTo>
                      <a:pt x="95250" y="49435"/>
                    </a:lnTo>
                    <a:lnTo>
                      <a:pt x="56198" y="95250"/>
                    </a:lnTo>
                    <a:lnTo>
                      <a:pt x="60008" y="161925"/>
                    </a:lnTo>
                    <a:lnTo>
                      <a:pt x="20955" y="168497"/>
                    </a:lnTo>
                    <a:lnTo>
                      <a:pt x="20955" y="84772"/>
                    </a:lnTo>
                    <a:lnTo>
                      <a:pt x="0" y="56197"/>
                    </a:lnTo>
                    <a:lnTo>
                      <a:pt x="6668" y="35147"/>
                    </a:lnTo>
                    <a:lnTo>
                      <a:pt x="35243" y="27622"/>
                    </a:lnTo>
                    <a:lnTo>
                      <a:pt x="35243" y="276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403B66CC-EE94-1413-2BA5-87D1BF637CB0}"/>
                  </a:ext>
                </a:extLst>
              </p:cNvPr>
              <p:cNvSpPr/>
              <p:nvPr/>
            </p:nvSpPr>
            <p:spPr>
              <a:xfrm>
                <a:off x="6017195" y="4205727"/>
                <a:ext cx="93372" cy="165177"/>
              </a:xfrm>
              <a:custGeom>
                <a:avLst/>
                <a:gdLst>
                  <a:gd name="connsiteX0" fmla="*/ 35243 w 95250"/>
                  <a:gd name="connsiteY0" fmla="*/ 2762 h 168497"/>
                  <a:gd name="connsiteX1" fmla="*/ 60008 w 95250"/>
                  <a:gd name="connsiteY1" fmla="*/ 0 h 168497"/>
                  <a:gd name="connsiteX2" fmla="*/ 77153 w 95250"/>
                  <a:gd name="connsiteY2" fmla="*/ 17050 h 168497"/>
                  <a:gd name="connsiteX3" fmla="*/ 74295 w 95250"/>
                  <a:gd name="connsiteY3" fmla="*/ 31337 h 168497"/>
                  <a:gd name="connsiteX4" fmla="*/ 95250 w 95250"/>
                  <a:gd name="connsiteY4" fmla="*/ 49435 h 168497"/>
                  <a:gd name="connsiteX5" fmla="*/ 56198 w 95250"/>
                  <a:gd name="connsiteY5" fmla="*/ 95250 h 168497"/>
                  <a:gd name="connsiteX6" fmla="*/ 60008 w 95250"/>
                  <a:gd name="connsiteY6" fmla="*/ 161925 h 168497"/>
                  <a:gd name="connsiteX7" fmla="*/ 20955 w 95250"/>
                  <a:gd name="connsiteY7" fmla="*/ 168497 h 168497"/>
                  <a:gd name="connsiteX8" fmla="*/ 20955 w 95250"/>
                  <a:gd name="connsiteY8" fmla="*/ 84772 h 168497"/>
                  <a:gd name="connsiteX9" fmla="*/ 0 w 95250"/>
                  <a:gd name="connsiteY9" fmla="*/ 56197 h 168497"/>
                  <a:gd name="connsiteX10" fmla="*/ 6668 w 95250"/>
                  <a:gd name="connsiteY10" fmla="*/ 35147 h 168497"/>
                  <a:gd name="connsiteX11" fmla="*/ 35243 w 95250"/>
                  <a:gd name="connsiteY11" fmla="*/ 27622 h 168497"/>
                  <a:gd name="connsiteX12" fmla="*/ 35243 w 95250"/>
                  <a:gd name="connsiteY12" fmla="*/ 2762 h 168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168497">
                    <a:moveTo>
                      <a:pt x="35243" y="2762"/>
                    </a:moveTo>
                    <a:lnTo>
                      <a:pt x="60008" y="0"/>
                    </a:lnTo>
                    <a:lnTo>
                      <a:pt x="77153" y="17050"/>
                    </a:lnTo>
                    <a:lnTo>
                      <a:pt x="74295" y="31337"/>
                    </a:lnTo>
                    <a:lnTo>
                      <a:pt x="95250" y="49435"/>
                    </a:lnTo>
                    <a:lnTo>
                      <a:pt x="56198" y="95250"/>
                    </a:lnTo>
                    <a:lnTo>
                      <a:pt x="60008" y="161925"/>
                    </a:lnTo>
                    <a:lnTo>
                      <a:pt x="20955" y="168497"/>
                    </a:lnTo>
                    <a:lnTo>
                      <a:pt x="20955" y="84772"/>
                    </a:lnTo>
                    <a:lnTo>
                      <a:pt x="0" y="56197"/>
                    </a:lnTo>
                    <a:lnTo>
                      <a:pt x="6668" y="35147"/>
                    </a:lnTo>
                    <a:lnTo>
                      <a:pt x="35243" y="27622"/>
                    </a:lnTo>
                    <a:lnTo>
                      <a:pt x="35243" y="276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16360DB9-91C6-0CF0-A76F-97B728FD22CC}"/>
                  </a:ext>
                </a:extLst>
              </p:cNvPr>
              <p:cNvSpPr/>
              <p:nvPr/>
            </p:nvSpPr>
            <p:spPr>
              <a:xfrm>
                <a:off x="5986382" y="4240181"/>
                <a:ext cx="51354" cy="138285"/>
              </a:xfrm>
              <a:custGeom>
                <a:avLst/>
                <a:gdLst>
                  <a:gd name="connsiteX0" fmla="*/ 52388 w 52387"/>
                  <a:gd name="connsiteY0" fmla="*/ 133350 h 141065"/>
                  <a:gd name="connsiteX1" fmla="*/ 27622 w 52387"/>
                  <a:gd name="connsiteY1" fmla="*/ 141065 h 141065"/>
                  <a:gd name="connsiteX2" fmla="*/ 20955 w 52387"/>
                  <a:gd name="connsiteY2" fmla="*/ 84868 h 141065"/>
                  <a:gd name="connsiteX3" fmla="*/ 13335 w 52387"/>
                  <a:gd name="connsiteY3" fmla="*/ 60103 h 141065"/>
                  <a:gd name="connsiteX4" fmla="*/ 20955 w 52387"/>
                  <a:gd name="connsiteY4" fmla="*/ 31528 h 141065"/>
                  <a:gd name="connsiteX5" fmla="*/ 0 w 52387"/>
                  <a:gd name="connsiteY5" fmla="*/ 0 h 141065"/>
                  <a:gd name="connsiteX6" fmla="*/ 38100 w 52387"/>
                  <a:gd name="connsiteY6" fmla="*/ 0 h 141065"/>
                  <a:gd name="connsiteX7" fmla="*/ 31432 w 52387"/>
                  <a:gd name="connsiteY7" fmla="*/ 21050 h 141065"/>
                  <a:gd name="connsiteX8" fmla="*/ 52388 w 52387"/>
                  <a:gd name="connsiteY8" fmla="*/ 49625 h 141065"/>
                  <a:gd name="connsiteX9" fmla="*/ 52388 w 52387"/>
                  <a:gd name="connsiteY9" fmla="*/ 133350 h 141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387" h="141065">
                    <a:moveTo>
                      <a:pt x="52388" y="133350"/>
                    </a:moveTo>
                    <a:lnTo>
                      <a:pt x="27622" y="141065"/>
                    </a:lnTo>
                    <a:lnTo>
                      <a:pt x="20955" y="84868"/>
                    </a:lnTo>
                    <a:lnTo>
                      <a:pt x="13335" y="60103"/>
                    </a:lnTo>
                    <a:lnTo>
                      <a:pt x="20955" y="31528"/>
                    </a:lnTo>
                    <a:lnTo>
                      <a:pt x="0" y="0"/>
                    </a:lnTo>
                    <a:lnTo>
                      <a:pt x="38100" y="0"/>
                    </a:lnTo>
                    <a:lnTo>
                      <a:pt x="31432" y="21050"/>
                    </a:lnTo>
                    <a:lnTo>
                      <a:pt x="52388" y="49625"/>
                    </a:lnTo>
                    <a:lnTo>
                      <a:pt x="52388" y="13335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D58363A0-B10A-532F-6FFD-905AA6D420DB}"/>
                  </a:ext>
                </a:extLst>
              </p:cNvPr>
              <p:cNvSpPr/>
              <p:nvPr/>
            </p:nvSpPr>
            <p:spPr>
              <a:xfrm>
                <a:off x="5986382" y="4240181"/>
                <a:ext cx="51354" cy="138285"/>
              </a:xfrm>
              <a:custGeom>
                <a:avLst/>
                <a:gdLst>
                  <a:gd name="connsiteX0" fmla="*/ 52388 w 52387"/>
                  <a:gd name="connsiteY0" fmla="*/ 133350 h 141065"/>
                  <a:gd name="connsiteX1" fmla="*/ 27622 w 52387"/>
                  <a:gd name="connsiteY1" fmla="*/ 141065 h 141065"/>
                  <a:gd name="connsiteX2" fmla="*/ 20955 w 52387"/>
                  <a:gd name="connsiteY2" fmla="*/ 84868 h 141065"/>
                  <a:gd name="connsiteX3" fmla="*/ 13335 w 52387"/>
                  <a:gd name="connsiteY3" fmla="*/ 60103 h 141065"/>
                  <a:gd name="connsiteX4" fmla="*/ 20955 w 52387"/>
                  <a:gd name="connsiteY4" fmla="*/ 31528 h 141065"/>
                  <a:gd name="connsiteX5" fmla="*/ 0 w 52387"/>
                  <a:gd name="connsiteY5" fmla="*/ 0 h 141065"/>
                  <a:gd name="connsiteX6" fmla="*/ 38100 w 52387"/>
                  <a:gd name="connsiteY6" fmla="*/ 0 h 141065"/>
                  <a:gd name="connsiteX7" fmla="*/ 31432 w 52387"/>
                  <a:gd name="connsiteY7" fmla="*/ 21050 h 141065"/>
                  <a:gd name="connsiteX8" fmla="*/ 52388 w 52387"/>
                  <a:gd name="connsiteY8" fmla="*/ 49625 h 141065"/>
                  <a:gd name="connsiteX9" fmla="*/ 52388 w 52387"/>
                  <a:gd name="connsiteY9" fmla="*/ 133350 h 141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387" h="141065">
                    <a:moveTo>
                      <a:pt x="52388" y="133350"/>
                    </a:moveTo>
                    <a:lnTo>
                      <a:pt x="27622" y="141065"/>
                    </a:lnTo>
                    <a:lnTo>
                      <a:pt x="20955" y="84868"/>
                    </a:lnTo>
                    <a:lnTo>
                      <a:pt x="13335" y="60103"/>
                    </a:lnTo>
                    <a:lnTo>
                      <a:pt x="20955" y="31528"/>
                    </a:lnTo>
                    <a:lnTo>
                      <a:pt x="0" y="0"/>
                    </a:lnTo>
                    <a:lnTo>
                      <a:pt x="38100" y="0"/>
                    </a:lnTo>
                    <a:lnTo>
                      <a:pt x="31432" y="21050"/>
                    </a:lnTo>
                    <a:lnTo>
                      <a:pt x="52388" y="49625"/>
                    </a:lnTo>
                    <a:lnTo>
                      <a:pt x="52388" y="13335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06778A1D-35D3-3C5E-27C1-86FD27540191}"/>
                  </a:ext>
                </a:extLst>
              </p:cNvPr>
              <p:cNvSpPr/>
              <p:nvPr/>
            </p:nvSpPr>
            <p:spPr>
              <a:xfrm>
                <a:off x="5665181" y="3852683"/>
                <a:ext cx="445386" cy="408134"/>
              </a:xfrm>
              <a:custGeom>
                <a:avLst/>
                <a:gdLst>
                  <a:gd name="connsiteX0" fmla="*/ 211455 w 454342"/>
                  <a:gd name="connsiteY0" fmla="*/ 0 h 416337"/>
                  <a:gd name="connsiteX1" fmla="*/ 369570 w 454342"/>
                  <a:gd name="connsiteY1" fmla="*/ 105728 h 416337"/>
                  <a:gd name="connsiteX2" fmla="*/ 394335 w 454342"/>
                  <a:gd name="connsiteY2" fmla="*/ 130588 h 416337"/>
                  <a:gd name="connsiteX3" fmla="*/ 429578 w 454342"/>
                  <a:gd name="connsiteY3" fmla="*/ 144875 h 416337"/>
                  <a:gd name="connsiteX4" fmla="*/ 425767 w 454342"/>
                  <a:gd name="connsiteY4" fmla="*/ 173450 h 416337"/>
                  <a:gd name="connsiteX5" fmla="*/ 454342 w 454342"/>
                  <a:gd name="connsiteY5" fmla="*/ 169640 h 416337"/>
                  <a:gd name="connsiteX6" fmla="*/ 454342 w 454342"/>
                  <a:gd name="connsiteY6" fmla="*/ 243840 h 416337"/>
                  <a:gd name="connsiteX7" fmla="*/ 433388 w 454342"/>
                  <a:gd name="connsiteY7" fmla="*/ 275368 h 416337"/>
                  <a:gd name="connsiteX8" fmla="*/ 373380 w 454342"/>
                  <a:gd name="connsiteY8" fmla="*/ 285750 h 416337"/>
                  <a:gd name="connsiteX9" fmla="*/ 348615 w 454342"/>
                  <a:gd name="connsiteY9" fmla="*/ 285750 h 416337"/>
                  <a:gd name="connsiteX10" fmla="*/ 313372 w 454342"/>
                  <a:gd name="connsiteY10" fmla="*/ 285750 h 416337"/>
                  <a:gd name="connsiteX11" fmla="*/ 270510 w 454342"/>
                  <a:gd name="connsiteY11" fmla="*/ 303943 h 416337"/>
                  <a:gd name="connsiteX12" fmla="*/ 239078 w 454342"/>
                  <a:gd name="connsiteY12" fmla="*/ 335375 h 416337"/>
                  <a:gd name="connsiteX13" fmla="*/ 224790 w 454342"/>
                  <a:gd name="connsiteY13" fmla="*/ 327755 h 416337"/>
                  <a:gd name="connsiteX14" fmla="*/ 207645 w 454342"/>
                  <a:gd name="connsiteY14" fmla="*/ 370618 h 416337"/>
                  <a:gd name="connsiteX15" fmla="*/ 189547 w 454342"/>
                  <a:gd name="connsiteY15" fmla="*/ 374428 h 416337"/>
                  <a:gd name="connsiteX16" fmla="*/ 182880 w 454342"/>
                  <a:gd name="connsiteY16" fmla="*/ 412528 h 416337"/>
                  <a:gd name="connsiteX17" fmla="*/ 112395 w 454342"/>
                  <a:gd name="connsiteY17" fmla="*/ 416338 h 416337"/>
                  <a:gd name="connsiteX18" fmla="*/ 98107 w 454342"/>
                  <a:gd name="connsiteY18" fmla="*/ 384905 h 416337"/>
                  <a:gd name="connsiteX19" fmla="*/ 87630 w 454342"/>
                  <a:gd name="connsiteY19" fmla="*/ 360140 h 416337"/>
                  <a:gd name="connsiteX20" fmla="*/ 41910 w 454342"/>
                  <a:gd name="connsiteY20" fmla="*/ 370618 h 416337"/>
                  <a:gd name="connsiteX21" fmla="*/ 20955 w 454342"/>
                  <a:gd name="connsiteY21" fmla="*/ 362903 h 416337"/>
                  <a:gd name="connsiteX22" fmla="*/ 20955 w 454342"/>
                  <a:gd name="connsiteY22" fmla="*/ 360140 h 416337"/>
                  <a:gd name="connsiteX23" fmla="*/ 20955 w 454342"/>
                  <a:gd name="connsiteY23" fmla="*/ 352425 h 416337"/>
                  <a:gd name="connsiteX24" fmla="*/ 17145 w 454342"/>
                  <a:gd name="connsiteY24" fmla="*/ 339090 h 416337"/>
                  <a:gd name="connsiteX25" fmla="*/ 6667 w 454342"/>
                  <a:gd name="connsiteY25" fmla="*/ 324803 h 416337"/>
                  <a:gd name="connsiteX26" fmla="*/ 2857 w 454342"/>
                  <a:gd name="connsiteY26" fmla="*/ 303943 h 416337"/>
                  <a:gd name="connsiteX27" fmla="*/ 0 w 454342"/>
                  <a:gd name="connsiteY27" fmla="*/ 292513 h 416337"/>
                  <a:gd name="connsiteX28" fmla="*/ 10478 w 454342"/>
                  <a:gd name="connsiteY28" fmla="*/ 268700 h 416337"/>
                  <a:gd name="connsiteX29" fmla="*/ 186690 w 454342"/>
                  <a:gd name="connsiteY29" fmla="*/ 271463 h 416337"/>
                  <a:gd name="connsiteX30" fmla="*/ 189547 w 454342"/>
                  <a:gd name="connsiteY30" fmla="*/ 254413 h 416337"/>
                  <a:gd name="connsiteX31" fmla="*/ 179070 w 454342"/>
                  <a:gd name="connsiteY31" fmla="*/ 240125 h 416337"/>
                  <a:gd name="connsiteX32" fmla="*/ 158115 w 454342"/>
                  <a:gd name="connsiteY32" fmla="*/ 0 h 416337"/>
                  <a:gd name="connsiteX33" fmla="*/ 211455 w 454342"/>
                  <a:gd name="connsiteY33" fmla="*/ 0 h 416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454342" h="416337">
                    <a:moveTo>
                      <a:pt x="211455" y="0"/>
                    </a:moveTo>
                    <a:lnTo>
                      <a:pt x="369570" y="105728"/>
                    </a:lnTo>
                    <a:lnTo>
                      <a:pt x="394335" y="130588"/>
                    </a:lnTo>
                    <a:lnTo>
                      <a:pt x="429578" y="144875"/>
                    </a:lnTo>
                    <a:lnTo>
                      <a:pt x="425767" y="173450"/>
                    </a:lnTo>
                    <a:lnTo>
                      <a:pt x="454342" y="169640"/>
                    </a:lnTo>
                    <a:lnTo>
                      <a:pt x="454342" y="243840"/>
                    </a:lnTo>
                    <a:lnTo>
                      <a:pt x="433388" y="275368"/>
                    </a:lnTo>
                    <a:lnTo>
                      <a:pt x="373380" y="285750"/>
                    </a:lnTo>
                    <a:lnTo>
                      <a:pt x="348615" y="285750"/>
                    </a:lnTo>
                    <a:lnTo>
                      <a:pt x="313372" y="285750"/>
                    </a:lnTo>
                    <a:lnTo>
                      <a:pt x="270510" y="303943"/>
                    </a:lnTo>
                    <a:lnTo>
                      <a:pt x="239078" y="335375"/>
                    </a:lnTo>
                    <a:lnTo>
                      <a:pt x="224790" y="327755"/>
                    </a:lnTo>
                    <a:lnTo>
                      <a:pt x="207645" y="370618"/>
                    </a:lnTo>
                    <a:lnTo>
                      <a:pt x="189547" y="374428"/>
                    </a:lnTo>
                    <a:lnTo>
                      <a:pt x="182880" y="412528"/>
                    </a:lnTo>
                    <a:lnTo>
                      <a:pt x="112395" y="416338"/>
                    </a:lnTo>
                    <a:lnTo>
                      <a:pt x="98107" y="384905"/>
                    </a:lnTo>
                    <a:lnTo>
                      <a:pt x="87630" y="360140"/>
                    </a:lnTo>
                    <a:lnTo>
                      <a:pt x="41910" y="370618"/>
                    </a:lnTo>
                    <a:lnTo>
                      <a:pt x="20955" y="362903"/>
                    </a:lnTo>
                    <a:lnTo>
                      <a:pt x="20955" y="360140"/>
                    </a:lnTo>
                    <a:lnTo>
                      <a:pt x="20955" y="352425"/>
                    </a:lnTo>
                    <a:lnTo>
                      <a:pt x="17145" y="339090"/>
                    </a:lnTo>
                    <a:lnTo>
                      <a:pt x="6667" y="324803"/>
                    </a:lnTo>
                    <a:lnTo>
                      <a:pt x="2857" y="303943"/>
                    </a:lnTo>
                    <a:lnTo>
                      <a:pt x="0" y="292513"/>
                    </a:lnTo>
                    <a:lnTo>
                      <a:pt x="10478" y="268700"/>
                    </a:lnTo>
                    <a:lnTo>
                      <a:pt x="186690" y="271463"/>
                    </a:lnTo>
                    <a:lnTo>
                      <a:pt x="189547" y="254413"/>
                    </a:lnTo>
                    <a:lnTo>
                      <a:pt x="179070" y="240125"/>
                    </a:lnTo>
                    <a:lnTo>
                      <a:pt x="158115" y="0"/>
                    </a:lnTo>
                    <a:lnTo>
                      <a:pt x="21145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D79E0194-BCC6-7649-110A-8272C4A49873}"/>
                  </a:ext>
                </a:extLst>
              </p:cNvPr>
              <p:cNvSpPr/>
              <p:nvPr/>
            </p:nvSpPr>
            <p:spPr>
              <a:xfrm>
                <a:off x="5844456" y="4132803"/>
                <a:ext cx="207287" cy="148556"/>
              </a:xfrm>
              <a:custGeom>
                <a:avLst/>
                <a:gdLst>
                  <a:gd name="connsiteX0" fmla="*/ 77153 w 211455"/>
                  <a:gd name="connsiteY0" fmla="*/ 109538 h 151542"/>
                  <a:gd name="connsiteX1" fmla="*/ 77153 w 211455"/>
                  <a:gd name="connsiteY1" fmla="*/ 148590 h 151542"/>
                  <a:gd name="connsiteX2" fmla="*/ 53340 w 211455"/>
                  <a:gd name="connsiteY2" fmla="*/ 137255 h 151542"/>
                  <a:gd name="connsiteX3" fmla="*/ 35243 w 211455"/>
                  <a:gd name="connsiteY3" fmla="*/ 151543 h 151542"/>
                  <a:gd name="connsiteX4" fmla="*/ 0 w 211455"/>
                  <a:gd name="connsiteY4" fmla="*/ 126778 h 151542"/>
                  <a:gd name="connsiteX5" fmla="*/ 6668 w 211455"/>
                  <a:gd name="connsiteY5" fmla="*/ 88678 h 151542"/>
                  <a:gd name="connsiteX6" fmla="*/ 24765 w 211455"/>
                  <a:gd name="connsiteY6" fmla="*/ 84868 h 151542"/>
                  <a:gd name="connsiteX7" fmla="*/ 41910 w 211455"/>
                  <a:gd name="connsiteY7" fmla="*/ 42005 h 151542"/>
                  <a:gd name="connsiteX8" fmla="*/ 56198 w 211455"/>
                  <a:gd name="connsiteY8" fmla="*/ 49625 h 151542"/>
                  <a:gd name="connsiteX9" fmla="*/ 87630 w 211455"/>
                  <a:gd name="connsiteY9" fmla="*/ 18193 h 151542"/>
                  <a:gd name="connsiteX10" fmla="*/ 130493 w 211455"/>
                  <a:gd name="connsiteY10" fmla="*/ 0 h 151542"/>
                  <a:gd name="connsiteX11" fmla="*/ 165735 w 211455"/>
                  <a:gd name="connsiteY11" fmla="*/ 0 h 151542"/>
                  <a:gd name="connsiteX12" fmla="*/ 158115 w 211455"/>
                  <a:gd name="connsiteY12" fmla="*/ 14288 h 151542"/>
                  <a:gd name="connsiteX13" fmla="*/ 161925 w 211455"/>
                  <a:gd name="connsiteY13" fmla="*/ 24765 h 151542"/>
                  <a:gd name="connsiteX14" fmla="*/ 182880 w 211455"/>
                  <a:gd name="connsiteY14" fmla="*/ 49625 h 151542"/>
                  <a:gd name="connsiteX15" fmla="*/ 180023 w 211455"/>
                  <a:gd name="connsiteY15" fmla="*/ 60103 h 151542"/>
                  <a:gd name="connsiteX16" fmla="*/ 211455 w 211455"/>
                  <a:gd name="connsiteY16" fmla="*/ 77153 h 151542"/>
                  <a:gd name="connsiteX17" fmla="*/ 211455 w 211455"/>
                  <a:gd name="connsiteY17" fmla="*/ 102013 h 151542"/>
                  <a:gd name="connsiteX18" fmla="*/ 182880 w 211455"/>
                  <a:gd name="connsiteY18" fmla="*/ 109538 h 151542"/>
                  <a:gd name="connsiteX19" fmla="*/ 144780 w 211455"/>
                  <a:gd name="connsiteY19" fmla="*/ 109538 h 151542"/>
                  <a:gd name="connsiteX20" fmla="*/ 77153 w 211455"/>
                  <a:gd name="connsiteY20" fmla="*/ 109538 h 151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1455" h="151542">
                    <a:moveTo>
                      <a:pt x="77153" y="109538"/>
                    </a:moveTo>
                    <a:lnTo>
                      <a:pt x="77153" y="148590"/>
                    </a:lnTo>
                    <a:lnTo>
                      <a:pt x="53340" y="137255"/>
                    </a:lnTo>
                    <a:lnTo>
                      <a:pt x="35243" y="151543"/>
                    </a:lnTo>
                    <a:lnTo>
                      <a:pt x="0" y="126778"/>
                    </a:lnTo>
                    <a:lnTo>
                      <a:pt x="6668" y="88678"/>
                    </a:lnTo>
                    <a:lnTo>
                      <a:pt x="24765" y="84868"/>
                    </a:lnTo>
                    <a:lnTo>
                      <a:pt x="41910" y="42005"/>
                    </a:lnTo>
                    <a:lnTo>
                      <a:pt x="56198" y="49625"/>
                    </a:lnTo>
                    <a:lnTo>
                      <a:pt x="87630" y="18193"/>
                    </a:lnTo>
                    <a:lnTo>
                      <a:pt x="130493" y="0"/>
                    </a:lnTo>
                    <a:lnTo>
                      <a:pt x="165735" y="0"/>
                    </a:lnTo>
                    <a:lnTo>
                      <a:pt x="158115" y="14288"/>
                    </a:lnTo>
                    <a:lnTo>
                      <a:pt x="161925" y="24765"/>
                    </a:lnTo>
                    <a:lnTo>
                      <a:pt x="182880" y="49625"/>
                    </a:lnTo>
                    <a:lnTo>
                      <a:pt x="180023" y="60103"/>
                    </a:lnTo>
                    <a:lnTo>
                      <a:pt x="211455" y="77153"/>
                    </a:lnTo>
                    <a:lnTo>
                      <a:pt x="211455" y="102013"/>
                    </a:lnTo>
                    <a:lnTo>
                      <a:pt x="182880" y="109538"/>
                    </a:lnTo>
                    <a:lnTo>
                      <a:pt x="144780" y="109538"/>
                    </a:lnTo>
                    <a:lnTo>
                      <a:pt x="77153" y="1095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6" name="Freeform: Shape 165">
                <a:extLst>
                  <a:ext uri="{FF2B5EF4-FFF2-40B4-BE49-F238E27FC236}">
                    <a16:creationId xmlns:a16="http://schemas.microsoft.com/office/drawing/2014/main" id="{1323EDAD-ABC5-1043-7DE2-09F9F123490B}"/>
                  </a:ext>
                </a:extLst>
              </p:cNvPr>
              <p:cNvSpPr/>
              <p:nvPr/>
            </p:nvSpPr>
            <p:spPr>
              <a:xfrm>
                <a:off x="5844456" y="4132803"/>
                <a:ext cx="207287" cy="148556"/>
              </a:xfrm>
              <a:custGeom>
                <a:avLst/>
                <a:gdLst>
                  <a:gd name="connsiteX0" fmla="*/ 77153 w 211455"/>
                  <a:gd name="connsiteY0" fmla="*/ 109538 h 151542"/>
                  <a:gd name="connsiteX1" fmla="*/ 77153 w 211455"/>
                  <a:gd name="connsiteY1" fmla="*/ 148590 h 151542"/>
                  <a:gd name="connsiteX2" fmla="*/ 53340 w 211455"/>
                  <a:gd name="connsiteY2" fmla="*/ 137255 h 151542"/>
                  <a:gd name="connsiteX3" fmla="*/ 35243 w 211455"/>
                  <a:gd name="connsiteY3" fmla="*/ 151543 h 151542"/>
                  <a:gd name="connsiteX4" fmla="*/ 0 w 211455"/>
                  <a:gd name="connsiteY4" fmla="*/ 126778 h 151542"/>
                  <a:gd name="connsiteX5" fmla="*/ 6668 w 211455"/>
                  <a:gd name="connsiteY5" fmla="*/ 88678 h 151542"/>
                  <a:gd name="connsiteX6" fmla="*/ 24765 w 211455"/>
                  <a:gd name="connsiteY6" fmla="*/ 84868 h 151542"/>
                  <a:gd name="connsiteX7" fmla="*/ 41910 w 211455"/>
                  <a:gd name="connsiteY7" fmla="*/ 42005 h 151542"/>
                  <a:gd name="connsiteX8" fmla="*/ 56198 w 211455"/>
                  <a:gd name="connsiteY8" fmla="*/ 49625 h 151542"/>
                  <a:gd name="connsiteX9" fmla="*/ 87630 w 211455"/>
                  <a:gd name="connsiteY9" fmla="*/ 18193 h 151542"/>
                  <a:gd name="connsiteX10" fmla="*/ 130493 w 211455"/>
                  <a:gd name="connsiteY10" fmla="*/ 0 h 151542"/>
                  <a:gd name="connsiteX11" fmla="*/ 165735 w 211455"/>
                  <a:gd name="connsiteY11" fmla="*/ 0 h 151542"/>
                  <a:gd name="connsiteX12" fmla="*/ 158115 w 211455"/>
                  <a:gd name="connsiteY12" fmla="*/ 14288 h 151542"/>
                  <a:gd name="connsiteX13" fmla="*/ 161925 w 211455"/>
                  <a:gd name="connsiteY13" fmla="*/ 24765 h 151542"/>
                  <a:gd name="connsiteX14" fmla="*/ 182880 w 211455"/>
                  <a:gd name="connsiteY14" fmla="*/ 49625 h 151542"/>
                  <a:gd name="connsiteX15" fmla="*/ 180023 w 211455"/>
                  <a:gd name="connsiteY15" fmla="*/ 60103 h 151542"/>
                  <a:gd name="connsiteX16" fmla="*/ 211455 w 211455"/>
                  <a:gd name="connsiteY16" fmla="*/ 77153 h 151542"/>
                  <a:gd name="connsiteX17" fmla="*/ 211455 w 211455"/>
                  <a:gd name="connsiteY17" fmla="*/ 102013 h 151542"/>
                  <a:gd name="connsiteX18" fmla="*/ 182880 w 211455"/>
                  <a:gd name="connsiteY18" fmla="*/ 109538 h 151542"/>
                  <a:gd name="connsiteX19" fmla="*/ 144780 w 211455"/>
                  <a:gd name="connsiteY19" fmla="*/ 109538 h 151542"/>
                  <a:gd name="connsiteX20" fmla="*/ 77153 w 211455"/>
                  <a:gd name="connsiteY20" fmla="*/ 109538 h 1515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11455" h="151542">
                    <a:moveTo>
                      <a:pt x="77153" y="109538"/>
                    </a:moveTo>
                    <a:lnTo>
                      <a:pt x="77153" y="148590"/>
                    </a:lnTo>
                    <a:lnTo>
                      <a:pt x="53340" y="137255"/>
                    </a:lnTo>
                    <a:lnTo>
                      <a:pt x="35243" y="151543"/>
                    </a:lnTo>
                    <a:lnTo>
                      <a:pt x="0" y="126778"/>
                    </a:lnTo>
                    <a:lnTo>
                      <a:pt x="6668" y="88678"/>
                    </a:lnTo>
                    <a:lnTo>
                      <a:pt x="24765" y="84868"/>
                    </a:lnTo>
                    <a:lnTo>
                      <a:pt x="41910" y="42005"/>
                    </a:lnTo>
                    <a:lnTo>
                      <a:pt x="56198" y="49625"/>
                    </a:lnTo>
                    <a:lnTo>
                      <a:pt x="87630" y="18193"/>
                    </a:lnTo>
                    <a:lnTo>
                      <a:pt x="130493" y="0"/>
                    </a:lnTo>
                    <a:lnTo>
                      <a:pt x="165735" y="0"/>
                    </a:lnTo>
                    <a:lnTo>
                      <a:pt x="158115" y="14288"/>
                    </a:lnTo>
                    <a:lnTo>
                      <a:pt x="161925" y="24765"/>
                    </a:lnTo>
                    <a:lnTo>
                      <a:pt x="182880" y="49625"/>
                    </a:lnTo>
                    <a:lnTo>
                      <a:pt x="180023" y="60103"/>
                    </a:lnTo>
                    <a:lnTo>
                      <a:pt x="211455" y="77153"/>
                    </a:lnTo>
                    <a:lnTo>
                      <a:pt x="211455" y="102013"/>
                    </a:lnTo>
                    <a:lnTo>
                      <a:pt x="182880" y="109538"/>
                    </a:lnTo>
                    <a:lnTo>
                      <a:pt x="144780" y="109538"/>
                    </a:lnTo>
                    <a:lnTo>
                      <a:pt x="77153" y="1095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7" name="Freeform: Shape 166">
                <a:extLst>
                  <a:ext uri="{FF2B5EF4-FFF2-40B4-BE49-F238E27FC236}">
                    <a16:creationId xmlns:a16="http://schemas.microsoft.com/office/drawing/2014/main" id="{835BA424-81C9-4C62-ABB5-6A6D04937A91}"/>
                  </a:ext>
                </a:extLst>
              </p:cNvPr>
              <p:cNvSpPr/>
              <p:nvPr/>
            </p:nvSpPr>
            <p:spPr>
              <a:xfrm>
                <a:off x="5909817" y="4240181"/>
                <a:ext cx="103643" cy="172740"/>
              </a:xfrm>
              <a:custGeom>
                <a:avLst/>
                <a:gdLst>
                  <a:gd name="connsiteX0" fmla="*/ 105728 w 105727"/>
                  <a:gd name="connsiteY0" fmla="*/ 141065 h 176212"/>
                  <a:gd name="connsiteX1" fmla="*/ 84773 w 105727"/>
                  <a:gd name="connsiteY1" fmla="*/ 151543 h 176212"/>
                  <a:gd name="connsiteX2" fmla="*/ 63818 w 105727"/>
                  <a:gd name="connsiteY2" fmla="*/ 169640 h 176212"/>
                  <a:gd name="connsiteX3" fmla="*/ 35243 w 105727"/>
                  <a:gd name="connsiteY3" fmla="*/ 176213 h 176212"/>
                  <a:gd name="connsiteX4" fmla="*/ 14288 w 105727"/>
                  <a:gd name="connsiteY4" fmla="*/ 165830 h 176212"/>
                  <a:gd name="connsiteX5" fmla="*/ 0 w 105727"/>
                  <a:gd name="connsiteY5" fmla="*/ 126778 h 176212"/>
                  <a:gd name="connsiteX6" fmla="*/ 18098 w 105727"/>
                  <a:gd name="connsiteY6" fmla="*/ 87725 h 176212"/>
                  <a:gd name="connsiteX7" fmla="*/ 10478 w 105727"/>
                  <a:gd name="connsiteY7" fmla="*/ 39053 h 176212"/>
                  <a:gd name="connsiteX8" fmla="*/ 10478 w 105727"/>
                  <a:gd name="connsiteY8" fmla="*/ 0 h 176212"/>
                  <a:gd name="connsiteX9" fmla="*/ 78105 w 105727"/>
                  <a:gd name="connsiteY9" fmla="*/ 0 h 176212"/>
                  <a:gd name="connsiteX10" fmla="*/ 99060 w 105727"/>
                  <a:gd name="connsiteY10" fmla="*/ 31528 h 176212"/>
                  <a:gd name="connsiteX11" fmla="*/ 91440 w 105727"/>
                  <a:gd name="connsiteY11" fmla="*/ 52388 h 176212"/>
                  <a:gd name="connsiteX12" fmla="*/ 95250 w 105727"/>
                  <a:gd name="connsiteY12" fmla="*/ 70580 h 176212"/>
                  <a:gd name="connsiteX13" fmla="*/ 99060 w 105727"/>
                  <a:gd name="connsiteY13" fmla="*/ 84868 h 176212"/>
                  <a:gd name="connsiteX14" fmla="*/ 105728 w 105727"/>
                  <a:gd name="connsiteY14" fmla="*/ 141065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5727" h="176212">
                    <a:moveTo>
                      <a:pt x="105728" y="141065"/>
                    </a:moveTo>
                    <a:lnTo>
                      <a:pt x="84773" y="151543"/>
                    </a:lnTo>
                    <a:lnTo>
                      <a:pt x="63818" y="169640"/>
                    </a:lnTo>
                    <a:lnTo>
                      <a:pt x="35243" y="176213"/>
                    </a:lnTo>
                    <a:lnTo>
                      <a:pt x="14288" y="165830"/>
                    </a:lnTo>
                    <a:lnTo>
                      <a:pt x="0" y="126778"/>
                    </a:lnTo>
                    <a:lnTo>
                      <a:pt x="18098" y="87725"/>
                    </a:lnTo>
                    <a:lnTo>
                      <a:pt x="10478" y="39053"/>
                    </a:lnTo>
                    <a:lnTo>
                      <a:pt x="10478" y="0"/>
                    </a:lnTo>
                    <a:lnTo>
                      <a:pt x="78105" y="0"/>
                    </a:lnTo>
                    <a:lnTo>
                      <a:pt x="99060" y="31528"/>
                    </a:lnTo>
                    <a:lnTo>
                      <a:pt x="91440" y="52388"/>
                    </a:lnTo>
                    <a:lnTo>
                      <a:pt x="95250" y="70580"/>
                    </a:lnTo>
                    <a:lnTo>
                      <a:pt x="99060" y="84868"/>
                    </a:lnTo>
                    <a:lnTo>
                      <a:pt x="105728" y="14106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8" name="Freeform: Shape 167">
                <a:extLst>
                  <a:ext uri="{FF2B5EF4-FFF2-40B4-BE49-F238E27FC236}">
                    <a16:creationId xmlns:a16="http://schemas.microsoft.com/office/drawing/2014/main" id="{A71795F8-EFAD-8323-1114-66A3FEEC4D16}"/>
                  </a:ext>
                </a:extLst>
              </p:cNvPr>
              <p:cNvSpPr/>
              <p:nvPr/>
            </p:nvSpPr>
            <p:spPr>
              <a:xfrm>
                <a:off x="5909817" y="4240181"/>
                <a:ext cx="103643" cy="172740"/>
              </a:xfrm>
              <a:custGeom>
                <a:avLst/>
                <a:gdLst>
                  <a:gd name="connsiteX0" fmla="*/ 105728 w 105727"/>
                  <a:gd name="connsiteY0" fmla="*/ 141065 h 176212"/>
                  <a:gd name="connsiteX1" fmla="*/ 84773 w 105727"/>
                  <a:gd name="connsiteY1" fmla="*/ 151543 h 176212"/>
                  <a:gd name="connsiteX2" fmla="*/ 63818 w 105727"/>
                  <a:gd name="connsiteY2" fmla="*/ 169640 h 176212"/>
                  <a:gd name="connsiteX3" fmla="*/ 35243 w 105727"/>
                  <a:gd name="connsiteY3" fmla="*/ 176213 h 176212"/>
                  <a:gd name="connsiteX4" fmla="*/ 14288 w 105727"/>
                  <a:gd name="connsiteY4" fmla="*/ 165830 h 176212"/>
                  <a:gd name="connsiteX5" fmla="*/ 0 w 105727"/>
                  <a:gd name="connsiteY5" fmla="*/ 126778 h 176212"/>
                  <a:gd name="connsiteX6" fmla="*/ 18098 w 105727"/>
                  <a:gd name="connsiteY6" fmla="*/ 87725 h 176212"/>
                  <a:gd name="connsiteX7" fmla="*/ 10478 w 105727"/>
                  <a:gd name="connsiteY7" fmla="*/ 39053 h 176212"/>
                  <a:gd name="connsiteX8" fmla="*/ 10478 w 105727"/>
                  <a:gd name="connsiteY8" fmla="*/ 0 h 176212"/>
                  <a:gd name="connsiteX9" fmla="*/ 78105 w 105727"/>
                  <a:gd name="connsiteY9" fmla="*/ 0 h 176212"/>
                  <a:gd name="connsiteX10" fmla="*/ 99060 w 105727"/>
                  <a:gd name="connsiteY10" fmla="*/ 31528 h 176212"/>
                  <a:gd name="connsiteX11" fmla="*/ 91440 w 105727"/>
                  <a:gd name="connsiteY11" fmla="*/ 52388 h 176212"/>
                  <a:gd name="connsiteX12" fmla="*/ 95250 w 105727"/>
                  <a:gd name="connsiteY12" fmla="*/ 70580 h 176212"/>
                  <a:gd name="connsiteX13" fmla="*/ 99060 w 105727"/>
                  <a:gd name="connsiteY13" fmla="*/ 84868 h 176212"/>
                  <a:gd name="connsiteX14" fmla="*/ 105728 w 105727"/>
                  <a:gd name="connsiteY14" fmla="*/ 141065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5727" h="176212">
                    <a:moveTo>
                      <a:pt x="105728" y="141065"/>
                    </a:moveTo>
                    <a:lnTo>
                      <a:pt x="84773" y="151543"/>
                    </a:lnTo>
                    <a:lnTo>
                      <a:pt x="63818" y="169640"/>
                    </a:lnTo>
                    <a:lnTo>
                      <a:pt x="35243" y="176213"/>
                    </a:lnTo>
                    <a:lnTo>
                      <a:pt x="14288" y="165830"/>
                    </a:lnTo>
                    <a:lnTo>
                      <a:pt x="0" y="126778"/>
                    </a:lnTo>
                    <a:lnTo>
                      <a:pt x="18098" y="87725"/>
                    </a:lnTo>
                    <a:lnTo>
                      <a:pt x="10478" y="39053"/>
                    </a:lnTo>
                    <a:lnTo>
                      <a:pt x="10478" y="0"/>
                    </a:lnTo>
                    <a:lnTo>
                      <a:pt x="78105" y="0"/>
                    </a:lnTo>
                    <a:lnTo>
                      <a:pt x="99060" y="31528"/>
                    </a:lnTo>
                    <a:lnTo>
                      <a:pt x="91440" y="52388"/>
                    </a:lnTo>
                    <a:lnTo>
                      <a:pt x="95250" y="70580"/>
                    </a:lnTo>
                    <a:lnTo>
                      <a:pt x="99060" y="84868"/>
                    </a:lnTo>
                    <a:lnTo>
                      <a:pt x="105728" y="14106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69" name="Freeform: Shape 168">
                <a:extLst>
                  <a:ext uri="{FF2B5EF4-FFF2-40B4-BE49-F238E27FC236}">
                    <a16:creationId xmlns:a16="http://schemas.microsoft.com/office/drawing/2014/main" id="{43F37679-8E94-FBE7-19A3-D1E65E91021E}"/>
                  </a:ext>
                </a:extLst>
              </p:cNvPr>
              <p:cNvSpPr/>
              <p:nvPr/>
            </p:nvSpPr>
            <p:spPr>
              <a:xfrm>
                <a:off x="5765089" y="4257083"/>
                <a:ext cx="162468" cy="169845"/>
              </a:xfrm>
              <a:custGeom>
                <a:avLst/>
                <a:gdLst>
                  <a:gd name="connsiteX0" fmla="*/ 161925 w 165735"/>
                  <a:gd name="connsiteY0" fmla="*/ 148590 h 173259"/>
                  <a:gd name="connsiteX1" fmla="*/ 87630 w 165735"/>
                  <a:gd name="connsiteY1" fmla="*/ 148590 h 173259"/>
                  <a:gd name="connsiteX2" fmla="*/ 41910 w 165735"/>
                  <a:gd name="connsiteY2" fmla="*/ 165735 h 173259"/>
                  <a:gd name="connsiteX3" fmla="*/ 20955 w 165735"/>
                  <a:gd name="connsiteY3" fmla="*/ 173260 h 173259"/>
                  <a:gd name="connsiteX4" fmla="*/ 28575 w 165735"/>
                  <a:gd name="connsiteY4" fmla="*/ 138113 h 173259"/>
                  <a:gd name="connsiteX5" fmla="*/ 24765 w 165735"/>
                  <a:gd name="connsiteY5" fmla="*/ 127635 h 173259"/>
                  <a:gd name="connsiteX6" fmla="*/ 14288 w 165735"/>
                  <a:gd name="connsiteY6" fmla="*/ 120015 h 173259"/>
                  <a:gd name="connsiteX7" fmla="*/ 0 w 165735"/>
                  <a:gd name="connsiteY7" fmla="*/ 116110 h 173259"/>
                  <a:gd name="connsiteX8" fmla="*/ 0 w 165735"/>
                  <a:gd name="connsiteY8" fmla="*/ 99060 h 173259"/>
                  <a:gd name="connsiteX9" fmla="*/ 0 w 165735"/>
                  <a:gd name="connsiteY9" fmla="*/ 84772 h 173259"/>
                  <a:gd name="connsiteX10" fmla="*/ 10478 w 165735"/>
                  <a:gd name="connsiteY10" fmla="*/ 78010 h 173259"/>
                  <a:gd name="connsiteX11" fmla="*/ 6668 w 165735"/>
                  <a:gd name="connsiteY11" fmla="*/ 59912 h 173259"/>
                  <a:gd name="connsiteX12" fmla="*/ 18098 w 165735"/>
                  <a:gd name="connsiteY12" fmla="*/ 57150 h 173259"/>
                  <a:gd name="connsiteX13" fmla="*/ 14288 w 165735"/>
                  <a:gd name="connsiteY13" fmla="*/ 32385 h 173259"/>
                  <a:gd name="connsiteX14" fmla="*/ 6668 w 165735"/>
                  <a:gd name="connsiteY14" fmla="*/ 18097 h 173259"/>
                  <a:gd name="connsiteX15" fmla="*/ 10478 w 165735"/>
                  <a:gd name="connsiteY15" fmla="*/ 3810 h 173259"/>
                  <a:gd name="connsiteX16" fmla="*/ 80963 w 165735"/>
                  <a:gd name="connsiteY16" fmla="*/ 0 h 173259"/>
                  <a:gd name="connsiteX17" fmla="*/ 116205 w 165735"/>
                  <a:gd name="connsiteY17" fmla="*/ 24765 h 173259"/>
                  <a:gd name="connsiteX18" fmla="*/ 134303 w 165735"/>
                  <a:gd name="connsiteY18" fmla="*/ 10478 h 173259"/>
                  <a:gd name="connsiteX19" fmla="*/ 158115 w 165735"/>
                  <a:gd name="connsiteY19" fmla="*/ 21812 h 173259"/>
                  <a:gd name="connsiteX20" fmla="*/ 165735 w 165735"/>
                  <a:gd name="connsiteY20" fmla="*/ 70485 h 173259"/>
                  <a:gd name="connsiteX21" fmla="*/ 147638 w 165735"/>
                  <a:gd name="connsiteY21" fmla="*/ 109538 h 173259"/>
                  <a:gd name="connsiteX22" fmla="*/ 161925 w 165735"/>
                  <a:gd name="connsiteY22" fmla="*/ 148590 h 17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65735" h="173259">
                    <a:moveTo>
                      <a:pt x="161925" y="148590"/>
                    </a:moveTo>
                    <a:lnTo>
                      <a:pt x="87630" y="148590"/>
                    </a:lnTo>
                    <a:lnTo>
                      <a:pt x="41910" y="165735"/>
                    </a:lnTo>
                    <a:lnTo>
                      <a:pt x="20955" y="173260"/>
                    </a:lnTo>
                    <a:lnTo>
                      <a:pt x="28575" y="138113"/>
                    </a:lnTo>
                    <a:lnTo>
                      <a:pt x="24765" y="127635"/>
                    </a:lnTo>
                    <a:lnTo>
                      <a:pt x="14288" y="120015"/>
                    </a:lnTo>
                    <a:lnTo>
                      <a:pt x="0" y="116110"/>
                    </a:lnTo>
                    <a:lnTo>
                      <a:pt x="0" y="99060"/>
                    </a:lnTo>
                    <a:lnTo>
                      <a:pt x="0" y="84772"/>
                    </a:lnTo>
                    <a:lnTo>
                      <a:pt x="10478" y="78010"/>
                    </a:lnTo>
                    <a:lnTo>
                      <a:pt x="6668" y="59912"/>
                    </a:lnTo>
                    <a:lnTo>
                      <a:pt x="18098" y="57150"/>
                    </a:lnTo>
                    <a:lnTo>
                      <a:pt x="14288" y="32385"/>
                    </a:lnTo>
                    <a:lnTo>
                      <a:pt x="6668" y="18097"/>
                    </a:lnTo>
                    <a:lnTo>
                      <a:pt x="10478" y="3810"/>
                    </a:lnTo>
                    <a:lnTo>
                      <a:pt x="80963" y="0"/>
                    </a:lnTo>
                    <a:lnTo>
                      <a:pt x="116205" y="24765"/>
                    </a:lnTo>
                    <a:lnTo>
                      <a:pt x="134303" y="10478"/>
                    </a:lnTo>
                    <a:lnTo>
                      <a:pt x="158115" y="21812"/>
                    </a:lnTo>
                    <a:lnTo>
                      <a:pt x="165735" y="70485"/>
                    </a:lnTo>
                    <a:lnTo>
                      <a:pt x="147638" y="109538"/>
                    </a:lnTo>
                    <a:lnTo>
                      <a:pt x="161925" y="1485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0" name="Freeform: Shape 169">
                <a:extLst>
                  <a:ext uri="{FF2B5EF4-FFF2-40B4-BE49-F238E27FC236}">
                    <a16:creationId xmlns:a16="http://schemas.microsoft.com/office/drawing/2014/main" id="{9489A363-9BF6-E727-8AF0-743B3A3F8203}"/>
                  </a:ext>
                </a:extLst>
              </p:cNvPr>
              <p:cNvSpPr/>
              <p:nvPr/>
            </p:nvSpPr>
            <p:spPr>
              <a:xfrm>
                <a:off x="5765089" y="4257083"/>
                <a:ext cx="162468" cy="169845"/>
              </a:xfrm>
              <a:custGeom>
                <a:avLst/>
                <a:gdLst>
                  <a:gd name="connsiteX0" fmla="*/ 161925 w 165735"/>
                  <a:gd name="connsiteY0" fmla="*/ 148590 h 173259"/>
                  <a:gd name="connsiteX1" fmla="*/ 87630 w 165735"/>
                  <a:gd name="connsiteY1" fmla="*/ 148590 h 173259"/>
                  <a:gd name="connsiteX2" fmla="*/ 41910 w 165735"/>
                  <a:gd name="connsiteY2" fmla="*/ 165735 h 173259"/>
                  <a:gd name="connsiteX3" fmla="*/ 20955 w 165735"/>
                  <a:gd name="connsiteY3" fmla="*/ 173260 h 173259"/>
                  <a:gd name="connsiteX4" fmla="*/ 28575 w 165735"/>
                  <a:gd name="connsiteY4" fmla="*/ 138113 h 173259"/>
                  <a:gd name="connsiteX5" fmla="*/ 24765 w 165735"/>
                  <a:gd name="connsiteY5" fmla="*/ 127635 h 173259"/>
                  <a:gd name="connsiteX6" fmla="*/ 14288 w 165735"/>
                  <a:gd name="connsiteY6" fmla="*/ 120015 h 173259"/>
                  <a:gd name="connsiteX7" fmla="*/ 0 w 165735"/>
                  <a:gd name="connsiteY7" fmla="*/ 116110 h 173259"/>
                  <a:gd name="connsiteX8" fmla="*/ 0 w 165735"/>
                  <a:gd name="connsiteY8" fmla="*/ 99060 h 173259"/>
                  <a:gd name="connsiteX9" fmla="*/ 0 w 165735"/>
                  <a:gd name="connsiteY9" fmla="*/ 84772 h 173259"/>
                  <a:gd name="connsiteX10" fmla="*/ 10478 w 165735"/>
                  <a:gd name="connsiteY10" fmla="*/ 78010 h 173259"/>
                  <a:gd name="connsiteX11" fmla="*/ 6668 w 165735"/>
                  <a:gd name="connsiteY11" fmla="*/ 59912 h 173259"/>
                  <a:gd name="connsiteX12" fmla="*/ 18098 w 165735"/>
                  <a:gd name="connsiteY12" fmla="*/ 57150 h 173259"/>
                  <a:gd name="connsiteX13" fmla="*/ 14288 w 165735"/>
                  <a:gd name="connsiteY13" fmla="*/ 32385 h 173259"/>
                  <a:gd name="connsiteX14" fmla="*/ 6668 w 165735"/>
                  <a:gd name="connsiteY14" fmla="*/ 18097 h 173259"/>
                  <a:gd name="connsiteX15" fmla="*/ 10478 w 165735"/>
                  <a:gd name="connsiteY15" fmla="*/ 3810 h 173259"/>
                  <a:gd name="connsiteX16" fmla="*/ 80963 w 165735"/>
                  <a:gd name="connsiteY16" fmla="*/ 0 h 173259"/>
                  <a:gd name="connsiteX17" fmla="*/ 116205 w 165735"/>
                  <a:gd name="connsiteY17" fmla="*/ 24765 h 173259"/>
                  <a:gd name="connsiteX18" fmla="*/ 134303 w 165735"/>
                  <a:gd name="connsiteY18" fmla="*/ 10478 h 173259"/>
                  <a:gd name="connsiteX19" fmla="*/ 158115 w 165735"/>
                  <a:gd name="connsiteY19" fmla="*/ 21812 h 173259"/>
                  <a:gd name="connsiteX20" fmla="*/ 165735 w 165735"/>
                  <a:gd name="connsiteY20" fmla="*/ 70485 h 173259"/>
                  <a:gd name="connsiteX21" fmla="*/ 147638 w 165735"/>
                  <a:gd name="connsiteY21" fmla="*/ 109538 h 173259"/>
                  <a:gd name="connsiteX22" fmla="*/ 161925 w 165735"/>
                  <a:gd name="connsiteY22" fmla="*/ 148590 h 1732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65735" h="173259">
                    <a:moveTo>
                      <a:pt x="161925" y="148590"/>
                    </a:moveTo>
                    <a:lnTo>
                      <a:pt x="87630" y="148590"/>
                    </a:lnTo>
                    <a:lnTo>
                      <a:pt x="41910" y="165735"/>
                    </a:lnTo>
                    <a:lnTo>
                      <a:pt x="20955" y="173260"/>
                    </a:lnTo>
                    <a:lnTo>
                      <a:pt x="28575" y="138113"/>
                    </a:lnTo>
                    <a:lnTo>
                      <a:pt x="24765" y="127635"/>
                    </a:lnTo>
                    <a:lnTo>
                      <a:pt x="14288" y="120015"/>
                    </a:lnTo>
                    <a:lnTo>
                      <a:pt x="0" y="116110"/>
                    </a:lnTo>
                    <a:lnTo>
                      <a:pt x="0" y="99060"/>
                    </a:lnTo>
                    <a:lnTo>
                      <a:pt x="0" y="84772"/>
                    </a:lnTo>
                    <a:lnTo>
                      <a:pt x="10478" y="78010"/>
                    </a:lnTo>
                    <a:lnTo>
                      <a:pt x="6668" y="59912"/>
                    </a:lnTo>
                    <a:lnTo>
                      <a:pt x="18098" y="57150"/>
                    </a:lnTo>
                    <a:lnTo>
                      <a:pt x="14288" y="32385"/>
                    </a:lnTo>
                    <a:lnTo>
                      <a:pt x="6668" y="18097"/>
                    </a:lnTo>
                    <a:lnTo>
                      <a:pt x="10478" y="3810"/>
                    </a:lnTo>
                    <a:lnTo>
                      <a:pt x="80963" y="0"/>
                    </a:lnTo>
                    <a:lnTo>
                      <a:pt x="116205" y="24765"/>
                    </a:lnTo>
                    <a:lnTo>
                      <a:pt x="134303" y="10478"/>
                    </a:lnTo>
                    <a:lnTo>
                      <a:pt x="158115" y="21812"/>
                    </a:lnTo>
                    <a:lnTo>
                      <a:pt x="165735" y="70485"/>
                    </a:lnTo>
                    <a:lnTo>
                      <a:pt x="147638" y="109538"/>
                    </a:lnTo>
                    <a:lnTo>
                      <a:pt x="161925" y="1485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1" name="Freeform: Shape 170">
                <a:extLst>
                  <a:ext uri="{FF2B5EF4-FFF2-40B4-BE49-F238E27FC236}">
                    <a16:creationId xmlns:a16="http://schemas.microsoft.com/office/drawing/2014/main" id="{0CED917D-50F7-1710-4CB5-D18ACF9F24CA}"/>
                  </a:ext>
                </a:extLst>
              </p:cNvPr>
              <p:cNvSpPr/>
              <p:nvPr/>
            </p:nvSpPr>
            <p:spPr>
              <a:xfrm>
                <a:off x="6259030" y="4482111"/>
                <a:ext cx="49487" cy="41083"/>
              </a:xfrm>
              <a:custGeom>
                <a:avLst/>
                <a:gdLst>
                  <a:gd name="connsiteX0" fmla="*/ 6668 w 50482"/>
                  <a:gd name="connsiteY0" fmla="*/ 0 h 41909"/>
                  <a:gd name="connsiteX1" fmla="*/ 50482 w 50482"/>
                  <a:gd name="connsiteY1" fmla="*/ 0 h 41909"/>
                  <a:gd name="connsiteX2" fmla="*/ 45720 w 50482"/>
                  <a:gd name="connsiteY2" fmla="*/ 38957 h 41909"/>
                  <a:gd name="connsiteX3" fmla="*/ 2857 w 50482"/>
                  <a:gd name="connsiteY3" fmla="*/ 41910 h 41909"/>
                  <a:gd name="connsiteX4" fmla="*/ 0 w 50482"/>
                  <a:gd name="connsiteY4" fmla="*/ 17145 h 41909"/>
                  <a:gd name="connsiteX5" fmla="*/ 6668 w 50482"/>
                  <a:gd name="connsiteY5" fmla="*/ 0 h 41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82" h="41909">
                    <a:moveTo>
                      <a:pt x="6668" y="0"/>
                    </a:moveTo>
                    <a:lnTo>
                      <a:pt x="50482" y="0"/>
                    </a:lnTo>
                    <a:lnTo>
                      <a:pt x="45720" y="38957"/>
                    </a:lnTo>
                    <a:lnTo>
                      <a:pt x="2857" y="41910"/>
                    </a:lnTo>
                    <a:lnTo>
                      <a:pt x="0" y="17145"/>
                    </a:lnTo>
                    <a:lnTo>
                      <a:pt x="666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2" name="Freeform: Shape 171">
                <a:extLst>
                  <a:ext uri="{FF2B5EF4-FFF2-40B4-BE49-F238E27FC236}">
                    <a16:creationId xmlns:a16="http://schemas.microsoft.com/office/drawing/2014/main" id="{8569E033-D279-81F0-BE17-FFC5822A7D09}"/>
                  </a:ext>
                </a:extLst>
              </p:cNvPr>
              <p:cNvSpPr/>
              <p:nvPr/>
            </p:nvSpPr>
            <p:spPr>
              <a:xfrm>
                <a:off x="6259030" y="4482111"/>
                <a:ext cx="49487" cy="41083"/>
              </a:xfrm>
              <a:custGeom>
                <a:avLst/>
                <a:gdLst>
                  <a:gd name="connsiteX0" fmla="*/ 6668 w 50482"/>
                  <a:gd name="connsiteY0" fmla="*/ 0 h 41909"/>
                  <a:gd name="connsiteX1" fmla="*/ 50482 w 50482"/>
                  <a:gd name="connsiteY1" fmla="*/ 0 h 41909"/>
                  <a:gd name="connsiteX2" fmla="*/ 45720 w 50482"/>
                  <a:gd name="connsiteY2" fmla="*/ 38957 h 41909"/>
                  <a:gd name="connsiteX3" fmla="*/ 2857 w 50482"/>
                  <a:gd name="connsiteY3" fmla="*/ 41910 h 41909"/>
                  <a:gd name="connsiteX4" fmla="*/ 0 w 50482"/>
                  <a:gd name="connsiteY4" fmla="*/ 17145 h 41909"/>
                  <a:gd name="connsiteX5" fmla="*/ 6668 w 50482"/>
                  <a:gd name="connsiteY5" fmla="*/ 0 h 41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482" h="41909">
                    <a:moveTo>
                      <a:pt x="6668" y="0"/>
                    </a:moveTo>
                    <a:lnTo>
                      <a:pt x="50482" y="0"/>
                    </a:lnTo>
                    <a:lnTo>
                      <a:pt x="45720" y="38957"/>
                    </a:lnTo>
                    <a:lnTo>
                      <a:pt x="2857" y="41910"/>
                    </a:lnTo>
                    <a:lnTo>
                      <a:pt x="0" y="17145"/>
                    </a:lnTo>
                    <a:lnTo>
                      <a:pt x="666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3" name="Freeform: Shape 172">
                <a:extLst>
                  <a:ext uri="{FF2B5EF4-FFF2-40B4-BE49-F238E27FC236}">
                    <a16:creationId xmlns:a16="http://schemas.microsoft.com/office/drawing/2014/main" id="{0189F09D-7F8C-29EE-204D-1A009AB19FE3}"/>
                  </a:ext>
                </a:extLst>
              </p:cNvPr>
              <p:cNvSpPr/>
              <p:nvPr/>
            </p:nvSpPr>
            <p:spPr>
              <a:xfrm>
                <a:off x="7182483" y="4876053"/>
                <a:ext cx="197015" cy="387498"/>
              </a:xfrm>
              <a:custGeom>
                <a:avLst/>
                <a:gdLst>
                  <a:gd name="connsiteX0" fmla="*/ 38100 w 200977"/>
                  <a:gd name="connsiteY0" fmla="*/ 123825 h 395287"/>
                  <a:gd name="connsiteX1" fmla="*/ 80963 w 200977"/>
                  <a:gd name="connsiteY1" fmla="*/ 105823 h 395287"/>
                  <a:gd name="connsiteX2" fmla="*/ 122873 w 200977"/>
                  <a:gd name="connsiteY2" fmla="*/ 77248 h 395287"/>
                  <a:gd name="connsiteX3" fmla="*/ 137160 w 200977"/>
                  <a:gd name="connsiteY3" fmla="*/ 53435 h 395287"/>
                  <a:gd name="connsiteX4" fmla="*/ 151448 w 200977"/>
                  <a:gd name="connsiteY4" fmla="*/ 45815 h 395287"/>
                  <a:gd name="connsiteX5" fmla="*/ 165735 w 200977"/>
                  <a:gd name="connsiteY5" fmla="*/ 18097 h 395287"/>
                  <a:gd name="connsiteX6" fmla="*/ 168593 w 200977"/>
                  <a:gd name="connsiteY6" fmla="*/ 0 h 395287"/>
                  <a:gd name="connsiteX7" fmla="*/ 189548 w 200977"/>
                  <a:gd name="connsiteY7" fmla="*/ 35338 h 395287"/>
                  <a:gd name="connsiteX8" fmla="*/ 197168 w 200977"/>
                  <a:gd name="connsiteY8" fmla="*/ 70485 h 395287"/>
                  <a:gd name="connsiteX9" fmla="*/ 200978 w 200977"/>
                  <a:gd name="connsiteY9" fmla="*/ 91535 h 395287"/>
                  <a:gd name="connsiteX10" fmla="*/ 200978 w 200977"/>
                  <a:gd name="connsiteY10" fmla="*/ 112490 h 395287"/>
                  <a:gd name="connsiteX11" fmla="*/ 179070 w 200977"/>
                  <a:gd name="connsiteY11" fmla="*/ 116300 h 395287"/>
                  <a:gd name="connsiteX12" fmla="*/ 179070 w 200977"/>
                  <a:gd name="connsiteY12" fmla="*/ 144875 h 395287"/>
                  <a:gd name="connsiteX13" fmla="*/ 143828 w 200977"/>
                  <a:gd name="connsiteY13" fmla="*/ 264890 h 395287"/>
                  <a:gd name="connsiteX14" fmla="*/ 130493 w 200977"/>
                  <a:gd name="connsiteY14" fmla="*/ 321088 h 395287"/>
                  <a:gd name="connsiteX15" fmla="*/ 108585 w 200977"/>
                  <a:gd name="connsiteY15" fmla="*/ 377285 h 395287"/>
                  <a:gd name="connsiteX16" fmla="*/ 70485 w 200977"/>
                  <a:gd name="connsiteY16" fmla="*/ 395288 h 395287"/>
                  <a:gd name="connsiteX17" fmla="*/ 31433 w 200977"/>
                  <a:gd name="connsiteY17" fmla="*/ 391573 h 395287"/>
                  <a:gd name="connsiteX18" fmla="*/ 14288 w 200977"/>
                  <a:gd name="connsiteY18" fmla="*/ 356235 h 395287"/>
                  <a:gd name="connsiteX19" fmla="*/ 10478 w 200977"/>
                  <a:gd name="connsiteY19" fmla="*/ 321088 h 395287"/>
                  <a:gd name="connsiteX20" fmla="*/ 0 w 200977"/>
                  <a:gd name="connsiteY20" fmla="*/ 289560 h 395287"/>
                  <a:gd name="connsiteX21" fmla="*/ 27623 w 200977"/>
                  <a:gd name="connsiteY21" fmla="*/ 250603 h 395287"/>
                  <a:gd name="connsiteX22" fmla="*/ 35243 w 200977"/>
                  <a:gd name="connsiteY22" fmla="*/ 215360 h 395287"/>
                  <a:gd name="connsiteX23" fmla="*/ 27623 w 200977"/>
                  <a:gd name="connsiteY23" fmla="*/ 186785 h 395287"/>
                  <a:gd name="connsiteX24" fmla="*/ 17145 w 200977"/>
                  <a:gd name="connsiteY24" fmla="*/ 159163 h 395287"/>
                  <a:gd name="connsiteX25" fmla="*/ 31433 w 200977"/>
                  <a:gd name="connsiteY25" fmla="*/ 141065 h 395287"/>
                  <a:gd name="connsiteX26" fmla="*/ 38100 w 200977"/>
                  <a:gd name="connsiteY26" fmla="*/ 123825 h 395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00977" h="395287">
                    <a:moveTo>
                      <a:pt x="38100" y="123825"/>
                    </a:moveTo>
                    <a:lnTo>
                      <a:pt x="80963" y="105823"/>
                    </a:lnTo>
                    <a:lnTo>
                      <a:pt x="122873" y="77248"/>
                    </a:lnTo>
                    <a:lnTo>
                      <a:pt x="137160" y="53435"/>
                    </a:lnTo>
                    <a:lnTo>
                      <a:pt x="151448" y="45815"/>
                    </a:lnTo>
                    <a:lnTo>
                      <a:pt x="165735" y="18097"/>
                    </a:lnTo>
                    <a:lnTo>
                      <a:pt x="168593" y="0"/>
                    </a:lnTo>
                    <a:lnTo>
                      <a:pt x="189548" y="35338"/>
                    </a:lnTo>
                    <a:lnTo>
                      <a:pt x="197168" y="70485"/>
                    </a:lnTo>
                    <a:lnTo>
                      <a:pt x="200978" y="91535"/>
                    </a:lnTo>
                    <a:lnTo>
                      <a:pt x="200978" y="112490"/>
                    </a:lnTo>
                    <a:lnTo>
                      <a:pt x="179070" y="116300"/>
                    </a:lnTo>
                    <a:lnTo>
                      <a:pt x="179070" y="144875"/>
                    </a:lnTo>
                    <a:lnTo>
                      <a:pt x="143828" y="264890"/>
                    </a:lnTo>
                    <a:lnTo>
                      <a:pt x="130493" y="321088"/>
                    </a:lnTo>
                    <a:lnTo>
                      <a:pt x="108585" y="377285"/>
                    </a:lnTo>
                    <a:lnTo>
                      <a:pt x="70485" y="395288"/>
                    </a:lnTo>
                    <a:lnTo>
                      <a:pt x="31433" y="391573"/>
                    </a:lnTo>
                    <a:lnTo>
                      <a:pt x="14288" y="356235"/>
                    </a:lnTo>
                    <a:lnTo>
                      <a:pt x="10478" y="321088"/>
                    </a:lnTo>
                    <a:lnTo>
                      <a:pt x="0" y="289560"/>
                    </a:lnTo>
                    <a:lnTo>
                      <a:pt x="27623" y="250603"/>
                    </a:lnTo>
                    <a:lnTo>
                      <a:pt x="35243" y="215360"/>
                    </a:lnTo>
                    <a:lnTo>
                      <a:pt x="27623" y="186785"/>
                    </a:lnTo>
                    <a:lnTo>
                      <a:pt x="17145" y="159163"/>
                    </a:lnTo>
                    <a:lnTo>
                      <a:pt x="31433" y="141065"/>
                    </a:lnTo>
                    <a:lnTo>
                      <a:pt x="38100" y="12382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AAF53676-AA48-7B22-02CC-E7F7169AD64B}"/>
                  </a:ext>
                </a:extLst>
              </p:cNvPr>
              <p:cNvSpPr/>
              <p:nvPr/>
            </p:nvSpPr>
            <p:spPr>
              <a:xfrm>
                <a:off x="6692278" y="4983433"/>
                <a:ext cx="207287" cy="183105"/>
              </a:xfrm>
              <a:custGeom>
                <a:avLst/>
                <a:gdLst>
                  <a:gd name="connsiteX0" fmla="*/ 105728 w 211455"/>
                  <a:gd name="connsiteY0" fmla="*/ 182975 h 186785"/>
                  <a:gd name="connsiteX1" fmla="*/ 101918 w 211455"/>
                  <a:gd name="connsiteY1" fmla="*/ 172498 h 186785"/>
                  <a:gd name="connsiteX2" fmla="*/ 77153 w 211455"/>
                  <a:gd name="connsiteY2" fmla="*/ 168688 h 186785"/>
                  <a:gd name="connsiteX3" fmla="*/ 62865 w 211455"/>
                  <a:gd name="connsiteY3" fmla="*/ 133350 h 186785"/>
                  <a:gd name="connsiteX4" fmla="*/ 20955 w 211455"/>
                  <a:gd name="connsiteY4" fmla="*/ 112490 h 186785"/>
                  <a:gd name="connsiteX5" fmla="*/ 14288 w 211455"/>
                  <a:gd name="connsiteY5" fmla="*/ 84772 h 186785"/>
                  <a:gd name="connsiteX6" fmla="*/ 0 w 211455"/>
                  <a:gd name="connsiteY6" fmla="*/ 62960 h 186785"/>
                  <a:gd name="connsiteX7" fmla="*/ 49530 w 211455"/>
                  <a:gd name="connsiteY7" fmla="*/ 60103 h 186785"/>
                  <a:gd name="connsiteX8" fmla="*/ 73343 w 211455"/>
                  <a:gd name="connsiteY8" fmla="*/ 27622 h 186785"/>
                  <a:gd name="connsiteX9" fmla="*/ 95250 w 211455"/>
                  <a:gd name="connsiteY9" fmla="*/ 24860 h 186785"/>
                  <a:gd name="connsiteX10" fmla="*/ 108585 w 211455"/>
                  <a:gd name="connsiteY10" fmla="*/ 0 h 186785"/>
                  <a:gd name="connsiteX11" fmla="*/ 137160 w 211455"/>
                  <a:gd name="connsiteY11" fmla="*/ 0 h 186785"/>
                  <a:gd name="connsiteX12" fmla="*/ 207645 w 211455"/>
                  <a:gd name="connsiteY12" fmla="*/ 24860 h 186785"/>
                  <a:gd name="connsiteX13" fmla="*/ 211455 w 211455"/>
                  <a:gd name="connsiteY13" fmla="*/ 74390 h 186785"/>
                  <a:gd name="connsiteX14" fmla="*/ 211455 w 211455"/>
                  <a:gd name="connsiteY14" fmla="*/ 126778 h 186785"/>
                  <a:gd name="connsiteX15" fmla="*/ 197168 w 211455"/>
                  <a:gd name="connsiteY15" fmla="*/ 158210 h 186785"/>
                  <a:gd name="connsiteX16" fmla="*/ 158115 w 211455"/>
                  <a:gd name="connsiteY16" fmla="*/ 186785 h 186785"/>
                  <a:gd name="connsiteX17" fmla="*/ 105728 w 211455"/>
                  <a:gd name="connsiteY17" fmla="*/ 182975 h 1867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1455" h="186785">
                    <a:moveTo>
                      <a:pt x="105728" y="182975"/>
                    </a:moveTo>
                    <a:lnTo>
                      <a:pt x="101918" y="172498"/>
                    </a:lnTo>
                    <a:lnTo>
                      <a:pt x="77153" y="168688"/>
                    </a:lnTo>
                    <a:lnTo>
                      <a:pt x="62865" y="133350"/>
                    </a:lnTo>
                    <a:lnTo>
                      <a:pt x="20955" y="112490"/>
                    </a:lnTo>
                    <a:lnTo>
                      <a:pt x="14288" y="84772"/>
                    </a:lnTo>
                    <a:lnTo>
                      <a:pt x="0" y="62960"/>
                    </a:lnTo>
                    <a:lnTo>
                      <a:pt x="49530" y="60103"/>
                    </a:lnTo>
                    <a:lnTo>
                      <a:pt x="73343" y="27622"/>
                    </a:lnTo>
                    <a:lnTo>
                      <a:pt x="95250" y="24860"/>
                    </a:lnTo>
                    <a:lnTo>
                      <a:pt x="108585" y="0"/>
                    </a:lnTo>
                    <a:lnTo>
                      <a:pt x="137160" y="0"/>
                    </a:lnTo>
                    <a:lnTo>
                      <a:pt x="207645" y="24860"/>
                    </a:lnTo>
                    <a:lnTo>
                      <a:pt x="211455" y="74390"/>
                    </a:lnTo>
                    <a:lnTo>
                      <a:pt x="211455" y="126778"/>
                    </a:lnTo>
                    <a:lnTo>
                      <a:pt x="197168" y="158210"/>
                    </a:lnTo>
                    <a:lnTo>
                      <a:pt x="158115" y="186785"/>
                    </a:lnTo>
                    <a:lnTo>
                      <a:pt x="105728" y="18297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FA7A7846-36F5-F4C0-0C3F-4B2AE192C25A}"/>
                  </a:ext>
                </a:extLst>
              </p:cNvPr>
              <p:cNvSpPr/>
              <p:nvPr/>
            </p:nvSpPr>
            <p:spPr>
              <a:xfrm>
                <a:off x="6546617" y="5045152"/>
                <a:ext cx="249304" cy="253041"/>
              </a:xfrm>
              <a:custGeom>
                <a:avLst/>
                <a:gdLst>
                  <a:gd name="connsiteX0" fmla="*/ 0 w 254317"/>
                  <a:gd name="connsiteY0" fmla="*/ 200978 h 258127"/>
                  <a:gd name="connsiteX1" fmla="*/ 0 w 254317"/>
                  <a:gd name="connsiteY1" fmla="*/ 117062 h 258127"/>
                  <a:gd name="connsiteX2" fmla="*/ 24765 w 254317"/>
                  <a:gd name="connsiteY2" fmla="*/ 117062 h 258127"/>
                  <a:gd name="connsiteX3" fmla="*/ 28575 w 254317"/>
                  <a:gd name="connsiteY3" fmla="*/ 7525 h 258127"/>
                  <a:gd name="connsiteX4" fmla="*/ 88582 w 254317"/>
                  <a:gd name="connsiteY4" fmla="*/ 0 h 258127"/>
                  <a:gd name="connsiteX5" fmla="*/ 99060 w 254317"/>
                  <a:gd name="connsiteY5" fmla="*/ 14288 h 258127"/>
                  <a:gd name="connsiteX6" fmla="*/ 148590 w 254317"/>
                  <a:gd name="connsiteY6" fmla="*/ 0 h 258127"/>
                  <a:gd name="connsiteX7" fmla="*/ 162877 w 254317"/>
                  <a:gd name="connsiteY7" fmla="*/ 21812 h 258127"/>
                  <a:gd name="connsiteX8" fmla="*/ 169545 w 254317"/>
                  <a:gd name="connsiteY8" fmla="*/ 49530 h 258127"/>
                  <a:gd name="connsiteX9" fmla="*/ 211455 w 254317"/>
                  <a:gd name="connsiteY9" fmla="*/ 70390 h 258127"/>
                  <a:gd name="connsiteX10" fmla="*/ 225743 w 254317"/>
                  <a:gd name="connsiteY10" fmla="*/ 105728 h 258127"/>
                  <a:gd name="connsiteX11" fmla="*/ 250507 w 254317"/>
                  <a:gd name="connsiteY11" fmla="*/ 109538 h 258127"/>
                  <a:gd name="connsiteX12" fmla="*/ 254318 w 254317"/>
                  <a:gd name="connsiteY12" fmla="*/ 123825 h 258127"/>
                  <a:gd name="connsiteX13" fmla="*/ 250507 w 254317"/>
                  <a:gd name="connsiteY13" fmla="*/ 130493 h 258127"/>
                  <a:gd name="connsiteX14" fmla="*/ 233363 w 254317"/>
                  <a:gd name="connsiteY14" fmla="*/ 130493 h 258127"/>
                  <a:gd name="connsiteX15" fmla="*/ 165735 w 254317"/>
                  <a:gd name="connsiteY15" fmla="*/ 200978 h 258127"/>
                  <a:gd name="connsiteX16" fmla="*/ 151448 w 254317"/>
                  <a:gd name="connsiteY16" fmla="*/ 225743 h 258127"/>
                  <a:gd name="connsiteX17" fmla="*/ 116205 w 254317"/>
                  <a:gd name="connsiteY17" fmla="*/ 229553 h 258127"/>
                  <a:gd name="connsiteX18" fmla="*/ 99060 w 254317"/>
                  <a:gd name="connsiteY18" fmla="*/ 215265 h 258127"/>
                  <a:gd name="connsiteX19" fmla="*/ 81915 w 254317"/>
                  <a:gd name="connsiteY19" fmla="*/ 215265 h 258127"/>
                  <a:gd name="connsiteX20" fmla="*/ 74295 w 254317"/>
                  <a:gd name="connsiteY20" fmla="*/ 236125 h 258127"/>
                  <a:gd name="connsiteX21" fmla="*/ 49530 w 254317"/>
                  <a:gd name="connsiteY21" fmla="*/ 258128 h 258127"/>
                  <a:gd name="connsiteX22" fmla="*/ 21907 w 254317"/>
                  <a:gd name="connsiteY22" fmla="*/ 258128 h 258127"/>
                  <a:gd name="connsiteX23" fmla="*/ 21907 w 254317"/>
                  <a:gd name="connsiteY23" fmla="*/ 222790 h 258127"/>
                  <a:gd name="connsiteX24" fmla="*/ 0 w 254317"/>
                  <a:gd name="connsiteY24" fmla="*/ 200978 h 2581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54317" h="258127">
                    <a:moveTo>
                      <a:pt x="0" y="200978"/>
                    </a:moveTo>
                    <a:lnTo>
                      <a:pt x="0" y="117062"/>
                    </a:lnTo>
                    <a:lnTo>
                      <a:pt x="24765" y="117062"/>
                    </a:lnTo>
                    <a:lnTo>
                      <a:pt x="28575" y="7525"/>
                    </a:lnTo>
                    <a:lnTo>
                      <a:pt x="88582" y="0"/>
                    </a:lnTo>
                    <a:lnTo>
                      <a:pt x="99060" y="14288"/>
                    </a:lnTo>
                    <a:lnTo>
                      <a:pt x="148590" y="0"/>
                    </a:lnTo>
                    <a:lnTo>
                      <a:pt x="162877" y="21812"/>
                    </a:lnTo>
                    <a:lnTo>
                      <a:pt x="169545" y="49530"/>
                    </a:lnTo>
                    <a:lnTo>
                      <a:pt x="211455" y="70390"/>
                    </a:lnTo>
                    <a:lnTo>
                      <a:pt x="225743" y="105728"/>
                    </a:lnTo>
                    <a:lnTo>
                      <a:pt x="250507" y="109538"/>
                    </a:lnTo>
                    <a:lnTo>
                      <a:pt x="254318" y="123825"/>
                    </a:lnTo>
                    <a:lnTo>
                      <a:pt x="250507" y="130493"/>
                    </a:lnTo>
                    <a:lnTo>
                      <a:pt x="233363" y="130493"/>
                    </a:lnTo>
                    <a:lnTo>
                      <a:pt x="165735" y="200978"/>
                    </a:lnTo>
                    <a:lnTo>
                      <a:pt x="151448" y="225743"/>
                    </a:lnTo>
                    <a:lnTo>
                      <a:pt x="116205" y="229553"/>
                    </a:lnTo>
                    <a:lnTo>
                      <a:pt x="99060" y="215265"/>
                    </a:lnTo>
                    <a:lnTo>
                      <a:pt x="81915" y="215265"/>
                    </a:lnTo>
                    <a:lnTo>
                      <a:pt x="74295" y="236125"/>
                    </a:lnTo>
                    <a:lnTo>
                      <a:pt x="49530" y="258128"/>
                    </a:lnTo>
                    <a:lnTo>
                      <a:pt x="21907" y="258128"/>
                    </a:lnTo>
                    <a:lnTo>
                      <a:pt x="21907" y="222790"/>
                    </a:lnTo>
                    <a:lnTo>
                      <a:pt x="0" y="20097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0B6A8BB5-A19F-9C68-4B50-7CF4BD0AC147}"/>
                  </a:ext>
                </a:extLst>
              </p:cNvPr>
              <p:cNvSpPr/>
              <p:nvPr/>
            </p:nvSpPr>
            <p:spPr>
              <a:xfrm>
                <a:off x="6329993" y="5028345"/>
                <a:ext cx="244636" cy="331474"/>
              </a:xfrm>
              <a:custGeom>
                <a:avLst/>
                <a:gdLst>
                  <a:gd name="connsiteX0" fmla="*/ 0 w 249555"/>
                  <a:gd name="connsiteY0" fmla="*/ 0 h 338137"/>
                  <a:gd name="connsiteX1" fmla="*/ 172403 w 249555"/>
                  <a:gd name="connsiteY1" fmla="*/ 0 h 338137"/>
                  <a:gd name="connsiteX2" fmla="*/ 186690 w 249555"/>
                  <a:gd name="connsiteY2" fmla="*/ 10382 h 338137"/>
                  <a:gd name="connsiteX3" fmla="*/ 235268 w 249555"/>
                  <a:gd name="connsiteY3" fmla="*/ 14288 h 338137"/>
                  <a:gd name="connsiteX4" fmla="*/ 249555 w 249555"/>
                  <a:gd name="connsiteY4" fmla="*/ 24670 h 338137"/>
                  <a:gd name="connsiteX5" fmla="*/ 245745 w 249555"/>
                  <a:gd name="connsiteY5" fmla="*/ 134207 h 338137"/>
                  <a:gd name="connsiteX6" fmla="*/ 220980 w 249555"/>
                  <a:gd name="connsiteY6" fmla="*/ 134207 h 338137"/>
                  <a:gd name="connsiteX7" fmla="*/ 220980 w 249555"/>
                  <a:gd name="connsiteY7" fmla="*/ 320897 h 338137"/>
                  <a:gd name="connsiteX8" fmla="*/ 193357 w 249555"/>
                  <a:gd name="connsiteY8" fmla="*/ 338138 h 338137"/>
                  <a:gd name="connsiteX9" fmla="*/ 164782 w 249555"/>
                  <a:gd name="connsiteY9" fmla="*/ 338138 h 338137"/>
                  <a:gd name="connsiteX10" fmla="*/ 151448 w 249555"/>
                  <a:gd name="connsiteY10" fmla="*/ 331470 h 338137"/>
                  <a:gd name="connsiteX11" fmla="*/ 140018 w 249555"/>
                  <a:gd name="connsiteY11" fmla="*/ 317182 h 338137"/>
                  <a:gd name="connsiteX12" fmla="*/ 126682 w 249555"/>
                  <a:gd name="connsiteY12" fmla="*/ 327660 h 338137"/>
                  <a:gd name="connsiteX13" fmla="*/ 91440 w 249555"/>
                  <a:gd name="connsiteY13" fmla="*/ 288607 h 338137"/>
                  <a:gd name="connsiteX14" fmla="*/ 77153 w 249555"/>
                  <a:gd name="connsiteY14" fmla="*/ 221932 h 338137"/>
                  <a:gd name="connsiteX15" fmla="*/ 66675 w 249555"/>
                  <a:gd name="connsiteY15" fmla="*/ 200882 h 338137"/>
                  <a:gd name="connsiteX16" fmla="*/ 66675 w 249555"/>
                  <a:gd name="connsiteY16" fmla="*/ 144685 h 338137"/>
                  <a:gd name="connsiteX17" fmla="*/ 20955 w 249555"/>
                  <a:gd name="connsiteY17" fmla="*/ 63722 h 338137"/>
                  <a:gd name="connsiteX18" fmla="*/ 0 w 249555"/>
                  <a:gd name="connsiteY18" fmla="*/ 28575 h 338137"/>
                  <a:gd name="connsiteX19" fmla="*/ 0 w 249555"/>
                  <a:gd name="connsiteY19" fmla="*/ 0 h 338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9555" h="338137">
                    <a:moveTo>
                      <a:pt x="0" y="0"/>
                    </a:moveTo>
                    <a:lnTo>
                      <a:pt x="172403" y="0"/>
                    </a:lnTo>
                    <a:lnTo>
                      <a:pt x="186690" y="10382"/>
                    </a:lnTo>
                    <a:lnTo>
                      <a:pt x="235268" y="14288"/>
                    </a:lnTo>
                    <a:lnTo>
                      <a:pt x="249555" y="24670"/>
                    </a:lnTo>
                    <a:lnTo>
                      <a:pt x="245745" y="134207"/>
                    </a:lnTo>
                    <a:lnTo>
                      <a:pt x="220980" y="134207"/>
                    </a:lnTo>
                    <a:lnTo>
                      <a:pt x="220980" y="320897"/>
                    </a:lnTo>
                    <a:lnTo>
                      <a:pt x="193357" y="338138"/>
                    </a:lnTo>
                    <a:lnTo>
                      <a:pt x="164782" y="338138"/>
                    </a:lnTo>
                    <a:lnTo>
                      <a:pt x="151448" y="331470"/>
                    </a:lnTo>
                    <a:lnTo>
                      <a:pt x="140018" y="317182"/>
                    </a:lnTo>
                    <a:lnTo>
                      <a:pt x="126682" y="327660"/>
                    </a:lnTo>
                    <a:lnTo>
                      <a:pt x="91440" y="288607"/>
                    </a:lnTo>
                    <a:lnTo>
                      <a:pt x="77153" y="221932"/>
                    </a:lnTo>
                    <a:lnTo>
                      <a:pt x="66675" y="200882"/>
                    </a:lnTo>
                    <a:lnTo>
                      <a:pt x="66675" y="144685"/>
                    </a:lnTo>
                    <a:lnTo>
                      <a:pt x="20955" y="63722"/>
                    </a:lnTo>
                    <a:lnTo>
                      <a:pt x="0" y="2857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7EC9404E-FD2C-B1A6-F6B6-92F6E40AACE9}"/>
                  </a:ext>
                </a:extLst>
              </p:cNvPr>
              <p:cNvSpPr/>
              <p:nvPr/>
            </p:nvSpPr>
            <p:spPr>
              <a:xfrm>
                <a:off x="6833271" y="4835062"/>
                <a:ext cx="280117" cy="465839"/>
              </a:xfrm>
              <a:custGeom>
                <a:avLst/>
                <a:gdLst>
                  <a:gd name="connsiteX0" fmla="*/ 0 w 285750"/>
                  <a:gd name="connsiteY0" fmla="*/ 154305 h 475202"/>
                  <a:gd name="connsiteX1" fmla="*/ 0 w 285750"/>
                  <a:gd name="connsiteY1" fmla="*/ 126587 h 475202"/>
                  <a:gd name="connsiteX2" fmla="*/ 88582 w 285750"/>
                  <a:gd name="connsiteY2" fmla="*/ 112300 h 475202"/>
                  <a:gd name="connsiteX3" fmla="*/ 116205 w 285750"/>
                  <a:gd name="connsiteY3" fmla="*/ 112300 h 475202"/>
                  <a:gd name="connsiteX4" fmla="*/ 113347 w 285750"/>
                  <a:gd name="connsiteY4" fmla="*/ 165640 h 475202"/>
                  <a:gd name="connsiteX5" fmla="*/ 134302 w 285750"/>
                  <a:gd name="connsiteY5" fmla="*/ 186690 h 475202"/>
                  <a:gd name="connsiteX6" fmla="*/ 151447 w 285750"/>
                  <a:gd name="connsiteY6" fmla="*/ 161925 h 475202"/>
                  <a:gd name="connsiteX7" fmla="*/ 148590 w 285750"/>
                  <a:gd name="connsiteY7" fmla="*/ 112300 h 475202"/>
                  <a:gd name="connsiteX8" fmla="*/ 123825 w 285750"/>
                  <a:gd name="connsiteY8" fmla="*/ 83725 h 475202"/>
                  <a:gd name="connsiteX9" fmla="*/ 113347 w 285750"/>
                  <a:gd name="connsiteY9" fmla="*/ 56102 h 475202"/>
                  <a:gd name="connsiteX10" fmla="*/ 120015 w 285750"/>
                  <a:gd name="connsiteY10" fmla="*/ 27527 h 475202"/>
                  <a:gd name="connsiteX11" fmla="*/ 159068 w 285750"/>
                  <a:gd name="connsiteY11" fmla="*/ 31337 h 475202"/>
                  <a:gd name="connsiteX12" fmla="*/ 204788 w 285750"/>
                  <a:gd name="connsiteY12" fmla="*/ 35243 h 475202"/>
                  <a:gd name="connsiteX13" fmla="*/ 250507 w 285750"/>
                  <a:gd name="connsiteY13" fmla="*/ 17050 h 475202"/>
                  <a:gd name="connsiteX14" fmla="*/ 278130 w 285750"/>
                  <a:gd name="connsiteY14" fmla="*/ 0 h 475202"/>
                  <a:gd name="connsiteX15" fmla="*/ 278130 w 285750"/>
                  <a:gd name="connsiteY15" fmla="*/ 70390 h 475202"/>
                  <a:gd name="connsiteX16" fmla="*/ 285750 w 285750"/>
                  <a:gd name="connsiteY16" fmla="*/ 140875 h 475202"/>
                  <a:gd name="connsiteX17" fmla="*/ 254318 w 285750"/>
                  <a:gd name="connsiteY17" fmla="*/ 172403 h 475202"/>
                  <a:gd name="connsiteX18" fmla="*/ 197168 w 285750"/>
                  <a:gd name="connsiteY18" fmla="*/ 207550 h 475202"/>
                  <a:gd name="connsiteX19" fmla="*/ 134302 w 285750"/>
                  <a:gd name="connsiteY19" fmla="*/ 263843 h 475202"/>
                  <a:gd name="connsiteX20" fmla="*/ 120015 w 285750"/>
                  <a:gd name="connsiteY20" fmla="*/ 271463 h 475202"/>
                  <a:gd name="connsiteX21" fmla="*/ 123825 w 285750"/>
                  <a:gd name="connsiteY21" fmla="*/ 296228 h 475202"/>
                  <a:gd name="connsiteX22" fmla="*/ 140970 w 285750"/>
                  <a:gd name="connsiteY22" fmla="*/ 344805 h 475202"/>
                  <a:gd name="connsiteX23" fmla="*/ 134302 w 285750"/>
                  <a:gd name="connsiteY23" fmla="*/ 401955 h 475202"/>
                  <a:gd name="connsiteX24" fmla="*/ 67627 w 285750"/>
                  <a:gd name="connsiteY24" fmla="*/ 437102 h 475202"/>
                  <a:gd name="connsiteX25" fmla="*/ 60007 w 285750"/>
                  <a:gd name="connsiteY25" fmla="*/ 450437 h 475202"/>
                  <a:gd name="connsiteX26" fmla="*/ 67627 w 285750"/>
                  <a:gd name="connsiteY26" fmla="*/ 464725 h 475202"/>
                  <a:gd name="connsiteX27" fmla="*/ 70485 w 285750"/>
                  <a:gd name="connsiteY27" fmla="*/ 475202 h 475202"/>
                  <a:gd name="connsiteX28" fmla="*/ 42863 w 285750"/>
                  <a:gd name="connsiteY28" fmla="*/ 472440 h 475202"/>
                  <a:gd name="connsiteX29" fmla="*/ 42863 w 285750"/>
                  <a:gd name="connsiteY29" fmla="*/ 454343 h 475202"/>
                  <a:gd name="connsiteX30" fmla="*/ 42863 w 285750"/>
                  <a:gd name="connsiteY30" fmla="*/ 391478 h 475202"/>
                  <a:gd name="connsiteX31" fmla="*/ 28575 w 285750"/>
                  <a:gd name="connsiteY31" fmla="*/ 348615 h 475202"/>
                  <a:gd name="connsiteX32" fmla="*/ 14288 w 285750"/>
                  <a:gd name="connsiteY32" fmla="*/ 338138 h 475202"/>
                  <a:gd name="connsiteX33" fmla="*/ 53340 w 285750"/>
                  <a:gd name="connsiteY33" fmla="*/ 309563 h 475202"/>
                  <a:gd name="connsiteX34" fmla="*/ 67627 w 285750"/>
                  <a:gd name="connsiteY34" fmla="*/ 278130 h 475202"/>
                  <a:gd name="connsiteX35" fmla="*/ 67627 w 285750"/>
                  <a:gd name="connsiteY35" fmla="*/ 225743 h 475202"/>
                  <a:gd name="connsiteX36" fmla="*/ 63818 w 285750"/>
                  <a:gd name="connsiteY36" fmla="*/ 176213 h 475202"/>
                  <a:gd name="connsiteX37" fmla="*/ 0 w 285750"/>
                  <a:gd name="connsiteY37" fmla="*/ 154305 h 475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85750" h="475202">
                    <a:moveTo>
                      <a:pt x="0" y="154305"/>
                    </a:moveTo>
                    <a:lnTo>
                      <a:pt x="0" y="126587"/>
                    </a:lnTo>
                    <a:lnTo>
                      <a:pt x="88582" y="112300"/>
                    </a:lnTo>
                    <a:lnTo>
                      <a:pt x="116205" y="112300"/>
                    </a:lnTo>
                    <a:lnTo>
                      <a:pt x="113347" y="165640"/>
                    </a:lnTo>
                    <a:lnTo>
                      <a:pt x="134302" y="186690"/>
                    </a:lnTo>
                    <a:lnTo>
                      <a:pt x="151447" y="161925"/>
                    </a:lnTo>
                    <a:lnTo>
                      <a:pt x="148590" y="112300"/>
                    </a:lnTo>
                    <a:lnTo>
                      <a:pt x="123825" y="83725"/>
                    </a:lnTo>
                    <a:lnTo>
                      <a:pt x="113347" y="56102"/>
                    </a:lnTo>
                    <a:lnTo>
                      <a:pt x="120015" y="27527"/>
                    </a:lnTo>
                    <a:lnTo>
                      <a:pt x="159068" y="31337"/>
                    </a:lnTo>
                    <a:lnTo>
                      <a:pt x="204788" y="35243"/>
                    </a:lnTo>
                    <a:lnTo>
                      <a:pt x="250507" y="17050"/>
                    </a:lnTo>
                    <a:lnTo>
                      <a:pt x="278130" y="0"/>
                    </a:lnTo>
                    <a:lnTo>
                      <a:pt x="278130" y="70390"/>
                    </a:lnTo>
                    <a:lnTo>
                      <a:pt x="285750" y="140875"/>
                    </a:lnTo>
                    <a:lnTo>
                      <a:pt x="254318" y="172403"/>
                    </a:lnTo>
                    <a:lnTo>
                      <a:pt x="197168" y="207550"/>
                    </a:lnTo>
                    <a:lnTo>
                      <a:pt x="134302" y="263843"/>
                    </a:lnTo>
                    <a:lnTo>
                      <a:pt x="120015" y="271463"/>
                    </a:lnTo>
                    <a:lnTo>
                      <a:pt x="123825" y="296228"/>
                    </a:lnTo>
                    <a:lnTo>
                      <a:pt x="140970" y="344805"/>
                    </a:lnTo>
                    <a:lnTo>
                      <a:pt x="134302" y="401955"/>
                    </a:lnTo>
                    <a:lnTo>
                      <a:pt x="67627" y="437102"/>
                    </a:lnTo>
                    <a:lnTo>
                      <a:pt x="60007" y="450437"/>
                    </a:lnTo>
                    <a:lnTo>
                      <a:pt x="67627" y="464725"/>
                    </a:lnTo>
                    <a:lnTo>
                      <a:pt x="70485" y="475202"/>
                    </a:lnTo>
                    <a:lnTo>
                      <a:pt x="42863" y="472440"/>
                    </a:lnTo>
                    <a:lnTo>
                      <a:pt x="42863" y="454343"/>
                    </a:lnTo>
                    <a:lnTo>
                      <a:pt x="42863" y="391478"/>
                    </a:lnTo>
                    <a:lnTo>
                      <a:pt x="28575" y="348615"/>
                    </a:lnTo>
                    <a:lnTo>
                      <a:pt x="14288" y="338138"/>
                    </a:lnTo>
                    <a:lnTo>
                      <a:pt x="53340" y="309563"/>
                    </a:lnTo>
                    <a:lnTo>
                      <a:pt x="67627" y="278130"/>
                    </a:lnTo>
                    <a:lnTo>
                      <a:pt x="67627" y="225743"/>
                    </a:lnTo>
                    <a:lnTo>
                      <a:pt x="63818" y="176213"/>
                    </a:lnTo>
                    <a:lnTo>
                      <a:pt x="0" y="1543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8" name="Freeform: Shape 177">
                <a:extLst>
                  <a:ext uri="{FF2B5EF4-FFF2-40B4-BE49-F238E27FC236}">
                    <a16:creationId xmlns:a16="http://schemas.microsoft.com/office/drawing/2014/main" id="{18070508-187A-A970-3F7C-5B2E566D5B3D}"/>
                  </a:ext>
                </a:extLst>
              </p:cNvPr>
              <p:cNvSpPr/>
              <p:nvPr/>
            </p:nvSpPr>
            <p:spPr>
              <a:xfrm>
                <a:off x="6895830" y="4810692"/>
                <a:ext cx="85902" cy="207382"/>
              </a:xfrm>
              <a:custGeom>
                <a:avLst/>
                <a:gdLst>
                  <a:gd name="connsiteX0" fmla="*/ 6667 w 87629"/>
                  <a:gd name="connsiteY0" fmla="*/ 87725 h 211550"/>
                  <a:gd name="connsiteX1" fmla="*/ 17145 w 87629"/>
                  <a:gd name="connsiteY1" fmla="*/ 77248 h 211550"/>
                  <a:gd name="connsiteX2" fmla="*/ 20955 w 87629"/>
                  <a:gd name="connsiteY2" fmla="*/ 31528 h 211550"/>
                  <a:gd name="connsiteX3" fmla="*/ 24765 w 87629"/>
                  <a:gd name="connsiteY3" fmla="*/ 24860 h 211550"/>
                  <a:gd name="connsiteX4" fmla="*/ 14288 w 87629"/>
                  <a:gd name="connsiteY4" fmla="*/ 0 h 211550"/>
                  <a:gd name="connsiteX5" fmla="*/ 39052 w 87629"/>
                  <a:gd name="connsiteY5" fmla="*/ 0 h 211550"/>
                  <a:gd name="connsiteX6" fmla="*/ 52388 w 87629"/>
                  <a:gd name="connsiteY6" fmla="*/ 21050 h 211550"/>
                  <a:gd name="connsiteX7" fmla="*/ 56197 w 87629"/>
                  <a:gd name="connsiteY7" fmla="*/ 52388 h 211550"/>
                  <a:gd name="connsiteX8" fmla="*/ 49530 w 87629"/>
                  <a:gd name="connsiteY8" fmla="*/ 80963 h 211550"/>
                  <a:gd name="connsiteX9" fmla="*/ 60007 w 87629"/>
                  <a:gd name="connsiteY9" fmla="*/ 108585 h 211550"/>
                  <a:gd name="connsiteX10" fmla="*/ 84772 w 87629"/>
                  <a:gd name="connsiteY10" fmla="*/ 137160 h 211550"/>
                  <a:gd name="connsiteX11" fmla="*/ 87630 w 87629"/>
                  <a:gd name="connsiteY11" fmla="*/ 186785 h 211550"/>
                  <a:gd name="connsiteX12" fmla="*/ 70485 w 87629"/>
                  <a:gd name="connsiteY12" fmla="*/ 211550 h 211550"/>
                  <a:gd name="connsiteX13" fmla="*/ 49530 w 87629"/>
                  <a:gd name="connsiteY13" fmla="*/ 190500 h 211550"/>
                  <a:gd name="connsiteX14" fmla="*/ 52388 w 87629"/>
                  <a:gd name="connsiteY14" fmla="*/ 137160 h 211550"/>
                  <a:gd name="connsiteX15" fmla="*/ 17145 w 87629"/>
                  <a:gd name="connsiteY15" fmla="*/ 137160 h 211550"/>
                  <a:gd name="connsiteX16" fmla="*/ 0 w 87629"/>
                  <a:gd name="connsiteY16" fmla="*/ 112490 h 211550"/>
                  <a:gd name="connsiteX17" fmla="*/ 6667 w 87629"/>
                  <a:gd name="connsiteY17" fmla="*/ 87725 h 211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7629" h="211550">
                    <a:moveTo>
                      <a:pt x="6667" y="87725"/>
                    </a:moveTo>
                    <a:lnTo>
                      <a:pt x="17145" y="77248"/>
                    </a:lnTo>
                    <a:lnTo>
                      <a:pt x="20955" y="31528"/>
                    </a:lnTo>
                    <a:lnTo>
                      <a:pt x="24765" y="24860"/>
                    </a:lnTo>
                    <a:lnTo>
                      <a:pt x="14288" y="0"/>
                    </a:lnTo>
                    <a:lnTo>
                      <a:pt x="39052" y="0"/>
                    </a:lnTo>
                    <a:lnTo>
                      <a:pt x="52388" y="21050"/>
                    </a:lnTo>
                    <a:lnTo>
                      <a:pt x="56197" y="52388"/>
                    </a:lnTo>
                    <a:lnTo>
                      <a:pt x="49530" y="80963"/>
                    </a:lnTo>
                    <a:lnTo>
                      <a:pt x="60007" y="108585"/>
                    </a:lnTo>
                    <a:lnTo>
                      <a:pt x="84772" y="137160"/>
                    </a:lnTo>
                    <a:lnTo>
                      <a:pt x="87630" y="186785"/>
                    </a:lnTo>
                    <a:lnTo>
                      <a:pt x="70485" y="211550"/>
                    </a:lnTo>
                    <a:lnTo>
                      <a:pt x="49530" y="190500"/>
                    </a:lnTo>
                    <a:lnTo>
                      <a:pt x="52388" y="137160"/>
                    </a:lnTo>
                    <a:lnTo>
                      <a:pt x="17145" y="137160"/>
                    </a:lnTo>
                    <a:lnTo>
                      <a:pt x="0" y="112490"/>
                    </a:lnTo>
                    <a:lnTo>
                      <a:pt x="6667" y="8772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79" name="Freeform: Shape 178">
                <a:extLst>
                  <a:ext uri="{FF2B5EF4-FFF2-40B4-BE49-F238E27FC236}">
                    <a16:creationId xmlns:a16="http://schemas.microsoft.com/office/drawing/2014/main" id="{A187085D-02FB-7595-5A90-D7FDE625DCBF}"/>
                  </a:ext>
                </a:extLst>
              </p:cNvPr>
              <p:cNvSpPr/>
              <p:nvPr/>
            </p:nvSpPr>
            <p:spPr>
              <a:xfrm>
                <a:off x="6895830" y="4810692"/>
                <a:ext cx="85902" cy="207382"/>
              </a:xfrm>
              <a:custGeom>
                <a:avLst/>
                <a:gdLst>
                  <a:gd name="connsiteX0" fmla="*/ 6667 w 87629"/>
                  <a:gd name="connsiteY0" fmla="*/ 87725 h 211550"/>
                  <a:gd name="connsiteX1" fmla="*/ 17145 w 87629"/>
                  <a:gd name="connsiteY1" fmla="*/ 77248 h 211550"/>
                  <a:gd name="connsiteX2" fmla="*/ 20955 w 87629"/>
                  <a:gd name="connsiteY2" fmla="*/ 31528 h 211550"/>
                  <a:gd name="connsiteX3" fmla="*/ 24765 w 87629"/>
                  <a:gd name="connsiteY3" fmla="*/ 24860 h 211550"/>
                  <a:gd name="connsiteX4" fmla="*/ 14288 w 87629"/>
                  <a:gd name="connsiteY4" fmla="*/ 0 h 211550"/>
                  <a:gd name="connsiteX5" fmla="*/ 39052 w 87629"/>
                  <a:gd name="connsiteY5" fmla="*/ 0 h 211550"/>
                  <a:gd name="connsiteX6" fmla="*/ 52388 w 87629"/>
                  <a:gd name="connsiteY6" fmla="*/ 21050 h 211550"/>
                  <a:gd name="connsiteX7" fmla="*/ 56197 w 87629"/>
                  <a:gd name="connsiteY7" fmla="*/ 52388 h 211550"/>
                  <a:gd name="connsiteX8" fmla="*/ 49530 w 87629"/>
                  <a:gd name="connsiteY8" fmla="*/ 80963 h 211550"/>
                  <a:gd name="connsiteX9" fmla="*/ 60007 w 87629"/>
                  <a:gd name="connsiteY9" fmla="*/ 108585 h 211550"/>
                  <a:gd name="connsiteX10" fmla="*/ 84772 w 87629"/>
                  <a:gd name="connsiteY10" fmla="*/ 137160 h 211550"/>
                  <a:gd name="connsiteX11" fmla="*/ 87630 w 87629"/>
                  <a:gd name="connsiteY11" fmla="*/ 186785 h 211550"/>
                  <a:gd name="connsiteX12" fmla="*/ 70485 w 87629"/>
                  <a:gd name="connsiteY12" fmla="*/ 211550 h 211550"/>
                  <a:gd name="connsiteX13" fmla="*/ 49530 w 87629"/>
                  <a:gd name="connsiteY13" fmla="*/ 190500 h 211550"/>
                  <a:gd name="connsiteX14" fmla="*/ 52388 w 87629"/>
                  <a:gd name="connsiteY14" fmla="*/ 137160 h 211550"/>
                  <a:gd name="connsiteX15" fmla="*/ 17145 w 87629"/>
                  <a:gd name="connsiteY15" fmla="*/ 137160 h 211550"/>
                  <a:gd name="connsiteX16" fmla="*/ 0 w 87629"/>
                  <a:gd name="connsiteY16" fmla="*/ 112490 h 211550"/>
                  <a:gd name="connsiteX17" fmla="*/ 6667 w 87629"/>
                  <a:gd name="connsiteY17" fmla="*/ 87725 h 211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87629" h="211550">
                    <a:moveTo>
                      <a:pt x="6667" y="87725"/>
                    </a:moveTo>
                    <a:lnTo>
                      <a:pt x="17145" y="77248"/>
                    </a:lnTo>
                    <a:lnTo>
                      <a:pt x="20955" y="31528"/>
                    </a:lnTo>
                    <a:lnTo>
                      <a:pt x="24765" y="24860"/>
                    </a:lnTo>
                    <a:lnTo>
                      <a:pt x="14288" y="0"/>
                    </a:lnTo>
                    <a:lnTo>
                      <a:pt x="39052" y="0"/>
                    </a:lnTo>
                    <a:lnTo>
                      <a:pt x="52388" y="21050"/>
                    </a:lnTo>
                    <a:lnTo>
                      <a:pt x="56197" y="52388"/>
                    </a:lnTo>
                    <a:lnTo>
                      <a:pt x="49530" y="80963"/>
                    </a:lnTo>
                    <a:lnTo>
                      <a:pt x="60007" y="108585"/>
                    </a:lnTo>
                    <a:lnTo>
                      <a:pt x="84772" y="137160"/>
                    </a:lnTo>
                    <a:lnTo>
                      <a:pt x="87630" y="186785"/>
                    </a:lnTo>
                    <a:lnTo>
                      <a:pt x="70485" y="211550"/>
                    </a:lnTo>
                    <a:lnTo>
                      <a:pt x="49530" y="190500"/>
                    </a:lnTo>
                    <a:lnTo>
                      <a:pt x="52388" y="137160"/>
                    </a:lnTo>
                    <a:lnTo>
                      <a:pt x="17145" y="137160"/>
                    </a:lnTo>
                    <a:lnTo>
                      <a:pt x="0" y="112490"/>
                    </a:lnTo>
                    <a:lnTo>
                      <a:pt x="6667" y="8772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0" name="Freeform: Shape 179">
                <a:extLst>
                  <a:ext uri="{FF2B5EF4-FFF2-40B4-BE49-F238E27FC236}">
                    <a16:creationId xmlns:a16="http://schemas.microsoft.com/office/drawing/2014/main" id="{7CEEC9B8-4472-E665-8B93-D636A197B1B3}"/>
                  </a:ext>
                </a:extLst>
              </p:cNvPr>
              <p:cNvSpPr/>
              <p:nvPr/>
            </p:nvSpPr>
            <p:spPr>
              <a:xfrm>
                <a:off x="6602640" y="4776237"/>
                <a:ext cx="317466" cy="268914"/>
              </a:xfrm>
              <a:custGeom>
                <a:avLst/>
                <a:gdLst>
                  <a:gd name="connsiteX0" fmla="*/ 91440 w 323850"/>
                  <a:gd name="connsiteY0" fmla="*/ 274320 h 274319"/>
                  <a:gd name="connsiteX1" fmla="*/ 80963 w 323850"/>
                  <a:gd name="connsiteY1" fmla="*/ 263747 h 274319"/>
                  <a:gd name="connsiteX2" fmla="*/ 35243 w 323850"/>
                  <a:gd name="connsiteY2" fmla="*/ 260985 h 274319"/>
                  <a:gd name="connsiteX3" fmla="*/ 2857 w 323850"/>
                  <a:gd name="connsiteY3" fmla="*/ 225647 h 274319"/>
                  <a:gd name="connsiteX4" fmla="*/ 0 w 323850"/>
                  <a:gd name="connsiteY4" fmla="*/ 133350 h 274319"/>
                  <a:gd name="connsiteX5" fmla="*/ 52388 w 323850"/>
                  <a:gd name="connsiteY5" fmla="*/ 133350 h 274319"/>
                  <a:gd name="connsiteX6" fmla="*/ 52388 w 323850"/>
                  <a:gd name="connsiteY6" fmla="*/ 73247 h 274319"/>
                  <a:gd name="connsiteX7" fmla="*/ 83820 w 323850"/>
                  <a:gd name="connsiteY7" fmla="*/ 87535 h 274319"/>
                  <a:gd name="connsiteX8" fmla="*/ 119063 w 323850"/>
                  <a:gd name="connsiteY8" fmla="*/ 101822 h 274319"/>
                  <a:gd name="connsiteX9" fmla="*/ 143827 w 323850"/>
                  <a:gd name="connsiteY9" fmla="*/ 91345 h 274319"/>
                  <a:gd name="connsiteX10" fmla="*/ 158115 w 323850"/>
                  <a:gd name="connsiteY10" fmla="*/ 112395 h 274319"/>
                  <a:gd name="connsiteX11" fmla="*/ 179070 w 323850"/>
                  <a:gd name="connsiteY11" fmla="*/ 122872 h 274319"/>
                  <a:gd name="connsiteX12" fmla="*/ 193357 w 323850"/>
                  <a:gd name="connsiteY12" fmla="*/ 143732 h 274319"/>
                  <a:gd name="connsiteX13" fmla="*/ 218123 w 323850"/>
                  <a:gd name="connsiteY13" fmla="*/ 143732 h 274319"/>
                  <a:gd name="connsiteX14" fmla="*/ 218123 w 323850"/>
                  <a:gd name="connsiteY14" fmla="*/ 112395 h 274319"/>
                  <a:gd name="connsiteX15" fmla="*/ 193357 w 323850"/>
                  <a:gd name="connsiteY15" fmla="*/ 101822 h 274319"/>
                  <a:gd name="connsiteX16" fmla="*/ 176213 w 323850"/>
                  <a:gd name="connsiteY16" fmla="*/ 83820 h 274319"/>
                  <a:gd name="connsiteX17" fmla="*/ 182880 w 323850"/>
                  <a:gd name="connsiteY17" fmla="*/ 45720 h 274319"/>
                  <a:gd name="connsiteX18" fmla="*/ 179070 w 323850"/>
                  <a:gd name="connsiteY18" fmla="*/ 13335 h 274319"/>
                  <a:gd name="connsiteX19" fmla="*/ 207645 w 323850"/>
                  <a:gd name="connsiteY19" fmla="*/ 0 h 274319"/>
                  <a:gd name="connsiteX20" fmla="*/ 239077 w 323850"/>
                  <a:gd name="connsiteY20" fmla="*/ 0 h 274319"/>
                  <a:gd name="connsiteX21" fmla="*/ 313373 w 323850"/>
                  <a:gd name="connsiteY21" fmla="*/ 35147 h 274319"/>
                  <a:gd name="connsiteX22" fmla="*/ 323850 w 323850"/>
                  <a:gd name="connsiteY22" fmla="*/ 60007 h 274319"/>
                  <a:gd name="connsiteX23" fmla="*/ 316230 w 323850"/>
                  <a:gd name="connsiteY23" fmla="*/ 70485 h 274319"/>
                  <a:gd name="connsiteX24" fmla="*/ 316230 w 323850"/>
                  <a:gd name="connsiteY24" fmla="*/ 112395 h 274319"/>
                  <a:gd name="connsiteX25" fmla="*/ 305752 w 323850"/>
                  <a:gd name="connsiteY25" fmla="*/ 122872 h 274319"/>
                  <a:gd name="connsiteX26" fmla="*/ 299085 w 323850"/>
                  <a:gd name="connsiteY26" fmla="*/ 147638 h 274319"/>
                  <a:gd name="connsiteX27" fmla="*/ 316230 w 323850"/>
                  <a:gd name="connsiteY27" fmla="*/ 172307 h 274319"/>
                  <a:gd name="connsiteX28" fmla="*/ 235268 w 323850"/>
                  <a:gd name="connsiteY28" fmla="*/ 186595 h 274319"/>
                  <a:gd name="connsiteX29" fmla="*/ 235268 w 323850"/>
                  <a:gd name="connsiteY29" fmla="*/ 214313 h 274319"/>
                  <a:gd name="connsiteX30" fmla="*/ 200025 w 323850"/>
                  <a:gd name="connsiteY30" fmla="*/ 211360 h 274319"/>
                  <a:gd name="connsiteX31" fmla="*/ 186690 w 323850"/>
                  <a:gd name="connsiteY31" fmla="*/ 236220 h 274319"/>
                  <a:gd name="connsiteX32" fmla="*/ 164782 w 323850"/>
                  <a:gd name="connsiteY32" fmla="*/ 238982 h 274319"/>
                  <a:gd name="connsiteX33" fmla="*/ 140970 w 323850"/>
                  <a:gd name="connsiteY33" fmla="*/ 271463 h 274319"/>
                  <a:gd name="connsiteX34" fmla="*/ 91440 w 323850"/>
                  <a:gd name="connsiteY34" fmla="*/ 274320 h 274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323850" h="274319">
                    <a:moveTo>
                      <a:pt x="91440" y="274320"/>
                    </a:moveTo>
                    <a:lnTo>
                      <a:pt x="80963" y="263747"/>
                    </a:lnTo>
                    <a:lnTo>
                      <a:pt x="35243" y="260985"/>
                    </a:lnTo>
                    <a:lnTo>
                      <a:pt x="2857" y="225647"/>
                    </a:lnTo>
                    <a:lnTo>
                      <a:pt x="0" y="133350"/>
                    </a:lnTo>
                    <a:lnTo>
                      <a:pt x="52388" y="133350"/>
                    </a:lnTo>
                    <a:lnTo>
                      <a:pt x="52388" y="73247"/>
                    </a:lnTo>
                    <a:lnTo>
                      <a:pt x="83820" y="87535"/>
                    </a:lnTo>
                    <a:lnTo>
                      <a:pt x="119063" y="101822"/>
                    </a:lnTo>
                    <a:lnTo>
                      <a:pt x="143827" y="91345"/>
                    </a:lnTo>
                    <a:lnTo>
                      <a:pt x="158115" y="112395"/>
                    </a:lnTo>
                    <a:lnTo>
                      <a:pt x="179070" y="122872"/>
                    </a:lnTo>
                    <a:lnTo>
                      <a:pt x="193357" y="143732"/>
                    </a:lnTo>
                    <a:lnTo>
                      <a:pt x="218123" y="143732"/>
                    </a:lnTo>
                    <a:lnTo>
                      <a:pt x="218123" y="112395"/>
                    </a:lnTo>
                    <a:lnTo>
                      <a:pt x="193357" y="101822"/>
                    </a:lnTo>
                    <a:lnTo>
                      <a:pt x="176213" y="83820"/>
                    </a:lnTo>
                    <a:lnTo>
                      <a:pt x="182880" y="45720"/>
                    </a:lnTo>
                    <a:lnTo>
                      <a:pt x="179070" y="13335"/>
                    </a:lnTo>
                    <a:lnTo>
                      <a:pt x="207645" y="0"/>
                    </a:lnTo>
                    <a:lnTo>
                      <a:pt x="239077" y="0"/>
                    </a:lnTo>
                    <a:lnTo>
                      <a:pt x="313373" y="35147"/>
                    </a:lnTo>
                    <a:lnTo>
                      <a:pt x="323850" y="60007"/>
                    </a:lnTo>
                    <a:lnTo>
                      <a:pt x="316230" y="70485"/>
                    </a:lnTo>
                    <a:lnTo>
                      <a:pt x="316230" y="112395"/>
                    </a:lnTo>
                    <a:lnTo>
                      <a:pt x="305752" y="122872"/>
                    </a:lnTo>
                    <a:lnTo>
                      <a:pt x="299085" y="147638"/>
                    </a:lnTo>
                    <a:lnTo>
                      <a:pt x="316230" y="172307"/>
                    </a:lnTo>
                    <a:lnTo>
                      <a:pt x="235268" y="186595"/>
                    </a:lnTo>
                    <a:lnTo>
                      <a:pt x="235268" y="214313"/>
                    </a:lnTo>
                    <a:lnTo>
                      <a:pt x="200025" y="211360"/>
                    </a:lnTo>
                    <a:lnTo>
                      <a:pt x="186690" y="236220"/>
                    </a:lnTo>
                    <a:lnTo>
                      <a:pt x="164782" y="238982"/>
                    </a:lnTo>
                    <a:lnTo>
                      <a:pt x="140970" y="271463"/>
                    </a:lnTo>
                    <a:lnTo>
                      <a:pt x="91440" y="27432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1" name="Freeform: Shape 180">
                <a:extLst>
                  <a:ext uri="{FF2B5EF4-FFF2-40B4-BE49-F238E27FC236}">
                    <a16:creationId xmlns:a16="http://schemas.microsoft.com/office/drawing/2014/main" id="{774470AB-EE60-F62D-0DBD-51CB95F24364}"/>
                  </a:ext>
                </a:extLst>
              </p:cNvPr>
              <p:cNvSpPr/>
              <p:nvPr/>
            </p:nvSpPr>
            <p:spPr>
              <a:xfrm>
                <a:off x="6806192" y="4575485"/>
                <a:ext cx="299725" cy="294125"/>
              </a:xfrm>
              <a:custGeom>
                <a:avLst/>
                <a:gdLst>
                  <a:gd name="connsiteX0" fmla="*/ 31432 w 305752"/>
                  <a:gd name="connsiteY0" fmla="*/ 204788 h 300037"/>
                  <a:gd name="connsiteX1" fmla="*/ 27623 w 305752"/>
                  <a:gd name="connsiteY1" fmla="*/ 176213 h 300037"/>
                  <a:gd name="connsiteX2" fmla="*/ 2857 w 305752"/>
                  <a:gd name="connsiteY2" fmla="*/ 144685 h 300037"/>
                  <a:gd name="connsiteX3" fmla="*/ 0 w 305752"/>
                  <a:gd name="connsiteY3" fmla="*/ 99060 h 300037"/>
                  <a:gd name="connsiteX4" fmla="*/ 35243 w 305752"/>
                  <a:gd name="connsiteY4" fmla="*/ 60007 h 300037"/>
                  <a:gd name="connsiteX5" fmla="*/ 27623 w 305752"/>
                  <a:gd name="connsiteY5" fmla="*/ 35147 h 300037"/>
                  <a:gd name="connsiteX6" fmla="*/ 38100 w 305752"/>
                  <a:gd name="connsiteY6" fmla="*/ 20860 h 300037"/>
                  <a:gd name="connsiteX7" fmla="*/ 27623 w 305752"/>
                  <a:gd name="connsiteY7" fmla="*/ 0 h 300037"/>
                  <a:gd name="connsiteX8" fmla="*/ 66675 w 305752"/>
                  <a:gd name="connsiteY8" fmla="*/ 0 h 300037"/>
                  <a:gd name="connsiteX9" fmla="*/ 133350 w 305752"/>
                  <a:gd name="connsiteY9" fmla="*/ 3810 h 300037"/>
                  <a:gd name="connsiteX10" fmla="*/ 224790 w 305752"/>
                  <a:gd name="connsiteY10" fmla="*/ 52388 h 300037"/>
                  <a:gd name="connsiteX11" fmla="*/ 232410 w 305752"/>
                  <a:gd name="connsiteY11" fmla="*/ 70485 h 300037"/>
                  <a:gd name="connsiteX12" fmla="*/ 274320 w 305752"/>
                  <a:gd name="connsiteY12" fmla="*/ 101822 h 300037"/>
                  <a:gd name="connsiteX13" fmla="*/ 263843 w 305752"/>
                  <a:gd name="connsiteY13" fmla="*/ 126682 h 300037"/>
                  <a:gd name="connsiteX14" fmla="*/ 260032 w 305752"/>
                  <a:gd name="connsiteY14" fmla="*/ 151447 h 300037"/>
                  <a:gd name="connsiteX15" fmla="*/ 274320 w 305752"/>
                  <a:gd name="connsiteY15" fmla="*/ 172307 h 300037"/>
                  <a:gd name="connsiteX16" fmla="*/ 274320 w 305752"/>
                  <a:gd name="connsiteY16" fmla="*/ 221932 h 300037"/>
                  <a:gd name="connsiteX17" fmla="*/ 305753 w 305752"/>
                  <a:gd name="connsiteY17" fmla="*/ 264795 h 300037"/>
                  <a:gd name="connsiteX18" fmla="*/ 278130 w 305752"/>
                  <a:gd name="connsiteY18" fmla="*/ 281845 h 300037"/>
                  <a:gd name="connsiteX19" fmla="*/ 232410 w 305752"/>
                  <a:gd name="connsiteY19" fmla="*/ 300038 h 300037"/>
                  <a:gd name="connsiteX20" fmla="*/ 147638 w 305752"/>
                  <a:gd name="connsiteY20" fmla="*/ 292322 h 300037"/>
                  <a:gd name="connsiteX21" fmla="*/ 143828 w 305752"/>
                  <a:gd name="connsiteY21" fmla="*/ 260985 h 300037"/>
                  <a:gd name="connsiteX22" fmla="*/ 130493 w 305752"/>
                  <a:gd name="connsiteY22" fmla="*/ 239935 h 300037"/>
                  <a:gd name="connsiteX23" fmla="*/ 105728 w 305752"/>
                  <a:gd name="connsiteY23" fmla="*/ 239935 h 300037"/>
                  <a:gd name="connsiteX24" fmla="*/ 31432 w 305752"/>
                  <a:gd name="connsiteY24" fmla="*/ 204788 h 3000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05752" h="300037">
                    <a:moveTo>
                      <a:pt x="31432" y="204788"/>
                    </a:moveTo>
                    <a:lnTo>
                      <a:pt x="27623" y="176213"/>
                    </a:lnTo>
                    <a:lnTo>
                      <a:pt x="2857" y="144685"/>
                    </a:lnTo>
                    <a:lnTo>
                      <a:pt x="0" y="99060"/>
                    </a:lnTo>
                    <a:lnTo>
                      <a:pt x="35243" y="60007"/>
                    </a:lnTo>
                    <a:lnTo>
                      <a:pt x="27623" y="35147"/>
                    </a:lnTo>
                    <a:lnTo>
                      <a:pt x="38100" y="20860"/>
                    </a:lnTo>
                    <a:lnTo>
                      <a:pt x="27623" y="0"/>
                    </a:lnTo>
                    <a:lnTo>
                      <a:pt x="66675" y="0"/>
                    </a:lnTo>
                    <a:lnTo>
                      <a:pt x="133350" y="3810"/>
                    </a:lnTo>
                    <a:lnTo>
                      <a:pt x="224790" y="52388"/>
                    </a:lnTo>
                    <a:lnTo>
                      <a:pt x="232410" y="70485"/>
                    </a:lnTo>
                    <a:lnTo>
                      <a:pt x="274320" y="101822"/>
                    </a:lnTo>
                    <a:lnTo>
                      <a:pt x="263843" y="126682"/>
                    </a:lnTo>
                    <a:lnTo>
                      <a:pt x="260032" y="151447"/>
                    </a:lnTo>
                    <a:lnTo>
                      <a:pt x="274320" y="172307"/>
                    </a:lnTo>
                    <a:lnTo>
                      <a:pt x="274320" y="221932"/>
                    </a:lnTo>
                    <a:lnTo>
                      <a:pt x="305753" y="264795"/>
                    </a:lnTo>
                    <a:lnTo>
                      <a:pt x="278130" y="281845"/>
                    </a:lnTo>
                    <a:lnTo>
                      <a:pt x="232410" y="300038"/>
                    </a:lnTo>
                    <a:lnTo>
                      <a:pt x="147638" y="292322"/>
                    </a:lnTo>
                    <a:lnTo>
                      <a:pt x="143828" y="260985"/>
                    </a:lnTo>
                    <a:lnTo>
                      <a:pt x="130493" y="239935"/>
                    </a:lnTo>
                    <a:lnTo>
                      <a:pt x="105728" y="239935"/>
                    </a:lnTo>
                    <a:lnTo>
                      <a:pt x="31432" y="2047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2" name="Freeform: Shape 181">
                <a:extLst>
                  <a:ext uri="{FF2B5EF4-FFF2-40B4-BE49-F238E27FC236}">
                    <a16:creationId xmlns:a16="http://schemas.microsoft.com/office/drawing/2014/main" id="{BA07C4C1-61F4-2733-F07A-1BB9BBBEC41B}"/>
                  </a:ext>
                </a:extLst>
              </p:cNvPr>
              <p:cNvSpPr/>
              <p:nvPr/>
            </p:nvSpPr>
            <p:spPr>
              <a:xfrm>
                <a:off x="6802457" y="4609940"/>
                <a:ext cx="38282" cy="62653"/>
              </a:xfrm>
              <a:custGeom>
                <a:avLst/>
                <a:gdLst>
                  <a:gd name="connsiteX0" fmla="*/ 31432 w 39052"/>
                  <a:gd name="connsiteY0" fmla="*/ 0 h 63912"/>
                  <a:gd name="connsiteX1" fmla="*/ 18097 w 39052"/>
                  <a:gd name="connsiteY1" fmla="*/ 3810 h 63912"/>
                  <a:gd name="connsiteX2" fmla="*/ 0 w 39052"/>
                  <a:gd name="connsiteY2" fmla="*/ 21050 h 63912"/>
                  <a:gd name="connsiteX3" fmla="*/ 3810 w 39052"/>
                  <a:gd name="connsiteY3" fmla="*/ 63913 h 63912"/>
                  <a:gd name="connsiteX4" fmla="*/ 39052 w 39052"/>
                  <a:gd name="connsiteY4" fmla="*/ 24860 h 63912"/>
                  <a:gd name="connsiteX5" fmla="*/ 31432 w 39052"/>
                  <a:gd name="connsiteY5" fmla="*/ 0 h 6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052" h="63912">
                    <a:moveTo>
                      <a:pt x="31432" y="0"/>
                    </a:moveTo>
                    <a:lnTo>
                      <a:pt x="18097" y="3810"/>
                    </a:lnTo>
                    <a:lnTo>
                      <a:pt x="0" y="21050"/>
                    </a:lnTo>
                    <a:lnTo>
                      <a:pt x="3810" y="63913"/>
                    </a:lnTo>
                    <a:lnTo>
                      <a:pt x="39052" y="24860"/>
                    </a:lnTo>
                    <a:lnTo>
                      <a:pt x="31432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3" name="Freeform: Shape 182">
                <a:extLst>
                  <a:ext uri="{FF2B5EF4-FFF2-40B4-BE49-F238E27FC236}">
                    <a16:creationId xmlns:a16="http://schemas.microsoft.com/office/drawing/2014/main" id="{B160B15B-46F3-23D2-B93A-41999410A213}"/>
                  </a:ext>
                </a:extLst>
              </p:cNvPr>
              <p:cNvSpPr/>
              <p:nvPr/>
            </p:nvSpPr>
            <p:spPr>
              <a:xfrm>
                <a:off x="6802457" y="4609940"/>
                <a:ext cx="38282" cy="62653"/>
              </a:xfrm>
              <a:custGeom>
                <a:avLst/>
                <a:gdLst>
                  <a:gd name="connsiteX0" fmla="*/ 31432 w 39052"/>
                  <a:gd name="connsiteY0" fmla="*/ 0 h 63912"/>
                  <a:gd name="connsiteX1" fmla="*/ 18097 w 39052"/>
                  <a:gd name="connsiteY1" fmla="*/ 3810 h 63912"/>
                  <a:gd name="connsiteX2" fmla="*/ 0 w 39052"/>
                  <a:gd name="connsiteY2" fmla="*/ 21050 h 63912"/>
                  <a:gd name="connsiteX3" fmla="*/ 3810 w 39052"/>
                  <a:gd name="connsiteY3" fmla="*/ 63913 h 63912"/>
                  <a:gd name="connsiteX4" fmla="*/ 39052 w 39052"/>
                  <a:gd name="connsiteY4" fmla="*/ 24860 h 63912"/>
                  <a:gd name="connsiteX5" fmla="*/ 31432 w 39052"/>
                  <a:gd name="connsiteY5" fmla="*/ 0 h 6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9052" h="63912">
                    <a:moveTo>
                      <a:pt x="31432" y="0"/>
                    </a:moveTo>
                    <a:lnTo>
                      <a:pt x="18097" y="3810"/>
                    </a:lnTo>
                    <a:lnTo>
                      <a:pt x="0" y="21050"/>
                    </a:lnTo>
                    <a:lnTo>
                      <a:pt x="3810" y="63913"/>
                    </a:lnTo>
                    <a:lnTo>
                      <a:pt x="39052" y="24860"/>
                    </a:lnTo>
                    <a:lnTo>
                      <a:pt x="31432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4" name="Freeform: Shape 183">
                <a:extLst>
                  <a:ext uri="{FF2B5EF4-FFF2-40B4-BE49-F238E27FC236}">
                    <a16:creationId xmlns:a16="http://schemas.microsoft.com/office/drawing/2014/main" id="{5860AD14-3DF1-1718-EA90-9F6CA96528B4}"/>
                  </a:ext>
                </a:extLst>
              </p:cNvPr>
              <p:cNvSpPr/>
              <p:nvPr/>
            </p:nvSpPr>
            <p:spPr>
              <a:xfrm>
                <a:off x="6792186" y="4575485"/>
                <a:ext cx="51354" cy="55090"/>
              </a:xfrm>
              <a:custGeom>
                <a:avLst/>
                <a:gdLst>
                  <a:gd name="connsiteX0" fmla="*/ 17145 w 52387"/>
                  <a:gd name="connsiteY0" fmla="*/ 3810 h 56197"/>
                  <a:gd name="connsiteX1" fmla="*/ 41910 w 52387"/>
                  <a:gd name="connsiteY1" fmla="*/ 0 h 56197"/>
                  <a:gd name="connsiteX2" fmla="*/ 52388 w 52387"/>
                  <a:gd name="connsiteY2" fmla="*/ 20860 h 56197"/>
                  <a:gd name="connsiteX3" fmla="*/ 41910 w 52387"/>
                  <a:gd name="connsiteY3" fmla="*/ 35147 h 56197"/>
                  <a:gd name="connsiteX4" fmla="*/ 28575 w 52387"/>
                  <a:gd name="connsiteY4" fmla="*/ 38957 h 56197"/>
                  <a:gd name="connsiteX5" fmla="*/ 10478 w 52387"/>
                  <a:gd name="connsiteY5" fmla="*/ 56197 h 56197"/>
                  <a:gd name="connsiteX6" fmla="*/ 0 w 52387"/>
                  <a:gd name="connsiteY6" fmla="*/ 28575 h 56197"/>
                  <a:gd name="connsiteX7" fmla="*/ 17145 w 52387"/>
                  <a:gd name="connsiteY7" fmla="*/ 3810 h 56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387" h="56197">
                    <a:moveTo>
                      <a:pt x="17145" y="3810"/>
                    </a:moveTo>
                    <a:lnTo>
                      <a:pt x="41910" y="0"/>
                    </a:lnTo>
                    <a:lnTo>
                      <a:pt x="52388" y="20860"/>
                    </a:lnTo>
                    <a:lnTo>
                      <a:pt x="41910" y="35147"/>
                    </a:lnTo>
                    <a:lnTo>
                      <a:pt x="28575" y="38957"/>
                    </a:lnTo>
                    <a:lnTo>
                      <a:pt x="10478" y="56197"/>
                    </a:lnTo>
                    <a:lnTo>
                      <a:pt x="0" y="28575"/>
                    </a:lnTo>
                    <a:lnTo>
                      <a:pt x="17145" y="38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5" name="Freeform: Shape 184">
                <a:extLst>
                  <a:ext uri="{FF2B5EF4-FFF2-40B4-BE49-F238E27FC236}">
                    <a16:creationId xmlns:a16="http://schemas.microsoft.com/office/drawing/2014/main" id="{5556D74A-AC81-1DA5-E2DC-7933FE585785}"/>
                  </a:ext>
                </a:extLst>
              </p:cNvPr>
              <p:cNvSpPr/>
              <p:nvPr/>
            </p:nvSpPr>
            <p:spPr>
              <a:xfrm>
                <a:off x="6792186" y="4575485"/>
                <a:ext cx="51354" cy="55090"/>
              </a:xfrm>
              <a:custGeom>
                <a:avLst/>
                <a:gdLst>
                  <a:gd name="connsiteX0" fmla="*/ 17145 w 52387"/>
                  <a:gd name="connsiteY0" fmla="*/ 3810 h 56197"/>
                  <a:gd name="connsiteX1" fmla="*/ 41910 w 52387"/>
                  <a:gd name="connsiteY1" fmla="*/ 0 h 56197"/>
                  <a:gd name="connsiteX2" fmla="*/ 52388 w 52387"/>
                  <a:gd name="connsiteY2" fmla="*/ 20860 h 56197"/>
                  <a:gd name="connsiteX3" fmla="*/ 41910 w 52387"/>
                  <a:gd name="connsiteY3" fmla="*/ 35147 h 56197"/>
                  <a:gd name="connsiteX4" fmla="*/ 28575 w 52387"/>
                  <a:gd name="connsiteY4" fmla="*/ 38957 h 56197"/>
                  <a:gd name="connsiteX5" fmla="*/ 10478 w 52387"/>
                  <a:gd name="connsiteY5" fmla="*/ 56197 h 56197"/>
                  <a:gd name="connsiteX6" fmla="*/ 0 w 52387"/>
                  <a:gd name="connsiteY6" fmla="*/ 28575 h 56197"/>
                  <a:gd name="connsiteX7" fmla="*/ 17145 w 52387"/>
                  <a:gd name="connsiteY7" fmla="*/ 3810 h 56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387" h="56197">
                    <a:moveTo>
                      <a:pt x="17145" y="3810"/>
                    </a:moveTo>
                    <a:lnTo>
                      <a:pt x="41910" y="0"/>
                    </a:lnTo>
                    <a:lnTo>
                      <a:pt x="52388" y="20860"/>
                    </a:lnTo>
                    <a:lnTo>
                      <a:pt x="41910" y="35147"/>
                    </a:lnTo>
                    <a:lnTo>
                      <a:pt x="28575" y="38957"/>
                    </a:lnTo>
                    <a:lnTo>
                      <a:pt x="10478" y="56197"/>
                    </a:lnTo>
                    <a:lnTo>
                      <a:pt x="0" y="28575"/>
                    </a:lnTo>
                    <a:lnTo>
                      <a:pt x="17145" y="38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6" name="Freeform: Shape 185">
                <a:extLst>
                  <a:ext uri="{FF2B5EF4-FFF2-40B4-BE49-F238E27FC236}">
                    <a16:creationId xmlns:a16="http://schemas.microsoft.com/office/drawing/2014/main" id="{085BD006-4CD2-0737-2C7E-6E8AB7E77D3D}"/>
                  </a:ext>
                </a:extLst>
              </p:cNvPr>
              <p:cNvSpPr/>
              <p:nvPr/>
            </p:nvSpPr>
            <p:spPr>
              <a:xfrm>
                <a:off x="6808993" y="4433557"/>
                <a:ext cx="148462" cy="145662"/>
              </a:xfrm>
              <a:custGeom>
                <a:avLst/>
                <a:gdLst>
                  <a:gd name="connsiteX0" fmla="*/ 0 w 151447"/>
                  <a:gd name="connsiteY0" fmla="*/ 148590 h 148590"/>
                  <a:gd name="connsiteX1" fmla="*/ 3810 w 151447"/>
                  <a:gd name="connsiteY1" fmla="*/ 113252 h 148590"/>
                  <a:gd name="connsiteX2" fmla="*/ 11430 w 151447"/>
                  <a:gd name="connsiteY2" fmla="*/ 91440 h 148590"/>
                  <a:gd name="connsiteX3" fmla="*/ 46673 w 151447"/>
                  <a:gd name="connsiteY3" fmla="*/ 59912 h 148590"/>
                  <a:gd name="connsiteX4" fmla="*/ 46673 w 151447"/>
                  <a:gd name="connsiteY4" fmla="*/ 53340 h 148590"/>
                  <a:gd name="connsiteX5" fmla="*/ 35243 w 151447"/>
                  <a:gd name="connsiteY5" fmla="*/ 49530 h 148590"/>
                  <a:gd name="connsiteX6" fmla="*/ 28575 w 151447"/>
                  <a:gd name="connsiteY6" fmla="*/ 7525 h 148590"/>
                  <a:gd name="connsiteX7" fmla="*/ 120015 w 151447"/>
                  <a:gd name="connsiteY7" fmla="*/ 0 h 148590"/>
                  <a:gd name="connsiteX8" fmla="*/ 140970 w 151447"/>
                  <a:gd name="connsiteY8" fmla="*/ 35243 h 148590"/>
                  <a:gd name="connsiteX9" fmla="*/ 151448 w 151447"/>
                  <a:gd name="connsiteY9" fmla="*/ 74200 h 148590"/>
                  <a:gd name="connsiteX10" fmla="*/ 127635 w 151447"/>
                  <a:gd name="connsiteY10" fmla="*/ 101918 h 148590"/>
                  <a:gd name="connsiteX11" fmla="*/ 134303 w 151447"/>
                  <a:gd name="connsiteY11" fmla="*/ 126587 h 148590"/>
                  <a:gd name="connsiteX12" fmla="*/ 123825 w 151447"/>
                  <a:gd name="connsiteY12" fmla="*/ 148590 h 148590"/>
                  <a:gd name="connsiteX13" fmla="*/ 63818 w 151447"/>
                  <a:gd name="connsiteY13" fmla="*/ 144780 h 148590"/>
                  <a:gd name="connsiteX14" fmla="*/ 24765 w 151447"/>
                  <a:gd name="connsiteY14" fmla="*/ 144780 h 148590"/>
                  <a:gd name="connsiteX15" fmla="*/ 0 w 151447"/>
                  <a:gd name="connsiteY15" fmla="*/ 148590 h 148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1447" h="148590">
                    <a:moveTo>
                      <a:pt x="0" y="148590"/>
                    </a:moveTo>
                    <a:lnTo>
                      <a:pt x="3810" y="113252"/>
                    </a:lnTo>
                    <a:lnTo>
                      <a:pt x="11430" y="91440"/>
                    </a:lnTo>
                    <a:lnTo>
                      <a:pt x="46673" y="59912"/>
                    </a:lnTo>
                    <a:lnTo>
                      <a:pt x="46673" y="53340"/>
                    </a:lnTo>
                    <a:lnTo>
                      <a:pt x="35243" y="49530"/>
                    </a:lnTo>
                    <a:lnTo>
                      <a:pt x="28575" y="7525"/>
                    </a:lnTo>
                    <a:lnTo>
                      <a:pt x="120015" y="0"/>
                    </a:lnTo>
                    <a:lnTo>
                      <a:pt x="140970" y="35243"/>
                    </a:lnTo>
                    <a:lnTo>
                      <a:pt x="151448" y="74200"/>
                    </a:lnTo>
                    <a:lnTo>
                      <a:pt x="127635" y="101918"/>
                    </a:lnTo>
                    <a:lnTo>
                      <a:pt x="134303" y="126587"/>
                    </a:lnTo>
                    <a:lnTo>
                      <a:pt x="123825" y="148590"/>
                    </a:lnTo>
                    <a:lnTo>
                      <a:pt x="63818" y="144780"/>
                    </a:lnTo>
                    <a:lnTo>
                      <a:pt x="24765" y="144780"/>
                    </a:lnTo>
                    <a:lnTo>
                      <a:pt x="0" y="1485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7" name="Freeform: Shape 186">
                <a:extLst>
                  <a:ext uri="{FF2B5EF4-FFF2-40B4-BE49-F238E27FC236}">
                    <a16:creationId xmlns:a16="http://schemas.microsoft.com/office/drawing/2014/main" id="{E38B450F-3221-5485-E438-D6884B7AACF4}"/>
                  </a:ext>
                </a:extLst>
              </p:cNvPr>
              <p:cNvSpPr/>
              <p:nvPr/>
            </p:nvSpPr>
            <p:spPr>
              <a:xfrm>
                <a:off x="6808993" y="4433557"/>
                <a:ext cx="148462" cy="145662"/>
              </a:xfrm>
              <a:custGeom>
                <a:avLst/>
                <a:gdLst>
                  <a:gd name="connsiteX0" fmla="*/ 0 w 151447"/>
                  <a:gd name="connsiteY0" fmla="*/ 148590 h 148590"/>
                  <a:gd name="connsiteX1" fmla="*/ 3810 w 151447"/>
                  <a:gd name="connsiteY1" fmla="*/ 113252 h 148590"/>
                  <a:gd name="connsiteX2" fmla="*/ 11430 w 151447"/>
                  <a:gd name="connsiteY2" fmla="*/ 91440 h 148590"/>
                  <a:gd name="connsiteX3" fmla="*/ 46673 w 151447"/>
                  <a:gd name="connsiteY3" fmla="*/ 59912 h 148590"/>
                  <a:gd name="connsiteX4" fmla="*/ 46673 w 151447"/>
                  <a:gd name="connsiteY4" fmla="*/ 53340 h 148590"/>
                  <a:gd name="connsiteX5" fmla="*/ 35243 w 151447"/>
                  <a:gd name="connsiteY5" fmla="*/ 49530 h 148590"/>
                  <a:gd name="connsiteX6" fmla="*/ 28575 w 151447"/>
                  <a:gd name="connsiteY6" fmla="*/ 7525 h 148590"/>
                  <a:gd name="connsiteX7" fmla="*/ 120015 w 151447"/>
                  <a:gd name="connsiteY7" fmla="*/ 0 h 148590"/>
                  <a:gd name="connsiteX8" fmla="*/ 140970 w 151447"/>
                  <a:gd name="connsiteY8" fmla="*/ 35243 h 148590"/>
                  <a:gd name="connsiteX9" fmla="*/ 151448 w 151447"/>
                  <a:gd name="connsiteY9" fmla="*/ 74200 h 148590"/>
                  <a:gd name="connsiteX10" fmla="*/ 127635 w 151447"/>
                  <a:gd name="connsiteY10" fmla="*/ 101918 h 148590"/>
                  <a:gd name="connsiteX11" fmla="*/ 134303 w 151447"/>
                  <a:gd name="connsiteY11" fmla="*/ 126587 h 148590"/>
                  <a:gd name="connsiteX12" fmla="*/ 123825 w 151447"/>
                  <a:gd name="connsiteY12" fmla="*/ 148590 h 148590"/>
                  <a:gd name="connsiteX13" fmla="*/ 63818 w 151447"/>
                  <a:gd name="connsiteY13" fmla="*/ 144780 h 148590"/>
                  <a:gd name="connsiteX14" fmla="*/ 24765 w 151447"/>
                  <a:gd name="connsiteY14" fmla="*/ 144780 h 148590"/>
                  <a:gd name="connsiteX15" fmla="*/ 0 w 151447"/>
                  <a:gd name="connsiteY15" fmla="*/ 148590 h 148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1447" h="148590">
                    <a:moveTo>
                      <a:pt x="0" y="148590"/>
                    </a:moveTo>
                    <a:lnTo>
                      <a:pt x="3810" y="113252"/>
                    </a:lnTo>
                    <a:lnTo>
                      <a:pt x="11430" y="91440"/>
                    </a:lnTo>
                    <a:lnTo>
                      <a:pt x="46673" y="59912"/>
                    </a:lnTo>
                    <a:lnTo>
                      <a:pt x="46673" y="53340"/>
                    </a:lnTo>
                    <a:lnTo>
                      <a:pt x="35243" y="49530"/>
                    </a:lnTo>
                    <a:lnTo>
                      <a:pt x="28575" y="7525"/>
                    </a:lnTo>
                    <a:lnTo>
                      <a:pt x="120015" y="0"/>
                    </a:lnTo>
                    <a:lnTo>
                      <a:pt x="140970" y="35243"/>
                    </a:lnTo>
                    <a:lnTo>
                      <a:pt x="151448" y="74200"/>
                    </a:lnTo>
                    <a:lnTo>
                      <a:pt x="127635" y="101918"/>
                    </a:lnTo>
                    <a:lnTo>
                      <a:pt x="134303" y="126587"/>
                    </a:lnTo>
                    <a:lnTo>
                      <a:pt x="123825" y="148590"/>
                    </a:lnTo>
                    <a:lnTo>
                      <a:pt x="63818" y="144780"/>
                    </a:lnTo>
                    <a:lnTo>
                      <a:pt x="24765" y="144780"/>
                    </a:lnTo>
                    <a:lnTo>
                      <a:pt x="0" y="1485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8" name="Freeform: Shape 187">
                <a:extLst>
                  <a:ext uri="{FF2B5EF4-FFF2-40B4-BE49-F238E27FC236}">
                    <a16:creationId xmlns:a16="http://schemas.microsoft.com/office/drawing/2014/main" id="{3681931D-0C7B-36FB-44FB-7A7377AA0DFC}"/>
                  </a:ext>
                </a:extLst>
              </p:cNvPr>
              <p:cNvSpPr/>
              <p:nvPr/>
            </p:nvSpPr>
            <p:spPr>
              <a:xfrm>
                <a:off x="6329993" y="4707047"/>
                <a:ext cx="362284" cy="352110"/>
              </a:xfrm>
              <a:custGeom>
                <a:avLst/>
                <a:gdLst>
                  <a:gd name="connsiteX0" fmla="*/ 0 w 369569"/>
                  <a:gd name="connsiteY0" fmla="*/ 327755 h 359187"/>
                  <a:gd name="connsiteX1" fmla="*/ 0 w 369569"/>
                  <a:gd name="connsiteY1" fmla="*/ 284893 h 359187"/>
                  <a:gd name="connsiteX2" fmla="*/ 13335 w 369569"/>
                  <a:gd name="connsiteY2" fmla="*/ 222028 h 359187"/>
                  <a:gd name="connsiteX3" fmla="*/ 48578 w 369569"/>
                  <a:gd name="connsiteY3" fmla="*/ 165830 h 359187"/>
                  <a:gd name="connsiteX4" fmla="*/ 48578 w 369569"/>
                  <a:gd name="connsiteY4" fmla="*/ 137255 h 359187"/>
                  <a:gd name="connsiteX5" fmla="*/ 27623 w 369569"/>
                  <a:gd name="connsiteY5" fmla="*/ 91440 h 359187"/>
                  <a:gd name="connsiteX6" fmla="*/ 35243 w 369569"/>
                  <a:gd name="connsiteY6" fmla="*/ 66675 h 359187"/>
                  <a:gd name="connsiteX7" fmla="*/ 0 w 369569"/>
                  <a:gd name="connsiteY7" fmla="*/ 2953 h 359187"/>
                  <a:gd name="connsiteX8" fmla="*/ 17145 w 369569"/>
                  <a:gd name="connsiteY8" fmla="*/ 0 h 359187"/>
                  <a:gd name="connsiteX9" fmla="*/ 126682 w 369569"/>
                  <a:gd name="connsiteY9" fmla="*/ 0 h 359187"/>
                  <a:gd name="connsiteX10" fmla="*/ 133350 w 369569"/>
                  <a:gd name="connsiteY10" fmla="*/ 23813 h 359187"/>
                  <a:gd name="connsiteX11" fmla="*/ 151448 w 369569"/>
                  <a:gd name="connsiteY11" fmla="*/ 56293 h 359187"/>
                  <a:gd name="connsiteX12" fmla="*/ 203835 w 369569"/>
                  <a:gd name="connsiteY12" fmla="*/ 60103 h 359187"/>
                  <a:gd name="connsiteX13" fmla="*/ 220980 w 369569"/>
                  <a:gd name="connsiteY13" fmla="*/ 31528 h 359187"/>
                  <a:gd name="connsiteX14" fmla="*/ 267653 w 369569"/>
                  <a:gd name="connsiteY14" fmla="*/ 42005 h 359187"/>
                  <a:gd name="connsiteX15" fmla="*/ 270510 w 369569"/>
                  <a:gd name="connsiteY15" fmla="*/ 112490 h 359187"/>
                  <a:gd name="connsiteX16" fmla="*/ 288607 w 369569"/>
                  <a:gd name="connsiteY16" fmla="*/ 122968 h 359187"/>
                  <a:gd name="connsiteX17" fmla="*/ 284798 w 369569"/>
                  <a:gd name="connsiteY17" fmla="*/ 143828 h 359187"/>
                  <a:gd name="connsiteX18" fmla="*/ 330518 w 369569"/>
                  <a:gd name="connsiteY18" fmla="*/ 143828 h 359187"/>
                  <a:gd name="connsiteX19" fmla="*/ 330518 w 369569"/>
                  <a:gd name="connsiteY19" fmla="*/ 203930 h 359187"/>
                  <a:gd name="connsiteX20" fmla="*/ 278130 w 369569"/>
                  <a:gd name="connsiteY20" fmla="*/ 203930 h 359187"/>
                  <a:gd name="connsiteX21" fmla="*/ 280988 w 369569"/>
                  <a:gd name="connsiteY21" fmla="*/ 296228 h 359187"/>
                  <a:gd name="connsiteX22" fmla="*/ 313373 w 369569"/>
                  <a:gd name="connsiteY22" fmla="*/ 331565 h 359187"/>
                  <a:gd name="connsiteX23" fmla="*/ 359093 w 369569"/>
                  <a:gd name="connsiteY23" fmla="*/ 334328 h 359187"/>
                  <a:gd name="connsiteX24" fmla="*/ 369570 w 369569"/>
                  <a:gd name="connsiteY24" fmla="*/ 344900 h 359187"/>
                  <a:gd name="connsiteX25" fmla="*/ 359093 w 369569"/>
                  <a:gd name="connsiteY25" fmla="*/ 344900 h 359187"/>
                  <a:gd name="connsiteX26" fmla="*/ 320040 w 369569"/>
                  <a:gd name="connsiteY26" fmla="*/ 359188 h 359187"/>
                  <a:gd name="connsiteX27" fmla="*/ 309563 w 369569"/>
                  <a:gd name="connsiteY27" fmla="*/ 344900 h 359187"/>
                  <a:gd name="connsiteX28" fmla="*/ 249555 w 369569"/>
                  <a:gd name="connsiteY28" fmla="*/ 352425 h 359187"/>
                  <a:gd name="connsiteX29" fmla="*/ 235268 w 369569"/>
                  <a:gd name="connsiteY29" fmla="*/ 342043 h 359187"/>
                  <a:gd name="connsiteX30" fmla="*/ 186690 w 369569"/>
                  <a:gd name="connsiteY30" fmla="*/ 338138 h 359187"/>
                  <a:gd name="connsiteX31" fmla="*/ 172403 w 369569"/>
                  <a:gd name="connsiteY31" fmla="*/ 327755 h 359187"/>
                  <a:gd name="connsiteX32" fmla="*/ 0 w 369569"/>
                  <a:gd name="connsiteY32" fmla="*/ 327755 h 359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69569" h="359187">
                    <a:moveTo>
                      <a:pt x="0" y="327755"/>
                    </a:moveTo>
                    <a:lnTo>
                      <a:pt x="0" y="284893"/>
                    </a:lnTo>
                    <a:lnTo>
                      <a:pt x="13335" y="222028"/>
                    </a:lnTo>
                    <a:lnTo>
                      <a:pt x="48578" y="165830"/>
                    </a:lnTo>
                    <a:lnTo>
                      <a:pt x="48578" y="137255"/>
                    </a:lnTo>
                    <a:lnTo>
                      <a:pt x="27623" y="91440"/>
                    </a:lnTo>
                    <a:lnTo>
                      <a:pt x="35243" y="66675"/>
                    </a:lnTo>
                    <a:lnTo>
                      <a:pt x="0" y="2953"/>
                    </a:lnTo>
                    <a:lnTo>
                      <a:pt x="17145" y="0"/>
                    </a:lnTo>
                    <a:lnTo>
                      <a:pt x="126682" y="0"/>
                    </a:lnTo>
                    <a:lnTo>
                      <a:pt x="133350" y="23813"/>
                    </a:lnTo>
                    <a:lnTo>
                      <a:pt x="151448" y="56293"/>
                    </a:lnTo>
                    <a:lnTo>
                      <a:pt x="203835" y="60103"/>
                    </a:lnTo>
                    <a:lnTo>
                      <a:pt x="220980" y="31528"/>
                    </a:lnTo>
                    <a:lnTo>
                      <a:pt x="267653" y="42005"/>
                    </a:lnTo>
                    <a:lnTo>
                      <a:pt x="270510" y="112490"/>
                    </a:lnTo>
                    <a:lnTo>
                      <a:pt x="288607" y="122968"/>
                    </a:lnTo>
                    <a:lnTo>
                      <a:pt x="284798" y="143828"/>
                    </a:lnTo>
                    <a:lnTo>
                      <a:pt x="330518" y="143828"/>
                    </a:lnTo>
                    <a:lnTo>
                      <a:pt x="330518" y="203930"/>
                    </a:lnTo>
                    <a:lnTo>
                      <a:pt x="278130" y="203930"/>
                    </a:lnTo>
                    <a:lnTo>
                      <a:pt x="280988" y="296228"/>
                    </a:lnTo>
                    <a:lnTo>
                      <a:pt x="313373" y="331565"/>
                    </a:lnTo>
                    <a:lnTo>
                      <a:pt x="359093" y="334328"/>
                    </a:lnTo>
                    <a:lnTo>
                      <a:pt x="369570" y="344900"/>
                    </a:lnTo>
                    <a:lnTo>
                      <a:pt x="359093" y="344900"/>
                    </a:lnTo>
                    <a:lnTo>
                      <a:pt x="320040" y="359188"/>
                    </a:lnTo>
                    <a:lnTo>
                      <a:pt x="309563" y="344900"/>
                    </a:lnTo>
                    <a:lnTo>
                      <a:pt x="249555" y="352425"/>
                    </a:lnTo>
                    <a:lnTo>
                      <a:pt x="235268" y="342043"/>
                    </a:lnTo>
                    <a:lnTo>
                      <a:pt x="186690" y="338138"/>
                    </a:lnTo>
                    <a:lnTo>
                      <a:pt x="172403" y="327755"/>
                    </a:lnTo>
                    <a:lnTo>
                      <a:pt x="0" y="32775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89" name="Freeform: Shape 188">
                <a:extLst>
                  <a:ext uri="{FF2B5EF4-FFF2-40B4-BE49-F238E27FC236}">
                    <a16:creationId xmlns:a16="http://schemas.microsoft.com/office/drawing/2014/main" id="{AC002180-6AA0-2371-DDAA-5F3DE261FDE9}"/>
                  </a:ext>
                </a:extLst>
              </p:cNvPr>
              <p:cNvSpPr/>
              <p:nvPr/>
            </p:nvSpPr>
            <p:spPr>
              <a:xfrm>
                <a:off x="6340264" y="4398916"/>
                <a:ext cx="514482" cy="518221"/>
              </a:xfrm>
              <a:custGeom>
                <a:avLst/>
                <a:gdLst>
                  <a:gd name="connsiteX0" fmla="*/ 0 w 524827"/>
                  <a:gd name="connsiteY0" fmla="*/ 310515 h 528637"/>
                  <a:gd name="connsiteX1" fmla="*/ 10477 w 524827"/>
                  <a:gd name="connsiteY1" fmla="*/ 285750 h 528637"/>
                  <a:gd name="connsiteX2" fmla="*/ 24765 w 524827"/>
                  <a:gd name="connsiteY2" fmla="*/ 281940 h 528637"/>
                  <a:gd name="connsiteX3" fmla="*/ 59055 w 524827"/>
                  <a:gd name="connsiteY3" fmla="*/ 275368 h 528637"/>
                  <a:gd name="connsiteX4" fmla="*/ 105727 w 524827"/>
                  <a:gd name="connsiteY4" fmla="*/ 254413 h 528637"/>
                  <a:gd name="connsiteX5" fmla="*/ 112395 w 524827"/>
                  <a:gd name="connsiteY5" fmla="*/ 197263 h 528637"/>
                  <a:gd name="connsiteX6" fmla="*/ 154305 w 524827"/>
                  <a:gd name="connsiteY6" fmla="*/ 130588 h 528637"/>
                  <a:gd name="connsiteX7" fmla="*/ 164782 w 524827"/>
                  <a:gd name="connsiteY7" fmla="*/ 74390 h 528637"/>
                  <a:gd name="connsiteX8" fmla="*/ 168592 w 524827"/>
                  <a:gd name="connsiteY8" fmla="*/ 53340 h 528637"/>
                  <a:gd name="connsiteX9" fmla="*/ 172402 w 524827"/>
                  <a:gd name="connsiteY9" fmla="*/ 28575 h 528637"/>
                  <a:gd name="connsiteX10" fmla="*/ 197167 w 524827"/>
                  <a:gd name="connsiteY10" fmla="*/ 0 h 528637"/>
                  <a:gd name="connsiteX11" fmla="*/ 221932 w 524827"/>
                  <a:gd name="connsiteY11" fmla="*/ 24765 h 528637"/>
                  <a:gd name="connsiteX12" fmla="*/ 242888 w 524827"/>
                  <a:gd name="connsiteY12" fmla="*/ 31528 h 528637"/>
                  <a:gd name="connsiteX13" fmla="*/ 280988 w 524827"/>
                  <a:gd name="connsiteY13" fmla="*/ 35338 h 528637"/>
                  <a:gd name="connsiteX14" fmla="*/ 302895 w 524827"/>
                  <a:gd name="connsiteY14" fmla="*/ 21050 h 528637"/>
                  <a:gd name="connsiteX15" fmla="*/ 361950 w 524827"/>
                  <a:gd name="connsiteY15" fmla="*/ 3905 h 528637"/>
                  <a:gd name="connsiteX16" fmla="*/ 415290 w 524827"/>
                  <a:gd name="connsiteY16" fmla="*/ 7715 h 528637"/>
                  <a:gd name="connsiteX17" fmla="*/ 429577 w 524827"/>
                  <a:gd name="connsiteY17" fmla="*/ 24765 h 528637"/>
                  <a:gd name="connsiteX18" fmla="*/ 478155 w 524827"/>
                  <a:gd name="connsiteY18" fmla="*/ 21050 h 528637"/>
                  <a:gd name="connsiteX19" fmla="*/ 506730 w 524827"/>
                  <a:gd name="connsiteY19" fmla="*/ 42863 h 528637"/>
                  <a:gd name="connsiteX20" fmla="*/ 513397 w 524827"/>
                  <a:gd name="connsiteY20" fmla="*/ 84868 h 528637"/>
                  <a:gd name="connsiteX21" fmla="*/ 524827 w 524827"/>
                  <a:gd name="connsiteY21" fmla="*/ 88678 h 528637"/>
                  <a:gd name="connsiteX22" fmla="*/ 524827 w 524827"/>
                  <a:gd name="connsiteY22" fmla="*/ 95250 h 528637"/>
                  <a:gd name="connsiteX23" fmla="*/ 489585 w 524827"/>
                  <a:gd name="connsiteY23" fmla="*/ 126778 h 528637"/>
                  <a:gd name="connsiteX24" fmla="*/ 481965 w 524827"/>
                  <a:gd name="connsiteY24" fmla="*/ 148590 h 528637"/>
                  <a:gd name="connsiteX25" fmla="*/ 478155 w 524827"/>
                  <a:gd name="connsiteY25" fmla="*/ 183928 h 528637"/>
                  <a:gd name="connsiteX26" fmla="*/ 461010 w 524827"/>
                  <a:gd name="connsiteY26" fmla="*/ 208693 h 528637"/>
                  <a:gd name="connsiteX27" fmla="*/ 471488 w 524827"/>
                  <a:gd name="connsiteY27" fmla="*/ 236315 h 528637"/>
                  <a:gd name="connsiteX28" fmla="*/ 475297 w 524827"/>
                  <a:gd name="connsiteY28" fmla="*/ 279178 h 528637"/>
                  <a:gd name="connsiteX29" fmla="*/ 475297 w 524827"/>
                  <a:gd name="connsiteY29" fmla="*/ 302990 h 528637"/>
                  <a:gd name="connsiteX30" fmla="*/ 478155 w 524827"/>
                  <a:gd name="connsiteY30" fmla="*/ 324803 h 528637"/>
                  <a:gd name="connsiteX31" fmla="*/ 502920 w 524827"/>
                  <a:gd name="connsiteY31" fmla="*/ 356330 h 528637"/>
                  <a:gd name="connsiteX32" fmla="*/ 506730 w 524827"/>
                  <a:gd name="connsiteY32" fmla="*/ 384905 h 528637"/>
                  <a:gd name="connsiteX33" fmla="*/ 475297 w 524827"/>
                  <a:gd name="connsiteY33" fmla="*/ 384905 h 528637"/>
                  <a:gd name="connsiteX34" fmla="*/ 446722 w 524827"/>
                  <a:gd name="connsiteY34" fmla="*/ 398240 h 528637"/>
                  <a:gd name="connsiteX35" fmla="*/ 450532 w 524827"/>
                  <a:gd name="connsiteY35" fmla="*/ 430625 h 528637"/>
                  <a:gd name="connsiteX36" fmla="*/ 443865 w 524827"/>
                  <a:gd name="connsiteY36" fmla="*/ 468725 h 528637"/>
                  <a:gd name="connsiteX37" fmla="*/ 461010 w 524827"/>
                  <a:gd name="connsiteY37" fmla="*/ 486728 h 528637"/>
                  <a:gd name="connsiteX38" fmla="*/ 485775 w 524827"/>
                  <a:gd name="connsiteY38" fmla="*/ 497300 h 528637"/>
                  <a:gd name="connsiteX39" fmla="*/ 485775 w 524827"/>
                  <a:gd name="connsiteY39" fmla="*/ 528638 h 528637"/>
                  <a:gd name="connsiteX40" fmla="*/ 461010 w 524827"/>
                  <a:gd name="connsiteY40" fmla="*/ 528638 h 528637"/>
                  <a:gd name="connsiteX41" fmla="*/ 446722 w 524827"/>
                  <a:gd name="connsiteY41" fmla="*/ 507778 h 528637"/>
                  <a:gd name="connsiteX42" fmla="*/ 425767 w 524827"/>
                  <a:gd name="connsiteY42" fmla="*/ 497300 h 528637"/>
                  <a:gd name="connsiteX43" fmla="*/ 411480 w 524827"/>
                  <a:gd name="connsiteY43" fmla="*/ 476250 h 528637"/>
                  <a:gd name="connsiteX44" fmla="*/ 386715 w 524827"/>
                  <a:gd name="connsiteY44" fmla="*/ 486728 h 528637"/>
                  <a:gd name="connsiteX45" fmla="*/ 320040 w 524827"/>
                  <a:gd name="connsiteY45" fmla="*/ 458153 h 528637"/>
                  <a:gd name="connsiteX46" fmla="*/ 274320 w 524827"/>
                  <a:gd name="connsiteY46" fmla="*/ 458153 h 528637"/>
                  <a:gd name="connsiteX47" fmla="*/ 278130 w 524827"/>
                  <a:gd name="connsiteY47" fmla="*/ 437293 h 528637"/>
                  <a:gd name="connsiteX48" fmla="*/ 260032 w 524827"/>
                  <a:gd name="connsiteY48" fmla="*/ 426815 h 528637"/>
                  <a:gd name="connsiteX49" fmla="*/ 257175 w 524827"/>
                  <a:gd name="connsiteY49" fmla="*/ 356330 h 528637"/>
                  <a:gd name="connsiteX50" fmla="*/ 210502 w 524827"/>
                  <a:gd name="connsiteY50" fmla="*/ 345853 h 528637"/>
                  <a:gd name="connsiteX51" fmla="*/ 193357 w 524827"/>
                  <a:gd name="connsiteY51" fmla="*/ 374428 h 528637"/>
                  <a:gd name="connsiteX52" fmla="*/ 140970 w 524827"/>
                  <a:gd name="connsiteY52" fmla="*/ 370618 h 528637"/>
                  <a:gd name="connsiteX53" fmla="*/ 122872 w 524827"/>
                  <a:gd name="connsiteY53" fmla="*/ 338138 h 528637"/>
                  <a:gd name="connsiteX54" fmla="*/ 116205 w 524827"/>
                  <a:gd name="connsiteY54" fmla="*/ 314325 h 528637"/>
                  <a:gd name="connsiteX55" fmla="*/ 10477 w 524827"/>
                  <a:gd name="connsiteY55" fmla="*/ 314325 h 528637"/>
                  <a:gd name="connsiteX56" fmla="*/ 0 w 524827"/>
                  <a:gd name="connsiteY56" fmla="*/ 310515 h 52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524827" h="528637">
                    <a:moveTo>
                      <a:pt x="0" y="310515"/>
                    </a:moveTo>
                    <a:lnTo>
                      <a:pt x="10477" y="285750"/>
                    </a:lnTo>
                    <a:lnTo>
                      <a:pt x="24765" y="281940"/>
                    </a:lnTo>
                    <a:lnTo>
                      <a:pt x="59055" y="275368"/>
                    </a:lnTo>
                    <a:lnTo>
                      <a:pt x="105727" y="254413"/>
                    </a:lnTo>
                    <a:lnTo>
                      <a:pt x="112395" y="197263"/>
                    </a:lnTo>
                    <a:lnTo>
                      <a:pt x="154305" y="130588"/>
                    </a:lnTo>
                    <a:lnTo>
                      <a:pt x="164782" y="74390"/>
                    </a:lnTo>
                    <a:lnTo>
                      <a:pt x="168592" y="53340"/>
                    </a:lnTo>
                    <a:lnTo>
                      <a:pt x="172402" y="28575"/>
                    </a:lnTo>
                    <a:lnTo>
                      <a:pt x="197167" y="0"/>
                    </a:lnTo>
                    <a:lnTo>
                      <a:pt x="221932" y="24765"/>
                    </a:lnTo>
                    <a:lnTo>
                      <a:pt x="242888" y="31528"/>
                    </a:lnTo>
                    <a:lnTo>
                      <a:pt x="280988" y="35338"/>
                    </a:lnTo>
                    <a:lnTo>
                      <a:pt x="302895" y="21050"/>
                    </a:lnTo>
                    <a:lnTo>
                      <a:pt x="361950" y="3905"/>
                    </a:lnTo>
                    <a:lnTo>
                      <a:pt x="415290" y="7715"/>
                    </a:lnTo>
                    <a:lnTo>
                      <a:pt x="429577" y="24765"/>
                    </a:lnTo>
                    <a:lnTo>
                      <a:pt x="478155" y="21050"/>
                    </a:lnTo>
                    <a:lnTo>
                      <a:pt x="506730" y="42863"/>
                    </a:lnTo>
                    <a:lnTo>
                      <a:pt x="513397" y="84868"/>
                    </a:lnTo>
                    <a:lnTo>
                      <a:pt x="524827" y="88678"/>
                    </a:lnTo>
                    <a:lnTo>
                      <a:pt x="524827" y="95250"/>
                    </a:lnTo>
                    <a:lnTo>
                      <a:pt x="489585" y="126778"/>
                    </a:lnTo>
                    <a:lnTo>
                      <a:pt x="481965" y="148590"/>
                    </a:lnTo>
                    <a:lnTo>
                      <a:pt x="478155" y="183928"/>
                    </a:lnTo>
                    <a:lnTo>
                      <a:pt x="461010" y="208693"/>
                    </a:lnTo>
                    <a:lnTo>
                      <a:pt x="471488" y="236315"/>
                    </a:lnTo>
                    <a:lnTo>
                      <a:pt x="475297" y="279178"/>
                    </a:lnTo>
                    <a:lnTo>
                      <a:pt x="475297" y="302990"/>
                    </a:lnTo>
                    <a:lnTo>
                      <a:pt x="478155" y="324803"/>
                    </a:lnTo>
                    <a:lnTo>
                      <a:pt x="502920" y="356330"/>
                    </a:lnTo>
                    <a:lnTo>
                      <a:pt x="506730" y="384905"/>
                    </a:lnTo>
                    <a:lnTo>
                      <a:pt x="475297" y="384905"/>
                    </a:lnTo>
                    <a:lnTo>
                      <a:pt x="446722" y="398240"/>
                    </a:lnTo>
                    <a:lnTo>
                      <a:pt x="450532" y="430625"/>
                    </a:lnTo>
                    <a:lnTo>
                      <a:pt x="443865" y="468725"/>
                    </a:lnTo>
                    <a:lnTo>
                      <a:pt x="461010" y="486728"/>
                    </a:lnTo>
                    <a:lnTo>
                      <a:pt x="485775" y="497300"/>
                    </a:lnTo>
                    <a:lnTo>
                      <a:pt x="485775" y="528638"/>
                    </a:lnTo>
                    <a:lnTo>
                      <a:pt x="461010" y="528638"/>
                    </a:lnTo>
                    <a:lnTo>
                      <a:pt x="446722" y="507778"/>
                    </a:lnTo>
                    <a:lnTo>
                      <a:pt x="425767" y="497300"/>
                    </a:lnTo>
                    <a:lnTo>
                      <a:pt x="411480" y="476250"/>
                    </a:lnTo>
                    <a:lnTo>
                      <a:pt x="386715" y="486728"/>
                    </a:lnTo>
                    <a:lnTo>
                      <a:pt x="320040" y="458153"/>
                    </a:lnTo>
                    <a:lnTo>
                      <a:pt x="274320" y="458153"/>
                    </a:lnTo>
                    <a:lnTo>
                      <a:pt x="278130" y="437293"/>
                    </a:lnTo>
                    <a:lnTo>
                      <a:pt x="260032" y="426815"/>
                    </a:lnTo>
                    <a:lnTo>
                      <a:pt x="257175" y="356330"/>
                    </a:lnTo>
                    <a:lnTo>
                      <a:pt x="210502" y="345853"/>
                    </a:lnTo>
                    <a:lnTo>
                      <a:pt x="193357" y="374428"/>
                    </a:lnTo>
                    <a:lnTo>
                      <a:pt x="140970" y="370618"/>
                    </a:lnTo>
                    <a:lnTo>
                      <a:pt x="122872" y="338138"/>
                    </a:lnTo>
                    <a:lnTo>
                      <a:pt x="116205" y="314325"/>
                    </a:lnTo>
                    <a:lnTo>
                      <a:pt x="10477" y="314325"/>
                    </a:lnTo>
                    <a:lnTo>
                      <a:pt x="0" y="31051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0" name="Freeform: Shape 189">
                <a:extLst>
                  <a:ext uri="{FF2B5EF4-FFF2-40B4-BE49-F238E27FC236}">
                    <a16:creationId xmlns:a16="http://schemas.microsoft.com/office/drawing/2014/main" id="{AA5877BB-4583-B552-2892-8781E38B838F}"/>
                  </a:ext>
                </a:extLst>
              </p:cNvPr>
              <p:cNvSpPr/>
              <p:nvPr/>
            </p:nvSpPr>
            <p:spPr>
              <a:xfrm>
                <a:off x="6340264" y="4398916"/>
                <a:ext cx="514482" cy="518221"/>
              </a:xfrm>
              <a:custGeom>
                <a:avLst/>
                <a:gdLst>
                  <a:gd name="connsiteX0" fmla="*/ 0 w 524827"/>
                  <a:gd name="connsiteY0" fmla="*/ 310515 h 528637"/>
                  <a:gd name="connsiteX1" fmla="*/ 10477 w 524827"/>
                  <a:gd name="connsiteY1" fmla="*/ 285750 h 528637"/>
                  <a:gd name="connsiteX2" fmla="*/ 24765 w 524827"/>
                  <a:gd name="connsiteY2" fmla="*/ 281940 h 528637"/>
                  <a:gd name="connsiteX3" fmla="*/ 59055 w 524827"/>
                  <a:gd name="connsiteY3" fmla="*/ 275368 h 528637"/>
                  <a:gd name="connsiteX4" fmla="*/ 105727 w 524827"/>
                  <a:gd name="connsiteY4" fmla="*/ 254413 h 528637"/>
                  <a:gd name="connsiteX5" fmla="*/ 112395 w 524827"/>
                  <a:gd name="connsiteY5" fmla="*/ 197263 h 528637"/>
                  <a:gd name="connsiteX6" fmla="*/ 154305 w 524827"/>
                  <a:gd name="connsiteY6" fmla="*/ 130588 h 528637"/>
                  <a:gd name="connsiteX7" fmla="*/ 164782 w 524827"/>
                  <a:gd name="connsiteY7" fmla="*/ 74390 h 528637"/>
                  <a:gd name="connsiteX8" fmla="*/ 168592 w 524827"/>
                  <a:gd name="connsiteY8" fmla="*/ 53340 h 528637"/>
                  <a:gd name="connsiteX9" fmla="*/ 172402 w 524827"/>
                  <a:gd name="connsiteY9" fmla="*/ 28575 h 528637"/>
                  <a:gd name="connsiteX10" fmla="*/ 197167 w 524827"/>
                  <a:gd name="connsiteY10" fmla="*/ 0 h 528637"/>
                  <a:gd name="connsiteX11" fmla="*/ 221932 w 524827"/>
                  <a:gd name="connsiteY11" fmla="*/ 24765 h 528637"/>
                  <a:gd name="connsiteX12" fmla="*/ 242888 w 524827"/>
                  <a:gd name="connsiteY12" fmla="*/ 31528 h 528637"/>
                  <a:gd name="connsiteX13" fmla="*/ 280988 w 524827"/>
                  <a:gd name="connsiteY13" fmla="*/ 35338 h 528637"/>
                  <a:gd name="connsiteX14" fmla="*/ 302895 w 524827"/>
                  <a:gd name="connsiteY14" fmla="*/ 21050 h 528637"/>
                  <a:gd name="connsiteX15" fmla="*/ 361950 w 524827"/>
                  <a:gd name="connsiteY15" fmla="*/ 3905 h 528637"/>
                  <a:gd name="connsiteX16" fmla="*/ 415290 w 524827"/>
                  <a:gd name="connsiteY16" fmla="*/ 7715 h 528637"/>
                  <a:gd name="connsiteX17" fmla="*/ 429577 w 524827"/>
                  <a:gd name="connsiteY17" fmla="*/ 24765 h 528637"/>
                  <a:gd name="connsiteX18" fmla="*/ 478155 w 524827"/>
                  <a:gd name="connsiteY18" fmla="*/ 21050 h 528637"/>
                  <a:gd name="connsiteX19" fmla="*/ 506730 w 524827"/>
                  <a:gd name="connsiteY19" fmla="*/ 42863 h 528637"/>
                  <a:gd name="connsiteX20" fmla="*/ 513397 w 524827"/>
                  <a:gd name="connsiteY20" fmla="*/ 84868 h 528637"/>
                  <a:gd name="connsiteX21" fmla="*/ 524827 w 524827"/>
                  <a:gd name="connsiteY21" fmla="*/ 88678 h 528637"/>
                  <a:gd name="connsiteX22" fmla="*/ 524827 w 524827"/>
                  <a:gd name="connsiteY22" fmla="*/ 95250 h 528637"/>
                  <a:gd name="connsiteX23" fmla="*/ 489585 w 524827"/>
                  <a:gd name="connsiteY23" fmla="*/ 126778 h 528637"/>
                  <a:gd name="connsiteX24" fmla="*/ 481965 w 524827"/>
                  <a:gd name="connsiteY24" fmla="*/ 148590 h 528637"/>
                  <a:gd name="connsiteX25" fmla="*/ 478155 w 524827"/>
                  <a:gd name="connsiteY25" fmla="*/ 183928 h 528637"/>
                  <a:gd name="connsiteX26" fmla="*/ 461010 w 524827"/>
                  <a:gd name="connsiteY26" fmla="*/ 208693 h 528637"/>
                  <a:gd name="connsiteX27" fmla="*/ 471488 w 524827"/>
                  <a:gd name="connsiteY27" fmla="*/ 236315 h 528637"/>
                  <a:gd name="connsiteX28" fmla="*/ 475297 w 524827"/>
                  <a:gd name="connsiteY28" fmla="*/ 279178 h 528637"/>
                  <a:gd name="connsiteX29" fmla="*/ 475297 w 524827"/>
                  <a:gd name="connsiteY29" fmla="*/ 302990 h 528637"/>
                  <a:gd name="connsiteX30" fmla="*/ 478155 w 524827"/>
                  <a:gd name="connsiteY30" fmla="*/ 324803 h 528637"/>
                  <a:gd name="connsiteX31" fmla="*/ 502920 w 524827"/>
                  <a:gd name="connsiteY31" fmla="*/ 356330 h 528637"/>
                  <a:gd name="connsiteX32" fmla="*/ 506730 w 524827"/>
                  <a:gd name="connsiteY32" fmla="*/ 384905 h 528637"/>
                  <a:gd name="connsiteX33" fmla="*/ 475297 w 524827"/>
                  <a:gd name="connsiteY33" fmla="*/ 384905 h 528637"/>
                  <a:gd name="connsiteX34" fmla="*/ 446722 w 524827"/>
                  <a:gd name="connsiteY34" fmla="*/ 398240 h 528637"/>
                  <a:gd name="connsiteX35" fmla="*/ 450532 w 524827"/>
                  <a:gd name="connsiteY35" fmla="*/ 430625 h 528637"/>
                  <a:gd name="connsiteX36" fmla="*/ 443865 w 524827"/>
                  <a:gd name="connsiteY36" fmla="*/ 468725 h 528637"/>
                  <a:gd name="connsiteX37" fmla="*/ 461010 w 524827"/>
                  <a:gd name="connsiteY37" fmla="*/ 486728 h 528637"/>
                  <a:gd name="connsiteX38" fmla="*/ 485775 w 524827"/>
                  <a:gd name="connsiteY38" fmla="*/ 497300 h 528637"/>
                  <a:gd name="connsiteX39" fmla="*/ 485775 w 524827"/>
                  <a:gd name="connsiteY39" fmla="*/ 528638 h 528637"/>
                  <a:gd name="connsiteX40" fmla="*/ 461010 w 524827"/>
                  <a:gd name="connsiteY40" fmla="*/ 528638 h 528637"/>
                  <a:gd name="connsiteX41" fmla="*/ 446722 w 524827"/>
                  <a:gd name="connsiteY41" fmla="*/ 507778 h 528637"/>
                  <a:gd name="connsiteX42" fmla="*/ 425767 w 524827"/>
                  <a:gd name="connsiteY42" fmla="*/ 497300 h 528637"/>
                  <a:gd name="connsiteX43" fmla="*/ 411480 w 524827"/>
                  <a:gd name="connsiteY43" fmla="*/ 476250 h 528637"/>
                  <a:gd name="connsiteX44" fmla="*/ 386715 w 524827"/>
                  <a:gd name="connsiteY44" fmla="*/ 486728 h 528637"/>
                  <a:gd name="connsiteX45" fmla="*/ 320040 w 524827"/>
                  <a:gd name="connsiteY45" fmla="*/ 458153 h 528637"/>
                  <a:gd name="connsiteX46" fmla="*/ 274320 w 524827"/>
                  <a:gd name="connsiteY46" fmla="*/ 458153 h 528637"/>
                  <a:gd name="connsiteX47" fmla="*/ 278130 w 524827"/>
                  <a:gd name="connsiteY47" fmla="*/ 437293 h 528637"/>
                  <a:gd name="connsiteX48" fmla="*/ 260032 w 524827"/>
                  <a:gd name="connsiteY48" fmla="*/ 426815 h 528637"/>
                  <a:gd name="connsiteX49" fmla="*/ 257175 w 524827"/>
                  <a:gd name="connsiteY49" fmla="*/ 356330 h 528637"/>
                  <a:gd name="connsiteX50" fmla="*/ 210502 w 524827"/>
                  <a:gd name="connsiteY50" fmla="*/ 345853 h 528637"/>
                  <a:gd name="connsiteX51" fmla="*/ 193357 w 524827"/>
                  <a:gd name="connsiteY51" fmla="*/ 374428 h 528637"/>
                  <a:gd name="connsiteX52" fmla="*/ 140970 w 524827"/>
                  <a:gd name="connsiteY52" fmla="*/ 370618 h 528637"/>
                  <a:gd name="connsiteX53" fmla="*/ 122872 w 524827"/>
                  <a:gd name="connsiteY53" fmla="*/ 338138 h 528637"/>
                  <a:gd name="connsiteX54" fmla="*/ 116205 w 524827"/>
                  <a:gd name="connsiteY54" fmla="*/ 314325 h 528637"/>
                  <a:gd name="connsiteX55" fmla="*/ 10477 w 524827"/>
                  <a:gd name="connsiteY55" fmla="*/ 314325 h 528637"/>
                  <a:gd name="connsiteX56" fmla="*/ 0 w 524827"/>
                  <a:gd name="connsiteY56" fmla="*/ 310515 h 5286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</a:cxnLst>
                <a:rect l="l" t="t" r="r" b="b"/>
                <a:pathLst>
                  <a:path w="524827" h="528637">
                    <a:moveTo>
                      <a:pt x="0" y="310515"/>
                    </a:moveTo>
                    <a:lnTo>
                      <a:pt x="10477" y="285750"/>
                    </a:lnTo>
                    <a:lnTo>
                      <a:pt x="24765" y="281940"/>
                    </a:lnTo>
                    <a:lnTo>
                      <a:pt x="59055" y="275368"/>
                    </a:lnTo>
                    <a:lnTo>
                      <a:pt x="105727" y="254413"/>
                    </a:lnTo>
                    <a:lnTo>
                      <a:pt x="112395" y="197263"/>
                    </a:lnTo>
                    <a:lnTo>
                      <a:pt x="154305" y="130588"/>
                    </a:lnTo>
                    <a:lnTo>
                      <a:pt x="164782" y="74390"/>
                    </a:lnTo>
                    <a:lnTo>
                      <a:pt x="168592" y="53340"/>
                    </a:lnTo>
                    <a:lnTo>
                      <a:pt x="172402" y="28575"/>
                    </a:lnTo>
                    <a:lnTo>
                      <a:pt x="197167" y="0"/>
                    </a:lnTo>
                    <a:lnTo>
                      <a:pt x="221932" y="24765"/>
                    </a:lnTo>
                    <a:lnTo>
                      <a:pt x="242888" y="31528"/>
                    </a:lnTo>
                    <a:lnTo>
                      <a:pt x="280988" y="35338"/>
                    </a:lnTo>
                    <a:lnTo>
                      <a:pt x="302895" y="21050"/>
                    </a:lnTo>
                    <a:lnTo>
                      <a:pt x="361950" y="3905"/>
                    </a:lnTo>
                    <a:lnTo>
                      <a:pt x="415290" y="7715"/>
                    </a:lnTo>
                    <a:lnTo>
                      <a:pt x="429577" y="24765"/>
                    </a:lnTo>
                    <a:lnTo>
                      <a:pt x="478155" y="21050"/>
                    </a:lnTo>
                    <a:lnTo>
                      <a:pt x="506730" y="42863"/>
                    </a:lnTo>
                    <a:lnTo>
                      <a:pt x="513397" y="84868"/>
                    </a:lnTo>
                    <a:lnTo>
                      <a:pt x="524827" y="88678"/>
                    </a:lnTo>
                    <a:lnTo>
                      <a:pt x="524827" y="95250"/>
                    </a:lnTo>
                    <a:lnTo>
                      <a:pt x="489585" y="126778"/>
                    </a:lnTo>
                    <a:lnTo>
                      <a:pt x="481965" y="148590"/>
                    </a:lnTo>
                    <a:lnTo>
                      <a:pt x="478155" y="183928"/>
                    </a:lnTo>
                    <a:lnTo>
                      <a:pt x="461010" y="208693"/>
                    </a:lnTo>
                    <a:lnTo>
                      <a:pt x="471488" y="236315"/>
                    </a:lnTo>
                    <a:lnTo>
                      <a:pt x="475297" y="279178"/>
                    </a:lnTo>
                    <a:lnTo>
                      <a:pt x="475297" y="302990"/>
                    </a:lnTo>
                    <a:lnTo>
                      <a:pt x="478155" y="324803"/>
                    </a:lnTo>
                    <a:lnTo>
                      <a:pt x="502920" y="356330"/>
                    </a:lnTo>
                    <a:lnTo>
                      <a:pt x="506730" y="384905"/>
                    </a:lnTo>
                    <a:lnTo>
                      <a:pt x="475297" y="384905"/>
                    </a:lnTo>
                    <a:lnTo>
                      <a:pt x="446722" y="398240"/>
                    </a:lnTo>
                    <a:lnTo>
                      <a:pt x="450532" y="430625"/>
                    </a:lnTo>
                    <a:lnTo>
                      <a:pt x="443865" y="468725"/>
                    </a:lnTo>
                    <a:lnTo>
                      <a:pt x="461010" y="486728"/>
                    </a:lnTo>
                    <a:lnTo>
                      <a:pt x="485775" y="497300"/>
                    </a:lnTo>
                    <a:lnTo>
                      <a:pt x="485775" y="528638"/>
                    </a:lnTo>
                    <a:lnTo>
                      <a:pt x="461010" y="528638"/>
                    </a:lnTo>
                    <a:lnTo>
                      <a:pt x="446722" y="507778"/>
                    </a:lnTo>
                    <a:lnTo>
                      <a:pt x="425767" y="497300"/>
                    </a:lnTo>
                    <a:lnTo>
                      <a:pt x="411480" y="476250"/>
                    </a:lnTo>
                    <a:lnTo>
                      <a:pt x="386715" y="486728"/>
                    </a:lnTo>
                    <a:lnTo>
                      <a:pt x="320040" y="458153"/>
                    </a:lnTo>
                    <a:lnTo>
                      <a:pt x="274320" y="458153"/>
                    </a:lnTo>
                    <a:lnTo>
                      <a:pt x="278130" y="437293"/>
                    </a:lnTo>
                    <a:lnTo>
                      <a:pt x="260032" y="426815"/>
                    </a:lnTo>
                    <a:lnTo>
                      <a:pt x="257175" y="356330"/>
                    </a:lnTo>
                    <a:lnTo>
                      <a:pt x="210502" y="345853"/>
                    </a:lnTo>
                    <a:lnTo>
                      <a:pt x="193357" y="374428"/>
                    </a:lnTo>
                    <a:lnTo>
                      <a:pt x="140970" y="370618"/>
                    </a:lnTo>
                    <a:lnTo>
                      <a:pt x="122872" y="338138"/>
                    </a:lnTo>
                    <a:lnTo>
                      <a:pt x="116205" y="314325"/>
                    </a:lnTo>
                    <a:lnTo>
                      <a:pt x="10477" y="314325"/>
                    </a:lnTo>
                    <a:lnTo>
                      <a:pt x="0" y="31051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1" name="Freeform: Shape 190">
                <a:extLst>
                  <a:ext uri="{FF2B5EF4-FFF2-40B4-BE49-F238E27FC236}">
                    <a16:creationId xmlns:a16="http://schemas.microsoft.com/office/drawing/2014/main" id="{B1182EB5-1A2B-5BDF-91B2-A3458A4292ED}"/>
                  </a:ext>
                </a:extLst>
              </p:cNvPr>
              <p:cNvSpPr/>
              <p:nvPr/>
            </p:nvSpPr>
            <p:spPr>
              <a:xfrm>
                <a:off x="6329993" y="4668858"/>
                <a:ext cx="20542" cy="34454"/>
              </a:xfrm>
              <a:custGeom>
                <a:avLst/>
                <a:gdLst>
                  <a:gd name="connsiteX0" fmla="*/ 0 w 20955"/>
                  <a:gd name="connsiteY0" fmla="*/ 6572 h 35147"/>
                  <a:gd name="connsiteX1" fmla="*/ 17145 w 20955"/>
                  <a:gd name="connsiteY1" fmla="*/ 0 h 35147"/>
                  <a:gd name="connsiteX2" fmla="*/ 20955 w 20955"/>
                  <a:gd name="connsiteY2" fmla="*/ 6572 h 35147"/>
                  <a:gd name="connsiteX3" fmla="*/ 17145 w 20955"/>
                  <a:gd name="connsiteY3" fmla="*/ 20860 h 35147"/>
                  <a:gd name="connsiteX4" fmla="*/ 0 w 20955"/>
                  <a:gd name="connsiteY4" fmla="*/ 35147 h 35147"/>
                  <a:gd name="connsiteX5" fmla="*/ 0 w 20955"/>
                  <a:gd name="connsiteY5" fmla="*/ 6572 h 35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" h="35147">
                    <a:moveTo>
                      <a:pt x="0" y="6572"/>
                    </a:moveTo>
                    <a:lnTo>
                      <a:pt x="17145" y="0"/>
                    </a:lnTo>
                    <a:lnTo>
                      <a:pt x="20955" y="6572"/>
                    </a:lnTo>
                    <a:lnTo>
                      <a:pt x="17145" y="20860"/>
                    </a:lnTo>
                    <a:lnTo>
                      <a:pt x="0" y="35147"/>
                    </a:lnTo>
                    <a:lnTo>
                      <a:pt x="0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2" name="Freeform: Shape 191">
                <a:extLst>
                  <a:ext uri="{FF2B5EF4-FFF2-40B4-BE49-F238E27FC236}">
                    <a16:creationId xmlns:a16="http://schemas.microsoft.com/office/drawing/2014/main" id="{5AFF282C-B80D-3301-B6A2-DCC6E2909436}"/>
                  </a:ext>
                </a:extLst>
              </p:cNvPr>
              <p:cNvSpPr/>
              <p:nvPr/>
            </p:nvSpPr>
            <p:spPr>
              <a:xfrm>
                <a:off x="6329993" y="4668858"/>
                <a:ext cx="20542" cy="34454"/>
              </a:xfrm>
              <a:custGeom>
                <a:avLst/>
                <a:gdLst>
                  <a:gd name="connsiteX0" fmla="*/ 0 w 20955"/>
                  <a:gd name="connsiteY0" fmla="*/ 6572 h 35147"/>
                  <a:gd name="connsiteX1" fmla="*/ 17145 w 20955"/>
                  <a:gd name="connsiteY1" fmla="*/ 0 h 35147"/>
                  <a:gd name="connsiteX2" fmla="*/ 20955 w 20955"/>
                  <a:gd name="connsiteY2" fmla="*/ 6572 h 35147"/>
                  <a:gd name="connsiteX3" fmla="*/ 17145 w 20955"/>
                  <a:gd name="connsiteY3" fmla="*/ 20860 h 35147"/>
                  <a:gd name="connsiteX4" fmla="*/ 0 w 20955"/>
                  <a:gd name="connsiteY4" fmla="*/ 35147 h 35147"/>
                  <a:gd name="connsiteX5" fmla="*/ 0 w 20955"/>
                  <a:gd name="connsiteY5" fmla="*/ 6572 h 35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" h="35147">
                    <a:moveTo>
                      <a:pt x="0" y="6572"/>
                    </a:moveTo>
                    <a:lnTo>
                      <a:pt x="17145" y="0"/>
                    </a:lnTo>
                    <a:lnTo>
                      <a:pt x="20955" y="6572"/>
                    </a:lnTo>
                    <a:lnTo>
                      <a:pt x="17145" y="20860"/>
                    </a:lnTo>
                    <a:lnTo>
                      <a:pt x="0" y="35147"/>
                    </a:lnTo>
                    <a:lnTo>
                      <a:pt x="0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3" name="Freeform: Shape 192">
                <a:extLst>
                  <a:ext uri="{FF2B5EF4-FFF2-40B4-BE49-F238E27FC236}">
                    <a16:creationId xmlns:a16="http://schemas.microsoft.com/office/drawing/2014/main" id="{A4EEE958-F522-AFA2-A8F4-7D7E8241F4A2}"/>
                  </a:ext>
                </a:extLst>
              </p:cNvPr>
              <p:cNvSpPr/>
              <p:nvPr/>
            </p:nvSpPr>
            <p:spPr>
              <a:xfrm>
                <a:off x="6303848" y="4447564"/>
                <a:ext cx="201683" cy="227736"/>
              </a:xfrm>
              <a:custGeom>
                <a:avLst/>
                <a:gdLst>
                  <a:gd name="connsiteX0" fmla="*/ 0 w 205739"/>
                  <a:gd name="connsiteY0" fmla="*/ 204788 h 232314"/>
                  <a:gd name="connsiteX1" fmla="*/ 26670 w 205739"/>
                  <a:gd name="connsiteY1" fmla="*/ 204788 h 232314"/>
                  <a:gd name="connsiteX2" fmla="*/ 26670 w 205739"/>
                  <a:gd name="connsiteY2" fmla="*/ 186690 h 232314"/>
                  <a:gd name="connsiteX3" fmla="*/ 12382 w 205739"/>
                  <a:gd name="connsiteY3" fmla="*/ 186690 h 232314"/>
                  <a:gd name="connsiteX4" fmla="*/ 12382 w 205739"/>
                  <a:gd name="connsiteY4" fmla="*/ 165640 h 232314"/>
                  <a:gd name="connsiteX5" fmla="*/ 26670 w 205739"/>
                  <a:gd name="connsiteY5" fmla="*/ 165640 h 232314"/>
                  <a:gd name="connsiteX6" fmla="*/ 43815 w 205739"/>
                  <a:gd name="connsiteY6" fmla="*/ 151352 h 232314"/>
                  <a:gd name="connsiteX7" fmla="*/ 54293 w 205739"/>
                  <a:gd name="connsiteY7" fmla="*/ 165640 h 232314"/>
                  <a:gd name="connsiteX8" fmla="*/ 85725 w 205739"/>
                  <a:gd name="connsiteY8" fmla="*/ 169450 h 232314"/>
                  <a:gd name="connsiteX9" fmla="*/ 93345 w 205739"/>
                  <a:gd name="connsiteY9" fmla="*/ 155162 h 232314"/>
                  <a:gd name="connsiteX10" fmla="*/ 93345 w 205739"/>
                  <a:gd name="connsiteY10" fmla="*/ 120015 h 232314"/>
                  <a:gd name="connsiteX11" fmla="*/ 79057 w 205739"/>
                  <a:gd name="connsiteY11" fmla="*/ 109538 h 232314"/>
                  <a:gd name="connsiteX12" fmla="*/ 79057 w 205739"/>
                  <a:gd name="connsiteY12" fmla="*/ 87630 h 232314"/>
                  <a:gd name="connsiteX13" fmla="*/ 93345 w 205739"/>
                  <a:gd name="connsiteY13" fmla="*/ 77153 h 232314"/>
                  <a:gd name="connsiteX14" fmla="*/ 85725 w 205739"/>
                  <a:gd name="connsiteY14" fmla="*/ 59912 h 232314"/>
                  <a:gd name="connsiteX15" fmla="*/ 61913 w 205739"/>
                  <a:gd name="connsiteY15" fmla="*/ 63818 h 232314"/>
                  <a:gd name="connsiteX16" fmla="*/ 54293 w 205739"/>
                  <a:gd name="connsiteY16" fmla="*/ 35243 h 232314"/>
                  <a:gd name="connsiteX17" fmla="*/ 103823 w 205739"/>
                  <a:gd name="connsiteY17" fmla="*/ 35243 h 232314"/>
                  <a:gd name="connsiteX18" fmla="*/ 103823 w 205739"/>
                  <a:gd name="connsiteY18" fmla="*/ 49530 h 232314"/>
                  <a:gd name="connsiteX19" fmla="*/ 135255 w 205739"/>
                  <a:gd name="connsiteY19" fmla="*/ 45625 h 232314"/>
                  <a:gd name="connsiteX20" fmla="*/ 139065 w 205739"/>
                  <a:gd name="connsiteY20" fmla="*/ 20955 h 232314"/>
                  <a:gd name="connsiteX21" fmla="*/ 153352 w 205739"/>
                  <a:gd name="connsiteY21" fmla="*/ 0 h 232314"/>
                  <a:gd name="connsiteX22" fmla="*/ 205740 w 205739"/>
                  <a:gd name="connsiteY22" fmla="*/ 3715 h 232314"/>
                  <a:gd name="connsiteX23" fmla="*/ 191452 w 205739"/>
                  <a:gd name="connsiteY23" fmla="*/ 80963 h 232314"/>
                  <a:gd name="connsiteX24" fmla="*/ 149543 w 205739"/>
                  <a:gd name="connsiteY24" fmla="*/ 147638 h 232314"/>
                  <a:gd name="connsiteX25" fmla="*/ 142875 w 205739"/>
                  <a:gd name="connsiteY25" fmla="*/ 204788 h 232314"/>
                  <a:gd name="connsiteX26" fmla="*/ 96202 w 205739"/>
                  <a:gd name="connsiteY26" fmla="*/ 225743 h 232314"/>
                  <a:gd name="connsiteX27" fmla="*/ 47625 w 205739"/>
                  <a:gd name="connsiteY27" fmla="*/ 232315 h 232314"/>
                  <a:gd name="connsiteX28" fmla="*/ 43815 w 205739"/>
                  <a:gd name="connsiteY28" fmla="*/ 225743 h 232314"/>
                  <a:gd name="connsiteX29" fmla="*/ 26670 w 205739"/>
                  <a:gd name="connsiteY29" fmla="*/ 232315 h 232314"/>
                  <a:gd name="connsiteX30" fmla="*/ 0 w 205739"/>
                  <a:gd name="connsiteY30" fmla="*/ 204788 h 232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05739" h="232314">
                    <a:moveTo>
                      <a:pt x="0" y="204788"/>
                    </a:moveTo>
                    <a:lnTo>
                      <a:pt x="26670" y="204788"/>
                    </a:lnTo>
                    <a:lnTo>
                      <a:pt x="26670" y="186690"/>
                    </a:lnTo>
                    <a:lnTo>
                      <a:pt x="12382" y="186690"/>
                    </a:lnTo>
                    <a:lnTo>
                      <a:pt x="12382" y="165640"/>
                    </a:lnTo>
                    <a:lnTo>
                      <a:pt x="26670" y="165640"/>
                    </a:lnTo>
                    <a:lnTo>
                      <a:pt x="43815" y="151352"/>
                    </a:lnTo>
                    <a:lnTo>
                      <a:pt x="54293" y="165640"/>
                    </a:lnTo>
                    <a:lnTo>
                      <a:pt x="85725" y="169450"/>
                    </a:lnTo>
                    <a:lnTo>
                      <a:pt x="93345" y="155162"/>
                    </a:lnTo>
                    <a:lnTo>
                      <a:pt x="93345" y="120015"/>
                    </a:lnTo>
                    <a:lnTo>
                      <a:pt x="79057" y="109538"/>
                    </a:lnTo>
                    <a:lnTo>
                      <a:pt x="79057" y="87630"/>
                    </a:lnTo>
                    <a:lnTo>
                      <a:pt x="93345" y="77153"/>
                    </a:lnTo>
                    <a:lnTo>
                      <a:pt x="85725" y="59912"/>
                    </a:lnTo>
                    <a:lnTo>
                      <a:pt x="61913" y="63818"/>
                    </a:lnTo>
                    <a:lnTo>
                      <a:pt x="54293" y="35243"/>
                    </a:lnTo>
                    <a:lnTo>
                      <a:pt x="103823" y="35243"/>
                    </a:lnTo>
                    <a:lnTo>
                      <a:pt x="103823" y="49530"/>
                    </a:lnTo>
                    <a:lnTo>
                      <a:pt x="135255" y="45625"/>
                    </a:lnTo>
                    <a:lnTo>
                      <a:pt x="139065" y="20955"/>
                    </a:lnTo>
                    <a:lnTo>
                      <a:pt x="153352" y="0"/>
                    </a:lnTo>
                    <a:lnTo>
                      <a:pt x="205740" y="3715"/>
                    </a:lnTo>
                    <a:lnTo>
                      <a:pt x="191452" y="80963"/>
                    </a:lnTo>
                    <a:lnTo>
                      <a:pt x="149543" y="147638"/>
                    </a:lnTo>
                    <a:lnTo>
                      <a:pt x="142875" y="204788"/>
                    </a:lnTo>
                    <a:lnTo>
                      <a:pt x="96202" y="225743"/>
                    </a:lnTo>
                    <a:lnTo>
                      <a:pt x="47625" y="232315"/>
                    </a:lnTo>
                    <a:lnTo>
                      <a:pt x="43815" y="225743"/>
                    </a:lnTo>
                    <a:lnTo>
                      <a:pt x="26670" y="232315"/>
                    </a:lnTo>
                    <a:lnTo>
                      <a:pt x="0" y="2047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4" name="Freeform: Shape 193">
                <a:extLst>
                  <a:ext uri="{FF2B5EF4-FFF2-40B4-BE49-F238E27FC236}">
                    <a16:creationId xmlns:a16="http://schemas.microsoft.com/office/drawing/2014/main" id="{A50BBE69-FFC4-927F-3190-95B7CC951D10}"/>
                  </a:ext>
                </a:extLst>
              </p:cNvPr>
              <p:cNvSpPr/>
              <p:nvPr/>
            </p:nvSpPr>
            <p:spPr>
              <a:xfrm>
                <a:off x="6303848" y="4447564"/>
                <a:ext cx="201683" cy="227736"/>
              </a:xfrm>
              <a:custGeom>
                <a:avLst/>
                <a:gdLst>
                  <a:gd name="connsiteX0" fmla="*/ 0 w 205739"/>
                  <a:gd name="connsiteY0" fmla="*/ 204788 h 232314"/>
                  <a:gd name="connsiteX1" fmla="*/ 26670 w 205739"/>
                  <a:gd name="connsiteY1" fmla="*/ 204788 h 232314"/>
                  <a:gd name="connsiteX2" fmla="*/ 26670 w 205739"/>
                  <a:gd name="connsiteY2" fmla="*/ 186690 h 232314"/>
                  <a:gd name="connsiteX3" fmla="*/ 12382 w 205739"/>
                  <a:gd name="connsiteY3" fmla="*/ 186690 h 232314"/>
                  <a:gd name="connsiteX4" fmla="*/ 12382 w 205739"/>
                  <a:gd name="connsiteY4" fmla="*/ 165640 h 232314"/>
                  <a:gd name="connsiteX5" fmla="*/ 26670 w 205739"/>
                  <a:gd name="connsiteY5" fmla="*/ 165640 h 232314"/>
                  <a:gd name="connsiteX6" fmla="*/ 43815 w 205739"/>
                  <a:gd name="connsiteY6" fmla="*/ 151352 h 232314"/>
                  <a:gd name="connsiteX7" fmla="*/ 54293 w 205739"/>
                  <a:gd name="connsiteY7" fmla="*/ 165640 h 232314"/>
                  <a:gd name="connsiteX8" fmla="*/ 85725 w 205739"/>
                  <a:gd name="connsiteY8" fmla="*/ 169450 h 232314"/>
                  <a:gd name="connsiteX9" fmla="*/ 93345 w 205739"/>
                  <a:gd name="connsiteY9" fmla="*/ 155162 h 232314"/>
                  <a:gd name="connsiteX10" fmla="*/ 93345 w 205739"/>
                  <a:gd name="connsiteY10" fmla="*/ 120015 h 232314"/>
                  <a:gd name="connsiteX11" fmla="*/ 79057 w 205739"/>
                  <a:gd name="connsiteY11" fmla="*/ 109538 h 232314"/>
                  <a:gd name="connsiteX12" fmla="*/ 79057 w 205739"/>
                  <a:gd name="connsiteY12" fmla="*/ 87630 h 232314"/>
                  <a:gd name="connsiteX13" fmla="*/ 93345 w 205739"/>
                  <a:gd name="connsiteY13" fmla="*/ 77153 h 232314"/>
                  <a:gd name="connsiteX14" fmla="*/ 85725 w 205739"/>
                  <a:gd name="connsiteY14" fmla="*/ 59912 h 232314"/>
                  <a:gd name="connsiteX15" fmla="*/ 61913 w 205739"/>
                  <a:gd name="connsiteY15" fmla="*/ 63818 h 232314"/>
                  <a:gd name="connsiteX16" fmla="*/ 54293 w 205739"/>
                  <a:gd name="connsiteY16" fmla="*/ 35243 h 232314"/>
                  <a:gd name="connsiteX17" fmla="*/ 103823 w 205739"/>
                  <a:gd name="connsiteY17" fmla="*/ 35243 h 232314"/>
                  <a:gd name="connsiteX18" fmla="*/ 103823 w 205739"/>
                  <a:gd name="connsiteY18" fmla="*/ 49530 h 232314"/>
                  <a:gd name="connsiteX19" fmla="*/ 135255 w 205739"/>
                  <a:gd name="connsiteY19" fmla="*/ 45625 h 232314"/>
                  <a:gd name="connsiteX20" fmla="*/ 139065 w 205739"/>
                  <a:gd name="connsiteY20" fmla="*/ 20955 h 232314"/>
                  <a:gd name="connsiteX21" fmla="*/ 153352 w 205739"/>
                  <a:gd name="connsiteY21" fmla="*/ 0 h 232314"/>
                  <a:gd name="connsiteX22" fmla="*/ 205740 w 205739"/>
                  <a:gd name="connsiteY22" fmla="*/ 3715 h 232314"/>
                  <a:gd name="connsiteX23" fmla="*/ 191452 w 205739"/>
                  <a:gd name="connsiteY23" fmla="*/ 80963 h 232314"/>
                  <a:gd name="connsiteX24" fmla="*/ 149543 w 205739"/>
                  <a:gd name="connsiteY24" fmla="*/ 147638 h 232314"/>
                  <a:gd name="connsiteX25" fmla="*/ 142875 w 205739"/>
                  <a:gd name="connsiteY25" fmla="*/ 204788 h 232314"/>
                  <a:gd name="connsiteX26" fmla="*/ 96202 w 205739"/>
                  <a:gd name="connsiteY26" fmla="*/ 225743 h 232314"/>
                  <a:gd name="connsiteX27" fmla="*/ 47625 w 205739"/>
                  <a:gd name="connsiteY27" fmla="*/ 232315 h 232314"/>
                  <a:gd name="connsiteX28" fmla="*/ 43815 w 205739"/>
                  <a:gd name="connsiteY28" fmla="*/ 225743 h 232314"/>
                  <a:gd name="connsiteX29" fmla="*/ 26670 w 205739"/>
                  <a:gd name="connsiteY29" fmla="*/ 232315 h 232314"/>
                  <a:gd name="connsiteX30" fmla="*/ 0 w 205739"/>
                  <a:gd name="connsiteY30" fmla="*/ 204788 h 2323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05739" h="232314">
                    <a:moveTo>
                      <a:pt x="0" y="204788"/>
                    </a:moveTo>
                    <a:lnTo>
                      <a:pt x="26670" y="204788"/>
                    </a:lnTo>
                    <a:lnTo>
                      <a:pt x="26670" y="186690"/>
                    </a:lnTo>
                    <a:lnTo>
                      <a:pt x="12382" y="186690"/>
                    </a:lnTo>
                    <a:lnTo>
                      <a:pt x="12382" y="165640"/>
                    </a:lnTo>
                    <a:lnTo>
                      <a:pt x="26670" y="165640"/>
                    </a:lnTo>
                    <a:lnTo>
                      <a:pt x="43815" y="151352"/>
                    </a:lnTo>
                    <a:lnTo>
                      <a:pt x="54293" y="165640"/>
                    </a:lnTo>
                    <a:lnTo>
                      <a:pt x="85725" y="169450"/>
                    </a:lnTo>
                    <a:lnTo>
                      <a:pt x="93345" y="155162"/>
                    </a:lnTo>
                    <a:lnTo>
                      <a:pt x="93345" y="120015"/>
                    </a:lnTo>
                    <a:lnTo>
                      <a:pt x="79057" y="109538"/>
                    </a:lnTo>
                    <a:lnTo>
                      <a:pt x="79057" y="87630"/>
                    </a:lnTo>
                    <a:lnTo>
                      <a:pt x="93345" y="77153"/>
                    </a:lnTo>
                    <a:lnTo>
                      <a:pt x="85725" y="59912"/>
                    </a:lnTo>
                    <a:lnTo>
                      <a:pt x="61913" y="63818"/>
                    </a:lnTo>
                    <a:lnTo>
                      <a:pt x="54293" y="35243"/>
                    </a:lnTo>
                    <a:lnTo>
                      <a:pt x="103823" y="35243"/>
                    </a:lnTo>
                    <a:lnTo>
                      <a:pt x="103823" y="49530"/>
                    </a:lnTo>
                    <a:lnTo>
                      <a:pt x="135255" y="45625"/>
                    </a:lnTo>
                    <a:lnTo>
                      <a:pt x="139065" y="20955"/>
                    </a:lnTo>
                    <a:lnTo>
                      <a:pt x="153352" y="0"/>
                    </a:lnTo>
                    <a:lnTo>
                      <a:pt x="205740" y="3715"/>
                    </a:lnTo>
                    <a:lnTo>
                      <a:pt x="191452" y="80963"/>
                    </a:lnTo>
                    <a:lnTo>
                      <a:pt x="149543" y="147638"/>
                    </a:lnTo>
                    <a:lnTo>
                      <a:pt x="142875" y="204788"/>
                    </a:lnTo>
                    <a:lnTo>
                      <a:pt x="96202" y="225743"/>
                    </a:lnTo>
                    <a:lnTo>
                      <a:pt x="47625" y="232315"/>
                    </a:lnTo>
                    <a:lnTo>
                      <a:pt x="43815" y="225743"/>
                    </a:lnTo>
                    <a:lnTo>
                      <a:pt x="26670" y="232315"/>
                    </a:lnTo>
                    <a:lnTo>
                      <a:pt x="0" y="2047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5" name="Freeform: Shape 194">
                <a:extLst>
                  <a:ext uri="{FF2B5EF4-FFF2-40B4-BE49-F238E27FC236}">
                    <a16:creationId xmlns:a16="http://schemas.microsoft.com/office/drawing/2014/main" id="{F7772085-A630-1578-8BC0-BC4546D82A17}"/>
                  </a:ext>
                </a:extLst>
              </p:cNvPr>
              <p:cNvSpPr/>
              <p:nvPr/>
            </p:nvSpPr>
            <p:spPr>
              <a:xfrm>
                <a:off x="6926643" y="4419552"/>
                <a:ext cx="217557" cy="255748"/>
              </a:xfrm>
              <a:custGeom>
                <a:avLst/>
                <a:gdLst>
                  <a:gd name="connsiteX0" fmla="*/ 14288 w 221932"/>
                  <a:gd name="connsiteY0" fmla="*/ 0 h 260889"/>
                  <a:gd name="connsiteX1" fmla="*/ 49530 w 221932"/>
                  <a:gd name="connsiteY1" fmla="*/ 0 h 260889"/>
                  <a:gd name="connsiteX2" fmla="*/ 113347 w 221932"/>
                  <a:gd name="connsiteY2" fmla="*/ 28575 h 260889"/>
                  <a:gd name="connsiteX3" fmla="*/ 155257 w 221932"/>
                  <a:gd name="connsiteY3" fmla="*/ 32290 h 260889"/>
                  <a:gd name="connsiteX4" fmla="*/ 190500 w 221932"/>
                  <a:gd name="connsiteY4" fmla="*/ 10478 h 260889"/>
                  <a:gd name="connsiteX5" fmla="*/ 200977 w 221932"/>
                  <a:gd name="connsiteY5" fmla="*/ 24765 h 260889"/>
                  <a:gd name="connsiteX6" fmla="*/ 221932 w 221932"/>
                  <a:gd name="connsiteY6" fmla="*/ 18002 h 260889"/>
                  <a:gd name="connsiteX7" fmla="*/ 221932 w 221932"/>
                  <a:gd name="connsiteY7" fmla="*/ 35243 h 260889"/>
                  <a:gd name="connsiteX8" fmla="*/ 194310 w 221932"/>
                  <a:gd name="connsiteY8" fmla="*/ 53340 h 260889"/>
                  <a:gd name="connsiteX9" fmla="*/ 197168 w 221932"/>
                  <a:gd name="connsiteY9" fmla="*/ 152400 h 260889"/>
                  <a:gd name="connsiteX10" fmla="*/ 215265 w 221932"/>
                  <a:gd name="connsiteY10" fmla="*/ 173355 h 260889"/>
                  <a:gd name="connsiteX11" fmla="*/ 197168 w 221932"/>
                  <a:gd name="connsiteY11" fmla="*/ 187643 h 260889"/>
                  <a:gd name="connsiteX12" fmla="*/ 176213 w 221932"/>
                  <a:gd name="connsiteY12" fmla="*/ 208502 h 260889"/>
                  <a:gd name="connsiteX13" fmla="*/ 161925 w 221932"/>
                  <a:gd name="connsiteY13" fmla="*/ 240030 h 260889"/>
                  <a:gd name="connsiteX14" fmla="*/ 151447 w 221932"/>
                  <a:gd name="connsiteY14" fmla="*/ 260890 h 260889"/>
                  <a:gd name="connsiteX15" fmla="*/ 109538 w 221932"/>
                  <a:gd name="connsiteY15" fmla="*/ 229553 h 260889"/>
                  <a:gd name="connsiteX16" fmla="*/ 101918 w 221932"/>
                  <a:gd name="connsiteY16" fmla="*/ 211455 h 260889"/>
                  <a:gd name="connsiteX17" fmla="*/ 10477 w 221932"/>
                  <a:gd name="connsiteY17" fmla="*/ 162878 h 260889"/>
                  <a:gd name="connsiteX18" fmla="*/ 3810 w 221932"/>
                  <a:gd name="connsiteY18" fmla="*/ 162878 h 260889"/>
                  <a:gd name="connsiteX19" fmla="*/ 10477 w 221932"/>
                  <a:gd name="connsiteY19" fmla="*/ 138113 h 260889"/>
                  <a:gd name="connsiteX20" fmla="*/ 7620 w 221932"/>
                  <a:gd name="connsiteY20" fmla="*/ 116205 h 260889"/>
                  <a:gd name="connsiteX21" fmla="*/ 31432 w 221932"/>
                  <a:gd name="connsiteY21" fmla="*/ 88487 h 260889"/>
                  <a:gd name="connsiteX22" fmla="*/ 20955 w 221932"/>
                  <a:gd name="connsiteY22" fmla="*/ 49530 h 260889"/>
                  <a:gd name="connsiteX23" fmla="*/ 0 w 221932"/>
                  <a:gd name="connsiteY23" fmla="*/ 14288 h 260889"/>
                  <a:gd name="connsiteX24" fmla="*/ 14288 w 221932"/>
                  <a:gd name="connsiteY24" fmla="*/ 0 h 260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1932" h="260889">
                    <a:moveTo>
                      <a:pt x="14288" y="0"/>
                    </a:moveTo>
                    <a:lnTo>
                      <a:pt x="49530" y="0"/>
                    </a:lnTo>
                    <a:lnTo>
                      <a:pt x="113347" y="28575"/>
                    </a:lnTo>
                    <a:lnTo>
                      <a:pt x="155257" y="32290"/>
                    </a:lnTo>
                    <a:lnTo>
                      <a:pt x="190500" y="10478"/>
                    </a:lnTo>
                    <a:lnTo>
                      <a:pt x="200977" y="24765"/>
                    </a:lnTo>
                    <a:lnTo>
                      <a:pt x="221932" y="18002"/>
                    </a:lnTo>
                    <a:lnTo>
                      <a:pt x="221932" y="35243"/>
                    </a:lnTo>
                    <a:lnTo>
                      <a:pt x="194310" y="53340"/>
                    </a:lnTo>
                    <a:lnTo>
                      <a:pt x="197168" y="152400"/>
                    </a:lnTo>
                    <a:lnTo>
                      <a:pt x="215265" y="173355"/>
                    </a:lnTo>
                    <a:lnTo>
                      <a:pt x="197168" y="187643"/>
                    </a:lnTo>
                    <a:lnTo>
                      <a:pt x="176213" y="208502"/>
                    </a:lnTo>
                    <a:lnTo>
                      <a:pt x="161925" y="240030"/>
                    </a:lnTo>
                    <a:lnTo>
                      <a:pt x="151447" y="260890"/>
                    </a:lnTo>
                    <a:lnTo>
                      <a:pt x="109538" y="229553"/>
                    </a:lnTo>
                    <a:lnTo>
                      <a:pt x="101918" y="211455"/>
                    </a:lnTo>
                    <a:lnTo>
                      <a:pt x="10477" y="162878"/>
                    </a:lnTo>
                    <a:lnTo>
                      <a:pt x="3810" y="162878"/>
                    </a:lnTo>
                    <a:lnTo>
                      <a:pt x="10477" y="138113"/>
                    </a:lnTo>
                    <a:lnTo>
                      <a:pt x="7620" y="116205"/>
                    </a:lnTo>
                    <a:lnTo>
                      <a:pt x="31432" y="88487"/>
                    </a:lnTo>
                    <a:lnTo>
                      <a:pt x="20955" y="49530"/>
                    </a:lnTo>
                    <a:lnTo>
                      <a:pt x="0" y="14288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6" name="Freeform: Shape 195">
                <a:extLst>
                  <a:ext uri="{FF2B5EF4-FFF2-40B4-BE49-F238E27FC236}">
                    <a16:creationId xmlns:a16="http://schemas.microsoft.com/office/drawing/2014/main" id="{5D31A6B3-1EB5-A907-075A-062C21D717DF}"/>
                  </a:ext>
                </a:extLst>
              </p:cNvPr>
              <p:cNvSpPr/>
              <p:nvPr/>
            </p:nvSpPr>
            <p:spPr>
              <a:xfrm>
                <a:off x="6926643" y="4419552"/>
                <a:ext cx="217557" cy="255748"/>
              </a:xfrm>
              <a:custGeom>
                <a:avLst/>
                <a:gdLst>
                  <a:gd name="connsiteX0" fmla="*/ 14288 w 221932"/>
                  <a:gd name="connsiteY0" fmla="*/ 0 h 260889"/>
                  <a:gd name="connsiteX1" fmla="*/ 49530 w 221932"/>
                  <a:gd name="connsiteY1" fmla="*/ 0 h 260889"/>
                  <a:gd name="connsiteX2" fmla="*/ 113347 w 221932"/>
                  <a:gd name="connsiteY2" fmla="*/ 28575 h 260889"/>
                  <a:gd name="connsiteX3" fmla="*/ 155257 w 221932"/>
                  <a:gd name="connsiteY3" fmla="*/ 32290 h 260889"/>
                  <a:gd name="connsiteX4" fmla="*/ 190500 w 221932"/>
                  <a:gd name="connsiteY4" fmla="*/ 10478 h 260889"/>
                  <a:gd name="connsiteX5" fmla="*/ 200977 w 221932"/>
                  <a:gd name="connsiteY5" fmla="*/ 24765 h 260889"/>
                  <a:gd name="connsiteX6" fmla="*/ 221932 w 221932"/>
                  <a:gd name="connsiteY6" fmla="*/ 18002 h 260889"/>
                  <a:gd name="connsiteX7" fmla="*/ 221932 w 221932"/>
                  <a:gd name="connsiteY7" fmla="*/ 35243 h 260889"/>
                  <a:gd name="connsiteX8" fmla="*/ 194310 w 221932"/>
                  <a:gd name="connsiteY8" fmla="*/ 53340 h 260889"/>
                  <a:gd name="connsiteX9" fmla="*/ 197168 w 221932"/>
                  <a:gd name="connsiteY9" fmla="*/ 152400 h 260889"/>
                  <a:gd name="connsiteX10" fmla="*/ 215265 w 221932"/>
                  <a:gd name="connsiteY10" fmla="*/ 173355 h 260889"/>
                  <a:gd name="connsiteX11" fmla="*/ 197168 w 221932"/>
                  <a:gd name="connsiteY11" fmla="*/ 187643 h 260889"/>
                  <a:gd name="connsiteX12" fmla="*/ 176213 w 221932"/>
                  <a:gd name="connsiteY12" fmla="*/ 208502 h 260889"/>
                  <a:gd name="connsiteX13" fmla="*/ 161925 w 221932"/>
                  <a:gd name="connsiteY13" fmla="*/ 240030 h 260889"/>
                  <a:gd name="connsiteX14" fmla="*/ 151447 w 221932"/>
                  <a:gd name="connsiteY14" fmla="*/ 260890 h 260889"/>
                  <a:gd name="connsiteX15" fmla="*/ 109538 w 221932"/>
                  <a:gd name="connsiteY15" fmla="*/ 229553 h 260889"/>
                  <a:gd name="connsiteX16" fmla="*/ 101918 w 221932"/>
                  <a:gd name="connsiteY16" fmla="*/ 211455 h 260889"/>
                  <a:gd name="connsiteX17" fmla="*/ 10477 w 221932"/>
                  <a:gd name="connsiteY17" fmla="*/ 162878 h 260889"/>
                  <a:gd name="connsiteX18" fmla="*/ 3810 w 221932"/>
                  <a:gd name="connsiteY18" fmla="*/ 162878 h 260889"/>
                  <a:gd name="connsiteX19" fmla="*/ 10477 w 221932"/>
                  <a:gd name="connsiteY19" fmla="*/ 138113 h 260889"/>
                  <a:gd name="connsiteX20" fmla="*/ 7620 w 221932"/>
                  <a:gd name="connsiteY20" fmla="*/ 116205 h 260889"/>
                  <a:gd name="connsiteX21" fmla="*/ 31432 w 221932"/>
                  <a:gd name="connsiteY21" fmla="*/ 88487 h 260889"/>
                  <a:gd name="connsiteX22" fmla="*/ 20955 w 221932"/>
                  <a:gd name="connsiteY22" fmla="*/ 49530 h 260889"/>
                  <a:gd name="connsiteX23" fmla="*/ 0 w 221932"/>
                  <a:gd name="connsiteY23" fmla="*/ 14288 h 260889"/>
                  <a:gd name="connsiteX24" fmla="*/ 14288 w 221932"/>
                  <a:gd name="connsiteY24" fmla="*/ 0 h 260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21932" h="260889">
                    <a:moveTo>
                      <a:pt x="14288" y="0"/>
                    </a:moveTo>
                    <a:lnTo>
                      <a:pt x="49530" y="0"/>
                    </a:lnTo>
                    <a:lnTo>
                      <a:pt x="113347" y="28575"/>
                    </a:lnTo>
                    <a:lnTo>
                      <a:pt x="155257" y="32290"/>
                    </a:lnTo>
                    <a:lnTo>
                      <a:pt x="190500" y="10478"/>
                    </a:lnTo>
                    <a:lnTo>
                      <a:pt x="200977" y="24765"/>
                    </a:lnTo>
                    <a:lnTo>
                      <a:pt x="221932" y="18002"/>
                    </a:lnTo>
                    <a:lnTo>
                      <a:pt x="221932" y="35243"/>
                    </a:lnTo>
                    <a:lnTo>
                      <a:pt x="194310" y="53340"/>
                    </a:lnTo>
                    <a:lnTo>
                      <a:pt x="197168" y="152400"/>
                    </a:lnTo>
                    <a:lnTo>
                      <a:pt x="215265" y="173355"/>
                    </a:lnTo>
                    <a:lnTo>
                      <a:pt x="197168" y="187643"/>
                    </a:lnTo>
                    <a:lnTo>
                      <a:pt x="176213" y="208502"/>
                    </a:lnTo>
                    <a:lnTo>
                      <a:pt x="161925" y="240030"/>
                    </a:lnTo>
                    <a:lnTo>
                      <a:pt x="151447" y="260890"/>
                    </a:lnTo>
                    <a:lnTo>
                      <a:pt x="109538" y="229553"/>
                    </a:lnTo>
                    <a:lnTo>
                      <a:pt x="101918" y="211455"/>
                    </a:lnTo>
                    <a:lnTo>
                      <a:pt x="10477" y="162878"/>
                    </a:lnTo>
                    <a:lnTo>
                      <a:pt x="3810" y="162878"/>
                    </a:lnTo>
                    <a:lnTo>
                      <a:pt x="10477" y="138113"/>
                    </a:lnTo>
                    <a:lnTo>
                      <a:pt x="7620" y="116205"/>
                    </a:lnTo>
                    <a:lnTo>
                      <a:pt x="31432" y="88487"/>
                    </a:lnTo>
                    <a:lnTo>
                      <a:pt x="20955" y="49530"/>
                    </a:lnTo>
                    <a:lnTo>
                      <a:pt x="0" y="14288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7" name="Freeform: Shape 196">
                <a:extLst>
                  <a:ext uri="{FF2B5EF4-FFF2-40B4-BE49-F238E27FC236}">
                    <a16:creationId xmlns:a16="http://schemas.microsoft.com/office/drawing/2014/main" id="{61A07B80-53F4-0AB8-2731-BB2695F9FE76}"/>
                  </a:ext>
                </a:extLst>
              </p:cNvPr>
              <p:cNvSpPr/>
              <p:nvPr/>
            </p:nvSpPr>
            <p:spPr>
              <a:xfrm>
                <a:off x="6241288" y="4482111"/>
                <a:ext cx="154064" cy="166203"/>
              </a:xfrm>
              <a:custGeom>
                <a:avLst/>
                <a:gdLst>
                  <a:gd name="connsiteX0" fmla="*/ 68580 w 157162"/>
                  <a:gd name="connsiteY0" fmla="*/ 0 h 169544"/>
                  <a:gd name="connsiteX1" fmla="*/ 118110 w 157162"/>
                  <a:gd name="connsiteY1" fmla="*/ 0 h 169544"/>
                  <a:gd name="connsiteX2" fmla="*/ 125730 w 157162"/>
                  <a:gd name="connsiteY2" fmla="*/ 28575 h 169544"/>
                  <a:gd name="connsiteX3" fmla="*/ 149543 w 157162"/>
                  <a:gd name="connsiteY3" fmla="*/ 24670 h 169544"/>
                  <a:gd name="connsiteX4" fmla="*/ 157163 w 157162"/>
                  <a:gd name="connsiteY4" fmla="*/ 41910 h 169544"/>
                  <a:gd name="connsiteX5" fmla="*/ 142875 w 157162"/>
                  <a:gd name="connsiteY5" fmla="*/ 52388 h 169544"/>
                  <a:gd name="connsiteX6" fmla="*/ 142875 w 157162"/>
                  <a:gd name="connsiteY6" fmla="*/ 74295 h 169544"/>
                  <a:gd name="connsiteX7" fmla="*/ 157163 w 157162"/>
                  <a:gd name="connsiteY7" fmla="*/ 84772 h 169544"/>
                  <a:gd name="connsiteX8" fmla="*/ 157163 w 157162"/>
                  <a:gd name="connsiteY8" fmla="*/ 119920 h 169544"/>
                  <a:gd name="connsiteX9" fmla="*/ 149543 w 157162"/>
                  <a:gd name="connsiteY9" fmla="*/ 134207 h 169544"/>
                  <a:gd name="connsiteX10" fmla="*/ 118110 w 157162"/>
                  <a:gd name="connsiteY10" fmla="*/ 130397 h 169544"/>
                  <a:gd name="connsiteX11" fmla="*/ 107632 w 157162"/>
                  <a:gd name="connsiteY11" fmla="*/ 116110 h 169544"/>
                  <a:gd name="connsiteX12" fmla="*/ 90488 w 157162"/>
                  <a:gd name="connsiteY12" fmla="*/ 130397 h 169544"/>
                  <a:gd name="connsiteX13" fmla="*/ 76200 w 157162"/>
                  <a:gd name="connsiteY13" fmla="*/ 130397 h 169544"/>
                  <a:gd name="connsiteX14" fmla="*/ 76200 w 157162"/>
                  <a:gd name="connsiteY14" fmla="*/ 151447 h 169544"/>
                  <a:gd name="connsiteX15" fmla="*/ 90488 w 157162"/>
                  <a:gd name="connsiteY15" fmla="*/ 151447 h 169544"/>
                  <a:gd name="connsiteX16" fmla="*/ 90488 w 157162"/>
                  <a:gd name="connsiteY16" fmla="*/ 169545 h 169544"/>
                  <a:gd name="connsiteX17" fmla="*/ 63818 w 157162"/>
                  <a:gd name="connsiteY17" fmla="*/ 169545 h 169544"/>
                  <a:gd name="connsiteX18" fmla="*/ 32385 w 157162"/>
                  <a:gd name="connsiteY18" fmla="*/ 144685 h 169544"/>
                  <a:gd name="connsiteX19" fmla="*/ 18098 w 157162"/>
                  <a:gd name="connsiteY19" fmla="*/ 119920 h 169544"/>
                  <a:gd name="connsiteX20" fmla="*/ 0 w 157162"/>
                  <a:gd name="connsiteY20" fmla="*/ 84772 h 169544"/>
                  <a:gd name="connsiteX21" fmla="*/ 18098 w 157162"/>
                  <a:gd name="connsiteY21" fmla="*/ 56197 h 169544"/>
                  <a:gd name="connsiteX22" fmla="*/ 20955 w 157162"/>
                  <a:gd name="connsiteY22" fmla="*/ 41910 h 169544"/>
                  <a:gd name="connsiteX23" fmla="*/ 63818 w 157162"/>
                  <a:gd name="connsiteY23" fmla="*/ 38957 h 169544"/>
                  <a:gd name="connsiteX24" fmla="*/ 68580 w 157162"/>
                  <a:gd name="connsiteY24" fmla="*/ 0 h 16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7162" h="169544">
                    <a:moveTo>
                      <a:pt x="68580" y="0"/>
                    </a:moveTo>
                    <a:lnTo>
                      <a:pt x="118110" y="0"/>
                    </a:lnTo>
                    <a:lnTo>
                      <a:pt x="125730" y="28575"/>
                    </a:lnTo>
                    <a:lnTo>
                      <a:pt x="149543" y="24670"/>
                    </a:lnTo>
                    <a:lnTo>
                      <a:pt x="157163" y="41910"/>
                    </a:lnTo>
                    <a:lnTo>
                      <a:pt x="142875" y="52388"/>
                    </a:lnTo>
                    <a:lnTo>
                      <a:pt x="142875" y="74295"/>
                    </a:lnTo>
                    <a:lnTo>
                      <a:pt x="157163" y="84772"/>
                    </a:lnTo>
                    <a:lnTo>
                      <a:pt x="157163" y="119920"/>
                    </a:lnTo>
                    <a:lnTo>
                      <a:pt x="149543" y="134207"/>
                    </a:lnTo>
                    <a:lnTo>
                      <a:pt x="118110" y="130397"/>
                    </a:lnTo>
                    <a:lnTo>
                      <a:pt x="107632" y="116110"/>
                    </a:lnTo>
                    <a:lnTo>
                      <a:pt x="90488" y="130397"/>
                    </a:lnTo>
                    <a:lnTo>
                      <a:pt x="76200" y="130397"/>
                    </a:lnTo>
                    <a:lnTo>
                      <a:pt x="76200" y="151447"/>
                    </a:lnTo>
                    <a:lnTo>
                      <a:pt x="90488" y="151447"/>
                    </a:lnTo>
                    <a:lnTo>
                      <a:pt x="90488" y="169545"/>
                    </a:lnTo>
                    <a:lnTo>
                      <a:pt x="63818" y="169545"/>
                    </a:lnTo>
                    <a:lnTo>
                      <a:pt x="32385" y="144685"/>
                    </a:lnTo>
                    <a:lnTo>
                      <a:pt x="18098" y="119920"/>
                    </a:lnTo>
                    <a:lnTo>
                      <a:pt x="0" y="84772"/>
                    </a:lnTo>
                    <a:lnTo>
                      <a:pt x="18098" y="56197"/>
                    </a:lnTo>
                    <a:lnTo>
                      <a:pt x="20955" y="41910"/>
                    </a:lnTo>
                    <a:lnTo>
                      <a:pt x="63818" y="38957"/>
                    </a:lnTo>
                    <a:lnTo>
                      <a:pt x="6858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8" name="Freeform: Shape 197">
                <a:extLst>
                  <a:ext uri="{FF2B5EF4-FFF2-40B4-BE49-F238E27FC236}">
                    <a16:creationId xmlns:a16="http://schemas.microsoft.com/office/drawing/2014/main" id="{582CE766-65BF-6B4A-85EF-C8E74741297D}"/>
                  </a:ext>
                </a:extLst>
              </p:cNvPr>
              <p:cNvSpPr/>
              <p:nvPr/>
            </p:nvSpPr>
            <p:spPr>
              <a:xfrm>
                <a:off x="6241288" y="4482111"/>
                <a:ext cx="154064" cy="166203"/>
              </a:xfrm>
              <a:custGeom>
                <a:avLst/>
                <a:gdLst>
                  <a:gd name="connsiteX0" fmla="*/ 68580 w 157162"/>
                  <a:gd name="connsiteY0" fmla="*/ 0 h 169544"/>
                  <a:gd name="connsiteX1" fmla="*/ 118110 w 157162"/>
                  <a:gd name="connsiteY1" fmla="*/ 0 h 169544"/>
                  <a:gd name="connsiteX2" fmla="*/ 125730 w 157162"/>
                  <a:gd name="connsiteY2" fmla="*/ 28575 h 169544"/>
                  <a:gd name="connsiteX3" fmla="*/ 149543 w 157162"/>
                  <a:gd name="connsiteY3" fmla="*/ 24670 h 169544"/>
                  <a:gd name="connsiteX4" fmla="*/ 157163 w 157162"/>
                  <a:gd name="connsiteY4" fmla="*/ 41910 h 169544"/>
                  <a:gd name="connsiteX5" fmla="*/ 142875 w 157162"/>
                  <a:gd name="connsiteY5" fmla="*/ 52388 h 169544"/>
                  <a:gd name="connsiteX6" fmla="*/ 142875 w 157162"/>
                  <a:gd name="connsiteY6" fmla="*/ 74295 h 169544"/>
                  <a:gd name="connsiteX7" fmla="*/ 157163 w 157162"/>
                  <a:gd name="connsiteY7" fmla="*/ 84772 h 169544"/>
                  <a:gd name="connsiteX8" fmla="*/ 157163 w 157162"/>
                  <a:gd name="connsiteY8" fmla="*/ 119920 h 169544"/>
                  <a:gd name="connsiteX9" fmla="*/ 149543 w 157162"/>
                  <a:gd name="connsiteY9" fmla="*/ 134207 h 169544"/>
                  <a:gd name="connsiteX10" fmla="*/ 118110 w 157162"/>
                  <a:gd name="connsiteY10" fmla="*/ 130397 h 169544"/>
                  <a:gd name="connsiteX11" fmla="*/ 107632 w 157162"/>
                  <a:gd name="connsiteY11" fmla="*/ 116110 h 169544"/>
                  <a:gd name="connsiteX12" fmla="*/ 90488 w 157162"/>
                  <a:gd name="connsiteY12" fmla="*/ 130397 h 169544"/>
                  <a:gd name="connsiteX13" fmla="*/ 76200 w 157162"/>
                  <a:gd name="connsiteY13" fmla="*/ 130397 h 169544"/>
                  <a:gd name="connsiteX14" fmla="*/ 76200 w 157162"/>
                  <a:gd name="connsiteY14" fmla="*/ 151447 h 169544"/>
                  <a:gd name="connsiteX15" fmla="*/ 90488 w 157162"/>
                  <a:gd name="connsiteY15" fmla="*/ 151447 h 169544"/>
                  <a:gd name="connsiteX16" fmla="*/ 90488 w 157162"/>
                  <a:gd name="connsiteY16" fmla="*/ 169545 h 169544"/>
                  <a:gd name="connsiteX17" fmla="*/ 63818 w 157162"/>
                  <a:gd name="connsiteY17" fmla="*/ 169545 h 169544"/>
                  <a:gd name="connsiteX18" fmla="*/ 32385 w 157162"/>
                  <a:gd name="connsiteY18" fmla="*/ 144685 h 169544"/>
                  <a:gd name="connsiteX19" fmla="*/ 18098 w 157162"/>
                  <a:gd name="connsiteY19" fmla="*/ 119920 h 169544"/>
                  <a:gd name="connsiteX20" fmla="*/ 0 w 157162"/>
                  <a:gd name="connsiteY20" fmla="*/ 84772 h 169544"/>
                  <a:gd name="connsiteX21" fmla="*/ 18098 w 157162"/>
                  <a:gd name="connsiteY21" fmla="*/ 56197 h 169544"/>
                  <a:gd name="connsiteX22" fmla="*/ 20955 w 157162"/>
                  <a:gd name="connsiteY22" fmla="*/ 41910 h 169544"/>
                  <a:gd name="connsiteX23" fmla="*/ 63818 w 157162"/>
                  <a:gd name="connsiteY23" fmla="*/ 38957 h 169544"/>
                  <a:gd name="connsiteX24" fmla="*/ 68580 w 157162"/>
                  <a:gd name="connsiteY24" fmla="*/ 0 h 16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57162" h="169544">
                    <a:moveTo>
                      <a:pt x="68580" y="0"/>
                    </a:moveTo>
                    <a:lnTo>
                      <a:pt x="118110" y="0"/>
                    </a:lnTo>
                    <a:lnTo>
                      <a:pt x="125730" y="28575"/>
                    </a:lnTo>
                    <a:lnTo>
                      <a:pt x="149543" y="24670"/>
                    </a:lnTo>
                    <a:lnTo>
                      <a:pt x="157163" y="41910"/>
                    </a:lnTo>
                    <a:lnTo>
                      <a:pt x="142875" y="52388"/>
                    </a:lnTo>
                    <a:lnTo>
                      <a:pt x="142875" y="74295"/>
                    </a:lnTo>
                    <a:lnTo>
                      <a:pt x="157163" y="84772"/>
                    </a:lnTo>
                    <a:lnTo>
                      <a:pt x="157163" y="119920"/>
                    </a:lnTo>
                    <a:lnTo>
                      <a:pt x="149543" y="134207"/>
                    </a:lnTo>
                    <a:lnTo>
                      <a:pt x="118110" y="130397"/>
                    </a:lnTo>
                    <a:lnTo>
                      <a:pt x="107632" y="116110"/>
                    </a:lnTo>
                    <a:lnTo>
                      <a:pt x="90488" y="130397"/>
                    </a:lnTo>
                    <a:lnTo>
                      <a:pt x="76200" y="130397"/>
                    </a:lnTo>
                    <a:lnTo>
                      <a:pt x="76200" y="151447"/>
                    </a:lnTo>
                    <a:lnTo>
                      <a:pt x="90488" y="151447"/>
                    </a:lnTo>
                    <a:lnTo>
                      <a:pt x="90488" y="169545"/>
                    </a:lnTo>
                    <a:lnTo>
                      <a:pt x="63818" y="169545"/>
                    </a:lnTo>
                    <a:lnTo>
                      <a:pt x="32385" y="144685"/>
                    </a:lnTo>
                    <a:lnTo>
                      <a:pt x="18098" y="119920"/>
                    </a:lnTo>
                    <a:lnTo>
                      <a:pt x="0" y="84772"/>
                    </a:lnTo>
                    <a:lnTo>
                      <a:pt x="18098" y="56197"/>
                    </a:lnTo>
                    <a:lnTo>
                      <a:pt x="20955" y="41910"/>
                    </a:lnTo>
                    <a:lnTo>
                      <a:pt x="63818" y="38957"/>
                    </a:lnTo>
                    <a:lnTo>
                      <a:pt x="6858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199" name="Freeform: Shape 198">
                <a:extLst>
                  <a:ext uri="{FF2B5EF4-FFF2-40B4-BE49-F238E27FC236}">
                    <a16:creationId xmlns:a16="http://schemas.microsoft.com/office/drawing/2014/main" id="{50038475-A141-2BF8-3609-8FB058576EBF}"/>
                  </a:ext>
                </a:extLst>
              </p:cNvPr>
              <p:cNvSpPr/>
              <p:nvPr/>
            </p:nvSpPr>
            <p:spPr>
              <a:xfrm>
                <a:off x="5533525" y="4167444"/>
                <a:ext cx="86836" cy="20542"/>
              </a:xfrm>
              <a:custGeom>
                <a:avLst/>
                <a:gdLst>
                  <a:gd name="connsiteX0" fmla="*/ 14288 w 88582"/>
                  <a:gd name="connsiteY0" fmla="*/ 0 h 20955"/>
                  <a:gd name="connsiteX1" fmla="*/ 35243 w 88582"/>
                  <a:gd name="connsiteY1" fmla="*/ 0 h 20955"/>
                  <a:gd name="connsiteX2" fmla="*/ 56197 w 88582"/>
                  <a:gd name="connsiteY2" fmla="*/ 3715 h 20955"/>
                  <a:gd name="connsiteX3" fmla="*/ 74295 w 88582"/>
                  <a:gd name="connsiteY3" fmla="*/ 6668 h 20955"/>
                  <a:gd name="connsiteX4" fmla="*/ 88582 w 88582"/>
                  <a:gd name="connsiteY4" fmla="*/ 10478 h 20955"/>
                  <a:gd name="connsiteX5" fmla="*/ 80963 w 88582"/>
                  <a:gd name="connsiteY5" fmla="*/ 14288 h 20955"/>
                  <a:gd name="connsiteX6" fmla="*/ 60007 w 88582"/>
                  <a:gd name="connsiteY6" fmla="*/ 14288 h 20955"/>
                  <a:gd name="connsiteX7" fmla="*/ 45720 w 88582"/>
                  <a:gd name="connsiteY7" fmla="*/ 14288 h 20955"/>
                  <a:gd name="connsiteX8" fmla="*/ 28575 w 88582"/>
                  <a:gd name="connsiteY8" fmla="*/ 14288 h 20955"/>
                  <a:gd name="connsiteX9" fmla="*/ 10478 w 88582"/>
                  <a:gd name="connsiteY9" fmla="*/ 20955 h 20955"/>
                  <a:gd name="connsiteX10" fmla="*/ 0 w 88582"/>
                  <a:gd name="connsiteY10" fmla="*/ 18002 h 20955"/>
                  <a:gd name="connsiteX11" fmla="*/ 7620 w 88582"/>
                  <a:gd name="connsiteY11" fmla="*/ 0 h 20955"/>
                  <a:gd name="connsiteX12" fmla="*/ 14288 w 88582"/>
                  <a:gd name="connsiteY12" fmla="*/ 0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582" h="20955">
                    <a:moveTo>
                      <a:pt x="14288" y="0"/>
                    </a:moveTo>
                    <a:lnTo>
                      <a:pt x="35243" y="0"/>
                    </a:lnTo>
                    <a:lnTo>
                      <a:pt x="56197" y="3715"/>
                    </a:lnTo>
                    <a:lnTo>
                      <a:pt x="74295" y="6668"/>
                    </a:lnTo>
                    <a:lnTo>
                      <a:pt x="88582" y="10478"/>
                    </a:lnTo>
                    <a:lnTo>
                      <a:pt x="80963" y="14288"/>
                    </a:lnTo>
                    <a:lnTo>
                      <a:pt x="60007" y="14288"/>
                    </a:lnTo>
                    <a:lnTo>
                      <a:pt x="45720" y="14288"/>
                    </a:lnTo>
                    <a:lnTo>
                      <a:pt x="28575" y="14288"/>
                    </a:lnTo>
                    <a:lnTo>
                      <a:pt x="10478" y="20955"/>
                    </a:lnTo>
                    <a:lnTo>
                      <a:pt x="0" y="18002"/>
                    </a:lnTo>
                    <a:lnTo>
                      <a:pt x="7620" y="0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0" name="Freeform: Shape 199">
                <a:extLst>
                  <a:ext uri="{FF2B5EF4-FFF2-40B4-BE49-F238E27FC236}">
                    <a16:creationId xmlns:a16="http://schemas.microsoft.com/office/drawing/2014/main" id="{1E00F876-D086-7F46-06D9-01BCA725315F}"/>
                  </a:ext>
                </a:extLst>
              </p:cNvPr>
              <p:cNvSpPr/>
              <p:nvPr/>
            </p:nvSpPr>
            <p:spPr>
              <a:xfrm>
                <a:off x="5533525" y="4167444"/>
                <a:ext cx="86836" cy="20542"/>
              </a:xfrm>
              <a:custGeom>
                <a:avLst/>
                <a:gdLst>
                  <a:gd name="connsiteX0" fmla="*/ 14288 w 88582"/>
                  <a:gd name="connsiteY0" fmla="*/ 0 h 20955"/>
                  <a:gd name="connsiteX1" fmla="*/ 35243 w 88582"/>
                  <a:gd name="connsiteY1" fmla="*/ 0 h 20955"/>
                  <a:gd name="connsiteX2" fmla="*/ 56197 w 88582"/>
                  <a:gd name="connsiteY2" fmla="*/ 3715 h 20955"/>
                  <a:gd name="connsiteX3" fmla="*/ 74295 w 88582"/>
                  <a:gd name="connsiteY3" fmla="*/ 6668 h 20955"/>
                  <a:gd name="connsiteX4" fmla="*/ 88582 w 88582"/>
                  <a:gd name="connsiteY4" fmla="*/ 10478 h 20955"/>
                  <a:gd name="connsiteX5" fmla="*/ 80963 w 88582"/>
                  <a:gd name="connsiteY5" fmla="*/ 14288 h 20955"/>
                  <a:gd name="connsiteX6" fmla="*/ 60007 w 88582"/>
                  <a:gd name="connsiteY6" fmla="*/ 14288 h 20955"/>
                  <a:gd name="connsiteX7" fmla="*/ 45720 w 88582"/>
                  <a:gd name="connsiteY7" fmla="*/ 14288 h 20955"/>
                  <a:gd name="connsiteX8" fmla="*/ 28575 w 88582"/>
                  <a:gd name="connsiteY8" fmla="*/ 14288 h 20955"/>
                  <a:gd name="connsiteX9" fmla="*/ 10478 w 88582"/>
                  <a:gd name="connsiteY9" fmla="*/ 20955 h 20955"/>
                  <a:gd name="connsiteX10" fmla="*/ 0 w 88582"/>
                  <a:gd name="connsiteY10" fmla="*/ 18002 h 20955"/>
                  <a:gd name="connsiteX11" fmla="*/ 7620 w 88582"/>
                  <a:gd name="connsiteY11" fmla="*/ 0 h 20955"/>
                  <a:gd name="connsiteX12" fmla="*/ 14288 w 88582"/>
                  <a:gd name="connsiteY12" fmla="*/ 0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582" h="20955">
                    <a:moveTo>
                      <a:pt x="14288" y="0"/>
                    </a:moveTo>
                    <a:lnTo>
                      <a:pt x="35243" y="0"/>
                    </a:lnTo>
                    <a:lnTo>
                      <a:pt x="56197" y="3715"/>
                    </a:lnTo>
                    <a:lnTo>
                      <a:pt x="74295" y="6668"/>
                    </a:lnTo>
                    <a:lnTo>
                      <a:pt x="88582" y="10478"/>
                    </a:lnTo>
                    <a:lnTo>
                      <a:pt x="80963" y="14288"/>
                    </a:lnTo>
                    <a:lnTo>
                      <a:pt x="60007" y="14288"/>
                    </a:lnTo>
                    <a:lnTo>
                      <a:pt x="45720" y="14288"/>
                    </a:lnTo>
                    <a:lnTo>
                      <a:pt x="28575" y="14288"/>
                    </a:lnTo>
                    <a:lnTo>
                      <a:pt x="10478" y="20955"/>
                    </a:lnTo>
                    <a:lnTo>
                      <a:pt x="0" y="18002"/>
                    </a:lnTo>
                    <a:lnTo>
                      <a:pt x="7620" y="0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1" name="Freeform: Shape 200">
                <a:extLst>
                  <a:ext uri="{FF2B5EF4-FFF2-40B4-BE49-F238E27FC236}">
                    <a16:creationId xmlns:a16="http://schemas.microsoft.com/office/drawing/2014/main" id="{97CCBD32-9605-5E23-2CE8-B38E4D300118}"/>
                  </a:ext>
                </a:extLst>
              </p:cNvPr>
              <p:cNvSpPr/>
              <p:nvPr/>
            </p:nvSpPr>
            <p:spPr>
              <a:xfrm>
                <a:off x="5533525" y="4167444"/>
                <a:ext cx="86836" cy="20542"/>
              </a:xfrm>
              <a:custGeom>
                <a:avLst/>
                <a:gdLst>
                  <a:gd name="connsiteX0" fmla="*/ 14288 w 88582"/>
                  <a:gd name="connsiteY0" fmla="*/ 0 h 20955"/>
                  <a:gd name="connsiteX1" fmla="*/ 35243 w 88582"/>
                  <a:gd name="connsiteY1" fmla="*/ 0 h 20955"/>
                  <a:gd name="connsiteX2" fmla="*/ 56197 w 88582"/>
                  <a:gd name="connsiteY2" fmla="*/ 3715 h 20955"/>
                  <a:gd name="connsiteX3" fmla="*/ 74295 w 88582"/>
                  <a:gd name="connsiteY3" fmla="*/ 6668 h 20955"/>
                  <a:gd name="connsiteX4" fmla="*/ 88582 w 88582"/>
                  <a:gd name="connsiteY4" fmla="*/ 10478 h 20955"/>
                  <a:gd name="connsiteX5" fmla="*/ 80963 w 88582"/>
                  <a:gd name="connsiteY5" fmla="*/ 14288 h 20955"/>
                  <a:gd name="connsiteX6" fmla="*/ 60007 w 88582"/>
                  <a:gd name="connsiteY6" fmla="*/ 14288 h 20955"/>
                  <a:gd name="connsiteX7" fmla="*/ 45720 w 88582"/>
                  <a:gd name="connsiteY7" fmla="*/ 14288 h 20955"/>
                  <a:gd name="connsiteX8" fmla="*/ 28575 w 88582"/>
                  <a:gd name="connsiteY8" fmla="*/ 14288 h 20955"/>
                  <a:gd name="connsiteX9" fmla="*/ 10478 w 88582"/>
                  <a:gd name="connsiteY9" fmla="*/ 20955 h 20955"/>
                  <a:gd name="connsiteX10" fmla="*/ 0 w 88582"/>
                  <a:gd name="connsiteY10" fmla="*/ 18002 h 20955"/>
                  <a:gd name="connsiteX11" fmla="*/ 7620 w 88582"/>
                  <a:gd name="connsiteY11" fmla="*/ 0 h 20955"/>
                  <a:gd name="connsiteX12" fmla="*/ 14288 w 88582"/>
                  <a:gd name="connsiteY12" fmla="*/ 0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582" h="20955">
                    <a:moveTo>
                      <a:pt x="14288" y="0"/>
                    </a:moveTo>
                    <a:lnTo>
                      <a:pt x="35243" y="0"/>
                    </a:lnTo>
                    <a:lnTo>
                      <a:pt x="56197" y="3715"/>
                    </a:lnTo>
                    <a:lnTo>
                      <a:pt x="74295" y="6668"/>
                    </a:lnTo>
                    <a:lnTo>
                      <a:pt x="88582" y="10478"/>
                    </a:lnTo>
                    <a:lnTo>
                      <a:pt x="80963" y="14288"/>
                    </a:lnTo>
                    <a:lnTo>
                      <a:pt x="60007" y="14288"/>
                    </a:lnTo>
                    <a:lnTo>
                      <a:pt x="45720" y="14288"/>
                    </a:lnTo>
                    <a:lnTo>
                      <a:pt x="28575" y="14288"/>
                    </a:lnTo>
                    <a:lnTo>
                      <a:pt x="10478" y="20955"/>
                    </a:lnTo>
                    <a:lnTo>
                      <a:pt x="0" y="18002"/>
                    </a:lnTo>
                    <a:lnTo>
                      <a:pt x="7620" y="0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2" name="Freeform: Shape 201">
                <a:extLst>
                  <a:ext uri="{FF2B5EF4-FFF2-40B4-BE49-F238E27FC236}">
                    <a16:creationId xmlns:a16="http://schemas.microsoft.com/office/drawing/2014/main" id="{5105D8FC-A559-C733-968E-4D12B6FBDEB9}"/>
                  </a:ext>
                </a:extLst>
              </p:cNvPr>
              <p:cNvSpPr/>
              <p:nvPr/>
            </p:nvSpPr>
            <p:spPr>
              <a:xfrm>
                <a:off x="5533525" y="4167444"/>
                <a:ext cx="86836" cy="20542"/>
              </a:xfrm>
              <a:custGeom>
                <a:avLst/>
                <a:gdLst>
                  <a:gd name="connsiteX0" fmla="*/ 14288 w 88582"/>
                  <a:gd name="connsiteY0" fmla="*/ 0 h 20955"/>
                  <a:gd name="connsiteX1" fmla="*/ 35243 w 88582"/>
                  <a:gd name="connsiteY1" fmla="*/ 0 h 20955"/>
                  <a:gd name="connsiteX2" fmla="*/ 56197 w 88582"/>
                  <a:gd name="connsiteY2" fmla="*/ 3715 h 20955"/>
                  <a:gd name="connsiteX3" fmla="*/ 74295 w 88582"/>
                  <a:gd name="connsiteY3" fmla="*/ 6668 h 20955"/>
                  <a:gd name="connsiteX4" fmla="*/ 88582 w 88582"/>
                  <a:gd name="connsiteY4" fmla="*/ 10478 h 20955"/>
                  <a:gd name="connsiteX5" fmla="*/ 80963 w 88582"/>
                  <a:gd name="connsiteY5" fmla="*/ 14288 h 20955"/>
                  <a:gd name="connsiteX6" fmla="*/ 60007 w 88582"/>
                  <a:gd name="connsiteY6" fmla="*/ 14288 h 20955"/>
                  <a:gd name="connsiteX7" fmla="*/ 45720 w 88582"/>
                  <a:gd name="connsiteY7" fmla="*/ 14288 h 20955"/>
                  <a:gd name="connsiteX8" fmla="*/ 28575 w 88582"/>
                  <a:gd name="connsiteY8" fmla="*/ 14288 h 20955"/>
                  <a:gd name="connsiteX9" fmla="*/ 10478 w 88582"/>
                  <a:gd name="connsiteY9" fmla="*/ 20955 h 20955"/>
                  <a:gd name="connsiteX10" fmla="*/ 0 w 88582"/>
                  <a:gd name="connsiteY10" fmla="*/ 18002 h 20955"/>
                  <a:gd name="connsiteX11" fmla="*/ 7620 w 88582"/>
                  <a:gd name="connsiteY11" fmla="*/ 0 h 20955"/>
                  <a:gd name="connsiteX12" fmla="*/ 14288 w 88582"/>
                  <a:gd name="connsiteY12" fmla="*/ 0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8582" h="20955">
                    <a:moveTo>
                      <a:pt x="14288" y="0"/>
                    </a:moveTo>
                    <a:lnTo>
                      <a:pt x="35243" y="0"/>
                    </a:lnTo>
                    <a:lnTo>
                      <a:pt x="56197" y="3715"/>
                    </a:lnTo>
                    <a:lnTo>
                      <a:pt x="74295" y="6668"/>
                    </a:lnTo>
                    <a:lnTo>
                      <a:pt x="88582" y="10478"/>
                    </a:lnTo>
                    <a:lnTo>
                      <a:pt x="80963" y="14288"/>
                    </a:lnTo>
                    <a:lnTo>
                      <a:pt x="60007" y="14288"/>
                    </a:lnTo>
                    <a:lnTo>
                      <a:pt x="45720" y="14288"/>
                    </a:lnTo>
                    <a:lnTo>
                      <a:pt x="28575" y="14288"/>
                    </a:lnTo>
                    <a:lnTo>
                      <a:pt x="10478" y="20955"/>
                    </a:lnTo>
                    <a:lnTo>
                      <a:pt x="0" y="18002"/>
                    </a:lnTo>
                    <a:lnTo>
                      <a:pt x="7620" y="0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3" name="Freeform: Shape 202">
                <a:extLst>
                  <a:ext uri="{FF2B5EF4-FFF2-40B4-BE49-F238E27FC236}">
                    <a16:creationId xmlns:a16="http://schemas.microsoft.com/office/drawing/2014/main" id="{4B26C357-F723-AB22-4D7E-26FA8D30FD0D}"/>
                  </a:ext>
                </a:extLst>
              </p:cNvPr>
              <p:cNvSpPr/>
              <p:nvPr/>
            </p:nvSpPr>
            <p:spPr>
              <a:xfrm>
                <a:off x="5526990" y="4084342"/>
                <a:ext cx="158733" cy="121385"/>
              </a:xfrm>
              <a:custGeom>
                <a:avLst/>
                <a:gdLst>
                  <a:gd name="connsiteX0" fmla="*/ 3810 w 161925"/>
                  <a:gd name="connsiteY0" fmla="*/ 59912 h 123825"/>
                  <a:gd name="connsiteX1" fmla="*/ 0 w 161925"/>
                  <a:gd name="connsiteY1" fmla="*/ 49435 h 123825"/>
                  <a:gd name="connsiteX2" fmla="*/ 10478 w 161925"/>
                  <a:gd name="connsiteY2" fmla="*/ 35147 h 123825"/>
                  <a:gd name="connsiteX3" fmla="*/ 20955 w 161925"/>
                  <a:gd name="connsiteY3" fmla="*/ 20860 h 123825"/>
                  <a:gd name="connsiteX4" fmla="*/ 24765 w 161925"/>
                  <a:gd name="connsiteY4" fmla="*/ 3810 h 123825"/>
                  <a:gd name="connsiteX5" fmla="*/ 49530 w 161925"/>
                  <a:gd name="connsiteY5" fmla="*/ 0 h 123825"/>
                  <a:gd name="connsiteX6" fmla="*/ 74295 w 161925"/>
                  <a:gd name="connsiteY6" fmla="*/ 0 h 123825"/>
                  <a:gd name="connsiteX7" fmla="*/ 95250 w 161925"/>
                  <a:gd name="connsiteY7" fmla="*/ 10478 h 123825"/>
                  <a:gd name="connsiteX8" fmla="*/ 109538 w 161925"/>
                  <a:gd name="connsiteY8" fmla="*/ 20860 h 123825"/>
                  <a:gd name="connsiteX9" fmla="*/ 122873 w 161925"/>
                  <a:gd name="connsiteY9" fmla="*/ 42863 h 123825"/>
                  <a:gd name="connsiteX10" fmla="*/ 140970 w 161925"/>
                  <a:gd name="connsiteY10" fmla="*/ 56197 h 123825"/>
                  <a:gd name="connsiteX11" fmla="*/ 143828 w 161925"/>
                  <a:gd name="connsiteY11" fmla="*/ 67628 h 123825"/>
                  <a:gd name="connsiteX12" fmla="*/ 147638 w 161925"/>
                  <a:gd name="connsiteY12" fmla="*/ 88487 h 123825"/>
                  <a:gd name="connsiteX13" fmla="*/ 158115 w 161925"/>
                  <a:gd name="connsiteY13" fmla="*/ 102775 h 123825"/>
                  <a:gd name="connsiteX14" fmla="*/ 161925 w 161925"/>
                  <a:gd name="connsiteY14" fmla="*/ 116110 h 123825"/>
                  <a:gd name="connsiteX15" fmla="*/ 161925 w 161925"/>
                  <a:gd name="connsiteY15" fmla="*/ 123825 h 123825"/>
                  <a:gd name="connsiteX16" fmla="*/ 122873 w 161925"/>
                  <a:gd name="connsiteY16" fmla="*/ 120015 h 123825"/>
                  <a:gd name="connsiteX17" fmla="*/ 112395 w 161925"/>
                  <a:gd name="connsiteY17" fmla="*/ 113347 h 123825"/>
                  <a:gd name="connsiteX18" fmla="*/ 101918 w 161925"/>
                  <a:gd name="connsiteY18" fmla="*/ 113347 h 123825"/>
                  <a:gd name="connsiteX19" fmla="*/ 87630 w 161925"/>
                  <a:gd name="connsiteY19" fmla="*/ 113347 h 123825"/>
                  <a:gd name="connsiteX20" fmla="*/ 66675 w 161925"/>
                  <a:gd name="connsiteY20" fmla="*/ 113347 h 123825"/>
                  <a:gd name="connsiteX21" fmla="*/ 56198 w 161925"/>
                  <a:gd name="connsiteY21" fmla="*/ 113347 h 123825"/>
                  <a:gd name="connsiteX22" fmla="*/ 49530 w 161925"/>
                  <a:gd name="connsiteY22" fmla="*/ 120015 h 123825"/>
                  <a:gd name="connsiteX23" fmla="*/ 17145 w 161925"/>
                  <a:gd name="connsiteY23" fmla="*/ 123825 h 123825"/>
                  <a:gd name="connsiteX24" fmla="*/ 17145 w 161925"/>
                  <a:gd name="connsiteY24" fmla="*/ 105728 h 123825"/>
                  <a:gd name="connsiteX25" fmla="*/ 35243 w 161925"/>
                  <a:gd name="connsiteY25" fmla="*/ 99060 h 123825"/>
                  <a:gd name="connsiteX26" fmla="*/ 52388 w 161925"/>
                  <a:gd name="connsiteY26" fmla="*/ 99060 h 123825"/>
                  <a:gd name="connsiteX27" fmla="*/ 66675 w 161925"/>
                  <a:gd name="connsiteY27" fmla="*/ 99060 h 123825"/>
                  <a:gd name="connsiteX28" fmla="*/ 87630 w 161925"/>
                  <a:gd name="connsiteY28" fmla="*/ 99060 h 123825"/>
                  <a:gd name="connsiteX29" fmla="*/ 95250 w 161925"/>
                  <a:gd name="connsiteY29" fmla="*/ 95250 h 123825"/>
                  <a:gd name="connsiteX30" fmla="*/ 70485 w 161925"/>
                  <a:gd name="connsiteY30" fmla="*/ 88487 h 123825"/>
                  <a:gd name="connsiteX31" fmla="*/ 62865 w 161925"/>
                  <a:gd name="connsiteY31" fmla="*/ 88487 h 123825"/>
                  <a:gd name="connsiteX32" fmla="*/ 39053 w 161925"/>
                  <a:gd name="connsiteY32" fmla="*/ 84772 h 123825"/>
                  <a:gd name="connsiteX33" fmla="*/ 20955 w 161925"/>
                  <a:gd name="connsiteY33" fmla="*/ 84772 h 123825"/>
                  <a:gd name="connsiteX34" fmla="*/ 14288 w 161925"/>
                  <a:gd name="connsiteY34" fmla="*/ 84772 h 123825"/>
                  <a:gd name="connsiteX35" fmla="*/ 6668 w 161925"/>
                  <a:gd name="connsiteY35" fmla="*/ 70485 h 123825"/>
                  <a:gd name="connsiteX36" fmla="*/ 3810 w 161925"/>
                  <a:gd name="connsiteY36" fmla="*/ 59912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61925" h="123825">
                    <a:moveTo>
                      <a:pt x="3810" y="59912"/>
                    </a:moveTo>
                    <a:lnTo>
                      <a:pt x="0" y="49435"/>
                    </a:lnTo>
                    <a:lnTo>
                      <a:pt x="10478" y="35147"/>
                    </a:lnTo>
                    <a:lnTo>
                      <a:pt x="20955" y="20860"/>
                    </a:lnTo>
                    <a:lnTo>
                      <a:pt x="24765" y="3810"/>
                    </a:lnTo>
                    <a:lnTo>
                      <a:pt x="49530" y="0"/>
                    </a:lnTo>
                    <a:lnTo>
                      <a:pt x="74295" y="0"/>
                    </a:lnTo>
                    <a:lnTo>
                      <a:pt x="95250" y="10478"/>
                    </a:lnTo>
                    <a:lnTo>
                      <a:pt x="109538" y="20860"/>
                    </a:lnTo>
                    <a:lnTo>
                      <a:pt x="122873" y="42863"/>
                    </a:lnTo>
                    <a:lnTo>
                      <a:pt x="140970" y="56197"/>
                    </a:lnTo>
                    <a:lnTo>
                      <a:pt x="143828" y="67628"/>
                    </a:lnTo>
                    <a:lnTo>
                      <a:pt x="147638" y="88487"/>
                    </a:lnTo>
                    <a:lnTo>
                      <a:pt x="158115" y="102775"/>
                    </a:lnTo>
                    <a:lnTo>
                      <a:pt x="161925" y="116110"/>
                    </a:lnTo>
                    <a:lnTo>
                      <a:pt x="161925" y="123825"/>
                    </a:lnTo>
                    <a:lnTo>
                      <a:pt x="122873" y="120015"/>
                    </a:lnTo>
                    <a:lnTo>
                      <a:pt x="112395" y="113347"/>
                    </a:lnTo>
                    <a:lnTo>
                      <a:pt x="101918" y="113347"/>
                    </a:lnTo>
                    <a:lnTo>
                      <a:pt x="87630" y="113347"/>
                    </a:lnTo>
                    <a:lnTo>
                      <a:pt x="66675" y="113347"/>
                    </a:lnTo>
                    <a:lnTo>
                      <a:pt x="56198" y="113347"/>
                    </a:lnTo>
                    <a:lnTo>
                      <a:pt x="49530" y="120015"/>
                    </a:lnTo>
                    <a:lnTo>
                      <a:pt x="17145" y="123825"/>
                    </a:lnTo>
                    <a:lnTo>
                      <a:pt x="17145" y="105728"/>
                    </a:lnTo>
                    <a:lnTo>
                      <a:pt x="35243" y="99060"/>
                    </a:lnTo>
                    <a:lnTo>
                      <a:pt x="52388" y="99060"/>
                    </a:lnTo>
                    <a:lnTo>
                      <a:pt x="66675" y="99060"/>
                    </a:lnTo>
                    <a:lnTo>
                      <a:pt x="87630" y="99060"/>
                    </a:lnTo>
                    <a:lnTo>
                      <a:pt x="95250" y="95250"/>
                    </a:lnTo>
                    <a:lnTo>
                      <a:pt x="70485" y="88487"/>
                    </a:lnTo>
                    <a:lnTo>
                      <a:pt x="62865" y="88487"/>
                    </a:lnTo>
                    <a:lnTo>
                      <a:pt x="39053" y="84772"/>
                    </a:lnTo>
                    <a:lnTo>
                      <a:pt x="20955" y="84772"/>
                    </a:lnTo>
                    <a:lnTo>
                      <a:pt x="14288" y="84772"/>
                    </a:lnTo>
                    <a:lnTo>
                      <a:pt x="6668" y="70485"/>
                    </a:lnTo>
                    <a:lnTo>
                      <a:pt x="3810" y="5991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4" name="Freeform: Shape 203">
                <a:extLst>
                  <a:ext uri="{FF2B5EF4-FFF2-40B4-BE49-F238E27FC236}">
                    <a16:creationId xmlns:a16="http://schemas.microsoft.com/office/drawing/2014/main" id="{B6FD5B10-197A-A328-0F04-DD6A9D65ADD4}"/>
                  </a:ext>
                </a:extLst>
              </p:cNvPr>
              <p:cNvSpPr/>
              <p:nvPr/>
            </p:nvSpPr>
            <p:spPr>
              <a:xfrm>
                <a:off x="5526990" y="4084342"/>
                <a:ext cx="158733" cy="121385"/>
              </a:xfrm>
              <a:custGeom>
                <a:avLst/>
                <a:gdLst>
                  <a:gd name="connsiteX0" fmla="*/ 3810 w 161925"/>
                  <a:gd name="connsiteY0" fmla="*/ 59912 h 123825"/>
                  <a:gd name="connsiteX1" fmla="*/ 0 w 161925"/>
                  <a:gd name="connsiteY1" fmla="*/ 49435 h 123825"/>
                  <a:gd name="connsiteX2" fmla="*/ 10478 w 161925"/>
                  <a:gd name="connsiteY2" fmla="*/ 35147 h 123825"/>
                  <a:gd name="connsiteX3" fmla="*/ 20955 w 161925"/>
                  <a:gd name="connsiteY3" fmla="*/ 20860 h 123825"/>
                  <a:gd name="connsiteX4" fmla="*/ 24765 w 161925"/>
                  <a:gd name="connsiteY4" fmla="*/ 3810 h 123825"/>
                  <a:gd name="connsiteX5" fmla="*/ 49530 w 161925"/>
                  <a:gd name="connsiteY5" fmla="*/ 0 h 123825"/>
                  <a:gd name="connsiteX6" fmla="*/ 74295 w 161925"/>
                  <a:gd name="connsiteY6" fmla="*/ 0 h 123825"/>
                  <a:gd name="connsiteX7" fmla="*/ 95250 w 161925"/>
                  <a:gd name="connsiteY7" fmla="*/ 10478 h 123825"/>
                  <a:gd name="connsiteX8" fmla="*/ 109538 w 161925"/>
                  <a:gd name="connsiteY8" fmla="*/ 20860 h 123825"/>
                  <a:gd name="connsiteX9" fmla="*/ 122873 w 161925"/>
                  <a:gd name="connsiteY9" fmla="*/ 42863 h 123825"/>
                  <a:gd name="connsiteX10" fmla="*/ 140970 w 161925"/>
                  <a:gd name="connsiteY10" fmla="*/ 56197 h 123825"/>
                  <a:gd name="connsiteX11" fmla="*/ 143828 w 161925"/>
                  <a:gd name="connsiteY11" fmla="*/ 67628 h 123825"/>
                  <a:gd name="connsiteX12" fmla="*/ 147638 w 161925"/>
                  <a:gd name="connsiteY12" fmla="*/ 88487 h 123825"/>
                  <a:gd name="connsiteX13" fmla="*/ 158115 w 161925"/>
                  <a:gd name="connsiteY13" fmla="*/ 102775 h 123825"/>
                  <a:gd name="connsiteX14" fmla="*/ 161925 w 161925"/>
                  <a:gd name="connsiteY14" fmla="*/ 116110 h 123825"/>
                  <a:gd name="connsiteX15" fmla="*/ 161925 w 161925"/>
                  <a:gd name="connsiteY15" fmla="*/ 123825 h 123825"/>
                  <a:gd name="connsiteX16" fmla="*/ 122873 w 161925"/>
                  <a:gd name="connsiteY16" fmla="*/ 120015 h 123825"/>
                  <a:gd name="connsiteX17" fmla="*/ 112395 w 161925"/>
                  <a:gd name="connsiteY17" fmla="*/ 113347 h 123825"/>
                  <a:gd name="connsiteX18" fmla="*/ 101918 w 161925"/>
                  <a:gd name="connsiteY18" fmla="*/ 113347 h 123825"/>
                  <a:gd name="connsiteX19" fmla="*/ 87630 w 161925"/>
                  <a:gd name="connsiteY19" fmla="*/ 113347 h 123825"/>
                  <a:gd name="connsiteX20" fmla="*/ 66675 w 161925"/>
                  <a:gd name="connsiteY20" fmla="*/ 113347 h 123825"/>
                  <a:gd name="connsiteX21" fmla="*/ 56198 w 161925"/>
                  <a:gd name="connsiteY21" fmla="*/ 113347 h 123825"/>
                  <a:gd name="connsiteX22" fmla="*/ 49530 w 161925"/>
                  <a:gd name="connsiteY22" fmla="*/ 120015 h 123825"/>
                  <a:gd name="connsiteX23" fmla="*/ 17145 w 161925"/>
                  <a:gd name="connsiteY23" fmla="*/ 123825 h 123825"/>
                  <a:gd name="connsiteX24" fmla="*/ 17145 w 161925"/>
                  <a:gd name="connsiteY24" fmla="*/ 105728 h 123825"/>
                  <a:gd name="connsiteX25" fmla="*/ 35243 w 161925"/>
                  <a:gd name="connsiteY25" fmla="*/ 99060 h 123825"/>
                  <a:gd name="connsiteX26" fmla="*/ 52388 w 161925"/>
                  <a:gd name="connsiteY26" fmla="*/ 99060 h 123825"/>
                  <a:gd name="connsiteX27" fmla="*/ 66675 w 161925"/>
                  <a:gd name="connsiteY27" fmla="*/ 99060 h 123825"/>
                  <a:gd name="connsiteX28" fmla="*/ 87630 w 161925"/>
                  <a:gd name="connsiteY28" fmla="*/ 99060 h 123825"/>
                  <a:gd name="connsiteX29" fmla="*/ 95250 w 161925"/>
                  <a:gd name="connsiteY29" fmla="*/ 95250 h 123825"/>
                  <a:gd name="connsiteX30" fmla="*/ 70485 w 161925"/>
                  <a:gd name="connsiteY30" fmla="*/ 88487 h 123825"/>
                  <a:gd name="connsiteX31" fmla="*/ 62865 w 161925"/>
                  <a:gd name="connsiteY31" fmla="*/ 88487 h 123825"/>
                  <a:gd name="connsiteX32" fmla="*/ 39053 w 161925"/>
                  <a:gd name="connsiteY32" fmla="*/ 84772 h 123825"/>
                  <a:gd name="connsiteX33" fmla="*/ 20955 w 161925"/>
                  <a:gd name="connsiteY33" fmla="*/ 84772 h 123825"/>
                  <a:gd name="connsiteX34" fmla="*/ 14288 w 161925"/>
                  <a:gd name="connsiteY34" fmla="*/ 84772 h 123825"/>
                  <a:gd name="connsiteX35" fmla="*/ 6668 w 161925"/>
                  <a:gd name="connsiteY35" fmla="*/ 70485 h 123825"/>
                  <a:gd name="connsiteX36" fmla="*/ 3810 w 161925"/>
                  <a:gd name="connsiteY36" fmla="*/ 59912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61925" h="123825">
                    <a:moveTo>
                      <a:pt x="3810" y="59912"/>
                    </a:moveTo>
                    <a:lnTo>
                      <a:pt x="0" y="49435"/>
                    </a:lnTo>
                    <a:lnTo>
                      <a:pt x="10478" y="35147"/>
                    </a:lnTo>
                    <a:lnTo>
                      <a:pt x="20955" y="20860"/>
                    </a:lnTo>
                    <a:lnTo>
                      <a:pt x="24765" y="3810"/>
                    </a:lnTo>
                    <a:lnTo>
                      <a:pt x="49530" y="0"/>
                    </a:lnTo>
                    <a:lnTo>
                      <a:pt x="74295" y="0"/>
                    </a:lnTo>
                    <a:lnTo>
                      <a:pt x="95250" y="10478"/>
                    </a:lnTo>
                    <a:lnTo>
                      <a:pt x="109538" y="20860"/>
                    </a:lnTo>
                    <a:lnTo>
                      <a:pt x="122873" y="42863"/>
                    </a:lnTo>
                    <a:lnTo>
                      <a:pt x="140970" y="56197"/>
                    </a:lnTo>
                    <a:lnTo>
                      <a:pt x="143828" y="67628"/>
                    </a:lnTo>
                    <a:lnTo>
                      <a:pt x="147638" y="88487"/>
                    </a:lnTo>
                    <a:lnTo>
                      <a:pt x="158115" y="102775"/>
                    </a:lnTo>
                    <a:lnTo>
                      <a:pt x="161925" y="116110"/>
                    </a:lnTo>
                    <a:lnTo>
                      <a:pt x="161925" y="123825"/>
                    </a:lnTo>
                    <a:lnTo>
                      <a:pt x="122873" y="120015"/>
                    </a:lnTo>
                    <a:lnTo>
                      <a:pt x="112395" y="113347"/>
                    </a:lnTo>
                    <a:lnTo>
                      <a:pt x="101918" y="113347"/>
                    </a:lnTo>
                    <a:lnTo>
                      <a:pt x="87630" y="113347"/>
                    </a:lnTo>
                    <a:lnTo>
                      <a:pt x="66675" y="113347"/>
                    </a:lnTo>
                    <a:lnTo>
                      <a:pt x="56198" y="113347"/>
                    </a:lnTo>
                    <a:lnTo>
                      <a:pt x="49530" y="120015"/>
                    </a:lnTo>
                    <a:lnTo>
                      <a:pt x="17145" y="123825"/>
                    </a:lnTo>
                    <a:lnTo>
                      <a:pt x="17145" y="105728"/>
                    </a:lnTo>
                    <a:lnTo>
                      <a:pt x="35243" y="99060"/>
                    </a:lnTo>
                    <a:lnTo>
                      <a:pt x="52388" y="99060"/>
                    </a:lnTo>
                    <a:lnTo>
                      <a:pt x="66675" y="99060"/>
                    </a:lnTo>
                    <a:lnTo>
                      <a:pt x="87630" y="99060"/>
                    </a:lnTo>
                    <a:lnTo>
                      <a:pt x="95250" y="95250"/>
                    </a:lnTo>
                    <a:lnTo>
                      <a:pt x="70485" y="88487"/>
                    </a:lnTo>
                    <a:lnTo>
                      <a:pt x="62865" y="88487"/>
                    </a:lnTo>
                    <a:lnTo>
                      <a:pt x="39053" y="84772"/>
                    </a:lnTo>
                    <a:lnTo>
                      <a:pt x="20955" y="84772"/>
                    </a:lnTo>
                    <a:lnTo>
                      <a:pt x="14288" y="84772"/>
                    </a:lnTo>
                    <a:lnTo>
                      <a:pt x="6668" y="70485"/>
                    </a:lnTo>
                    <a:lnTo>
                      <a:pt x="3810" y="5991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5" name="Freeform: Shape 204">
                <a:extLst>
                  <a:ext uri="{FF2B5EF4-FFF2-40B4-BE49-F238E27FC236}">
                    <a16:creationId xmlns:a16="http://schemas.microsoft.com/office/drawing/2014/main" id="{B4621B1D-65D5-56F6-B33D-67D9140FE562}"/>
                  </a:ext>
                </a:extLst>
              </p:cNvPr>
              <p:cNvSpPr/>
              <p:nvPr/>
            </p:nvSpPr>
            <p:spPr>
              <a:xfrm>
                <a:off x="7192754" y="3344733"/>
                <a:ext cx="89637" cy="75725"/>
              </a:xfrm>
              <a:custGeom>
                <a:avLst/>
                <a:gdLst>
                  <a:gd name="connsiteX0" fmla="*/ 0 w 91439"/>
                  <a:gd name="connsiteY0" fmla="*/ 10573 h 77247"/>
                  <a:gd name="connsiteX1" fmla="*/ 10477 w 91439"/>
                  <a:gd name="connsiteY1" fmla="*/ 6763 h 77247"/>
                  <a:gd name="connsiteX2" fmla="*/ 27622 w 91439"/>
                  <a:gd name="connsiteY2" fmla="*/ 0 h 77247"/>
                  <a:gd name="connsiteX3" fmla="*/ 41910 w 91439"/>
                  <a:gd name="connsiteY3" fmla="*/ 0 h 77247"/>
                  <a:gd name="connsiteX4" fmla="*/ 49530 w 91439"/>
                  <a:gd name="connsiteY4" fmla="*/ 6763 h 77247"/>
                  <a:gd name="connsiteX5" fmla="*/ 52388 w 91439"/>
                  <a:gd name="connsiteY5" fmla="*/ 17145 h 77247"/>
                  <a:gd name="connsiteX6" fmla="*/ 56197 w 91439"/>
                  <a:gd name="connsiteY6" fmla="*/ 31433 h 77247"/>
                  <a:gd name="connsiteX7" fmla="*/ 62865 w 91439"/>
                  <a:gd name="connsiteY7" fmla="*/ 42005 h 77247"/>
                  <a:gd name="connsiteX8" fmla="*/ 70485 w 91439"/>
                  <a:gd name="connsiteY8" fmla="*/ 49625 h 77247"/>
                  <a:gd name="connsiteX9" fmla="*/ 80963 w 91439"/>
                  <a:gd name="connsiteY9" fmla="*/ 52388 h 77247"/>
                  <a:gd name="connsiteX10" fmla="*/ 87630 w 91439"/>
                  <a:gd name="connsiteY10" fmla="*/ 60008 h 77247"/>
                  <a:gd name="connsiteX11" fmla="*/ 91440 w 91439"/>
                  <a:gd name="connsiteY11" fmla="*/ 66675 h 77247"/>
                  <a:gd name="connsiteX12" fmla="*/ 87630 w 91439"/>
                  <a:gd name="connsiteY12" fmla="*/ 77248 h 77247"/>
                  <a:gd name="connsiteX13" fmla="*/ 74295 w 91439"/>
                  <a:gd name="connsiteY13" fmla="*/ 74295 h 77247"/>
                  <a:gd name="connsiteX14" fmla="*/ 70485 w 91439"/>
                  <a:gd name="connsiteY14" fmla="*/ 60008 h 77247"/>
                  <a:gd name="connsiteX15" fmla="*/ 60007 w 91439"/>
                  <a:gd name="connsiteY15" fmla="*/ 56293 h 77247"/>
                  <a:gd name="connsiteX16" fmla="*/ 49530 w 91439"/>
                  <a:gd name="connsiteY16" fmla="*/ 49625 h 77247"/>
                  <a:gd name="connsiteX17" fmla="*/ 35243 w 91439"/>
                  <a:gd name="connsiteY17" fmla="*/ 49625 h 77247"/>
                  <a:gd name="connsiteX18" fmla="*/ 31432 w 91439"/>
                  <a:gd name="connsiteY18" fmla="*/ 56293 h 77247"/>
                  <a:gd name="connsiteX19" fmla="*/ 20955 w 91439"/>
                  <a:gd name="connsiteY19" fmla="*/ 49625 h 77247"/>
                  <a:gd name="connsiteX20" fmla="*/ 0 w 91439"/>
                  <a:gd name="connsiteY20" fmla="*/ 49625 h 77247"/>
                  <a:gd name="connsiteX21" fmla="*/ 0 w 91439"/>
                  <a:gd name="connsiteY21" fmla="*/ 28575 h 77247"/>
                  <a:gd name="connsiteX22" fmla="*/ 0 w 91439"/>
                  <a:gd name="connsiteY22" fmla="*/ 10573 h 77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1439" h="77247">
                    <a:moveTo>
                      <a:pt x="0" y="10573"/>
                    </a:moveTo>
                    <a:lnTo>
                      <a:pt x="10477" y="6763"/>
                    </a:lnTo>
                    <a:lnTo>
                      <a:pt x="27622" y="0"/>
                    </a:lnTo>
                    <a:lnTo>
                      <a:pt x="41910" y="0"/>
                    </a:lnTo>
                    <a:lnTo>
                      <a:pt x="49530" y="6763"/>
                    </a:lnTo>
                    <a:lnTo>
                      <a:pt x="52388" y="17145"/>
                    </a:lnTo>
                    <a:lnTo>
                      <a:pt x="56197" y="31433"/>
                    </a:lnTo>
                    <a:lnTo>
                      <a:pt x="62865" y="42005"/>
                    </a:lnTo>
                    <a:lnTo>
                      <a:pt x="70485" y="49625"/>
                    </a:lnTo>
                    <a:lnTo>
                      <a:pt x="80963" y="52388"/>
                    </a:lnTo>
                    <a:lnTo>
                      <a:pt x="87630" y="60008"/>
                    </a:lnTo>
                    <a:lnTo>
                      <a:pt x="91440" y="66675"/>
                    </a:lnTo>
                    <a:lnTo>
                      <a:pt x="87630" y="77248"/>
                    </a:lnTo>
                    <a:lnTo>
                      <a:pt x="74295" y="74295"/>
                    </a:lnTo>
                    <a:lnTo>
                      <a:pt x="70485" y="60008"/>
                    </a:lnTo>
                    <a:lnTo>
                      <a:pt x="60007" y="56293"/>
                    </a:lnTo>
                    <a:lnTo>
                      <a:pt x="49530" y="49625"/>
                    </a:lnTo>
                    <a:lnTo>
                      <a:pt x="35243" y="49625"/>
                    </a:lnTo>
                    <a:lnTo>
                      <a:pt x="31432" y="56293"/>
                    </a:lnTo>
                    <a:lnTo>
                      <a:pt x="20955" y="49625"/>
                    </a:lnTo>
                    <a:lnTo>
                      <a:pt x="0" y="49625"/>
                    </a:lnTo>
                    <a:lnTo>
                      <a:pt x="0" y="28575"/>
                    </a:lnTo>
                    <a:lnTo>
                      <a:pt x="0" y="1057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6" name="Freeform: Shape 205">
                <a:extLst>
                  <a:ext uri="{FF2B5EF4-FFF2-40B4-BE49-F238E27FC236}">
                    <a16:creationId xmlns:a16="http://schemas.microsoft.com/office/drawing/2014/main" id="{37BCE460-C5AD-7975-741C-AA6B91DAE1E6}"/>
                  </a:ext>
                </a:extLst>
              </p:cNvPr>
              <p:cNvSpPr/>
              <p:nvPr/>
            </p:nvSpPr>
            <p:spPr>
              <a:xfrm>
                <a:off x="7192754" y="3344733"/>
                <a:ext cx="89637" cy="75725"/>
              </a:xfrm>
              <a:custGeom>
                <a:avLst/>
                <a:gdLst>
                  <a:gd name="connsiteX0" fmla="*/ 0 w 91439"/>
                  <a:gd name="connsiteY0" fmla="*/ 10573 h 77247"/>
                  <a:gd name="connsiteX1" fmla="*/ 10477 w 91439"/>
                  <a:gd name="connsiteY1" fmla="*/ 6763 h 77247"/>
                  <a:gd name="connsiteX2" fmla="*/ 27622 w 91439"/>
                  <a:gd name="connsiteY2" fmla="*/ 0 h 77247"/>
                  <a:gd name="connsiteX3" fmla="*/ 41910 w 91439"/>
                  <a:gd name="connsiteY3" fmla="*/ 0 h 77247"/>
                  <a:gd name="connsiteX4" fmla="*/ 49530 w 91439"/>
                  <a:gd name="connsiteY4" fmla="*/ 6763 h 77247"/>
                  <a:gd name="connsiteX5" fmla="*/ 52388 w 91439"/>
                  <a:gd name="connsiteY5" fmla="*/ 17145 h 77247"/>
                  <a:gd name="connsiteX6" fmla="*/ 56197 w 91439"/>
                  <a:gd name="connsiteY6" fmla="*/ 31433 h 77247"/>
                  <a:gd name="connsiteX7" fmla="*/ 62865 w 91439"/>
                  <a:gd name="connsiteY7" fmla="*/ 42005 h 77247"/>
                  <a:gd name="connsiteX8" fmla="*/ 70485 w 91439"/>
                  <a:gd name="connsiteY8" fmla="*/ 49625 h 77247"/>
                  <a:gd name="connsiteX9" fmla="*/ 80963 w 91439"/>
                  <a:gd name="connsiteY9" fmla="*/ 52388 h 77247"/>
                  <a:gd name="connsiteX10" fmla="*/ 87630 w 91439"/>
                  <a:gd name="connsiteY10" fmla="*/ 60008 h 77247"/>
                  <a:gd name="connsiteX11" fmla="*/ 91440 w 91439"/>
                  <a:gd name="connsiteY11" fmla="*/ 66675 h 77247"/>
                  <a:gd name="connsiteX12" fmla="*/ 87630 w 91439"/>
                  <a:gd name="connsiteY12" fmla="*/ 77248 h 77247"/>
                  <a:gd name="connsiteX13" fmla="*/ 74295 w 91439"/>
                  <a:gd name="connsiteY13" fmla="*/ 74295 h 77247"/>
                  <a:gd name="connsiteX14" fmla="*/ 70485 w 91439"/>
                  <a:gd name="connsiteY14" fmla="*/ 60008 h 77247"/>
                  <a:gd name="connsiteX15" fmla="*/ 60007 w 91439"/>
                  <a:gd name="connsiteY15" fmla="*/ 56293 h 77247"/>
                  <a:gd name="connsiteX16" fmla="*/ 49530 w 91439"/>
                  <a:gd name="connsiteY16" fmla="*/ 49625 h 77247"/>
                  <a:gd name="connsiteX17" fmla="*/ 35243 w 91439"/>
                  <a:gd name="connsiteY17" fmla="*/ 49625 h 77247"/>
                  <a:gd name="connsiteX18" fmla="*/ 31432 w 91439"/>
                  <a:gd name="connsiteY18" fmla="*/ 56293 h 77247"/>
                  <a:gd name="connsiteX19" fmla="*/ 20955 w 91439"/>
                  <a:gd name="connsiteY19" fmla="*/ 49625 h 77247"/>
                  <a:gd name="connsiteX20" fmla="*/ 0 w 91439"/>
                  <a:gd name="connsiteY20" fmla="*/ 49625 h 77247"/>
                  <a:gd name="connsiteX21" fmla="*/ 0 w 91439"/>
                  <a:gd name="connsiteY21" fmla="*/ 28575 h 77247"/>
                  <a:gd name="connsiteX22" fmla="*/ 0 w 91439"/>
                  <a:gd name="connsiteY22" fmla="*/ 10573 h 77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91439" h="77247">
                    <a:moveTo>
                      <a:pt x="0" y="10573"/>
                    </a:moveTo>
                    <a:lnTo>
                      <a:pt x="10477" y="6763"/>
                    </a:lnTo>
                    <a:lnTo>
                      <a:pt x="27622" y="0"/>
                    </a:lnTo>
                    <a:lnTo>
                      <a:pt x="41910" y="0"/>
                    </a:lnTo>
                    <a:lnTo>
                      <a:pt x="49530" y="6763"/>
                    </a:lnTo>
                    <a:lnTo>
                      <a:pt x="52388" y="17145"/>
                    </a:lnTo>
                    <a:lnTo>
                      <a:pt x="56197" y="31433"/>
                    </a:lnTo>
                    <a:lnTo>
                      <a:pt x="62865" y="42005"/>
                    </a:lnTo>
                    <a:lnTo>
                      <a:pt x="70485" y="49625"/>
                    </a:lnTo>
                    <a:lnTo>
                      <a:pt x="80963" y="52388"/>
                    </a:lnTo>
                    <a:lnTo>
                      <a:pt x="87630" y="60008"/>
                    </a:lnTo>
                    <a:lnTo>
                      <a:pt x="91440" y="66675"/>
                    </a:lnTo>
                    <a:lnTo>
                      <a:pt x="87630" y="77248"/>
                    </a:lnTo>
                    <a:lnTo>
                      <a:pt x="74295" y="74295"/>
                    </a:lnTo>
                    <a:lnTo>
                      <a:pt x="70485" y="60008"/>
                    </a:lnTo>
                    <a:lnTo>
                      <a:pt x="60007" y="56293"/>
                    </a:lnTo>
                    <a:lnTo>
                      <a:pt x="49530" y="49625"/>
                    </a:lnTo>
                    <a:lnTo>
                      <a:pt x="35243" y="49625"/>
                    </a:lnTo>
                    <a:lnTo>
                      <a:pt x="31432" y="56293"/>
                    </a:lnTo>
                    <a:lnTo>
                      <a:pt x="20955" y="49625"/>
                    </a:lnTo>
                    <a:lnTo>
                      <a:pt x="0" y="49625"/>
                    </a:lnTo>
                    <a:lnTo>
                      <a:pt x="0" y="28575"/>
                    </a:lnTo>
                    <a:lnTo>
                      <a:pt x="0" y="1057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7" name="Freeform: Shape 206">
                <a:extLst>
                  <a:ext uri="{FF2B5EF4-FFF2-40B4-BE49-F238E27FC236}">
                    <a16:creationId xmlns:a16="http://schemas.microsoft.com/office/drawing/2014/main" id="{9B6A840F-C761-ADD1-6B66-3FD7BA1A31D9}"/>
                  </a:ext>
                </a:extLst>
              </p:cNvPr>
              <p:cNvSpPr/>
              <p:nvPr/>
            </p:nvSpPr>
            <p:spPr>
              <a:xfrm>
                <a:off x="7233838" y="3324191"/>
                <a:ext cx="145661" cy="113914"/>
              </a:xfrm>
              <a:custGeom>
                <a:avLst/>
                <a:gdLst>
                  <a:gd name="connsiteX0" fmla="*/ 35243 w 148590"/>
                  <a:gd name="connsiteY0" fmla="*/ 0 h 116204"/>
                  <a:gd name="connsiteX1" fmla="*/ 45720 w 148590"/>
                  <a:gd name="connsiteY1" fmla="*/ 2953 h 116204"/>
                  <a:gd name="connsiteX2" fmla="*/ 56198 w 148590"/>
                  <a:gd name="connsiteY2" fmla="*/ 14288 h 116204"/>
                  <a:gd name="connsiteX3" fmla="*/ 74295 w 148590"/>
                  <a:gd name="connsiteY3" fmla="*/ 24860 h 116204"/>
                  <a:gd name="connsiteX4" fmla="*/ 80963 w 148590"/>
                  <a:gd name="connsiteY4" fmla="*/ 20955 h 116204"/>
                  <a:gd name="connsiteX5" fmla="*/ 91440 w 148590"/>
                  <a:gd name="connsiteY5" fmla="*/ 10573 h 116204"/>
                  <a:gd name="connsiteX6" fmla="*/ 99060 w 148590"/>
                  <a:gd name="connsiteY6" fmla="*/ 2953 h 116204"/>
                  <a:gd name="connsiteX7" fmla="*/ 105728 w 148590"/>
                  <a:gd name="connsiteY7" fmla="*/ 14288 h 116204"/>
                  <a:gd name="connsiteX8" fmla="*/ 116205 w 148590"/>
                  <a:gd name="connsiteY8" fmla="*/ 35242 h 116204"/>
                  <a:gd name="connsiteX9" fmla="*/ 123825 w 148590"/>
                  <a:gd name="connsiteY9" fmla="*/ 42005 h 116204"/>
                  <a:gd name="connsiteX10" fmla="*/ 140970 w 148590"/>
                  <a:gd name="connsiteY10" fmla="*/ 49530 h 116204"/>
                  <a:gd name="connsiteX11" fmla="*/ 148590 w 148590"/>
                  <a:gd name="connsiteY11" fmla="*/ 52388 h 116204"/>
                  <a:gd name="connsiteX12" fmla="*/ 148590 w 148590"/>
                  <a:gd name="connsiteY12" fmla="*/ 62960 h 116204"/>
                  <a:gd name="connsiteX13" fmla="*/ 126683 w 148590"/>
                  <a:gd name="connsiteY13" fmla="*/ 62960 h 116204"/>
                  <a:gd name="connsiteX14" fmla="*/ 120015 w 148590"/>
                  <a:gd name="connsiteY14" fmla="*/ 66675 h 116204"/>
                  <a:gd name="connsiteX15" fmla="*/ 116205 w 148590"/>
                  <a:gd name="connsiteY15" fmla="*/ 77248 h 116204"/>
                  <a:gd name="connsiteX16" fmla="*/ 120015 w 148590"/>
                  <a:gd name="connsiteY16" fmla="*/ 84868 h 116204"/>
                  <a:gd name="connsiteX17" fmla="*/ 120015 w 148590"/>
                  <a:gd name="connsiteY17" fmla="*/ 87630 h 116204"/>
                  <a:gd name="connsiteX18" fmla="*/ 120015 w 148590"/>
                  <a:gd name="connsiteY18" fmla="*/ 91535 h 116204"/>
                  <a:gd name="connsiteX19" fmla="*/ 120015 w 148590"/>
                  <a:gd name="connsiteY19" fmla="*/ 95250 h 116204"/>
                  <a:gd name="connsiteX20" fmla="*/ 105728 w 148590"/>
                  <a:gd name="connsiteY20" fmla="*/ 95250 h 116204"/>
                  <a:gd name="connsiteX21" fmla="*/ 105728 w 148590"/>
                  <a:gd name="connsiteY21" fmla="*/ 101917 h 116204"/>
                  <a:gd name="connsiteX22" fmla="*/ 105728 w 148590"/>
                  <a:gd name="connsiteY22" fmla="*/ 108680 h 116204"/>
                  <a:gd name="connsiteX23" fmla="*/ 105728 w 148590"/>
                  <a:gd name="connsiteY23" fmla="*/ 116205 h 116204"/>
                  <a:gd name="connsiteX24" fmla="*/ 91440 w 148590"/>
                  <a:gd name="connsiteY24" fmla="*/ 116205 h 116204"/>
                  <a:gd name="connsiteX25" fmla="*/ 80963 w 148590"/>
                  <a:gd name="connsiteY25" fmla="*/ 108680 h 116204"/>
                  <a:gd name="connsiteX26" fmla="*/ 91440 w 148590"/>
                  <a:gd name="connsiteY26" fmla="*/ 101917 h 116204"/>
                  <a:gd name="connsiteX27" fmla="*/ 84773 w 148590"/>
                  <a:gd name="connsiteY27" fmla="*/ 91535 h 116204"/>
                  <a:gd name="connsiteX28" fmla="*/ 84773 w 148590"/>
                  <a:gd name="connsiteY28" fmla="*/ 77248 h 116204"/>
                  <a:gd name="connsiteX29" fmla="*/ 78105 w 148590"/>
                  <a:gd name="connsiteY29" fmla="*/ 73342 h 116204"/>
                  <a:gd name="connsiteX30" fmla="*/ 74295 w 148590"/>
                  <a:gd name="connsiteY30" fmla="*/ 77248 h 116204"/>
                  <a:gd name="connsiteX31" fmla="*/ 67628 w 148590"/>
                  <a:gd name="connsiteY31" fmla="*/ 84868 h 116204"/>
                  <a:gd name="connsiteX32" fmla="*/ 56198 w 148590"/>
                  <a:gd name="connsiteY32" fmla="*/ 91535 h 116204"/>
                  <a:gd name="connsiteX33" fmla="*/ 45720 w 148590"/>
                  <a:gd name="connsiteY33" fmla="*/ 98203 h 116204"/>
                  <a:gd name="connsiteX34" fmla="*/ 49530 w 148590"/>
                  <a:gd name="connsiteY34" fmla="*/ 87630 h 116204"/>
                  <a:gd name="connsiteX35" fmla="*/ 45720 w 148590"/>
                  <a:gd name="connsiteY35" fmla="*/ 80963 h 116204"/>
                  <a:gd name="connsiteX36" fmla="*/ 20955 w 148590"/>
                  <a:gd name="connsiteY36" fmla="*/ 62960 h 116204"/>
                  <a:gd name="connsiteX37" fmla="*/ 10478 w 148590"/>
                  <a:gd name="connsiteY37" fmla="*/ 35242 h 116204"/>
                  <a:gd name="connsiteX38" fmla="*/ 7620 w 148590"/>
                  <a:gd name="connsiteY38" fmla="*/ 27718 h 116204"/>
                  <a:gd name="connsiteX39" fmla="*/ 0 w 148590"/>
                  <a:gd name="connsiteY39" fmla="*/ 20955 h 116204"/>
                  <a:gd name="connsiteX40" fmla="*/ 10478 w 148590"/>
                  <a:gd name="connsiteY40" fmla="*/ 14288 h 116204"/>
                  <a:gd name="connsiteX41" fmla="*/ 20955 w 148590"/>
                  <a:gd name="connsiteY41" fmla="*/ 20955 h 116204"/>
                  <a:gd name="connsiteX42" fmla="*/ 32385 w 148590"/>
                  <a:gd name="connsiteY42" fmla="*/ 31528 h 116204"/>
                  <a:gd name="connsiteX43" fmla="*/ 42863 w 148590"/>
                  <a:gd name="connsiteY43" fmla="*/ 31528 h 116204"/>
                  <a:gd name="connsiteX44" fmla="*/ 45720 w 148590"/>
                  <a:gd name="connsiteY44" fmla="*/ 24860 h 116204"/>
                  <a:gd name="connsiteX45" fmla="*/ 39053 w 148590"/>
                  <a:gd name="connsiteY45" fmla="*/ 14288 h 116204"/>
                  <a:gd name="connsiteX46" fmla="*/ 28575 w 148590"/>
                  <a:gd name="connsiteY46" fmla="*/ 2953 h 116204"/>
                  <a:gd name="connsiteX47" fmla="*/ 35243 w 148590"/>
                  <a:gd name="connsiteY47" fmla="*/ 0 h 11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48590" h="116204">
                    <a:moveTo>
                      <a:pt x="35243" y="0"/>
                    </a:moveTo>
                    <a:lnTo>
                      <a:pt x="45720" y="2953"/>
                    </a:lnTo>
                    <a:lnTo>
                      <a:pt x="56198" y="14288"/>
                    </a:lnTo>
                    <a:lnTo>
                      <a:pt x="74295" y="24860"/>
                    </a:lnTo>
                    <a:lnTo>
                      <a:pt x="80963" y="20955"/>
                    </a:lnTo>
                    <a:lnTo>
                      <a:pt x="91440" y="10573"/>
                    </a:lnTo>
                    <a:lnTo>
                      <a:pt x="99060" y="2953"/>
                    </a:lnTo>
                    <a:lnTo>
                      <a:pt x="105728" y="14288"/>
                    </a:lnTo>
                    <a:lnTo>
                      <a:pt x="116205" y="35242"/>
                    </a:lnTo>
                    <a:lnTo>
                      <a:pt x="123825" y="42005"/>
                    </a:lnTo>
                    <a:lnTo>
                      <a:pt x="140970" y="49530"/>
                    </a:lnTo>
                    <a:lnTo>
                      <a:pt x="148590" y="52388"/>
                    </a:lnTo>
                    <a:lnTo>
                      <a:pt x="148590" y="62960"/>
                    </a:lnTo>
                    <a:lnTo>
                      <a:pt x="126683" y="62960"/>
                    </a:lnTo>
                    <a:lnTo>
                      <a:pt x="120015" y="66675"/>
                    </a:lnTo>
                    <a:lnTo>
                      <a:pt x="116205" y="77248"/>
                    </a:lnTo>
                    <a:lnTo>
                      <a:pt x="120015" y="84868"/>
                    </a:lnTo>
                    <a:lnTo>
                      <a:pt x="120015" y="87630"/>
                    </a:lnTo>
                    <a:lnTo>
                      <a:pt x="120015" y="91535"/>
                    </a:lnTo>
                    <a:lnTo>
                      <a:pt x="120015" y="95250"/>
                    </a:lnTo>
                    <a:lnTo>
                      <a:pt x="105728" y="95250"/>
                    </a:lnTo>
                    <a:lnTo>
                      <a:pt x="105728" y="101917"/>
                    </a:lnTo>
                    <a:lnTo>
                      <a:pt x="105728" y="108680"/>
                    </a:lnTo>
                    <a:lnTo>
                      <a:pt x="105728" y="116205"/>
                    </a:lnTo>
                    <a:lnTo>
                      <a:pt x="91440" y="116205"/>
                    </a:lnTo>
                    <a:lnTo>
                      <a:pt x="80963" y="108680"/>
                    </a:lnTo>
                    <a:lnTo>
                      <a:pt x="91440" y="101917"/>
                    </a:lnTo>
                    <a:lnTo>
                      <a:pt x="84773" y="91535"/>
                    </a:lnTo>
                    <a:lnTo>
                      <a:pt x="84773" y="77248"/>
                    </a:lnTo>
                    <a:lnTo>
                      <a:pt x="78105" y="73342"/>
                    </a:lnTo>
                    <a:lnTo>
                      <a:pt x="74295" y="77248"/>
                    </a:lnTo>
                    <a:lnTo>
                      <a:pt x="67628" y="84868"/>
                    </a:lnTo>
                    <a:lnTo>
                      <a:pt x="56198" y="91535"/>
                    </a:lnTo>
                    <a:lnTo>
                      <a:pt x="45720" y="98203"/>
                    </a:lnTo>
                    <a:lnTo>
                      <a:pt x="49530" y="87630"/>
                    </a:lnTo>
                    <a:lnTo>
                      <a:pt x="45720" y="80963"/>
                    </a:lnTo>
                    <a:lnTo>
                      <a:pt x="20955" y="62960"/>
                    </a:lnTo>
                    <a:lnTo>
                      <a:pt x="10478" y="35242"/>
                    </a:lnTo>
                    <a:lnTo>
                      <a:pt x="7620" y="27718"/>
                    </a:lnTo>
                    <a:lnTo>
                      <a:pt x="0" y="20955"/>
                    </a:lnTo>
                    <a:lnTo>
                      <a:pt x="10478" y="14288"/>
                    </a:lnTo>
                    <a:lnTo>
                      <a:pt x="20955" y="20955"/>
                    </a:lnTo>
                    <a:lnTo>
                      <a:pt x="32385" y="31528"/>
                    </a:lnTo>
                    <a:lnTo>
                      <a:pt x="42863" y="31528"/>
                    </a:lnTo>
                    <a:lnTo>
                      <a:pt x="45720" y="24860"/>
                    </a:lnTo>
                    <a:lnTo>
                      <a:pt x="39053" y="14288"/>
                    </a:lnTo>
                    <a:lnTo>
                      <a:pt x="28575" y="2953"/>
                    </a:lnTo>
                    <a:lnTo>
                      <a:pt x="3524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8" name="Freeform: Shape 207">
                <a:extLst>
                  <a:ext uri="{FF2B5EF4-FFF2-40B4-BE49-F238E27FC236}">
                    <a16:creationId xmlns:a16="http://schemas.microsoft.com/office/drawing/2014/main" id="{AF1DD6BB-4512-769B-F294-D14992BA351C}"/>
                  </a:ext>
                </a:extLst>
              </p:cNvPr>
              <p:cNvSpPr/>
              <p:nvPr/>
            </p:nvSpPr>
            <p:spPr>
              <a:xfrm>
                <a:off x="7233838" y="3324191"/>
                <a:ext cx="145661" cy="113914"/>
              </a:xfrm>
              <a:custGeom>
                <a:avLst/>
                <a:gdLst>
                  <a:gd name="connsiteX0" fmla="*/ 35243 w 148590"/>
                  <a:gd name="connsiteY0" fmla="*/ 0 h 116204"/>
                  <a:gd name="connsiteX1" fmla="*/ 45720 w 148590"/>
                  <a:gd name="connsiteY1" fmla="*/ 2953 h 116204"/>
                  <a:gd name="connsiteX2" fmla="*/ 56198 w 148590"/>
                  <a:gd name="connsiteY2" fmla="*/ 14288 h 116204"/>
                  <a:gd name="connsiteX3" fmla="*/ 74295 w 148590"/>
                  <a:gd name="connsiteY3" fmla="*/ 24860 h 116204"/>
                  <a:gd name="connsiteX4" fmla="*/ 80963 w 148590"/>
                  <a:gd name="connsiteY4" fmla="*/ 20955 h 116204"/>
                  <a:gd name="connsiteX5" fmla="*/ 91440 w 148590"/>
                  <a:gd name="connsiteY5" fmla="*/ 10573 h 116204"/>
                  <a:gd name="connsiteX6" fmla="*/ 99060 w 148590"/>
                  <a:gd name="connsiteY6" fmla="*/ 2953 h 116204"/>
                  <a:gd name="connsiteX7" fmla="*/ 105728 w 148590"/>
                  <a:gd name="connsiteY7" fmla="*/ 14288 h 116204"/>
                  <a:gd name="connsiteX8" fmla="*/ 116205 w 148590"/>
                  <a:gd name="connsiteY8" fmla="*/ 35242 h 116204"/>
                  <a:gd name="connsiteX9" fmla="*/ 123825 w 148590"/>
                  <a:gd name="connsiteY9" fmla="*/ 42005 h 116204"/>
                  <a:gd name="connsiteX10" fmla="*/ 140970 w 148590"/>
                  <a:gd name="connsiteY10" fmla="*/ 49530 h 116204"/>
                  <a:gd name="connsiteX11" fmla="*/ 148590 w 148590"/>
                  <a:gd name="connsiteY11" fmla="*/ 52388 h 116204"/>
                  <a:gd name="connsiteX12" fmla="*/ 148590 w 148590"/>
                  <a:gd name="connsiteY12" fmla="*/ 62960 h 116204"/>
                  <a:gd name="connsiteX13" fmla="*/ 126683 w 148590"/>
                  <a:gd name="connsiteY13" fmla="*/ 62960 h 116204"/>
                  <a:gd name="connsiteX14" fmla="*/ 120015 w 148590"/>
                  <a:gd name="connsiteY14" fmla="*/ 66675 h 116204"/>
                  <a:gd name="connsiteX15" fmla="*/ 116205 w 148590"/>
                  <a:gd name="connsiteY15" fmla="*/ 77248 h 116204"/>
                  <a:gd name="connsiteX16" fmla="*/ 120015 w 148590"/>
                  <a:gd name="connsiteY16" fmla="*/ 84868 h 116204"/>
                  <a:gd name="connsiteX17" fmla="*/ 120015 w 148590"/>
                  <a:gd name="connsiteY17" fmla="*/ 87630 h 116204"/>
                  <a:gd name="connsiteX18" fmla="*/ 120015 w 148590"/>
                  <a:gd name="connsiteY18" fmla="*/ 91535 h 116204"/>
                  <a:gd name="connsiteX19" fmla="*/ 120015 w 148590"/>
                  <a:gd name="connsiteY19" fmla="*/ 95250 h 116204"/>
                  <a:gd name="connsiteX20" fmla="*/ 105728 w 148590"/>
                  <a:gd name="connsiteY20" fmla="*/ 95250 h 116204"/>
                  <a:gd name="connsiteX21" fmla="*/ 105728 w 148590"/>
                  <a:gd name="connsiteY21" fmla="*/ 101917 h 116204"/>
                  <a:gd name="connsiteX22" fmla="*/ 105728 w 148590"/>
                  <a:gd name="connsiteY22" fmla="*/ 108680 h 116204"/>
                  <a:gd name="connsiteX23" fmla="*/ 105728 w 148590"/>
                  <a:gd name="connsiteY23" fmla="*/ 116205 h 116204"/>
                  <a:gd name="connsiteX24" fmla="*/ 91440 w 148590"/>
                  <a:gd name="connsiteY24" fmla="*/ 116205 h 116204"/>
                  <a:gd name="connsiteX25" fmla="*/ 80963 w 148590"/>
                  <a:gd name="connsiteY25" fmla="*/ 108680 h 116204"/>
                  <a:gd name="connsiteX26" fmla="*/ 91440 w 148590"/>
                  <a:gd name="connsiteY26" fmla="*/ 101917 h 116204"/>
                  <a:gd name="connsiteX27" fmla="*/ 84773 w 148590"/>
                  <a:gd name="connsiteY27" fmla="*/ 91535 h 116204"/>
                  <a:gd name="connsiteX28" fmla="*/ 84773 w 148590"/>
                  <a:gd name="connsiteY28" fmla="*/ 77248 h 116204"/>
                  <a:gd name="connsiteX29" fmla="*/ 78105 w 148590"/>
                  <a:gd name="connsiteY29" fmla="*/ 73342 h 116204"/>
                  <a:gd name="connsiteX30" fmla="*/ 74295 w 148590"/>
                  <a:gd name="connsiteY30" fmla="*/ 77248 h 116204"/>
                  <a:gd name="connsiteX31" fmla="*/ 67628 w 148590"/>
                  <a:gd name="connsiteY31" fmla="*/ 84868 h 116204"/>
                  <a:gd name="connsiteX32" fmla="*/ 56198 w 148590"/>
                  <a:gd name="connsiteY32" fmla="*/ 91535 h 116204"/>
                  <a:gd name="connsiteX33" fmla="*/ 45720 w 148590"/>
                  <a:gd name="connsiteY33" fmla="*/ 98203 h 116204"/>
                  <a:gd name="connsiteX34" fmla="*/ 49530 w 148590"/>
                  <a:gd name="connsiteY34" fmla="*/ 87630 h 116204"/>
                  <a:gd name="connsiteX35" fmla="*/ 45720 w 148590"/>
                  <a:gd name="connsiteY35" fmla="*/ 80963 h 116204"/>
                  <a:gd name="connsiteX36" fmla="*/ 20955 w 148590"/>
                  <a:gd name="connsiteY36" fmla="*/ 62960 h 116204"/>
                  <a:gd name="connsiteX37" fmla="*/ 10478 w 148590"/>
                  <a:gd name="connsiteY37" fmla="*/ 35242 h 116204"/>
                  <a:gd name="connsiteX38" fmla="*/ 7620 w 148590"/>
                  <a:gd name="connsiteY38" fmla="*/ 27718 h 116204"/>
                  <a:gd name="connsiteX39" fmla="*/ 0 w 148590"/>
                  <a:gd name="connsiteY39" fmla="*/ 20955 h 116204"/>
                  <a:gd name="connsiteX40" fmla="*/ 10478 w 148590"/>
                  <a:gd name="connsiteY40" fmla="*/ 14288 h 116204"/>
                  <a:gd name="connsiteX41" fmla="*/ 20955 w 148590"/>
                  <a:gd name="connsiteY41" fmla="*/ 20955 h 116204"/>
                  <a:gd name="connsiteX42" fmla="*/ 32385 w 148590"/>
                  <a:gd name="connsiteY42" fmla="*/ 31528 h 116204"/>
                  <a:gd name="connsiteX43" fmla="*/ 42863 w 148590"/>
                  <a:gd name="connsiteY43" fmla="*/ 31528 h 116204"/>
                  <a:gd name="connsiteX44" fmla="*/ 45720 w 148590"/>
                  <a:gd name="connsiteY44" fmla="*/ 24860 h 116204"/>
                  <a:gd name="connsiteX45" fmla="*/ 39053 w 148590"/>
                  <a:gd name="connsiteY45" fmla="*/ 14288 h 116204"/>
                  <a:gd name="connsiteX46" fmla="*/ 28575 w 148590"/>
                  <a:gd name="connsiteY46" fmla="*/ 2953 h 116204"/>
                  <a:gd name="connsiteX47" fmla="*/ 35243 w 148590"/>
                  <a:gd name="connsiteY47" fmla="*/ 0 h 11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148590" h="116204">
                    <a:moveTo>
                      <a:pt x="35243" y="0"/>
                    </a:moveTo>
                    <a:lnTo>
                      <a:pt x="45720" y="2953"/>
                    </a:lnTo>
                    <a:lnTo>
                      <a:pt x="56198" y="14288"/>
                    </a:lnTo>
                    <a:lnTo>
                      <a:pt x="74295" y="24860"/>
                    </a:lnTo>
                    <a:lnTo>
                      <a:pt x="80963" y="20955"/>
                    </a:lnTo>
                    <a:lnTo>
                      <a:pt x="91440" y="10573"/>
                    </a:lnTo>
                    <a:lnTo>
                      <a:pt x="99060" y="2953"/>
                    </a:lnTo>
                    <a:lnTo>
                      <a:pt x="105728" y="14288"/>
                    </a:lnTo>
                    <a:lnTo>
                      <a:pt x="116205" y="35242"/>
                    </a:lnTo>
                    <a:lnTo>
                      <a:pt x="123825" y="42005"/>
                    </a:lnTo>
                    <a:lnTo>
                      <a:pt x="140970" y="49530"/>
                    </a:lnTo>
                    <a:lnTo>
                      <a:pt x="148590" y="52388"/>
                    </a:lnTo>
                    <a:lnTo>
                      <a:pt x="148590" y="62960"/>
                    </a:lnTo>
                    <a:lnTo>
                      <a:pt x="126683" y="62960"/>
                    </a:lnTo>
                    <a:lnTo>
                      <a:pt x="120015" y="66675"/>
                    </a:lnTo>
                    <a:lnTo>
                      <a:pt x="116205" y="77248"/>
                    </a:lnTo>
                    <a:lnTo>
                      <a:pt x="120015" y="84868"/>
                    </a:lnTo>
                    <a:lnTo>
                      <a:pt x="120015" y="87630"/>
                    </a:lnTo>
                    <a:lnTo>
                      <a:pt x="120015" y="91535"/>
                    </a:lnTo>
                    <a:lnTo>
                      <a:pt x="120015" y="95250"/>
                    </a:lnTo>
                    <a:lnTo>
                      <a:pt x="105728" y="95250"/>
                    </a:lnTo>
                    <a:lnTo>
                      <a:pt x="105728" y="101917"/>
                    </a:lnTo>
                    <a:lnTo>
                      <a:pt x="105728" y="108680"/>
                    </a:lnTo>
                    <a:lnTo>
                      <a:pt x="105728" y="116205"/>
                    </a:lnTo>
                    <a:lnTo>
                      <a:pt x="91440" y="116205"/>
                    </a:lnTo>
                    <a:lnTo>
                      <a:pt x="80963" y="108680"/>
                    </a:lnTo>
                    <a:lnTo>
                      <a:pt x="91440" y="101917"/>
                    </a:lnTo>
                    <a:lnTo>
                      <a:pt x="84773" y="91535"/>
                    </a:lnTo>
                    <a:lnTo>
                      <a:pt x="84773" y="77248"/>
                    </a:lnTo>
                    <a:lnTo>
                      <a:pt x="78105" y="73342"/>
                    </a:lnTo>
                    <a:lnTo>
                      <a:pt x="74295" y="77248"/>
                    </a:lnTo>
                    <a:lnTo>
                      <a:pt x="67628" y="84868"/>
                    </a:lnTo>
                    <a:lnTo>
                      <a:pt x="56198" y="91535"/>
                    </a:lnTo>
                    <a:lnTo>
                      <a:pt x="45720" y="98203"/>
                    </a:lnTo>
                    <a:lnTo>
                      <a:pt x="49530" y="87630"/>
                    </a:lnTo>
                    <a:lnTo>
                      <a:pt x="45720" y="80963"/>
                    </a:lnTo>
                    <a:lnTo>
                      <a:pt x="20955" y="62960"/>
                    </a:lnTo>
                    <a:lnTo>
                      <a:pt x="10478" y="35242"/>
                    </a:lnTo>
                    <a:lnTo>
                      <a:pt x="7620" y="27718"/>
                    </a:lnTo>
                    <a:lnTo>
                      <a:pt x="0" y="20955"/>
                    </a:lnTo>
                    <a:lnTo>
                      <a:pt x="10478" y="14288"/>
                    </a:lnTo>
                    <a:lnTo>
                      <a:pt x="20955" y="20955"/>
                    </a:lnTo>
                    <a:lnTo>
                      <a:pt x="32385" y="31528"/>
                    </a:lnTo>
                    <a:lnTo>
                      <a:pt x="42863" y="31528"/>
                    </a:lnTo>
                    <a:lnTo>
                      <a:pt x="45720" y="24860"/>
                    </a:lnTo>
                    <a:lnTo>
                      <a:pt x="39053" y="14288"/>
                    </a:lnTo>
                    <a:lnTo>
                      <a:pt x="28575" y="2953"/>
                    </a:lnTo>
                    <a:lnTo>
                      <a:pt x="35243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09" name="Freeform: Shape 208">
                <a:extLst>
                  <a:ext uri="{FF2B5EF4-FFF2-40B4-BE49-F238E27FC236}">
                    <a16:creationId xmlns:a16="http://schemas.microsoft.com/office/drawing/2014/main" id="{5303617D-37D7-D1E1-4E29-5AE0BA2E4101}"/>
                  </a:ext>
                </a:extLst>
              </p:cNvPr>
              <p:cNvSpPr/>
              <p:nvPr/>
            </p:nvSpPr>
            <p:spPr>
              <a:xfrm>
                <a:off x="7092845" y="3268167"/>
                <a:ext cx="185811" cy="86930"/>
              </a:xfrm>
              <a:custGeom>
                <a:avLst/>
                <a:gdLst>
                  <a:gd name="connsiteX0" fmla="*/ 0 w 189547"/>
                  <a:gd name="connsiteY0" fmla="*/ 3905 h 88677"/>
                  <a:gd name="connsiteX1" fmla="*/ 20955 w 189547"/>
                  <a:gd name="connsiteY1" fmla="*/ 0 h 88677"/>
                  <a:gd name="connsiteX2" fmla="*/ 31432 w 189547"/>
                  <a:gd name="connsiteY2" fmla="*/ 7715 h 88677"/>
                  <a:gd name="connsiteX3" fmla="*/ 41910 w 189547"/>
                  <a:gd name="connsiteY3" fmla="*/ 14288 h 88677"/>
                  <a:gd name="connsiteX4" fmla="*/ 60007 w 189547"/>
                  <a:gd name="connsiteY4" fmla="*/ 11430 h 88677"/>
                  <a:gd name="connsiteX5" fmla="*/ 73343 w 189547"/>
                  <a:gd name="connsiteY5" fmla="*/ 11430 h 88677"/>
                  <a:gd name="connsiteX6" fmla="*/ 91440 w 189547"/>
                  <a:gd name="connsiteY6" fmla="*/ 22003 h 88677"/>
                  <a:gd name="connsiteX7" fmla="*/ 98107 w 189547"/>
                  <a:gd name="connsiteY7" fmla="*/ 24860 h 88677"/>
                  <a:gd name="connsiteX8" fmla="*/ 116205 w 189547"/>
                  <a:gd name="connsiteY8" fmla="*/ 32480 h 88677"/>
                  <a:gd name="connsiteX9" fmla="*/ 126682 w 189547"/>
                  <a:gd name="connsiteY9" fmla="*/ 32480 h 88677"/>
                  <a:gd name="connsiteX10" fmla="*/ 143827 w 189547"/>
                  <a:gd name="connsiteY10" fmla="*/ 28575 h 88677"/>
                  <a:gd name="connsiteX11" fmla="*/ 161925 w 189547"/>
                  <a:gd name="connsiteY11" fmla="*/ 39148 h 88677"/>
                  <a:gd name="connsiteX12" fmla="*/ 164782 w 189547"/>
                  <a:gd name="connsiteY12" fmla="*/ 42863 h 88677"/>
                  <a:gd name="connsiteX13" fmla="*/ 179070 w 189547"/>
                  <a:gd name="connsiteY13" fmla="*/ 57150 h 88677"/>
                  <a:gd name="connsiteX14" fmla="*/ 172402 w 189547"/>
                  <a:gd name="connsiteY14" fmla="*/ 60103 h 88677"/>
                  <a:gd name="connsiteX15" fmla="*/ 182880 w 189547"/>
                  <a:gd name="connsiteY15" fmla="*/ 71438 h 88677"/>
                  <a:gd name="connsiteX16" fmla="*/ 189548 w 189547"/>
                  <a:gd name="connsiteY16" fmla="*/ 82010 h 88677"/>
                  <a:gd name="connsiteX17" fmla="*/ 186690 w 189547"/>
                  <a:gd name="connsiteY17" fmla="*/ 88678 h 88677"/>
                  <a:gd name="connsiteX18" fmla="*/ 176213 w 189547"/>
                  <a:gd name="connsiteY18" fmla="*/ 88678 h 88677"/>
                  <a:gd name="connsiteX19" fmla="*/ 154305 w 189547"/>
                  <a:gd name="connsiteY19" fmla="*/ 71438 h 88677"/>
                  <a:gd name="connsiteX20" fmla="*/ 143827 w 189547"/>
                  <a:gd name="connsiteY20" fmla="*/ 78105 h 88677"/>
                  <a:gd name="connsiteX21" fmla="*/ 129540 w 189547"/>
                  <a:gd name="connsiteY21" fmla="*/ 78105 h 88677"/>
                  <a:gd name="connsiteX22" fmla="*/ 116205 w 189547"/>
                  <a:gd name="connsiteY22" fmla="*/ 82010 h 88677"/>
                  <a:gd name="connsiteX23" fmla="*/ 101918 w 189547"/>
                  <a:gd name="connsiteY23" fmla="*/ 88678 h 88677"/>
                  <a:gd name="connsiteX24" fmla="*/ 91440 w 189547"/>
                  <a:gd name="connsiteY24" fmla="*/ 82010 h 88677"/>
                  <a:gd name="connsiteX25" fmla="*/ 80963 w 189547"/>
                  <a:gd name="connsiteY25" fmla="*/ 71438 h 88677"/>
                  <a:gd name="connsiteX26" fmla="*/ 66675 w 189547"/>
                  <a:gd name="connsiteY26" fmla="*/ 67723 h 88677"/>
                  <a:gd name="connsiteX27" fmla="*/ 62865 w 189547"/>
                  <a:gd name="connsiteY27" fmla="*/ 78105 h 88677"/>
                  <a:gd name="connsiteX28" fmla="*/ 45720 w 189547"/>
                  <a:gd name="connsiteY28" fmla="*/ 71438 h 88677"/>
                  <a:gd name="connsiteX29" fmla="*/ 52388 w 189547"/>
                  <a:gd name="connsiteY29" fmla="*/ 57150 h 88677"/>
                  <a:gd name="connsiteX30" fmla="*/ 45720 w 189547"/>
                  <a:gd name="connsiteY30" fmla="*/ 39148 h 88677"/>
                  <a:gd name="connsiteX31" fmla="*/ 35243 w 189547"/>
                  <a:gd name="connsiteY31" fmla="*/ 24860 h 88677"/>
                  <a:gd name="connsiteX32" fmla="*/ 20955 w 189547"/>
                  <a:gd name="connsiteY32" fmla="*/ 18193 h 88677"/>
                  <a:gd name="connsiteX33" fmla="*/ 10477 w 189547"/>
                  <a:gd name="connsiteY33" fmla="*/ 11430 h 88677"/>
                  <a:gd name="connsiteX34" fmla="*/ 0 w 189547"/>
                  <a:gd name="connsiteY34" fmla="*/ 3905 h 88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89547" h="88677">
                    <a:moveTo>
                      <a:pt x="0" y="3905"/>
                    </a:moveTo>
                    <a:lnTo>
                      <a:pt x="20955" y="0"/>
                    </a:lnTo>
                    <a:lnTo>
                      <a:pt x="31432" y="7715"/>
                    </a:lnTo>
                    <a:lnTo>
                      <a:pt x="41910" y="14288"/>
                    </a:lnTo>
                    <a:lnTo>
                      <a:pt x="60007" y="11430"/>
                    </a:lnTo>
                    <a:lnTo>
                      <a:pt x="73343" y="11430"/>
                    </a:lnTo>
                    <a:lnTo>
                      <a:pt x="91440" y="22003"/>
                    </a:lnTo>
                    <a:lnTo>
                      <a:pt x="98107" y="24860"/>
                    </a:lnTo>
                    <a:lnTo>
                      <a:pt x="116205" y="32480"/>
                    </a:lnTo>
                    <a:lnTo>
                      <a:pt x="126682" y="32480"/>
                    </a:lnTo>
                    <a:lnTo>
                      <a:pt x="143827" y="28575"/>
                    </a:lnTo>
                    <a:lnTo>
                      <a:pt x="161925" y="39148"/>
                    </a:lnTo>
                    <a:lnTo>
                      <a:pt x="164782" y="42863"/>
                    </a:lnTo>
                    <a:lnTo>
                      <a:pt x="179070" y="57150"/>
                    </a:lnTo>
                    <a:lnTo>
                      <a:pt x="172402" y="60103"/>
                    </a:lnTo>
                    <a:lnTo>
                      <a:pt x="182880" y="71438"/>
                    </a:lnTo>
                    <a:lnTo>
                      <a:pt x="189548" y="82010"/>
                    </a:lnTo>
                    <a:lnTo>
                      <a:pt x="186690" y="88678"/>
                    </a:lnTo>
                    <a:lnTo>
                      <a:pt x="176213" y="88678"/>
                    </a:lnTo>
                    <a:lnTo>
                      <a:pt x="154305" y="71438"/>
                    </a:lnTo>
                    <a:lnTo>
                      <a:pt x="143827" y="78105"/>
                    </a:lnTo>
                    <a:lnTo>
                      <a:pt x="129540" y="78105"/>
                    </a:lnTo>
                    <a:lnTo>
                      <a:pt x="116205" y="82010"/>
                    </a:lnTo>
                    <a:lnTo>
                      <a:pt x="101918" y="88678"/>
                    </a:lnTo>
                    <a:lnTo>
                      <a:pt x="91440" y="82010"/>
                    </a:lnTo>
                    <a:lnTo>
                      <a:pt x="80963" y="71438"/>
                    </a:lnTo>
                    <a:lnTo>
                      <a:pt x="66675" y="67723"/>
                    </a:lnTo>
                    <a:lnTo>
                      <a:pt x="62865" y="78105"/>
                    </a:lnTo>
                    <a:lnTo>
                      <a:pt x="45720" y="71438"/>
                    </a:lnTo>
                    <a:lnTo>
                      <a:pt x="52388" y="57150"/>
                    </a:lnTo>
                    <a:lnTo>
                      <a:pt x="45720" y="39148"/>
                    </a:lnTo>
                    <a:lnTo>
                      <a:pt x="35243" y="24860"/>
                    </a:lnTo>
                    <a:lnTo>
                      <a:pt x="20955" y="18193"/>
                    </a:lnTo>
                    <a:lnTo>
                      <a:pt x="10477" y="11430"/>
                    </a:lnTo>
                    <a:lnTo>
                      <a:pt x="0" y="390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0" name="Freeform: Shape 209">
                <a:extLst>
                  <a:ext uri="{FF2B5EF4-FFF2-40B4-BE49-F238E27FC236}">
                    <a16:creationId xmlns:a16="http://schemas.microsoft.com/office/drawing/2014/main" id="{B8C07172-B3C8-2B68-2A0A-4C1C5550A514}"/>
                  </a:ext>
                </a:extLst>
              </p:cNvPr>
              <p:cNvSpPr/>
              <p:nvPr/>
            </p:nvSpPr>
            <p:spPr>
              <a:xfrm>
                <a:off x="7092845" y="3268167"/>
                <a:ext cx="185811" cy="86930"/>
              </a:xfrm>
              <a:custGeom>
                <a:avLst/>
                <a:gdLst>
                  <a:gd name="connsiteX0" fmla="*/ 0 w 189547"/>
                  <a:gd name="connsiteY0" fmla="*/ 3905 h 88677"/>
                  <a:gd name="connsiteX1" fmla="*/ 20955 w 189547"/>
                  <a:gd name="connsiteY1" fmla="*/ 0 h 88677"/>
                  <a:gd name="connsiteX2" fmla="*/ 31432 w 189547"/>
                  <a:gd name="connsiteY2" fmla="*/ 7715 h 88677"/>
                  <a:gd name="connsiteX3" fmla="*/ 41910 w 189547"/>
                  <a:gd name="connsiteY3" fmla="*/ 14288 h 88677"/>
                  <a:gd name="connsiteX4" fmla="*/ 60007 w 189547"/>
                  <a:gd name="connsiteY4" fmla="*/ 11430 h 88677"/>
                  <a:gd name="connsiteX5" fmla="*/ 73343 w 189547"/>
                  <a:gd name="connsiteY5" fmla="*/ 11430 h 88677"/>
                  <a:gd name="connsiteX6" fmla="*/ 91440 w 189547"/>
                  <a:gd name="connsiteY6" fmla="*/ 22003 h 88677"/>
                  <a:gd name="connsiteX7" fmla="*/ 98107 w 189547"/>
                  <a:gd name="connsiteY7" fmla="*/ 24860 h 88677"/>
                  <a:gd name="connsiteX8" fmla="*/ 116205 w 189547"/>
                  <a:gd name="connsiteY8" fmla="*/ 32480 h 88677"/>
                  <a:gd name="connsiteX9" fmla="*/ 126682 w 189547"/>
                  <a:gd name="connsiteY9" fmla="*/ 32480 h 88677"/>
                  <a:gd name="connsiteX10" fmla="*/ 143827 w 189547"/>
                  <a:gd name="connsiteY10" fmla="*/ 28575 h 88677"/>
                  <a:gd name="connsiteX11" fmla="*/ 161925 w 189547"/>
                  <a:gd name="connsiteY11" fmla="*/ 39148 h 88677"/>
                  <a:gd name="connsiteX12" fmla="*/ 164782 w 189547"/>
                  <a:gd name="connsiteY12" fmla="*/ 42863 h 88677"/>
                  <a:gd name="connsiteX13" fmla="*/ 179070 w 189547"/>
                  <a:gd name="connsiteY13" fmla="*/ 57150 h 88677"/>
                  <a:gd name="connsiteX14" fmla="*/ 172402 w 189547"/>
                  <a:gd name="connsiteY14" fmla="*/ 60103 h 88677"/>
                  <a:gd name="connsiteX15" fmla="*/ 182880 w 189547"/>
                  <a:gd name="connsiteY15" fmla="*/ 71438 h 88677"/>
                  <a:gd name="connsiteX16" fmla="*/ 189548 w 189547"/>
                  <a:gd name="connsiteY16" fmla="*/ 82010 h 88677"/>
                  <a:gd name="connsiteX17" fmla="*/ 186690 w 189547"/>
                  <a:gd name="connsiteY17" fmla="*/ 88678 h 88677"/>
                  <a:gd name="connsiteX18" fmla="*/ 176213 w 189547"/>
                  <a:gd name="connsiteY18" fmla="*/ 88678 h 88677"/>
                  <a:gd name="connsiteX19" fmla="*/ 154305 w 189547"/>
                  <a:gd name="connsiteY19" fmla="*/ 71438 h 88677"/>
                  <a:gd name="connsiteX20" fmla="*/ 143827 w 189547"/>
                  <a:gd name="connsiteY20" fmla="*/ 78105 h 88677"/>
                  <a:gd name="connsiteX21" fmla="*/ 129540 w 189547"/>
                  <a:gd name="connsiteY21" fmla="*/ 78105 h 88677"/>
                  <a:gd name="connsiteX22" fmla="*/ 116205 w 189547"/>
                  <a:gd name="connsiteY22" fmla="*/ 82010 h 88677"/>
                  <a:gd name="connsiteX23" fmla="*/ 101918 w 189547"/>
                  <a:gd name="connsiteY23" fmla="*/ 88678 h 88677"/>
                  <a:gd name="connsiteX24" fmla="*/ 91440 w 189547"/>
                  <a:gd name="connsiteY24" fmla="*/ 82010 h 88677"/>
                  <a:gd name="connsiteX25" fmla="*/ 80963 w 189547"/>
                  <a:gd name="connsiteY25" fmla="*/ 71438 h 88677"/>
                  <a:gd name="connsiteX26" fmla="*/ 66675 w 189547"/>
                  <a:gd name="connsiteY26" fmla="*/ 67723 h 88677"/>
                  <a:gd name="connsiteX27" fmla="*/ 62865 w 189547"/>
                  <a:gd name="connsiteY27" fmla="*/ 78105 h 88677"/>
                  <a:gd name="connsiteX28" fmla="*/ 45720 w 189547"/>
                  <a:gd name="connsiteY28" fmla="*/ 71438 h 88677"/>
                  <a:gd name="connsiteX29" fmla="*/ 52388 w 189547"/>
                  <a:gd name="connsiteY29" fmla="*/ 57150 h 88677"/>
                  <a:gd name="connsiteX30" fmla="*/ 45720 w 189547"/>
                  <a:gd name="connsiteY30" fmla="*/ 39148 h 88677"/>
                  <a:gd name="connsiteX31" fmla="*/ 35243 w 189547"/>
                  <a:gd name="connsiteY31" fmla="*/ 24860 h 88677"/>
                  <a:gd name="connsiteX32" fmla="*/ 20955 w 189547"/>
                  <a:gd name="connsiteY32" fmla="*/ 18193 h 88677"/>
                  <a:gd name="connsiteX33" fmla="*/ 10477 w 189547"/>
                  <a:gd name="connsiteY33" fmla="*/ 11430 h 88677"/>
                  <a:gd name="connsiteX34" fmla="*/ 0 w 189547"/>
                  <a:gd name="connsiteY34" fmla="*/ 3905 h 88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89547" h="88677">
                    <a:moveTo>
                      <a:pt x="0" y="3905"/>
                    </a:moveTo>
                    <a:lnTo>
                      <a:pt x="20955" y="0"/>
                    </a:lnTo>
                    <a:lnTo>
                      <a:pt x="31432" y="7715"/>
                    </a:lnTo>
                    <a:lnTo>
                      <a:pt x="41910" y="14288"/>
                    </a:lnTo>
                    <a:lnTo>
                      <a:pt x="60007" y="11430"/>
                    </a:lnTo>
                    <a:lnTo>
                      <a:pt x="73343" y="11430"/>
                    </a:lnTo>
                    <a:lnTo>
                      <a:pt x="91440" y="22003"/>
                    </a:lnTo>
                    <a:lnTo>
                      <a:pt x="98107" y="24860"/>
                    </a:lnTo>
                    <a:lnTo>
                      <a:pt x="116205" y="32480"/>
                    </a:lnTo>
                    <a:lnTo>
                      <a:pt x="126682" y="32480"/>
                    </a:lnTo>
                    <a:lnTo>
                      <a:pt x="143827" y="28575"/>
                    </a:lnTo>
                    <a:lnTo>
                      <a:pt x="161925" y="39148"/>
                    </a:lnTo>
                    <a:lnTo>
                      <a:pt x="164782" y="42863"/>
                    </a:lnTo>
                    <a:lnTo>
                      <a:pt x="179070" y="57150"/>
                    </a:lnTo>
                    <a:lnTo>
                      <a:pt x="172402" y="60103"/>
                    </a:lnTo>
                    <a:lnTo>
                      <a:pt x="182880" y="71438"/>
                    </a:lnTo>
                    <a:lnTo>
                      <a:pt x="189548" y="82010"/>
                    </a:lnTo>
                    <a:lnTo>
                      <a:pt x="186690" y="88678"/>
                    </a:lnTo>
                    <a:lnTo>
                      <a:pt x="176213" y="88678"/>
                    </a:lnTo>
                    <a:lnTo>
                      <a:pt x="154305" y="71438"/>
                    </a:lnTo>
                    <a:lnTo>
                      <a:pt x="143827" y="78105"/>
                    </a:lnTo>
                    <a:lnTo>
                      <a:pt x="129540" y="78105"/>
                    </a:lnTo>
                    <a:lnTo>
                      <a:pt x="116205" y="82010"/>
                    </a:lnTo>
                    <a:lnTo>
                      <a:pt x="101918" y="88678"/>
                    </a:lnTo>
                    <a:lnTo>
                      <a:pt x="91440" y="82010"/>
                    </a:lnTo>
                    <a:lnTo>
                      <a:pt x="80963" y="71438"/>
                    </a:lnTo>
                    <a:lnTo>
                      <a:pt x="66675" y="67723"/>
                    </a:lnTo>
                    <a:lnTo>
                      <a:pt x="62865" y="78105"/>
                    </a:lnTo>
                    <a:lnTo>
                      <a:pt x="45720" y="71438"/>
                    </a:lnTo>
                    <a:lnTo>
                      <a:pt x="52388" y="57150"/>
                    </a:lnTo>
                    <a:lnTo>
                      <a:pt x="45720" y="39148"/>
                    </a:lnTo>
                    <a:lnTo>
                      <a:pt x="35243" y="24860"/>
                    </a:lnTo>
                    <a:lnTo>
                      <a:pt x="20955" y="18193"/>
                    </a:lnTo>
                    <a:lnTo>
                      <a:pt x="10477" y="11430"/>
                    </a:lnTo>
                    <a:lnTo>
                      <a:pt x="0" y="39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1" name="Freeform: Shape 210">
                <a:extLst>
                  <a:ext uri="{FF2B5EF4-FFF2-40B4-BE49-F238E27FC236}">
                    <a16:creationId xmlns:a16="http://schemas.microsoft.com/office/drawing/2014/main" id="{2A4A658A-0ACB-2680-61C8-D8F02EFF41B9}"/>
                  </a:ext>
                </a:extLst>
              </p:cNvPr>
              <p:cNvSpPr/>
              <p:nvPr/>
            </p:nvSpPr>
            <p:spPr>
              <a:xfrm>
                <a:off x="7441125" y="3300007"/>
                <a:ext cx="383760" cy="238101"/>
              </a:xfrm>
              <a:custGeom>
                <a:avLst/>
                <a:gdLst>
                  <a:gd name="connsiteX0" fmla="*/ 35243 w 391477"/>
                  <a:gd name="connsiteY0" fmla="*/ 182880 h 242887"/>
                  <a:gd name="connsiteX1" fmla="*/ 31432 w 391477"/>
                  <a:gd name="connsiteY1" fmla="*/ 140875 h 242887"/>
                  <a:gd name="connsiteX2" fmla="*/ 41910 w 391477"/>
                  <a:gd name="connsiteY2" fmla="*/ 126587 h 242887"/>
                  <a:gd name="connsiteX3" fmla="*/ 20955 w 391477"/>
                  <a:gd name="connsiteY3" fmla="*/ 98012 h 242887"/>
                  <a:gd name="connsiteX4" fmla="*/ 14288 w 391477"/>
                  <a:gd name="connsiteY4" fmla="*/ 87630 h 242887"/>
                  <a:gd name="connsiteX5" fmla="*/ 0 w 391477"/>
                  <a:gd name="connsiteY5" fmla="*/ 91345 h 242887"/>
                  <a:gd name="connsiteX6" fmla="*/ 0 w 391477"/>
                  <a:gd name="connsiteY6" fmla="*/ 77057 h 242887"/>
                  <a:gd name="connsiteX7" fmla="*/ 10478 w 391477"/>
                  <a:gd name="connsiteY7" fmla="*/ 62770 h 242887"/>
                  <a:gd name="connsiteX8" fmla="*/ 20955 w 391477"/>
                  <a:gd name="connsiteY8" fmla="*/ 70485 h 242887"/>
                  <a:gd name="connsiteX9" fmla="*/ 49530 w 391477"/>
                  <a:gd name="connsiteY9" fmla="*/ 70485 h 242887"/>
                  <a:gd name="connsiteX10" fmla="*/ 60007 w 391477"/>
                  <a:gd name="connsiteY10" fmla="*/ 56198 h 242887"/>
                  <a:gd name="connsiteX11" fmla="*/ 45720 w 391477"/>
                  <a:gd name="connsiteY11" fmla="*/ 41910 h 242887"/>
                  <a:gd name="connsiteX12" fmla="*/ 35243 w 391477"/>
                  <a:gd name="connsiteY12" fmla="*/ 27623 h 242887"/>
                  <a:gd name="connsiteX13" fmla="*/ 24765 w 391477"/>
                  <a:gd name="connsiteY13" fmla="*/ 17050 h 242887"/>
                  <a:gd name="connsiteX14" fmla="*/ 7620 w 391477"/>
                  <a:gd name="connsiteY14" fmla="*/ 24670 h 242887"/>
                  <a:gd name="connsiteX15" fmla="*/ 3810 w 391477"/>
                  <a:gd name="connsiteY15" fmla="*/ 49530 h 242887"/>
                  <a:gd name="connsiteX16" fmla="*/ 0 w 391477"/>
                  <a:gd name="connsiteY16" fmla="*/ 38957 h 242887"/>
                  <a:gd name="connsiteX17" fmla="*/ 0 w 391477"/>
                  <a:gd name="connsiteY17" fmla="*/ 20955 h 242887"/>
                  <a:gd name="connsiteX18" fmla="*/ 18098 w 391477"/>
                  <a:gd name="connsiteY18" fmla="*/ 10382 h 242887"/>
                  <a:gd name="connsiteX19" fmla="*/ 41910 w 391477"/>
                  <a:gd name="connsiteY19" fmla="*/ 6668 h 242887"/>
                  <a:gd name="connsiteX20" fmla="*/ 63818 w 391477"/>
                  <a:gd name="connsiteY20" fmla="*/ 20955 h 242887"/>
                  <a:gd name="connsiteX21" fmla="*/ 77153 w 391477"/>
                  <a:gd name="connsiteY21" fmla="*/ 45625 h 242887"/>
                  <a:gd name="connsiteX22" fmla="*/ 95250 w 391477"/>
                  <a:gd name="connsiteY22" fmla="*/ 49530 h 242887"/>
                  <a:gd name="connsiteX23" fmla="*/ 120015 w 391477"/>
                  <a:gd name="connsiteY23" fmla="*/ 45625 h 242887"/>
                  <a:gd name="connsiteX24" fmla="*/ 120015 w 391477"/>
                  <a:gd name="connsiteY24" fmla="*/ 24670 h 242887"/>
                  <a:gd name="connsiteX25" fmla="*/ 169545 w 391477"/>
                  <a:gd name="connsiteY25" fmla="*/ 0 h 242887"/>
                  <a:gd name="connsiteX26" fmla="*/ 180023 w 391477"/>
                  <a:gd name="connsiteY26" fmla="*/ 10382 h 242887"/>
                  <a:gd name="connsiteX27" fmla="*/ 204788 w 391477"/>
                  <a:gd name="connsiteY27" fmla="*/ 14288 h 242887"/>
                  <a:gd name="connsiteX28" fmla="*/ 207645 w 391477"/>
                  <a:gd name="connsiteY28" fmla="*/ 20955 h 242887"/>
                  <a:gd name="connsiteX29" fmla="*/ 207645 w 391477"/>
                  <a:gd name="connsiteY29" fmla="*/ 49530 h 242887"/>
                  <a:gd name="connsiteX30" fmla="*/ 253365 w 391477"/>
                  <a:gd name="connsiteY30" fmla="*/ 49530 h 242887"/>
                  <a:gd name="connsiteX31" fmla="*/ 278130 w 391477"/>
                  <a:gd name="connsiteY31" fmla="*/ 95250 h 242887"/>
                  <a:gd name="connsiteX32" fmla="*/ 313373 w 391477"/>
                  <a:gd name="connsiteY32" fmla="*/ 116205 h 242887"/>
                  <a:gd name="connsiteX33" fmla="*/ 352425 w 391477"/>
                  <a:gd name="connsiteY33" fmla="*/ 144780 h 242887"/>
                  <a:gd name="connsiteX34" fmla="*/ 373380 w 391477"/>
                  <a:gd name="connsiteY34" fmla="*/ 147638 h 242887"/>
                  <a:gd name="connsiteX35" fmla="*/ 391478 w 391477"/>
                  <a:gd name="connsiteY35" fmla="*/ 158020 h 242887"/>
                  <a:gd name="connsiteX36" fmla="*/ 391478 w 391477"/>
                  <a:gd name="connsiteY36" fmla="*/ 172307 h 242887"/>
                  <a:gd name="connsiteX37" fmla="*/ 369570 w 391477"/>
                  <a:gd name="connsiteY37" fmla="*/ 172307 h 242887"/>
                  <a:gd name="connsiteX38" fmla="*/ 341948 w 391477"/>
                  <a:gd name="connsiteY38" fmla="*/ 182880 h 242887"/>
                  <a:gd name="connsiteX39" fmla="*/ 320993 w 391477"/>
                  <a:gd name="connsiteY39" fmla="*/ 215170 h 242887"/>
                  <a:gd name="connsiteX40" fmla="*/ 299085 w 391477"/>
                  <a:gd name="connsiteY40" fmla="*/ 221837 h 242887"/>
                  <a:gd name="connsiteX41" fmla="*/ 281940 w 391477"/>
                  <a:gd name="connsiteY41" fmla="*/ 242888 h 242887"/>
                  <a:gd name="connsiteX42" fmla="*/ 263843 w 391477"/>
                  <a:gd name="connsiteY42" fmla="*/ 236125 h 242887"/>
                  <a:gd name="connsiteX43" fmla="*/ 242888 w 391477"/>
                  <a:gd name="connsiteY43" fmla="*/ 236125 h 242887"/>
                  <a:gd name="connsiteX44" fmla="*/ 240030 w 391477"/>
                  <a:gd name="connsiteY44" fmla="*/ 197168 h 242887"/>
                  <a:gd name="connsiteX45" fmla="*/ 221932 w 391477"/>
                  <a:gd name="connsiteY45" fmla="*/ 193262 h 242887"/>
                  <a:gd name="connsiteX46" fmla="*/ 120015 w 391477"/>
                  <a:gd name="connsiteY46" fmla="*/ 147638 h 242887"/>
                  <a:gd name="connsiteX47" fmla="*/ 74295 w 391477"/>
                  <a:gd name="connsiteY47" fmla="*/ 155162 h 242887"/>
                  <a:gd name="connsiteX48" fmla="*/ 35243 w 391477"/>
                  <a:gd name="connsiteY48" fmla="*/ 182880 h 242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91477" h="242887">
                    <a:moveTo>
                      <a:pt x="35243" y="182880"/>
                    </a:moveTo>
                    <a:lnTo>
                      <a:pt x="31432" y="140875"/>
                    </a:lnTo>
                    <a:lnTo>
                      <a:pt x="41910" y="126587"/>
                    </a:lnTo>
                    <a:lnTo>
                      <a:pt x="20955" y="98012"/>
                    </a:lnTo>
                    <a:lnTo>
                      <a:pt x="14288" y="87630"/>
                    </a:lnTo>
                    <a:lnTo>
                      <a:pt x="0" y="91345"/>
                    </a:lnTo>
                    <a:lnTo>
                      <a:pt x="0" y="77057"/>
                    </a:lnTo>
                    <a:lnTo>
                      <a:pt x="10478" y="62770"/>
                    </a:lnTo>
                    <a:lnTo>
                      <a:pt x="20955" y="70485"/>
                    </a:lnTo>
                    <a:lnTo>
                      <a:pt x="49530" y="70485"/>
                    </a:lnTo>
                    <a:lnTo>
                      <a:pt x="60007" y="56198"/>
                    </a:lnTo>
                    <a:lnTo>
                      <a:pt x="45720" y="41910"/>
                    </a:lnTo>
                    <a:lnTo>
                      <a:pt x="35243" y="27623"/>
                    </a:lnTo>
                    <a:lnTo>
                      <a:pt x="24765" y="17050"/>
                    </a:lnTo>
                    <a:lnTo>
                      <a:pt x="7620" y="24670"/>
                    </a:lnTo>
                    <a:lnTo>
                      <a:pt x="3810" y="49530"/>
                    </a:lnTo>
                    <a:lnTo>
                      <a:pt x="0" y="38957"/>
                    </a:lnTo>
                    <a:lnTo>
                      <a:pt x="0" y="20955"/>
                    </a:lnTo>
                    <a:lnTo>
                      <a:pt x="18098" y="10382"/>
                    </a:lnTo>
                    <a:lnTo>
                      <a:pt x="41910" y="6668"/>
                    </a:lnTo>
                    <a:lnTo>
                      <a:pt x="63818" y="20955"/>
                    </a:lnTo>
                    <a:lnTo>
                      <a:pt x="77153" y="45625"/>
                    </a:lnTo>
                    <a:lnTo>
                      <a:pt x="95250" y="49530"/>
                    </a:lnTo>
                    <a:lnTo>
                      <a:pt x="120015" y="45625"/>
                    </a:lnTo>
                    <a:lnTo>
                      <a:pt x="120015" y="24670"/>
                    </a:lnTo>
                    <a:lnTo>
                      <a:pt x="169545" y="0"/>
                    </a:lnTo>
                    <a:lnTo>
                      <a:pt x="180023" y="10382"/>
                    </a:lnTo>
                    <a:lnTo>
                      <a:pt x="204788" y="14288"/>
                    </a:lnTo>
                    <a:lnTo>
                      <a:pt x="207645" y="20955"/>
                    </a:lnTo>
                    <a:lnTo>
                      <a:pt x="207645" y="49530"/>
                    </a:lnTo>
                    <a:lnTo>
                      <a:pt x="253365" y="49530"/>
                    </a:lnTo>
                    <a:lnTo>
                      <a:pt x="278130" y="95250"/>
                    </a:lnTo>
                    <a:lnTo>
                      <a:pt x="313373" y="116205"/>
                    </a:lnTo>
                    <a:lnTo>
                      <a:pt x="352425" y="144780"/>
                    </a:lnTo>
                    <a:lnTo>
                      <a:pt x="373380" y="147638"/>
                    </a:lnTo>
                    <a:lnTo>
                      <a:pt x="391478" y="158020"/>
                    </a:lnTo>
                    <a:lnTo>
                      <a:pt x="391478" y="172307"/>
                    </a:lnTo>
                    <a:lnTo>
                      <a:pt x="369570" y="172307"/>
                    </a:lnTo>
                    <a:lnTo>
                      <a:pt x="341948" y="182880"/>
                    </a:lnTo>
                    <a:lnTo>
                      <a:pt x="320993" y="215170"/>
                    </a:lnTo>
                    <a:lnTo>
                      <a:pt x="299085" y="221837"/>
                    </a:lnTo>
                    <a:lnTo>
                      <a:pt x="281940" y="242888"/>
                    </a:lnTo>
                    <a:lnTo>
                      <a:pt x="263843" y="236125"/>
                    </a:lnTo>
                    <a:lnTo>
                      <a:pt x="242888" y="236125"/>
                    </a:lnTo>
                    <a:lnTo>
                      <a:pt x="240030" y="197168"/>
                    </a:lnTo>
                    <a:lnTo>
                      <a:pt x="221932" y="193262"/>
                    </a:lnTo>
                    <a:lnTo>
                      <a:pt x="120015" y="147638"/>
                    </a:lnTo>
                    <a:lnTo>
                      <a:pt x="74295" y="155162"/>
                    </a:lnTo>
                    <a:lnTo>
                      <a:pt x="35243" y="18288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2" name="Freeform: Shape 211">
                <a:extLst>
                  <a:ext uri="{FF2B5EF4-FFF2-40B4-BE49-F238E27FC236}">
                    <a16:creationId xmlns:a16="http://schemas.microsoft.com/office/drawing/2014/main" id="{711EF99E-DFAA-875C-10F8-A18C0ACE41E1}"/>
                  </a:ext>
                </a:extLst>
              </p:cNvPr>
              <p:cNvSpPr/>
              <p:nvPr/>
            </p:nvSpPr>
            <p:spPr>
              <a:xfrm>
                <a:off x="7441125" y="3300007"/>
                <a:ext cx="383760" cy="238101"/>
              </a:xfrm>
              <a:custGeom>
                <a:avLst/>
                <a:gdLst>
                  <a:gd name="connsiteX0" fmla="*/ 35243 w 391477"/>
                  <a:gd name="connsiteY0" fmla="*/ 182880 h 242887"/>
                  <a:gd name="connsiteX1" fmla="*/ 31432 w 391477"/>
                  <a:gd name="connsiteY1" fmla="*/ 140875 h 242887"/>
                  <a:gd name="connsiteX2" fmla="*/ 41910 w 391477"/>
                  <a:gd name="connsiteY2" fmla="*/ 126587 h 242887"/>
                  <a:gd name="connsiteX3" fmla="*/ 20955 w 391477"/>
                  <a:gd name="connsiteY3" fmla="*/ 98012 h 242887"/>
                  <a:gd name="connsiteX4" fmla="*/ 14288 w 391477"/>
                  <a:gd name="connsiteY4" fmla="*/ 87630 h 242887"/>
                  <a:gd name="connsiteX5" fmla="*/ 0 w 391477"/>
                  <a:gd name="connsiteY5" fmla="*/ 91345 h 242887"/>
                  <a:gd name="connsiteX6" fmla="*/ 0 w 391477"/>
                  <a:gd name="connsiteY6" fmla="*/ 77057 h 242887"/>
                  <a:gd name="connsiteX7" fmla="*/ 10478 w 391477"/>
                  <a:gd name="connsiteY7" fmla="*/ 62770 h 242887"/>
                  <a:gd name="connsiteX8" fmla="*/ 20955 w 391477"/>
                  <a:gd name="connsiteY8" fmla="*/ 70485 h 242887"/>
                  <a:gd name="connsiteX9" fmla="*/ 49530 w 391477"/>
                  <a:gd name="connsiteY9" fmla="*/ 70485 h 242887"/>
                  <a:gd name="connsiteX10" fmla="*/ 60007 w 391477"/>
                  <a:gd name="connsiteY10" fmla="*/ 56198 h 242887"/>
                  <a:gd name="connsiteX11" fmla="*/ 45720 w 391477"/>
                  <a:gd name="connsiteY11" fmla="*/ 41910 h 242887"/>
                  <a:gd name="connsiteX12" fmla="*/ 35243 w 391477"/>
                  <a:gd name="connsiteY12" fmla="*/ 27623 h 242887"/>
                  <a:gd name="connsiteX13" fmla="*/ 24765 w 391477"/>
                  <a:gd name="connsiteY13" fmla="*/ 17050 h 242887"/>
                  <a:gd name="connsiteX14" fmla="*/ 7620 w 391477"/>
                  <a:gd name="connsiteY14" fmla="*/ 24670 h 242887"/>
                  <a:gd name="connsiteX15" fmla="*/ 3810 w 391477"/>
                  <a:gd name="connsiteY15" fmla="*/ 49530 h 242887"/>
                  <a:gd name="connsiteX16" fmla="*/ 0 w 391477"/>
                  <a:gd name="connsiteY16" fmla="*/ 38957 h 242887"/>
                  <a:gd name="connsiteX17" fmla="*/ 0 w 391477"/>
                  <a:gd name="connsiteY17" fmla="*/ 20955 h 242887"/>
                  <a:gd name="connsiteX18" fmla="*/ 18098 w 391477"/>
                  <a:gd name="connsiteY18" fmla="*/ 10382 h 242887"/>
                  <a:gd name="connsiteX19" fmla="*/ 41910 w 391477"/>
                  <a:gd name="connsiteY19" fmla="*/ 6668 h 242887"/>
                  <a:gd name="connsiteX20" fmla="*/ 63818 w 391477"/>
                  <a:gd name="connsiteY20" fmla="*/ 20955 h 242887"/>
                  <a:gd name="connsiteX21" fmla="*/ 77153 w 391477"/>
                  <a:gd name="connsiteY21" fmla="*/ 45625 h 242887"/>
                  <a:gd name="connsiteX22" fmla="*/ 95250 w 391477"/>
                  <a:gd name="connsiteY22" fmla="*/ 49530 h 242887"/>
                  <a:gd name="connsiteX23" fmla="*/ 120015 w 391477"/>
                  <a:gd name="connsiteY23" fmla="*/ 45625 h 242887"/>
                  <a:gd name="connsiteX24" fmla="*/ 120015 w 391477"/>
                  <a:gd name="connsiteY24" fmla="*/ 24670 h 242887"/>
                  <a:gd name="connsiteX25" fmla="*/ 169545 w 391477"/>
                  <a:gd name="connsiteY25" fmla="*/ 0 h 242887"/>
                  <a:gd name="connsiteX26" fmla="*/ 180023 w 391477"/>
                  <a:gd name="connsiteY26" fmla="*/ 10382 h 242887"/>
                  <a:gd name="connsiteX27" fmla="*/ 204788 w 391477"/>
                  <a:gd name="connsiteY27" fmla="*/ 14288 h 242887"/>
                  <a:gd name="connsiteX28" fmla="*/ 207645 w 391477"/>
                  <a:gd name="connsiteY28" fmla="*/ 20955 h 242887"/>
                  <a:gd name="connsiteX29" fmla="*/ 207645 w 391477"/>
                  <a:gd name="connsiteY29" fmla="*/ 49530 h 242887"/>
                  <a:gd name="connsiteX30" fmla="*/ 253365 w 391477"/>
                  <a:gd name="connsiteY30" fmla="*/ 49530 h 242887"/>
                  <a:gd name="connsiteX31" fmla="*/ 278130 w 391477"/>
                  <a:gd name="connsiteY31" fmla="*/ 95250 h 242887"/>
                  <a:gd name="connsiteX32" fmla="*/ 313373 w 391477"/>
                  <a:gd name="connsiteY32" fmla="*/ 116205 h 242887"/>
                  <a:gd name="connsiteX33" fmla="*/ 352425 w 391477"/>
                  <a:gd name="connsiteY33" fmla="*/ 144780 h 242887"/>
                  <a:gd name="connsiteX34" fmla="*/ 373380 w 391477"/>
                  <a:gd name="connsiteY34" fmla="*/ 147638 h 242887"/>
                  <a:gd name="connsiteX35" fmla="*/ 391478 w 391477"/>
                  <a:gd name="connsiteY35" fmla="*/ 158020 h 242887"/>
                  <a:gd name="connsiteX36" fmla="*/ 391478 w 391477"/>
                  <a:gd name="connsiteY36" fmla="*/ 172307 h 242887"/>
                  <a:gd name="connsiteX37" fmla="*/ 369570 w 391477"/>
                  <a:gd name="connsiteY37" fmla="*/ 172307 h 242887"/>
                  <a:gd name="connsiteX38" fmla="*/ 341948 w 391477"/>
                  <a:gd name="connsiteY38" fmla="*/ 182880 h 242887"/>
                  <a:gd name="connsiteX39" fmla="*/ 320993 w 391477"/>
                  <a:gd name="connsiteY39" fmla="*/ 215170 h 242887"/>
                  <a:gd name="connsiteX40" fmla="*/ 299085 w 391477"/>
                  <a:gd name="connsiteY40" fmla="*/ 221837 h 242887"/>
                  <a:gd name="connsiteX41" fmla="*/ 281940 w 391477"/>
                  <a:gd name="connsiteY41" fmla="*/ 242888 h 242887"/>
                  <a:gd name="connsiteX42" fmla="*/ 263843 w 391477"/>
                  <a:gd name="connsiteY42" fmla="*/ 236125 h 242887"/>
                  <a:gd name="connsiteX43" fmla="*/ 242888 w 391477"/>
                  <a:gd name="connsiteY43" fmla="*/ 236125 h 242887"/>
                  <a:gd name="connsiteX44" fmla="*/ 240030 w 391477"/>
                  <a:gd name="connsiteY44" fmla="*/ 197168 h 242887"/>
                  <a:gd name="connsiteX45" fmla="*/ 221932 w 391477"/>
                  <a:gd name="connsiteY45" fmla="*/ 193262 h 242887"/>
                  <a:gd name="connsiteX46" fmla="*/ 120015 w 391477"/>
                  <a:gd name="connsiteY46" fmla="*/ 147638 h 242887"/>
                  <a:gd name="connsiteX47" fmla="*/ 74295 w 391477"/>
                  <a:gd name="connsiteY47" fmla="*/ 155162 h 242887"/>
                  <a:gd name="connsiteX48" fmla="*/ 35243 w 391477"/>
                  <a:gd name="connsiteY48" fmla="*/ 182880 h 242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91477" h="242887">
                    <a:moveTo>
                      <a:pt x="35243" y="182880"/>
                    </a:moveTo>
                    <a:lnTo>
                      <a:pt x="31432" y="140875"/>
                    </a:lnTo>
                    <a:lnTo>
                      <a:pt x="41910" y="126587"/>
                    </a:lnTo>
                    <a:lnTo>
                      <a:pt x="20955" y="98012"/>
                    </a:lnTo>
                    <a:lnTo>
                      <a:pt x="14288" y="87630"/>
                    </a:lnTo>
                    <a:lnTo>
                      <a:pt x="0" y="91345"/>
                    </a:lnTo>
                    <a:lnTo>
                      <a:pt x="0" y="77057"/>
                    </a:lnTo>
                    <a:lnTo>
                      <a:pt x="10478" y="62770"/>
                    </a:lnTo>
                    <a:lnTo>
                      <a:pt x="20955" y="70485"/>
                    </a:lnTo>
                    <a:lnTo>
                      <a:pt x="49530" y="70485"/>
                    </a:lnTo>
                    <a:lnTo>
                      <a:pt x="60007" y="56198"/>
                    </a:lnTo>
                    <a:lnTo>
                      <a:pt x="45720" y="41910"/>
                    </a:lnTo>
                    <a:lnTo>
                      <a:pt x="35243" y="27623"/>
                    </a:lnTo>
                    <a:lnTo>
                      <a:pt x="24765" y="17050"/>
                    </a:lnTo>
                    <a:lnTo>
                      <a:pt x="7620" y="24670"/>
                    </a:lnTo>
                    <a:lnTo>
                      <a:pt x="3810" y="49530"/>
                    </a:lnTo>
                    <a:lnTo>
                      <a:pt x="0" y="38957"/>
                    </a:lnTo>
                    <a:lnTo>
                      <a:pt x="0" y="20955"/>
                    </a:lnTo>
                    <a:lnTo>
                      <a:pt x="18098" y="10382"/>
                    </a:lnTo>
                    <a:lnTo>
                      <a:pt x="41910" y="6668"/>
                    </a:lnTo>
                    <a:lnTo>
                      <a:pt x="63818" y="20955"/>
                    </a:lnTo>
                    <a:lnTo>
                      <a:pt x="77153" y="45625"/>
                    </a:lnTo>
                    <a:lnTo>
                      <a:pt x="95250" y="49530"/>
                    </a:lnTo>
                    <a:lnTo>
                      <a:pt x="120015" y="45625"/>
                    </a:lnTo>
                    <a:lnTo>
                      <a:pt x="120015" y="24670"/>
                    </a:lnTo>
                    <a:lnTo>
                      <a:pt x="169545" y="0"/>
                    </a:lnTo>
                    <a:lnTo>
                      <a:pt x="180023" y="10382"/>
                    </a:lnTo>
                    <a:lnTo>
                      <a:pt x="204788" y="14288"/>
                    </a:lnTo>
                    <a:lnTo>
                      <a:pt x="207645" y="20955"/>
                    </a:lnTo>
                    <a:lnTo>
                      <a:pt x="207645" y="49530"/>
                    </a:lnTo>
                    <a:lnTo>
                      <a:pt x="253365" y="49530"/>
                    </a:lnTo>
                    <a:lnTo>
                      <a:pt x="278130" y="95250"/>
                    </a:lnTo>
                    <a:lnTo>
                      <a:pt x="313373" y="116205"/>
                    </a:lnTo>
                    <a:lnTo>
                      <a:pt x="352425" y="144780"/>
                    </a:lnTo>
                    <a:lnTo>
                      <a:pt x="373380" y="147638"/>
                    </a:lnTo>
                    <a:lnTo>
                      <a:pt x="391478" y="158020"/>
                    </a:lnTo>
                    <a:lnTo>
                      <a:pt x="391478" y="172307"/>
                    </a:lnTo>
                    <a:lnTo>
                      <a:pt x="369570" y="172307"/>
                    </a:lnTo>
                    <a:lnTo>
                      <a:pt x="341948" y="182880"/>
                    </a:lnTo>
                    <a:lnTo>
                      <a:pt x="320993" y="215170"/>
                    </a:lnTo>
                    <a:lnTo>
                      <a:pt x="299085" y="221837"/>
                    </a:lnTo>
                    <a:lnTo>
                      <a:pt x="281940" y="242888"/>
                    </a:lnTo>
                    <a:lnTo>
                      <a:pt x="263843" y="236125"/>
                    </a:lnTo>
                    <a:lnTo>
                      <a:pt x="242888" y="236125"/>
                    </a:lnTo>
                    <a:lnTo>
                      <a:pt x="240030" y="197168"/>
                    </a:lnTo>
                    <a:lnTo>
                      <a:pt x="221932" y="193262"/>
                    </a:lnTo>
                    <a:lnTo>
                      <a:pt x="120015" y="147638"/>
                    </a:lnTo>
                    <a:lnTo>
                      <a:pt x="74295" y="155162"/>
                    </a:lnTo>
                    <a:lnTo>
                      <a:pt x="35243" y="18288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3" name="Freeform: Shape 212">
                <a:extLst>
                  <a:ext uri="{FF2B5EF4-FFF2-40B4-BE49-F238E27FC236}">
                    <a16:creationId xmlns:a16="http://schemas.microsoft.com/office/drawing/2014/main" id="{8F6D5FC5-0D4D-01EB-9EA5-33552AF2242B}"/>
                  </a:ext>
                </a:extLst>
              </p:cNvPr>
              <p:cNvSpPr/>
              <p:nvPr/>
            </p:nvSpPr>
            <p:spPr>
              <a:xfrm>
                <a:off x="7845427" y="3358739"/>
                <a:ext cx="203552" cy="130722"/>
              </a:xfrm>
              <a:custGeom>
                <a:avLst/>
                <a:gdLst>
                  <a:gd name="connsiteX0" fmla="*/ 41910 w 207645"/>
                  <a:gd name="connsiteY0" fmla="*/ 24860 h 133350"/>
                  <a:gd name="connsiteX1" fmla="*/ 56198 w 207645"/>
                  <a:gd name="connsiteY1" fmla="*/ 17145 h 133350"/>
                  <a:gd name="connsiteX2" fmla="*/ 62865 w 207645"/>
                  <a:gd name="connsiteY2" fmla="*/ 2858 h 133350"/>
                  <a:gd name="connsiteX3" fmla="*/ 83820 w 207645"/>
                  <a:gd name="connsiteY3" fmla="*/ 0 h 133350"/>
                  <a:gd name="connsiteX4" fmla="*/ 95250 w 207645"/>
                  <a:gd name="connsiteY4" fmla="*/ 2858 h 133350"/>
                  <a:gd name="connsiteX5" fmla="*/ 91440 w 207645"/>
                  <a:gd name="connsiteY5" fmla="*/ 14288 h 133350"/>
                  <a:gd name="connsiteX6" fmla="*/ 87630 w 207645"/>
                  <a:gd name="connsiteY6" fmla="*/ 24860 h 133350"/>
                  <a:gd name="connsiteX7" fmla="*/ 91440 w 207645"/>
                  <a:gd name="connsiteY7" fmla="*/ 35338 h 133350"/>
                  <a:gd name="connsiteX8" fmla="*/ 95250 w 207645"/>
                  <a:gd name="connsiteY8" fmla="*/ 49625 h 133350"/>
                  <a:gd name="connsiteX9" fmla="*/ 116205 w 207645"/>
                  <a:gd name="connsiteY9" fmla="*/ 49625 h 133350"/>
                  <a:gd name="connsiteX10" fmla="*/ 140970 w 207645"/>
                  <a:gd name="connsiteY10" fmla="*/ 52388 h 133350"/>
                  <a:gd name="connsiteX11" fmla="*/ 176213 w 207645"/>
                  <a:gd name="connsiteY11" fmla="*/ 52388 h 133350"/>
                  <a:gd name="connsiteX12" fmla="*/ 172403 w 207645"/>
                  <a:gd name="connsiteY12" fmla="*/ 62960 h 133350"/>
                  <a:gd name="connsiteX13" fmla="*/ 176213 w 207645"/>
                  <a:gd name="connsiteY13" fmla="*/ 77248 h 133350"/>
                  <a:gd name="connsiteX14" fmla="*/ 186690 w 207645"/>
                  <a:gd name="connsiteY14" fmla="*/ 80963 h 133350"/>
                  <a:gd name="connsiteX15" fmla="*/ 207645 w 207645"/>
                  <a:gd name="connsiteY15" fmla="*/ 77248 h 133350"/>
                  <a:gd name="connsiteX16" fmla="*/ 207645 w 207645"/>
                  <a:gd name="connsiteY16" fmla="*/ 112395 h 133350"/>
                  <a:gd name="connsiteX17" fmla="*/ 158115 w 207645"/>
                  <a:gd name="connsiteY17" fmla="*/ 112395 h 133350"/>
                  <a:gd name="connsiteX18" fmla="*/ 140970 w 207645"/>
                  <a:gd name="connsiteY18" fmla="*/ 122968 h 133350"/>
                  <a:gd name="connsiteX19" fmla="*/ 112395 w 207645"/>
                  <a:gd name="connsiteY19" fmla="*/ 133350 h 133350"/>
                  <a:gd name="connsiteX20" fmla="*/ 112395 w 207645"/>
                  <a:gd name="connsiteY20" fmla="*/ 122968 h 133350"/>
                  <a:gd name="connsiteX21" fmla="*/ 116205 w 207645"/>
                  <a:gd name="connsiteY21" fmla="*/ 109538 h 133350"/>
                  <a:gd name="connsiteX22" fmla="*/ 112395 w 207645"/>
                  <a:gd name="connsiteY22" fmla="*/ 87725 h 133350"/>
                  <a:gd name="connsiteX23" fmla="*/ 98108 w 207645"/>
                  <a:gd name="connsiteY23" fmla="*/ 77248 h 133350"/>
                  <a:gd name="connsiteX24" fmla="*/ 80963 w 207645"/>
                  <a:gd name="connsiteY24" fmla="*/ 105823 h 133350"/>
                  <a:gd name="connsiteX25" fmla="*/ 66675 w 207645"/>
                  <a:gd name="connsiteY25" fmla="*/ 109538 h 133350"/>
                  <a:gd name="connsiteX26" fmla="*/ 31433 w 207645"/>
                  <a:gd name="connsiteY26" fmla="*/ 130588 h 133350"/>
                  <a:gd name="connsiteX27" fmla="*/ 13335 w 207645"/>
                  <a:gd name="connsiteY27" fmla="*/ 122968 h 133350"/>
                  <a:gd name="connsiteX28" fmla="*/ 13335 w 207645"/>
                  <a:gd name="connsiteY28" fmla="*/ 109538 h 133350"/>
                  <a:gd name="connsiteX29" fmla="*/ 27623 w 207645"/>
                  <a:gd name="connsiteY29" fmla="*/ 91535 h 133350"/>
                  <a:gd name="connsiteX30" fmla="*/ 17145 w 207645"/>
                  <a:gd name="connsiteY30" fmla="*/ 87725 h 133350"/>
                  <a:gd name="connsiteX31" fmla="*/ 20955 w 207645"/>
                  <a:gd name="connsiteY31" fmla="*/ 62960 h 133350"/>
                  <a:gd name="connsiteX32" fmla="*/ 0 w 207645"/>
                  <a:gd name="connsiteY32" fmla="*/ 62960 h 133350"/>
                  <a:gd name="connsiteX33" fmla="*/ 0 w 207645"/>
                  <a:gd name="connsiteY33" fmla="*/ 45720 h 133350"/>
                  <a:gd name="connsiteX34" fmla="*/ 35243 w 207645"/>
                  <a:gd name="connsiteY34" fmla="*/ 45720 h 133350"/>
                  <a:gd name="connsiteX35" fmla="*/ 31433 w 207645"/>
                  <a:gd name="connsiteY35" fmla="*/ 21050 h 133350"/>
                  <a:gd name="connsiteX36" fmla="*/ 41910 w 207645"/>
                  <a:gd name="connsiteY36" fmla="*/ 2486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07645" h="133350">
                    <a:moveTo>
                      <a:pt x="41910" y="24860"/>
                    </a:moveTo>
                    <a:lnTo>
                      <a:pt x="56198" y="17145"/>
                    </a:lnTo>
                    <a:lnTo>
                      <a:pt x="62865" y="2858"/>
                    </a:lnTo>
                    <a:lnTo>
                      <a:pt x="83820" y="0"/>
                    </a:lnTo>
                    <a:lnTo>
                      <a:pt x="95250" y="2858"/>
                    </a:lnTo>
                    <a:lnTo>
                      <a:pt x="91440" y="14288"/>
                    </a:lnTo>
                    <a:lnTo>
                      <a:pt x="87630" y="24860"/>
                    </a:lnTo>
                    <a:lnTo>
                      <a:pt x="91440" y="35338"/>
                    </a:lnTo>
                    <a:lnTo>
                      <a:pt x="95250" y="49625"/>
                    </a:lnTo>
                    <a:lnTo>
                      <a:pt x="116205" y="49625"/>
                    </a:lnTo>
                    <a:lnTo>
                      <a:pt x="140970" y="52388"/>
                    </a:lnTo>
                    <a:lnTo>
                      <a:pt x="176213" y="52388"/>
                    </a:lnTo>
                    <a:lnTo>
                      <a:pt x="172403" y="62960"/>
                    </a:lnTo>
                    <a:lnTo>
                      <a:pt x="176213" y="77248"/>
                    </a:lnTo>
                    <a:lnTo>
                      <a:pt x="186690" y="80963"/>
                    </a:lnTo>
                    <a:lnTo>
                      <a:pt x="207645" y="77248"/>
                    </a:lnTo>
                    <a:lnTo>
                      <a:pt x="207645" y="112395"/>
                    </a:lnTo>
                    <a:lnTo>
                      <a:pt x="158115" y="112395"/>
                    </a:lnTo>
                    <a:lnTo>
                      <a:pt x="140970" y="122968"/>
                    </a:lnTo>
                    <a:lnTo>
                      <a:pt x="112395" y="133350"/>
                    </a:lnTo>
                    <a:lnTo>
                      <a:pt x="112395" y="122968"/>
                    </a:lnTo>
                    <a:lnTo>
                      <a:pt x="116205" y="109538"/>
                    </a:lnTo>
                    <a:lnTo>
                      <a:pt x="112395" y="87725"/>
                    </a:lnTo>
                    <a:lnTo>
                      <a:pt x="98108" y="77248"/>
                    </a:lnTo>
                    <a:lnTo>
                      <a:pt x="80963" y="105823"/>
                    </a:lnTo>
                    <a:lnTo>
                      <a:pt x="66675" y="109538"/>
                    </a:lnTo>
                    <a:lnTo>
                      <a:pt x="31433" y="130588"/>
                    </a:lnTo>
                    <a:lnTo>
                      <a:pt x="13335" y="122968"/>
                    </a:lnTo>
                    <a:lnTo>
                      <a:pt x="13335" y="109538"/>
                    </a:lnTo>
                    <a:lnTo>
                      <a:pt x="27623" y="91535"/>
                    </a:lnTo>
                    <a:lnTo>
                      <a:pt x="17145" y="87725"/>
                    </a:lnTo>
                    <a:lnTo>
                      <a:pt x="20955" y="62960"/>
                    </a:lnTo>
                    <a:lnTo>
                      <a:pt x="0" y="62960"/>
                    </a:lnTo>
                    <a:lnTo>
                      <a:pt x="0" y="45720"/>
                    </a:lnTo>
                    <a:lnTo>
                      <a:pt x="35243" y="45720"/>
                    </a:lnTo>
                    <a:lnTo>
                      <a:pt x="31433" y="21050"/>
                    </a:lnTo>
                    <a:lnTo>
                      <a:pt x="41910" y="2486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4" name="Freeform: Shape 213">
                <a:extLst>
                  <a:ext uri="{FF2B5EF4-FFF2-40B4-BE49-F238E27FC236}">
                    <a16:creationId xmlns:a16="http://schemas.microsoft.com/office/drawing/2014/main" id="{0B52B1BE-F65B-B61C-5911-34AB005144C4}"/>
                  </a:ext>
                </a:extLst>
              </p:cNvPr>
              <p:cNvSpPr/>
              <p:nvPr/>
            </p:nvSpPr>
            <p:spPr>
              <a:xfrm>
                <a:off x="7534497" y="3206634"/>
                <a:ext cx="459392" cy="272650"/>
              </a:xfrm>
              <a:custGeom>
                <a:avLst/>
                <a:gdLst>
                  <a:gd name="connsiteX0" fmla="*/ 0 w 468630"/>
                  <a:gd name="connsiteY0" fmla="*/ 144780 h 278130"/>
                  <a:gd name="connsiteX1" fmla="*/ 0 w 468630"/>
                  <a:gd name="connsiteY1" fmla="*/ 14288 h 278130"/>
                  <a:gd name="connsiteX2" fmla="*/ 31432 w 468630"/>
                  <a:gd name="connsiteY2" fmla="*/ 6668 h 278130"/>
                  <a:gd name="connsiteX3" fmla="*/ 80963 w 468630"/>
                  <a:gd name="connsiteY3" fmla="*/ 0 h 278130"/>
                  <a:gd name="connsiteX4" fmla="*/ 95250 w 468630"/>
                  <a:gd name="connsiteY4" fmla="*/ 10382 h 278130"/>
                  <a:gd name="connsiteX5" fmla="*/ 122873 w 468630"/>
                  <a:gd name="connsiteY5" fmla="*/ 27623 h 278130"/>
                  <a:gd name="connsiteX6" fmla="*/ 140970 w 468630"/>
                  <a:gd name="connsiteY6" fmla="*/ 35243 h 278130"/>
                  <a:gd name="connsiteX7" fmla="*/ 165735 w 468630"/>
                  <a:gd name="connsiteY7" fmla="*/ 66675 h 278130"/>
                  <a:gd name="connsiteX8" fmla="*/ 232410 w 468630"/>
                  <a:gd name="connsiteY8" fmla="*/ 62770 h 278130"/>
                  <a:gd name="connsiteX9" fmla="*/ 246698 w 468630"/>
                  <a:gd name="connsiteY9" fmla="*/ 59912 h 278130"/>
                  <a:gd name="connsiteX10" fmla="*/ 278130 w 468630"/>
                  <a:gd name="connsiteY10" fmla="*/ 91345 h 278130"/>
                  <a:gd name="connsiteX11" fmla="*/ 278130 w 468630"/>
                  <a:gd name="connsiteY11" fmla="*/ 105632 h 278130"/>
                  <a:gd name="connsiteX12" fmla="*/ 296228 w 468630"/>
                  <a:gd name="connsiteY12" fmla="*/ 119920 h 278130"/>
                  <a:gd name="connsiteX13" fmla="*/ 299085 w 468630"/>
                  <a:gd name="connsiteY13" fmla="*/ 147638 h 278130"/>
                  <a:gd name="connsiteX14" fmla="*/ 330518 w 468630"/>
                  <a:gd name="connsiteY14" fmla="*/ 144780 h 278130"/>
                  <a:gd name="connsiteX15" fmla="*/ 338138 w 468630"/>
                  <a:gd name="connsiteY15" fmla="*/ 147638 h 278130"/>
                  <a:gd name="connsiteX16" fmla="*/ 338138 w 468630"/>
                  <a:gd name="connsiteY16" fmla="*/ 165735 h 278130"/>
                  <a:gd name="connsiteX17" fmla="*/ 352425 w 468630"/>
                  <a:gd name="connsiteY17" fmla="*/ 165735 h 278130"/>
                  <a:gd name="connsiteX18" fmla="*/ 355282 w 468630"/>
                  <a:gd name="connsiteY18" fmla="*/ 147638 h 278130"/>
                  <a:gd name="connsiteX19" fmla="*/ 377190 w 468630"/>
                  <a:gd name="connsiteY19" fmla="*/ 130493 h 278130"/>
                  <a:gd name="connsiteX20" fmla="*/ 412432 w 468630"/>
                  <a:gd name="connsiteY20" fmla="*/ 109538 h 278130"/>
                  <a:gd name="connsiteX21" fmla="*/ 404813 w 468630"/>
                  <a:gd name="connsiteY21" fmla="*/ 126587 h 278130"/>
                  <a:gd name="connsiteX22" fmla="*/ 401003 w 468630"/>
                  <a:gd name="connsiteY22" fmla="*/ 134207 h 278130"/>
                  <a:gd name="connsiteX23" fmla="*/ 415290 w 468630"/>
                  <a:gd name="connsiteY23" fmla="*/ 140875 h 278130"/>
                  <a:gd name="connsiteX24" fmla="*/ 436245 w 468630"/>
                  <a:gd name="connsiteY24" fmla="*/ 134207 h 278130"/>
                  <a:gd name="connsiteX25" fmla="*/ 454343 w 468630"/>
                  <a:gd name="connsiteY25" fmla="*/ 144780 h 278130"/>
                  <a:gd name="connsiteX26" fmla="*/ 468630 w 468630"/>
                  <a:gd name="connsiteY26" fmla="*/ 158020 h 278130"/>
                  <a:gd name="connsiteX27" fmla="*/ 454343 w 468630"/>
                  <a:gd name="connsiteY27" fmla="*/ 172307 h 278130"/>
                  <a:gd name="connsiteX28" fmla="*/ 436245 w 468630"/>
                  <a:gd name="connsiteY28" fmla="*/ 180023 h 278130"/>
                  <a:gd name="connsiteX29" fmla="*/ 415290 w 468630"/>
                  <a:gd name="connsiteY29" fmla="*/ 180023 h 278130"/>
                  <a:gd name="connsiteX30" fmla="*/ 408623 w 468630"/>
                  <a:gd name="connsiteY30" fmla="*/ 172307 h 278130"/>
                  <a:gd name="connsiteX31" fmla="*/ 412432 w 468630"/>
                  <a:gd name="connsiteY31" fmla="*/ 158020 h 278130"/>
                  <a:gd name="connsiteX32" fmla="*/ 401003 w 468630"/>
                  <a:gd name="connsiteY32" fmla="*/ 155162 h 278130"/>
                  <a:gd name="connsiteX33" fmla="*/ 380048 w 468630"/>
                  <a:gd name="connsiteY33" fmla="*/ 158020 h 278130"/>
                  <a:gd name="connsiteX34" fmla="*/ 373380 w 468630"/>
                  <a:gd name="connsiteY34" fmla="*/ 172307 h 278130"/>
                  <a:gd name="connsiteX35" fmla="*/ 359093 w 468630"/>
                  <a:gd name="connsiteY35" fmla="*/ 180023 h 278130"/>
                  <a:gd name="connsiteX36" fmla="*/ 348615 w 468630"/>
                  <a:gd name="connsiteY36" fmla="*/ 176213 h 278130"/>
                  <a:gd name="connsiteX37" fmla="*/ 352425 w 468630"/>
                  <a:gd name="connsiteY37" fmla="*/ 200882 h 278130"/>
                  <a:gd name="connsiteX38" fmla="*/ 317182 w 468630"/>
                  <a:gd name="connsiteY38" fmla="*/ 200882 h 278130"/>
                  <a:gd name="connsiteX39" fmla="*/ 317182 w 468630"/>
                  <a:gd name="connsiteY39" fmla="*/ 218123 h 278130"/>
                  <a:gd name="connsiteX40" fmla="*/ 338138 w 468630"/>
                  <a:gd name="connsiteY40" fmla="*/ 218123 h 278130"/>
                  <a:gd name="connsiteX41" fmla="*/ 334328 w 468630"/>
                  <a:gd name="connsiteY41" fmla="*/ 242888 h 278130"/>
                  <a:gd name="connsiteX42" fmla="*/ 344805 w 468630"/>
                  <a:gd name="connsiteY42" fmla="*/ 246698 h 278130"/>
                  <a:gd name="connsiteX43" fmla="*/ 330518 w 468630"/>
                  <a:gd name="connsiteY43" fmla="*/ 264700 h 278130"/>
                  <a:gd name="connsiteX44" fmla="*/ 330518 w 468630"/>
                  <a:gd name="connsiteY44" fmla="*/ 278130 h 278130"/>
                  <a:gd name="connsiteX45" fmla="*/ 296228 w 468630"/>
                  <a:gd name="connsiteY45" fmla="*/ 267557 h 278130"/>
                  <a:gd name="connsiteX46" fmla="*/ 296228 w 468630"/>
                  <a:gd name="connsiteY46" fmla="*/ 253270 h 278130"/>
                  <a:gd name="connsiteX47" fmla="*/ 278130 w 468630"/>
                  <a:gd name="connsiteY47" fmla="*/ 242888 h 278130"/>
                  <a:gd name="connsiteX48" fmla="*/ 257175 w 468630"/>
                  <a:gd name="connsiteY48" fmla="*/ 240030 h 278130"/>
                  <a:gd name="connsiteX49" fmla="*/ 182880 w 468630"/>
                  <a:gd name="connsiteY49" fmla="*/ 190500 h 278130"/>
                  <a:gd name="connsiteX50" fmla="*/ 158115 w 468630"/>
                  <a:gd name="connsiteY50" fmla="*/ 144780 h 278130"/>
                  <a:gd name="connsiteX51" fmla="*/ 112395 w 468630"/>
                  <a:gd name="connsiteY51" fmla="*/ 144780 h 278130"/>
                  <a:gd name="connsiteX52" fmla="*/ 112395 w 468630"/>
                  <a:gd name="connsiteY52" fmla="*/ 116205 h 278130"/>
                  <a:gd name="connsiteX53" fmla="*/ 109538 w 468630"/>
                  <a:gd name="connsiteY53" fmla="*/ 109538 h 278130"/>
                  <a:gd name="connsiteX54" fmla="*/ 84773 w 468630"/>
                  <a:gd name="connsiteY54" fmla="*/ 105632 h 278130"/>
                  <a:gd name="connsiteX55" fmla="*/ 74295 w 468630"/>
                  <a:gd name="connsiteY55" fmla="*/ 95250 h 278130"/>
                  <a:gd name="connsiteX56" fmla="*/ 24765 w 468630"/>
                  <a:gd name="connsiteY56" fmla="*/ 119920 h 278130"/>
                  <a:gd name="connsiteX57" fmla="*/ 24765 w 468630"/>
                  <a:gd name="connsiteY57" fmla="*/ 140875 h 278130"/>
                  <a:gd name="connsiteX58" fmla="*/ 0 w 468630"/>
                  <a:gd name="connsiteY58" fmla="*/ 144780 h 27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468630" h="278130">
                    <a:moveTo>
                      <a:pt x="0" y="144780"/>
                    </a:moveTo>
                    <a:lnTo>
                      <a:pt x="0" y="14288"/>
                    </a:lnTo>
                    <a:lnTo>
                      <a:pt x="31432" y="6668"/>
                    </a:lnTo>
                    <a:lnTo>
                      <a:pt x="80963" y="0"/>
                    </a:lnTo>
                    <a:lnTo>
                      <a:pt x="95250" y="10382"/>
                    </a:lnTo>
                    <a:lnTo>
                      <a:pt x="122873" y="27623"/>
                    </a:lnTo>
                    <a:lnTo>
                      <a:pt x="140970" y="35243"/>
                    </a:lnTo>
                    <a:lnTo>
                      <a:pt x="165735" y="66675"/>
                    </a:lnTo>
                    <a:lnTo>
                      <a:pt x="232410" y="62770"/>
                    </a:lnTo>
                    <a:lnTo>
                      <a:pt x="246698" y="59912"/>
                    </a:lnTo>
                    <a:lnTo>
                      <a:pt x="278130" y="91345"/>
                    </a:lnTo>
                    <a:lnTo>
                      <a:pt x="278130" y="105632"/>
                    </a:lnTo>
                    <a:lnTo>
                      <a:pt x="296228" y="119920"/>
                    </a:lnTo>
                    <a:lnTo>
                      <a:pt x="299085" y="147638"/>
                    </a:lnTo>
                    <a:lnTo>
                      <a:pt x="330518" y="144780"/>
                    </a:lnTo>
                    <a:lnTo>
                      <a:pt x="338138" y="147638"/>
                    </a:lnTo>
                    <a:lnTo>
                      <a:pt x="338138" y="165735"/>
                    </a:lnTo>
                    <a:lnTo>
                      <a:pt x="352425" y="165735"/>
                    </a:lnTo>
                    <a:lnTo>
                      <a:pt x="355282" y="147638"/>
                    </a:lnTo>
                    <a:lnTo>
                      <a:pt x="377190" y="130493"/>
                    </a:lnTo>
                    <a:lnTo>
                      <a:pt x="412432" y="109538"/>
                    </a:lnTo>
                    <a:lnTo>
                      <a:pt x="404813" y="126587"/>
                    </a:lnTo>
                    <a:lnTo>
                      <a:pt x="401003" y="134207"/>
                    </a:lnTo>
                    <a:lnTo>
                      <a:pt x="415290" y="140875"/>
                    </a:lnTo>
                    <a:lnTo>
                      <a:pt x="436245" y="134207"/>
                    </a:lnTo>
                    <a:lnTo>
                      <a:pt x="454343" y="144780"/>
                    </a:lnTo>
                    <a:lnTo>
                      <a:pt x="468630" y="158020"/>
                    </a:lnTo>
                    <a:lnTo>
                      <a:pt x="454343" y="172307"/>
                    </a:lnTo>
                    <a:lnTo>
                      <a:pt x="436245" y="180023"/>
                    </a:lnTo>
                    <a:lnTo>
                      <a:pt x="415290" y="180023"/>
                    </a:lnTo>
                    <a:lnTo>
                      <a:pt x="408623" y="172307"/>
                    </a:lnTo>
                    <a:lnTo>
                      <a:pt x="412432" y="158020"/>
                    </a:lnTo>
                    <a:lnTo>
                      <a:pt x="401003" y="155162"/>
                    </a:lnTo>
                    <a:lnTo>
                      <a:pt x="380048" y="158020"/>
                    </a:lnTo>
                    <a:lnTo>
                      <a:pt x="373380" y="172307"/>
                    </a:lnTo>
                    <a:lnTo>
                      <a:pt x="359093" y="180023"/>
                    </a:lnTo>
                    <a:lnTo>
                      <a:pt x="348615" y="176213"/>
                    </a:lnTo>
                    <a:lnTo>
                      <a:pt x="352425" y="200882"/>
                    </a:lnTo>
                    <a:lnTo>
                      <a:pt x="317182" y="200882"/>
                    </a:lnTo>
                    <a:lnTo>
                      <a:pt x="317182" y="218123"/>
                    </a:lnTo>
                    <a:lnTo>
                      <a:pt x="338138" y="218123"/>
                    </a:lnTo>
                    <a:lnTo>
                      <a:pt x="334328" y="242888"/>
                    </a:lnTo>
                    <a:lnTo>
                      <a:pt x="344805" y="246698"/>
                    </a:lnTo>
                    <a:lnTo>
                      <a:pt x="330518" y="264700"/>
                    </a:lnTo>
                    <a:lnTo>
                      <a:pt x="330518" y="278130"/>
                    </a:lnTo>
                    <a:lnTo>
                      <a:pt x="296228" y="267557"/>
                    </a:lnTo>
                    <a:lnTo>
                      <a:pt x="296228" y="253270"/>
                    </a:lnTo>
                    <a:lnTo>
                      <a:pt x="278130" y="242888"/>
                    </a:lnTo>
                    <a:lnTo>
                      <a:pt x="257175" y="240030"/>
                    </a:lnTo>
                    <a:lnTo>
                      <a:pt x="182880" y="190500"/>
                    </a:lnTo>
                    <a:lnTo>
                      <a:pt x="158115" y="144780"/>
                    </a:lnTo>
                    <a:lnTo>
                      <a:pt x="112395" y="144780"/>
                    </a:lnTo>
                    <a:lnTo>
                      <a:pt x="112395" y="116205"/>
                    </a:lnTo>
                    <a:lnTo>
                      <a:pt x="109538" y="109538"/>
                    </a:lnTo>
                    <a:lnTo>
                      <a:pt x="84773" y="105632"/>
                    </a:lnTo>
                    <a:lnTo>
                      <a:pt x="74295" y="95250"/>
                    </a:lnTo>
                    <a:lnTo>
                      <a:pt x="24765" y="119920"/>
                    </a:lnTo>
                    <a:lnTo>
                      <a:pt x="24765" y="140875"/>
                    </a:lnTo>
                    <a:lnTo>
                      <a:pt x="0" y="14478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5" name="Freeform: Shape 214">
                <a:extLst>
                  <a:ext uri="{FF2B5EF4-FFF2-40B4-BE49-F238E27FC236}">
                    <a16:creationId xmlns:a16="http://schemas.microsoft.com/office/drawing/2014/main" id="{72AFBB11-A773-DCFB-B792-C5AE85B7E53B}"/>
                  </a:ext>
                </a:extLst>
              </p:cNvPr>
              <p:cNvSpPr/>
              <p:nvPr/>
            </p:nvSpPr>
            <p:spPr>
              <a:xfrm>
                <a:off x="7927596" y="3279372"/>
                <a:ext cx="273581" cy="130722"/>
              </a:xfrm>
              <a:custGeom>
                <a:avLst/>
                <a:gdLst>
                  <a:gd name="connsiteX0" fmla="*/ 11430 w 279082"/>
                  <a:gd name="connsiteY0" fmla="*/ 35338 h 133350"/>
                  <a:gd name="connsiteX1" fmla="*/ 28575 w 279082"/>
                  <a:gd name="connsiteY1" fmla="*/ 13430 h 133350"/>
                  <a:gd name="connsiteX2" fmla="*/ 49530 w 279082"/>
                  <a:gd name="connsiteY2" fmla="*/ 13430 h 133350"/>
                  <a:gd name="connsiteX3" fmla="*/ 57150 w 279082"/>
                  <a:gd name="connsiteY3" fmla="*/ 21050 h 133350"/>
                  <a:gd name="connsiteX4" fmla="*/ 88582 w 279082"/>
                  <a:gd name="connsiteY4" fmla="*/ 17145 h 133350"/>
                  <a:gd name="connsiteX5" fmla="*/ 92392 w 279082"/>
                  <a:gd name="connsiteY5" fmla="*/ 6763 h 133350"/>
                  <a:gd name="connsiteX6" fmla="*/ 105727 w 279082"/>
                  <a:gd name="connsiteY6" fmla="*/ 0 h 133350"/>
                  <a:gd name="connsiteX7" fmla="*/ 127635 w 279082"/>
                  <a:gd name="connsiteY7" fmla="*/ 2858 h 133350"/>
                  <a:gd name="connsiteX8" fmla="*/ 130492 w 279082"/>
                  <a:gd name="connsiteY8" fmla="*/ 17145 h 133350"/>
                  <a:gd name="connsiteX9" fmla="*/ 236220 w 279082"/>
                  <a:gd name="connsiteY9" fmla="*/ 13430 h 133350"/>
                  <a:gd name="connsiteX10" fmla="*/ 246697 w 279082"/>
                  <a:gd name="connsiteY10" fmla="*/ 24860 h 133350"/>
                  <a:gd name="connsiteX11" fmla="*/ 260985 w 279082"/>
                  <a:gd name="connsiteY11" fmla="*/ 27718 h 133350"/>
                  <a:gd name="connsiteX12" fmla="*/ 279082 w 279082"/>
                  <a:gd name="connsiteY12" fmla="*/ 35338 h 133350"/>
                  <a:gd name="connsiteX13" fmla="*/ 267652 w 279082"/>
                  <a:gd name="connsiteY13" fmla="*/ 42005 h 133350"/>
                  <a:gd name="connsiteX14" fmla="*/ 243840 w 279082"/>
                  <a:gd name="connsiteY14" fmla="*/ 56293 h 133350"/>
                  <a:gd name="connsiteX15" fmla="*/ 221932 w 279082"/>
                  <a:gd name="connsiteY15" fmla="*/ 62960 h 133350"/>
                  <a:gd name="connsiteX16" fmla="*/ 215265 w 279082"/>
                  <a:gd name="connsiteY16" fmla="*/ 77248 h 133350"/>
                  <a:gd name="connsiteX17" fmla="*/ 180022 w 279082"/>
                  <a:gd name="connsiteY17" fmla="*/ 77248 h 133350"/>
                  <a:gd name="connsiteX18" fmla="*/ 173355 w 279082"/>
                  <a:gd name="connsiteY18" fmla="*/ 95250 h 133350"/>
                  <a:gd name="connsiteX19" fmla="*/ 144780 w 279082"/>
                  <a:gd name="connsiteY19" fmla="*/ 102013 h 133350"/>
                  <a:gd name="connsiteX20" fmla="*/ 144780 w 279082"/>
                  <a:gd name="connsiteY20" fmla="*/ 91535 h 133350"/>
                  <a:gd name="connsiteX21" fmla="*/ 120015 w 279082"/>
                  <a:gd name="connsiteY21" fmla="*/ 91535 h 133350"/>
                  <a:gd name="connsiteX22" fmla="*/ 116205 w 279082"/>
                  <a:gd name="connsiteY22" fmla="*/ 102013 h 133350"/>
                  <a:gd name="connsiteX23" fmla="*/ 102870 w 279082"/>
                  <a:gd name="connsiteY23" fmla="*/ 108680 h 133350"/>
                  <a:gd name="connsiteX24" fmla="*/ 95250 w 279082"/>
                  <a:gd name="connsiteY24" fmla="*/ 116300 h 133350"/>
                  <a:gd name="connsiteX25" fmla="*/ 92392 w 279082"/>
                  <a:gd name="connsiteY25" fmla="*/ 133350 h 133350"/>
                  <a:gd name="connsiteX26" fmla="*/ 57150 w 279082"/>
                  <a:gd name="connsiteY26" fmla="*/ 133350 h 133350"/>
                  <a:gd name="connsiteX27" fmla="*/ 32385 w 279082"/>
                  <a:gd name="connsiteY27" fmla="*/ 130588 h 133350"/>
                  <a:gd name="connsiteX28" fmla="*/ 11430 w 279082"/>
                  <a:gd name="connsiteY28" fmla="*/ 130588 h 133350"/>
                  <a:gd name="connsiteX29" fmla="*/ 7620 w 279082"/>
                  <a:gd name="connsiteY29" fmla="*/ 116300 h 133350"/>
                  <a:gd name="connsiteX30" fmla="*/ 3810 w 279082"/>
                  <a:gd name="connsiteY30" fmla="*/ 105823 h 133350"/>
                  <a:gd name="connsiteX31" fmla="*/ 7620 w 279082"/>
                  <a:gd name="connsiteY31" fmla="*/ 98108 h 133350"/>
                  <a:gd name="connsiteX32" fmla="*/ 14288 w 279082"/>
                  <a:gd name="connsiteY32" fmla="*/ 105823 h 133350"/>
                  <a:gd name="connsiteX33" fmla="*/ 35242 w 279082"/>
                  <a:gd name="connsiteY33" fmla="*/ 105823 h 133350"/>
                  <a:gd name="connsiteX34" fmla="*/ 53340 w 279082"/>
                  <a:gd name="connsiteY34" fmla="*/ 98108 h 133350"/>
                  <a:gd name="connsiteX35" fmla="*/ 67627 w 279082"/>
                  <a:gd name="connsiteY35" fmla="*/ 83820 h 133350"/>
                  <a:gd name="connsiteX36" fmla="*/ 53340 w 279082"/>
                  <a:gd name="connsiteY36" fmla="*/ 70580 h 133350"/>
                  <a:gd name="connsiteX37" fmla="*/ 35242 w 279082"/>
                  <a:gd name="connsiteY37" fmla="*/ 60008 h 133350"/>
                  <a:gd name="connsiteX38" fmla="*/ 14288 w 279082"/>
                  <a:gd name="connsiteY38" fmla="*/ 66675 h 133350"/>
                  <a:gd name="connsiteX39" fmla="*/ 0 w 279082"/>
                  <a:gd name="connsiteY39" fmla="*/ 60008 h 133350"/>
                  <a:gd name="connsiteX40" fmla="*/ 3810 w 279082"/>
                  <a:gd name="connsiteY40" fmla="*/ 52388 h 133350"/>
                  <a:gd name="connsiteX41" fmla="*/ 11430 w 279082"/>
                  <a:gd name="connsiteY41" fmla="*/ 35338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279082" h="133350">
                    <a:moveTo>
                      <a:pt x="11430" y="35338"/>
                    </a:moveTo>
                    <a:lnTo>
                      <a:pt x="28575" y="13430"/>
                    </a:lnTo>
                    <a:lnTo>
                      <a:pt x="49530" y="13430"/>
                    </a:lnTo>
                    <a:lnTo>
                      <a:pt x="57150" y="21050"/>
                    </a:lnTo>
                    <a:lnTo>
                      <a:pt x="88582" y="17145"/>
                    </a:lnTo>
                    <a:lnTo>
                      <a:pt x="92392" y="6763"/>
                    </a:lnTo>
                    <a:lnTo>
                      <a:pt x="105727" y="0"/>
                    </a:lnTo>
                    <a:lnTo>
                      <a:pt x="127635" y="2858"/>
                    </a:lnTo>
                    <a:lnTo>
                      <a:pt x="130492" y="17145"/>
                    </a:lnTo>
                    <a:lnTo>
                      <a:pt x="236220" y="13430"/>
                    </a:lnTo>
                    <a:lnTo>
                      <a:pt x="246697" y="24860"/>
                    </a:lnTo>
                    <a:lnTo>
                      <a:pt x="260985" y="27718"/>
                    </a:lnTo>
                    <a:lnTo>
                      <a:pt x="279082" y="35338"/>
                    </a:lnTo>
                    <a:lnTo>
                      <a:pt x="267652" y="42005"/>
                    </a:lnTo>
                    <a:lnTo>
                      <a:pt x="243840" y="56293"/>
                    </a:lnTo>
                    <a:lnTo>
                      <a:pt x="221932" y="62960"/>
                    </a:lnTo>
                    <a:lnTo>
                      <a:pt x="215265" y="77248"/>
                    </a:lnTo>
                    <a:lnTo>
                      <a:pt x="180022" y="77248"/>
                    </a:lnTo>
                    <a:lnTo>
                      <a:pt x="173355" y="95250"/>
                    </a:lnTo>
                    <a:lnTo>
                      <a:pt x="144780" y="102013"/>
                    </a:lnTo>
                    <a:lnTo>
                      <a:pt x="144780" y="91535"/>
                    </a:lnTo>
                    <a:lnTo>
                      <a:pt x="120015" y="91535"/>
                    </a:lnTo>
                    <a:lnTo>
                      <a:pt x="116205" y="102013"/>
                    </a:lnTo>
                    <a:lnTo>
                      <a:pt x="102870" y="108680"/>
                    </a:lnTo>
                    <a:lnTo>
                      <a:pt x="95250" y="116300"/>
                    </a:lnTo>
                    <a:lnTo>
                      <a:pt x="92392" y="133350"/>
                    </a:lnTo>
                    <a:lnTo>
                      <a:pt x="57150" y="133350"/>
                    </a:lnTo>
                    <a:lnTo>
                      <a:pt x="32385" y="130588"/>
                    </a:lnTo>
                    <a:lnTo>
                      <a:pt x="11430" y="130588"/>
                    </a:lnTo>
                    <a:lnTo>
                      <a:pt x="7620" y="116300"/>
                    </a:lnTo>
                    <a:lnTo>
                      <a:pt x="3810" y="105823"/>
                    </a:lnTo>
                    <a:lnTo>
                      <a:pt x="7620" y="98108"/>
                    </a:lnTo>
                    <a:lnTo>
                      <a:pt x="14288" y="105823"/>
                    </a:lnTo>
                    <a:lnTo>
                      <a:pt x="35242" y="105823"/>
                    </a:lnTo>
                    <a:lnTo>
                      <a:pt x="53340" y="98108"/>
                    </a:lnTo>
                    <a:lnTo>
                      <a:pt x="67627" y="83820"/>
                    </a:lnTo>
                    <a:lnTo>
                      <a:pt x="53340" y="70580"/>
                    </a:lnTo>
                    <a:lnTo>
                      <a:pt x="35242" y="60008"/>
                    </a:lnTo>
                    <a:lnTo>
                      <a:pt x="14288" y="66675"/>
                    </a:lnTo>
                    <a:lnTo>
                      <a:pt x="0" y="60008"/>
                    </a:lnTo>
                    <a:lnTo>
                      <a:pt x="3810" y="52388"/>
                    </a:lnTo>
                    <a:lnTo>
                      <a:pt x="11430" y="353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6" name="Freeform: Shape 215">
                <a:extLst>
                  <a:ext uri="{FF2B5EF4-FFF2-40B4-BE49-F238E27FC236}">
                    <a16:creationId xmlns:a16="http://schemas.microsoft.com/office/drawing/2014/main" id="{BB43B95E-8B7C-BC2D-02E0-3A48271ECCED}"/>
                  </a:ext>
                </a:extLst>
              </p:cNvPr>
              <p:cNvSpPr/>
              <p:nvPr/>
            </p:nvSpPr>
            <p:spPr>
              <a:xfrm>
                <a:off x="7275855" y="2853683"/>
                <a:ext cx="1104595" cy="515419"/>
              </a:xfrm>
              <a:custGeom>
                <a:avLst/>
                <a:gdLst>
                  <a:gd name="connsiteX0" fmla="*/ 189548 w 1126807"/>
                  <a:gd name="connsiteY0" fmla="*/ 461963 h 525779"/>
                  <a:gd name="connsiteX1" fmla="*/ 164783 w 1126807"/>
                  <a:gd name="connsiteY1" fmla="*/ 459105 h 525779"/>
                  <a:gd name="connsiteX2" fmla="*/ 137160 w 1126807"/>
                  <a:gd name="connsiteY2" fmla="*/ 437102 h 525779"/>
                  <a:gd name="connsiteX3" fmla="*/ 116205 w 1126807"/>
                  <a:gd name="connsiteY3" fmla="*/ 412432 h 525779"/>
                  <a:gd name="connsiteX4" fmla="*/ 101918 w 1126807"/>
                  <a:gd name="connsiteY4" fmla="*/ 395288 h 525779"/>
                  <a:gd name="connsiteX5" fmla="*/ 112395 w 1126807"/>
                  <a:gd name="connsiteY5" fmla="*/ 387667 h 525779"/>
                  <a:gd name="connsiteX6" fmla="*/ 137160 w 1126807"/>
                  <a:gd name="connsiteY6" fmla="*/ 391382 h 525779"/>
                  <a:gd name="connsiteX7" fmla="*/ 133350 w 1126807"/>
                  <a:gd name="connsiteY7" fmla="*/ 370427 h 525779"/>
                  <a:gd name="connsiteX8" fmla="*/ 143828 w 1126807"/>
                  <a:gd name="connsiteY8" fmla="*/ 363855 h 525779"/>
                  <a:gd name="connsiteX9" fmla="*/ 164783 w 1126807"/>
                  <a:gd name="connsiteY9" fmla="*/ 366713 h 525779"/>
                  <a:gd name="connsiteX10" fmla="*/ 182880 w 1126807"/>
                  <a:gd name="connsiteY10" fmla="*/ 370427 h 525779"/>
                  <a:gd name="connsiteX11" fmla="*/ 189548 w 1126807"/>
                  <a:gd name="connsiteY11" fmla="*/ 345757 h 525779"/>
                  <a:gd name="connsiteX12" fmla="*/ 176213 w 1126807"/>
                  <a:gd name="connsiteY12" fmla="*/ 310420 h 525779"/>
                  <a:gd name="connsiteX13" fmla="*/ 143828 w 1126807"/>
                  <a:gd name="connsiteY13" fmla="*/ 310420 h 525779"/>
                  <a:gd name="connsiteX14" fmla="*/ 112395 w 1126807"/>
                  <a:gd name="connsiteY14" fmla="*/ 314325 h 525779"/>
                  <a:gd name="connsiteX15" fmla="*/ 70485 w 1126807"/>
                  <a:gd name="connsiteY15" fmla="*/ 331470 h 525779"/>
                  <a:gd name="connsiteX16" fmla="*/ 62865 w 1126807"/>
                  <a:gd name="connsiteY16" fmla="*/ 306705 h 525779"/>
                  <a:gd name="connsiteX17" fmla="*/ 41910 w 1126807"/>
                  <a:gd name="connsiteY17" fmla="*/ 279082 h 525779"/>
                  <a:gd name="connsiteX18" fmla="*/ 17145 w 1126807"/>
                  <a:gd name="connsiteY18" fmla="*/ 271463 h 525779"/>
                  <a:gd name="connsiteX19" fmla="*/ 0 w 1126807"/>
                  <a:gd name="connsiteY19" fmla="*/ 246602 h 525779"/>
                  <a:gd name="connsiteX20" fmla="*/ 10478 w 1126807"/>
                  <a:gd name="connsiteY20" fmla="*/ 204788 h 525779"/>
                  <a:gd name="connsiteX21" fmla="*/ 31433 w 1126807"/>
                  <a:gd name="connsiteY21" fmla="*/ 179927 h 525779"/>
                  <a:gd name="connsiteX22" fmla="*/ 45720 w 1126807"/>
                  <a:gd name="connsiteY22" fmla="*/ 208502 h 525779"/>
                  <a:gd name="connsiteX23" fmla="*/ 59055 w 1126807"/>
                  <a:gd name="connsiteY23" fmla="*/ 200882 h 525779"/>
                  <a:gd name="connsiteX24" fmla="*/ 62865 w 1126807"/>
                  <a:gd name="connsiteY24" fmla="*/ 179927 h 525779"/>
                  <a:gd name="connsiteX25" fmla="*/ 105728 w 1126807"/>
                  <a:gd name="connsiteY25" fmla="*/ 148495 h 525779"/>
                  <a:gd name="connsiteX26" fmla="*/ 133350 w 1126807"/>
                  <a:gd name="connsiteY26" fmla="*/ 138113 h 525779"/>
                  <a:gd name="connsiteX27" fmla="*/ 197168 w 1126807"/>
                  <a:gd name="connsiteY27" fmla="*/ 148495 h 525779"/>
                  <a:gd name="connsiteX28" fmla="*/ 239078 w 1126807"/>
                  <a:gd name="connsiteY28" fmla="*/ 173355 h 525779"/>
                  <a:gd name="connsiteX29" fmla="*/ 263843 w 1126807"/>
                  <a:gd name="connsiteY29" fmla="*/ 176213 h 525779"/>
                  <a:gd name="connsiteX30" fmla="*/ 302895 w 1126807"/>
                  <a:gd name="connsiteY30" fmla="*/ 159067 h 525779"/>
                  <a:gd name="connsiteX31" fmla="*/ 334328 w 1126807"/>
                  <a:gd name="connsiteY31" fmla="*/ 159067 h 525779"/>
                  <a:gd name="connsiteX32" fmla="*/ 351473 w 1126807"/>
                  <a:gd name="connsiteY32" fmla="*/ 176213 h 525779"/>
                  <a:gd name="connsiteX33" fmla="*/ 397193 w 1126807"/>
                  <a:gd name="connsiteY33" fmla="*/ 173355 h 525779"/>
                  <a:gd name="connsiteX34" fmla="*/ 419100 w 1126807"/>
                  <a:gd name="connsiteY34" fmla="*/ 155257 h 525779"/>
                  <a:gd name="connsiteX35" fmla="*/ 401003 w 1126807"/>
                  <a:gd name="connsiteY35" fmla="*/ 140970 h 525779"/>
                  <a:gd name="connsiteX36" fmla="*/ 376238 w 1126807"/>
                  <a:gd name="connsiteY36" fmla="*/ 134207 h 525779"/>
                  <a:gd name="connsiteX37" fmla="*/ 386715 w 1126807"/>
                  <a:gd name="connsiteY37" fmla="*/ 119920 h 525779"/>
                  <a:gd name="connsiteX38" fmla="*/ 397193 w 1126807"/>
                  <a:gd name="connsiteY38" fmla="*/ 109538 h 525779"/>
                  <a:gd name="connsiteX39" fmla="*/ 401003 w 1126807"/>
                  <a:gd name="connsiteY39" fmla="*/ 91345 h 525779"/>
                  <a:gd name="connsiteX40" fmla="*/ 421958 w 1126807"/>
                  <a:gd name="connsiteY40" fmla="*/ 84677 h 525779"/>
                  <a:gd name="connsiteX41" fmla="*/ 415290 w 1126807"/>
                  <a:gd name="connsiteY41" fmla="*/ 70390 h 525779"/>
                  <a:gd name="connsiteX42" fmla="*/ 408623 w 1126807"/>
                  <a:gd name="connsiteY42" fmla="*/ 53245 h 525779"/>
                  <a:gd name="connsiteX43" fmla="*/ 446723 w 1126807"/>
                  <a:gd name="connsiteY43" fmla="*/ 49530 h 525779"/>
                  <a:gd name="connsiteX44" fmla="*/ 492443 w 1126807"/>
                  <a:gd name="connsiteY44" fmla="*/ 35242 h 525779"/>
                  <a:gd name="connsiteX45" fmla="*/ 556260 w 1126807"/>
                  <a:gd name="connsiteY45" fmla="*/ 18002 h 525779"/>
                  <a:gd name="connsiteX46" fmla="*/ 608648 w 1126807"/>
                  <a:gd name="connsiteY46" fmla="*/ 7620 h 525779"/>
                  <a:gd name="connsiteX47" fmla="*/ 641033 w 1126807"/>
                  <a:gd name="connsiteY47" fmla="*/ 0 h 525779"/>
                  <a:gd name="connsiteX48" fmla="*/ 676275 w 1126807"/>
                  <a:gd name="connsiteY48" fmla="*/ 3715 h 525779"/>
                  <a:gd name="connsiteX49" fmla="*/ 682943 w 1126807"/>
                  <a:gd name="connsiteY49" fmla="*/ 28575 h 525779"/>
                  <a:gd name="connsiteX50" fmla="*/ 700088 w 1126807"/>
                  <a:gd name="connsiteY50" fmla="*/ 38957 h 525779"/>
                  <a:gd name="connsiteX51" fmla="*/ 735330 w 1126807"/>
                  <a:gd name="connsiteY51" fmla="*/ 49530 h 525779"/>
                  <a:gd name="connsiteX52" fmla="*/ 770573 w 1126807"/>
                  <a:gd name="connsiteY52" fmla="*/ 67532 h 525779"/>
                  <a:gd name="connsiteX53" fmla="*/ 802958 w 1126807"/>
                  <a:gd name="connsiteY53" fmla="*/ 49530 h 525779"/>
                  <a:gd name="connsiteX54" fmla="*/ 841058 w 1126807"/>
                  <a:gd name="connsiteY54" fmla="*/ 38957 h 525779"/>
                  <a:gd name="connsiteX55" fmla="*/ 844868 w 1126807"/>
                  <a:gd name="connsiteY55" fmla="*/ 56102 h 525779"/>
                  <a:gd name="connsiteX56" fmla="*/ 876300 w 1126807"/>
                  <a:gd name="connsiteY56" fmla="*/ 78105 h 525779"/>
                  <a:gd name="connsiteX57" fmla="*/ 897255 w 1126807"/>
                  <a:gd name="connsiteY57" fmla="*/ 105632 h 525779"/>
                  <a:gd name="connsiteX58" fmla="*/ 922020 w 1126807"/>
                  <a:gd name="connsiteY58" fmla="*/ 148495 h 525779"/>
                  <a:gd name="connsiteX59" fmla="*/ 929640 w 1126807"/>
                  <a:gd name="connsiteY59" fmla="*/ 162782 h 525779"/>
                  <a:gd name="connsiteX60" fmla="*/ 943928 w 1126807"/>
                  <a:gd name="connsiteY60" fmla="*/ 162782 h 525779"/>
                  <a:gd name="connsiteX61" fmla="*/ 950595 w 1126807"/>
                  <a:gd name="connsiteY61" fmla="*/ 148495 h 525779"/>
                  <a:gd name="connsiteX62" fmla="*/ 967740 w 1126807"/>
                  <a:gd name="connsiteY62" fmla="*/ 159067 h 525779"/>
                  <a:gd name="connsiteX63" fmla="*/ 989648 w 1126807"/>
                  <a:gd name="connsiteY63" fmla="*/ 169545 h 525779"/>
                  <a:gd name="connsiteX64" fmla="*/ 1006793 w 1126807"/>
                  <a:gd name="connsiteY64" fmla="*/ 165640 h 525779"/>
                  <a:gd name="connsiteX65" fmla="*/ 1038225 w 1126807"/>
                  <a:gd name="connsiteY65" fmla="*/ 162782 h 525779"/>
                  <a:gd name="connsiteX66" fmla="*/ 1056323 w 1126807"/>
                  <a:gd name="connsiteY66" fmla="*/ 186595 h 525779"/>
                  <a:gd name="connsiteX67" fmla="*/ 1081088 w 1126807"/>
                  <a:gd name="connsiteY67" fmla="*/ 204788 h 525779"/>
                  <a:gd name="connsiteX68" fmla="*/ 1119188 w 1126807"/>
                  <a:gd name="connsiteY68" fmla="*/ 208502 h 525779"/>
                  <a:gd name="connsiteX69" fmla="*/ 1126808 w 1126807"/>
                  <a:gd name="connsiteY69" fmla="*/ 233363 h 525779"/>
                  <a:gd name="connsiteX70" fmla="*/ 1122998 w 1126807"/>
                  <a:gd name="connsiteY70" fmla="*/ 250507 h 525779"/>
                  <a:gd name="connsiteX71" fmla="*/ 1102043 w 1126807"/>
                  <a:gd name="connsiteY71" fmla="*/ 250507 h 525779"/>
                  <a:gd name="connsiteX72" fmla="*/ 1095375 w 1126807"/>
                  <a:gd name="connsiteY72" fmla="*/ 275177 h 525779"/>
                  <a:gd name="connsiteX73" fmla="*/ 1095375 w 1126807"/>
                  <a:gd name="connsiteY73" fmla="*/ 300038 h 525779"/>
                  <a:gd name="connsiteX74" fmla="*/ 1077278 w 1126807"/>
                  <a:gd name="connsiteY74" fmla="*/ 303752 h 525779"/>
                  <a:gd name="connsiteX75" fmla="*/ 1048703 w 1126807"/>
                  <a:gd name="connsiteY75" fmla="*/ 303752 h 525779"/>
                  <a:gd name="connsiteX76" fmla="*/ 1021080 w 1126807"/>
                  <a:gd name="connsiteY76" fmla="*/ 300038 h 525779"/>
                  <a:gd name="connsiteX77" fmla="*/ 1002983 w 1126807"/>
                  <a:gd name="connsiteY77" fmla="*/ 341852 h 525779"/>
                  <a:gd name="connsiteX78" fmla="*/ 996315 w 1126807"/>
                  <a:gd name="connsiteY78" fmla="*/ 366713 h 525779"/>
                  <a:gd name="connsiteX79" fmla="*/ 964883 w 1126807"/>
                  <a:gd name="connsiteY79" fmla="*/ 366713 h 525779"/>
                  <a:gd name="connsiteX80" fmla="*/ 943928 w 1126807"/>
                  <a:gd name="connsiteY80" fmla="*/ 377095 h 525779"/>
                  <a:gd name="connsiteX81" fmla="*/ 946785 w 1126807"/>
                  <a:gd name="connsiteY81" fmla="*/ 409575 h 525779"/>
                  <a:gd name="connsiteX82" fmla="*/ 957263 w 1126807"/>
                  <a:gd name="connsiteY82" fmla="*/ 437102 h 525779"/>
                  <a:gd name="connsiteX83" fmla="*/ 943928 w 1126807"/>
                  <a:gd name="connsiteY83" fmla="*/ 451390 h 525779"/>
                  <a:gd name="connsiteX84" fmla="*/ 943928 w 1126807"/>
                  <a:gd name="connsiteY84" fmla="*/ 469582 h 525779"/>
                  <a:gd name="connsiteX85" fmla="*/ 925830 w 1126807"/>
                  <a:gd name="connsiteY85" fmla="*/ 461963 h 525779"/>
                  <a:gd name="connsiteX86" fmla="*/ 911543 w 1126807"/>
                  <a:gd name="connsiteY86" fmla="*/ 459105 h 525779"/>
                  <a:gd name="connsiteX87" fmla="*/ 901065 w 1126807"/>
                  <a:gd name="connsiteY87" fmla="*/ 447675 h 525779"/>
                  <a:gd name="connsiteX88" fmla="*/ 795338 w 1126807"/>
                  <a:gd name="connsiteY88" fmla="*/ 451390 h 525779"/>
                  <a:gd name="connsiteX89" fmla="*/ 792480 w 1126807"/>
                  <a:gd name="connsiteY89" fmla="*/ 437102 h 525779"/>
                  <a:gd name="connsiteX90" fmla="*/ 770573 w 1126807"/>
                  <a:gd name="connsiteY90" fmla="*/ 434245 h 525779"/>
                  <a:gd name="connsiteX91" fmla="*/ 757238 w 1126807"/>
                  <a:gd name="connsiteY91" fmla="*/ 441007 h 525779"/>
                  <a:gd name="connsiteX92" fmla="*/ 753428 w 1126807"/>
                  <a:gd name="connsiteY92" fmla="*/ 451390 h 525779"/>
                  <a:gd name="connsiteX93" fmla="*/ 721995 w 1126807"/>
                  <a:gd name="connsiteY93" fmla="*/ 455295 h 525779"/>
                  <a:gd name="connsiteX94" fmla="*/ 714375 w 1126807"/>
                  <a:gd name="connsiteY94" fmla="*/ 447675 h 525779"/>
                  <a:gd name="connsiteX95" fmla="*/ 693420 w 1126807"/>
                  <a:gd name="connsiteY95" fmla="*/ 447675 h 525779"/>
                  <a:gd name="connsiteX96" fmla="*/ 676275 w 1126807"/>
                  <a:gd name="connsiteY96" fmla="*/ 469582 h 525779"/>
                  <a:gd name="connsiteX97" fmla="*/ 661988 w 1126807"/>
                  <a:gd name="connsiteY97" fmla="*/ 476250 h 525779"/>
                  <a:gd name="connsiteX98" fmla="*/ 619125 w 1126807"/>
                  <a:gd name="connsiteY98" fmla="*/ 507682 h 525779"/>
                  <a:gd name="connsiteX99" fmla="*/ 616268 w 1126807"/>
                  <a:gd name="connsiteY99" fmla="*/ 525780 h 525779"/>
                  <a:gd name="connsiteX100" fmla="*/ 601980 w 1126807"/>
                  <a:gd name="connsiteY100" fmla="*/ 525780 h 525779"/>
                  <a:gd name="connsiteX101" fmla="*/ 601980 w 1126807"/>
                  <a:gd name="connsiteY101" fmla="*/ 507682 h 525779"/>
                  <a:gd name="connsiteX102" fmla="*/ 594360 w 1126807"/>
                  <a:gd name="connsiteY102" fmla="*/ 504825 h 525779"/>
                  <a:gd name="connsiteX103" fmla="*/ 562928 w 1126807"/>
                  <a:gd name="connsiteY103" fmla="*/ 507682 h 525779"/>
                  <a:gd name="connsiteX104" fmla="*/ 560070 w 1126807"/>
                  <a:gd name="connsiteY104" fmla="*/ 479965 h 525779"/>
                  <a:gd name="connsiteX105" fmla="*/ 541973 w 1126807"/>
                  <a:gd name="connsiteY105" fmla="*/ 465677 h 525779"/>
                  <a:gd name="connsiteX106" fmla="*/ 541973 w 1126807"/>
                  <a:gd name="connsiteY106" fmla="*/ 451390 h 525779"/>
                  <a:gd name="connsiteX107" fmla="*/ 510540 w 1126807"/>
                  <a:gd name="connsiteY107" fmla="*/ 419957 h 525779"/>
                  <a:gd name="connsiteX108" fmla="*/ 496253 w 1126807"/>
                  <a:gd name="connsiteY108" fmla="*/ 422815 h 525779"/>
                  <a:gd name="connsiteX109" fmla="*/ 429578 w 1126807"/>
                  <a:gd name="connsiteY109" fmla="*/ 426720 h 525779"/>
                  <a:gd name="connsiteX110" fmla="*/ 404813 w 1126807"/>
                  <a:gd name="connsiteY110" fmla="*/ 395288 h 525779"/>
                  <a:gd name="connsiteX111" fmla="*/ 359093 w 1126807"/>
                  <a:gd name="connsiteY111" fmla="*/ 370427 h 525779"/>
                  <a:gd name="connsiteX112" fmla="*/ 344805 w 1126807"/>
                  <a:gd name="connsiteY112" fmla="*/ 360045 h 525779"/>
                  <a:gd name="connsiteX113" fmla="*/ 295275 w 1126807"/>
                  <a:gd name="connsiteY113" fmla="*/ 366713 h 525779"/>
                  <a:gd name="connsiteX114" fmla="*/ 263843 w 1126807"/>
                  <a:gd name="connsiteY114" fmla="*/ 374332 h 525779"/>
                  <a:gd name="connsiteX115" fmla="*/ 263843 w 1126807"/>
                  <a:gd name="connsiteY115" fmla="*/ 504825 h 525779"/>
                  <a:gd name="connsiteX116" fmla="*/ 245745 w 1126807"/>
                  <a:gd name="connsiteY116" fmla="*/ 500920 h 525779"/>
                  <a:gd name="connsiteX117" fmla="*/ 232410 w 1126807"/>
                  <a:gd name="connsiteY117" fmla="*/ 476250 h 525779"/>
                  <a:gd name="connsiteX118" fmla="*/ 210503 w 1126807"/>
                  <a:gd name="connsiteY118" fmla="*/ 461963 h 525779"/>
                  <a:gd name="connsiteX119" fmla="*/ 200025 w 1126807"/>
                  <a:gd name="connsiteY119" fmla="*/ 465677 h 525779"/>
                  <a:gd name="connsiteX120" fmla="*/ 189548 w 1126807"/>
                  <a:gd name="connsiteY120" fmla="*/ 461963 h 5257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1126807" h="525779">
                    <a:moveTo>
                      <a:pt x="189548" y="461963"/>
                    </a:moveTo>
                    <a:lnTo>
                      <a:pt x="164783" y="459105"/>
                    </a:lnTo>
                    <a:lnTo>
                      <a:pt x="137160" y="437102"/>
                    </a:lnTo>
                    <a:lnTo>
                      <a:pt x="116205" y="412432"/>
                    </a:lnTo>
                    <a:lnTo>
                      <a:pt x="101918" y="395288"/>
                    </a:lnTo>
                    <a:lnTo>
                      <a:pt x="112395" y="387667"/>
                    </a:lnTo>
                    <a:lnTo>
                      <a:pt x="137160" y="391382"/>
                    </a:lnTo>
                    <a:lnTo>
                      <a:pt x="133350" y="370427"/>
                    </a:lnTo>
                    <a:lnTo>
                      <a:pt x="143828" y="363855"/>
                    </a:lnTo>
                    <a:lnTo>
                      <a:pt x="164783" y="366713"/>
                    </a:lnTo>
                    <a:lnTo>
                      <a:pt x="182880" y="370427"/>
                    </a:lnTo>
                    <a:lnTo>
                      <a:pt x="189548" y="345757"/>
                    </a:lnTo>
                    <a:lnTo>
                      <a:pt x="176213" y="310420"/>
                    </a:lnTo>
                    <a:lnTo>
                      <a:pt x="143828" y="310420"/>
                    </a:lnTo>
                    <a:lnTo>
                      <a:pt x="112395" y="314325"/>
                    </a:lnTo>
                    <a:lnTo>
                      <a:pt x="70485" y="331470"/>
                    </a:lnTo>
                    <a:lnTo>
                      <a:pt x="62865" y="306705"/>
                    </a:lnTo>
                    <a:lnTo>
                      <a:pt x="41910" y="279082"/>
                    </a:lnTo>
                    <a:lnTo>
                      <a:pt x="17145" y="271463"/>
                    </a:lnTo>
                    <a:lnTo>
                      <a:pt x="0" y="246602"/>
                    </a:lnTo>
                    <a:lnTo>
                      <a:pt x="10478" y="204788"/>
                    </a:lnTo>
                    <a:lnTo>
                      <a:pt x="31433" y="179927"/>
                    </a:lnTo>
                    <a:lnTo>
                      <a:pt x="45720" y="208502"/>
                    </a:lnTo>
                    <a:lnTo>
                      <a:pt x="59055" y="200882"/>
                    </a:lnTo>
                    <a:lnTo>
                      <a:pt x="62865" y="179927"/>
                    </a:lnTo>
                    <a:lnTo>
                      <a:pt x="105728" y="148495"/>
                    </a:lnTo>
                    <a:lnTo>
                      <a:pt x="133350" y="138113"/>
                    </a:lnTo>
                    <a:lnTo>
                      <a:pt x="197168" y="148495"/>
                    </a:lnTo>
                    <a:lnTo>
                      <a:pt x="239078" y="173355"/>
                    </a:lnTo>
                    <a:lnTo>
                      <a:pt x="263843" y="176213"/>
                    </a:lnTo>
                    <a:lnTo>
                      <a:pt x="302895" y="159067"/>
                    </a:lnTo>
                    <a:lnTo>
                      <a:pt x="334328" y="159067"/>
                    </a:lnTo>
                    <a:lnTo>
                      <a:pt x="351473" y="176213"/>
                    </a:lnTo>
                    <a:lnTo>
                      <a:pt x="397193" y="173355"/>
                    </a:lnTo>
                    <a:lnTo>
                      <a:pt x="419100" y="155257"/>
                    </a:lnTo>
                    <a:lnTo>
                      <a:pt x="401003" y="140970"/>
                    </a:lnTo>
                    <a:lnTo>
                      <a:pt x="376238" y="134207"/>
                    </a:lnTo>
                    <a:lnTo>
                      <a:pt x="386715" y="119920"/>
                    </a:lnTo>
                    <a:lnTo>
                      <a:pt x="397193" y="109538"/>
                    </a:lnTo>
                    <a:lnTo>
                      <a:pt x="401003" y="91345"/>
                    </a:lnTo>
                    <a:lnTo>
                      <a:pt x="421958" y="84677"/>
                    </a:lnTo>
                    <a:lnTo>
                      <a:pt x="415290" y="70390"/>
                    </a:lnTo>
                    <a:lnTo>
                      <a:pt x="408623" y="53245"/>
                    </a:lnTo>
                    <a:lnTo>
                      <a:pt x="446723" y="49530"/>
                    </a:lnTo>
                    <a:lnTo>
                      <a:pt x="492443" y="35242"/>
                    </a:lnTo>
                    <a:lnTo>
                      <a:pt x="556260" y="18002"/>
                    </a:lnTo>
                    <a:lnTo>
                      <a:pt x="608648" y="7620"/>
                    </a:lnTo>
                    <a:lnTo>
                      <a:pt x="641033" y="0"/>
                    </a:lnTo>
                    <a:lnTo>
                      <a:pt x="676275" y="3715"/>
                    </a:lnTo>
                    <a:lnTo>
                      <a:pt x="682943" y="28575"/>
                    </a:lnTo>
                    <a:lnTo>
                      <a:pt x="700088" y="38957"/>
                    </a:lnTo>
                    <a:lnTo>
                      <a:pt x="735330" y="49530"/>
                    </a:lnTo>
                    <a:lnTo>
                      <a:pt x="770573" y="67532"/>
                    </a:lnTo>
                    <a:lnTo>
                      <a:pt x="802958" y="49530"/>
                    </a:lnTo>
                    <a:lnTo>
                      <a:pt x="841058" y="38957"/>
                    </a:lnTo>
                    <a:lnTo>
                      <a:pt x="844868" y="56102"/>
                    </a:lnTo>
                    <a:lnTo>
                      <a:pt x="876300" y="78105"/>
                    </a:lnTo>
                    <a:lnTo>
                      <a:pt x="897255" y="105632"/>
                    </a:lnTo>
                    <a:lnTo>
                      <a:pt x="922020" y="148495"/>
                    </a:lnTo>
                    <a:lnTo>
                      <a:pt x="929640" y="162782"/>
                    </a:lnTo>
                    <a:lnTo>
                      <a:pt x="943928" y="162782"/>
                    </a:lnTo>
                    <a:lnTo>
                      <a:pt x="950595" y="148495"/>
                    </a:lnTo>
                    <a:lnTo>
                      <a:pt x="967740" y="159067"/>
                    </a:lnTo>
                    <a:lnTo>
                      <a:pt x="989648" y="169545"/>
                    </a:lnTo>
                    <a:lnTo>
                      <a:pt x="1006793" y="165640"/>
                    </a:lnTo>
                    <a:lnTo>
                      <a:pt x="1038225" y="162782"/>
                    </a:lnTo>
                    <a:lnTo>
                      <a:pt x="1056323" y="186595"/>
                    </a:lnTo>
                    <a:lnTo>
                      <a:pt x="1081088" y="204788"/>
                    </a:lnTo>
                    <a:lnTo>
                      <a:pt x="1119188" y="208502"/>
                    </a:lnTo>
                    <a:lnTo>
                      <a:pt x="1126808" y="233363"/>
                    </a:lnTo>
                    <a:lnTo>
                      <a:pt x="1122998" y="250507"/>
                    </a:lnTo>
                    <a:lnTo>
                      <a:pt x="1102043" y="250507"/>
                    </a:lnTo>
                    <a:lnTo>
                      <a:pt x="1095375" y="275177"/>
                    </a:lnTo>
                    <a:lnTo>
                      <a:pt x="1095375" y="300038"/>
                    </a:lnTo>
                    <a:lnTo>
                      <a:pt x="1077278" y="303752"/>
                    </a:lnTo>
                    <a:lnTo>
                      <a:pt x="1048703" y="303752"/>
                    </a:lnTo>
                    <a:lnTo>
                      <a:pt x="1021080" y="300038"/>
                    </a:lnTo>
                    <a:lnTo>
                      <a:pt x="1002983" y="341852"/>
                    </a:lnTo>
                    <a:lnTo>
                      <a:pt x="996315" y="366713"/>
                    </a:lnTo>
                    <a:lnTo>
                      <a:pt x="964883" y="366713"/>
                    </a:lnTo>
                    <a:lnTo>
                      <a:pt x="943928" y="377095"/>
                    </a:lnTo>
                    <a:lnTo>
                      <a:pt x="946785" y="409575"/>
                    </a:lnTo>
                    <a:lnTo>
                      <a:pt x="957263" y="437102"/>
                    </a:lnTo>
                    <a:lnTo>
                      <a:pt x="943928" y="451390"/>
                    </a:lnTo>
                    <a:lnTo>
                      <a:pt x="943928" y="469582"/>
                    </a:lnTo>
                    <a:lnTo>
                      <a:pt x="925830" y="461963"/>
                    </a:lnTo>
                    <a:lnTo>
                      <a:pt x="911543" y="459105"/>
                    </a:lnTo>
                    <a:lnTo>
                      <a:pt x="901065" y="447675"/>
                    </a:lnTo>
                    <a:lnTo>
                      <a:pt x="795338" y="451390"/>
                    </a:lnTo>
                    <a:lnTo>
                      <a:pt x="792480" y="437102"/>
                    </a:lnTo>
                    <a:lnTo>
                      <a:pt x="770573" y="434245"/>
                    </a:lnTo>
                    <a:lnTo>
                      <a:pt x="757238" y="441007"/>
                    </a:lnTo>
                    <a:lnTo>
                      <a:pt x="753428" y="451390"/>
                    </a:lnTo>
                    <a:lnTo>
                      <a:pt x="721995" y="455295"/>
                    </a:lnTo>
                    <a:lnTo>
                      <a:pt x="714375" y="447675"/>
                    </a:lnTo>
                    <a:lnTo>
                      <a:pt x="693420" y="447675"/>
                    </a:lnTo>
                    <a:lnTo>
                      <a:pt x="676275" y="469582"/>
                    </a:lnTo>
                    <a:lnTo>
                      <a:pt x="661988" y="476250"/>
                    </a:lnTo>
                    <a:lnTo>
                      <a:pt x="619125" y="507682"/>
                    </a:lnTo>
                    <a:lnTo>
                      <a:pt x="616268" y="525780"/>
                    </a:lnTo>
                    <a:lnTo>
                      <a:pt x="601980" y="525780"/>
                    </a:lnTo>
                    <a:lnTo>
                      <a:pt x="601980" y="507682"/>
                    </a:lnTo>
                    <a:lnTo>
                      <a:pt x="594360" y="504825"/>
                    </a:lnTo>
                    <a:lnTo>
                      <a:pt x="562928" y="507682"/>
                    </a:lnTo>
                    <a:lnTo>
                      <a:pt x="560070" y="479965"/>
                    </a:lnTo>
                    <a:lnTo>
                      <a:pt x="541973" y="465677"/>
                    </a:lnTo>
                    <a:lnTo>
                      <a:pt x="541973" y="451390"/>
                    </a:lnTo>
                    <a:lnTo>
                      <a:pt x="510540" y="419957"/>
                    </a:lnTo>
                    <a:lnTo>
                      <a:pt x="496253" y="422815"/>
                    </a:lnTo>
                    <a:lnTo>
                      <a:pt x="429578" y="426720"/>
                    </a:lnTo>
                    <a:lnTo>
                      <a:pt x="404813" y="395288"/>
                    </a:lnTo>
                    <a:lnTo>
                      <a:pt x="359093" y="370427"/>
                    </a:lnTo>
                    <a:lnTo>
                      <a:pt x="344805" y="360045"/>
                    </a:lnTo>
                    <a:lnTo>
                      <a:pt x="295275" y="366713"/>
                    </a:lnTo>
                    <a:lnTo>
                      <a:pt x="263843" y="374332"/>
                    </a:lnTo>
                    <a:lnTo>
                      <a:pt x="263843" y="504825"/>
                    </a:lnTo>
                    <a:lnTo>
                      <a:pt x="245745" y="500920"/>
                    </a:lnTo>
                    <a:lnTo>
                      <a:pt x="232410" y="476250"/>
                    </a:lnTo>
                    <a:lnTo>
                      <a:pt x="210503" y="461963"/>
                    </a:lnTo>
                    <a:lnTo>
                      <a:pt x="200025" y="465677"/>
                    </a:lnTo>
                    <a:lnTo>
                      <a:pt x="189548" y="46196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7" name="Freeform: Shape 216">
                <a:extLst>
                  <a:ext uri="{FF2B5EF4-FFF2-40B4-BE49-F238E27FC236}">
                    <a16:creationId xmlns:a16="http://schemas.microsoft.com/office/drawing/2014/main" id="{1DB18959-1AC5-8B7D-FA58-B3B7D996E285}"/>
                  </a:ext>
                </a:extLst>
              </p:cNvPr>
              <p:cNvSpPr/>
              <p:nvPr/>
            </p:nvSpPr>
            <p:spPr>
              <a:xfrm>
                <a:off x="9881880" y="2888231"/>
                <a:ext cx="72830" cy="300568"/>
              </a:xfrm>
              <a:custGeom>
                <a:avLst/>
                <a:gdLst>
                  <a:gd name="connsiteX0" fmla="*/ 0 w 74294"/>
                  <a:gd name="connsiteY0" fmla="*/ 293370 h 306609"/>
                  <a:gd name="connsiteX1" fmla="*/ 10477 w 74294"/>
                  <a:gd name="connsiteY1" fmla="*/ 306610 h 306609"/>
                  <a:gd name="connsiteX2" fmla="*/ 18097 w 74294"/>
                  <a:gd name="connsiteY2" fmla="*/ 281940 h 306609"/>
                  <a:gd name="connsiteX3" fmla="*/ 31432 w 74294"/>
                  <a:gd name="connsiteY3" fmla="*/ 285750 h 306609"/>
                  <a:gd name="connsiteX4" fmla="*/ 42863 w 74294"/>
                  <a:gd name="connsiteY4" fmla="*/ 300038 h 306609"/>
                  <a:gd name="connsiteX5" fmla="*/ 45720 w 74294"/>
                  <a:gd name="connsiteY5" fmla="*/ 285750 h 306609"/>
                  <a:gd name="connsiteX6" fmla="*/ 39052 w 74294"/>
                  <a:gd name="connsiteY6" fmla="*/ 271463 h 306609"/>
                  <a:gd name="connsiteX7" fmla="*/ 24765 w 74294"/>
                  <a:gd name="connsiteY7" fmla="*/ 254222 h 306609"/>
                  <a:gd name="connsiteX8" fmla="*/ 18097 w 74294"/>
                  <a:gd name="connsiteY8" fmla="*/ 236220 h 306609"/>
                  <a:gd name="connsiteX9" fmla="*/ 24765 w 74294"/>
                  <a:gd name="connsiteY9" fmla="*/ 221933 h 306609"/>
                  <a:gd name="connsiteX10" fmla="*/ 31432 w 74294"/>
                  <a:gd name="connsiteY10" fmla="*/ 200977 h 306609"/>
                  <a:gd name="connsiteX11" fmla="*/ 39052 w 74294"/>
                  <a:gd name="connsiteY11" fmla="*/ 190500 h 306609"/>
                  <a:gd name="connsiteX12" fmla="*/ 53340 w 74294"/>
                  <a:gd name="connsiteY12" fmla="*/ 186690 h 306609"/>
                  <a:gd name="connsiteX13" fmla="*/ 74295 w 74294"/>
                  <a:gd name="connsiteY13" fmla="*/ 204788 h 306609"/>
                  <a:gd name="connsiteX14" fmla="*/ 74295 w 74294"/>
                  <a:gd name="connsiteY14" fmla="*/ 183833 h 306609"/>
                  <a:gd name="connsiteX15" fmla="*/ 56197 w 74294"/>
                  <a:gd name="connsiteY15" fmla="*/ 155258 h 306609"/>
                  <a:gd name="connsiteX16" fmla="*/ 49530 w 74294"/>
                  <a:gd name="connsiteY16" fmla="*/ 109538 h 306609"/>
                  <a:gd name="connsiteX17" fmla="*/ 42863 w 74294"/>
                  <a:gd name="connsiteY17" fmla="*/ 74295 h 306609"/>
                  <a:gd name="connsiteX18" fmla="*/ 39052 w 74294"/>
                  <a:gd name="connsiteY18" fmla="*/ 45720 h 306609"/>
                  <a:gd name="connsiteX19" fmla="*/ 35243 w 74294"/>
                  <a:gd name="connsiteY19" fmla="*/ 20860 h 306609"/>
                  <a:gd name="connsiteX20" fmla="*/ 28575 w 74294"/>
                  <a:gd name="connsiteY20" fmla="*/ 0 h 306609"/>
                  <a:gd name="connsiteX21" fmla="*/ 20955 w 74294"/>
                  <a:gd name="connsiteY21" fmla="*/ 10477 h 306609"/>
                  <a:gd name="connsiteX22" fmla="*/ 20955 w 74294"/>
                  <a:gd name="connsiteY22" fmla="*/ 28575 h 306609"/>
                  <a:gd name="connsiteX23" fmla="*/ 3810 w 74294"/>
                  <a:gd name="connsiteY23" fmla="*/ 35147 h 306609"/>
                  <a:gd name="connsiteX24" fmla="*/ 3810 w 74294"/>
                  <a:gd name="connsiteY24" fmla="*/ 63722 h 306609"/>
                  <a:gd name="connsiteX25" fmla="*/ 3810 w 74294"/>
                  <a:gd name="connsiteY25" fmla="*/ 88583 h 306609"/>
                  <a:gd name="connsiteX26" fmla="*/ 3810 w 74294"/>
                  <a:gd name="connsiteY26" fmla="*/ 109538 h 306609"/>
                  <a:gd name="connsiteX27" fmla="*/ 14288 w 74294"/>
                  <a:gd name="connsiteY27" fmla="*/ 123825 h 306609"/>
                  <a:gd name="connsiteX28" fmla="*/ 10477 w 74294"/>
                  <a:gd name="connsiteY28" fmla="*/ 144685 h 306609"/>
                  <a:gd name="connsiteX29" fmla="*/ 10477 w 74294"/>
                  <a:gd name="connsiteY29" fmla="*/ 179927 h 306609"/>
                  <a:gd name="connsiteX30" fmla="*/ 10477 w 74294"/>
                  <a:gd name="connsiteY30" fmla="*/ 221933 h 306609"/>
                  <a:gd name="connsiteX31" fmla="*/ 10477 w 74294"/>
                  <a:gd name="connsiteY31" fmla="*/ 258127 h 306609"/>
                  <a:gd name="connsiteX32" fmla="*/ 10477 w 74294"/>
                  <a:gd name="connsiteY32" fmla="*/ 279083 h 306609"/>
                  <a:gd name="connsiteX33" fmla="*/ 0 w 74294"/>
                  <a:gd name="connsiteY33" fmla="*/ 293370 h 306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4294" h="306609">
                    <a:moveTo>
                      <a:pt x="0" y="293370"/>
                    </a:moveTo>
                    <a:lnTo>
                      <a:pt x="10477" y="306610"/>
                    </a:lnTo>
                    <a:lnTo>
                      <a:pt x="18097" y="281940"/>
                    </a:lnTo>
                    <a:lnTo>
                      <a:pt x="31432" y="285750"/>
                    </a:lnTo>
                    <a:lnTo>
                      <a:pt x="42863" y="300038"/>
                    </a:lnTo>
                    <a:lnTo>
                      <a:pt x="45720" y="285750"/>
                    </a:lnTo>
                    <a:lnTo>
                      <a:pt x="39052" y="271463"/>
                    </a:lnTo>
                    <a:lnTo>
                      <a:pt x="24765" y="254222"/>
                    </a:lnTo>
                    <a:lnTo>
                      <a:pt x="18097" y="236220"/>
                    </a:lnTo>
                    <a:lnTo>
                      <a:pt x="24765" y="221933"/>
                    </a:lnTo>
                    <a:lnTo>
                      <a:pt x="31432" y="200977"/>
                    </a:lnTo>
                    <a:lnTo>
                      <a:pt x="39052" y="190500"/>
                    </a:lnTo>
                    <a:lnTo>
                      <a:pt x="53340" y="186690"/>
                    </a:lnTo>
                    <a:lnTo>
                      <a:pt x="74295" y="204788"/>
                    </a:lnTo>
                    <a:lnTo>
                      <a:pt x="74295" y="183833"/>
                    </a:lnTo>
                    <a:lnTo>
                      <a:pt x="56197" y="155258"/>
                    </a:lnTo>
                    <a:lnTo>
                      <a:pt x="49530" y="109538"/>
                    </a:lnTo>
                    <a:lnTo>
                      <a:pt x="42863" y="74295"/>
                    </a:lnTo>
                    <a:lnTo>
                      <a:pt x="39052" y="45720"/>
                    </a:lnTo>
                    <a:lnTo>
                      <a:pt x="35243" y="20860"/>
                    </a:lnTo>
                    <a:lnTo>
                      <a:pt x="28575" y="0"/>
                    </a:lnTo>
                    <a:lnTo>
                      <a:pt x="20955" y="10477"/>
                    </a:lnTo>
                    <a:lnTo>
                      <a:pt x="20955" y="28575"/>
                    </a:lnTo>
                    <a:lnTo>
                      <a:pt x="3810" y="35147"/>
                    </a:lnTo>
                    <a:lnTo>
                      <a:pt x="3810" y="63722"/>
                    </a:lnTo>
                    <a:lnTo>
                      <a:pt x="3810" y="88583"/>
                    </a:lnTo>
                    <a:lnTo>
                      <a:pt x="3810" y="109538"/>
                    </a:lnTo>
                    <a:lnTo>
                      <a:pt x="14288" y="123825"/>
                    </a:lnTo>
                    <a:lnTo>
                      <a:pt x="10477" y="144685"/>
                    </a:lnTo>
                    <a:lnTo>
                      <a:pt x="10477" y="179927"/>
                    </a:lnTo>
                    <a:lnTo>
                      <a:pt x="10477" y="221933"/>
                    </a:lnTo>
                    <a:lnTo>
                      <a:pt x="10477" y="258127"/>
                    </a:lnTo>
                    <a:lnTo>
                      <a:pt x="10477" y="279083"/>
                    </a:lnTo>
                    <a:lnTo>
                      <a:pt x="0" y="29337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id="{E999B625-F770-22C1-6A3E-3431E2D3E9CB}"/>
                  </a:ext>
                </a:extLst>
              </p:cNvPr>
              <p:cNvSpPr/>
              <p:nvPr/>
            </p:nvSpPr>
            <p:spPr>
              <a:xfrm>
                <a:off x="9881880" y="2888231"/>
                <a:ext cx="72830" cy="300568"/>
              </a:xfrm>
              <a:custGeom>
                <a:avLst/>
                <a:gdLst>
                  <a:gd name="connsiteX0" fmla="*/ 0 w 74294"/>
                  <a:gd name="connsiteY0" fmla="*/ 293370 h 306609"/>
                  <a:gd name="connsiteX1" fmla="*/ 10477 w 74294"/>
                  <a:gd name="connsiteY1" fmla="*/ 306610 h 306609"/>
                  <a:gd name="connsiteX2" fmla="*/ 18097 w 74294"/>
                  <a:gd name="connsiteY2" fmla="*/ 281940 h 306609"/>
                  <a:gd name="connsiteX3" fmla="*/ 31432 w 74294"/>
                  <a:gd name="connsiteY3" fmla="*/ 285750 h 306609"/>
                  <a:gd name="connsiteX4" fmla="*/ 42863 w 74294"/>
                  <a:gd name="connsiteY4" fmla="*/ 300038 h 306609"/>
                  <a:gd name="connsiteX5" fmla="*/ 45720 w 74294"/>
                  <a:gd name="connsiteY5" fmla="*/ 285750 h 306609"/>
                  <a:gd name="connsiteX6" fmla="*/ 39052 w 74294"/>
                  <a:gd name="connsiteY6" fmla="*/ 271463 h 306609"/>
                  <a:gd name="connsiteX7" fmla="*/ 24765 w 74294"/>
                  <a:gd name="connsiteY7" fmla="*/ 254222 h 306609"/>
                  <a:gd name="connsiteX8" fmla="*/ 18097 w 74294"/>
                  <a:gd name="connsiteY8" fmla="*/ 236220 h 306609"/>
                  <a:gd name="connsiteX9" fmla="*/ 24765 w 74294"/>
                  <a:gd name="connsiteY9" fmla="*/ 221933 h 306609"/>
                  <a:gd name="connsiteX10" fmla="*/ 31432 w 74294"/>
                  <a:gd name="connsiteY10" fmla="*/ 200977 h 306609"/>
                  <a:gd name="connsiteX11" fmla="*/ 39052 w 74294"/>
                  <a:gd name="connsiteY11" fmla="*/ 190500 h 306609"/>
                  <a:gd name="connsiteX12" fmla="*/ 53340 w 74294"/>
                  <a:gd name="connsiteY12" fmla="*/ 186690 h 306609"/>
                  <a:gd name="connsiteX13" fmla="*/ 74295 w 74294"/>
                  <a:gd name="connsiteY13" fmla="*/ 204788 h 306609"/>
                  <a:gd name="connsiteX14" fmla="*/ 74295 w 74294"/>
                  <a:gd name="connsiteY14" fmla="*/ 183833 h 306609"/>
                  <a:gd name="connsiteX15" fmla="*/ 56197 w 74294"/>
                  <a:gd name="connsiteY15" fmla="*/ 155258 h 306609"/>
                  <a:gd name="connsiteX16" fmla="*/ 49530 w 74294"/>
                  <a:gd name="connsiteY16" fmla="*/ 109538 h 306609"/>
                  <a:gd name="connsiteX17" fmla="*/ 42863 w 74294"/>
                  <a:gd name="connsiteY17" fmla="*/ 74295 h 306609"/>
                  <a:gd name="connsiteX18" fmla="*/ 39052 w 74294"/>
                  <a:gd name="connsiteY18" fmla="*/ 45720 h 306609"/>
                  <a:gd name="connsiteX19" fmla="*/ 35243 w 74294"/>
                  <a:gd name="connsiteY19" fmla="*/ 20860 h 306609"/>
                  <a:gd name="connsiteX20" fmla="*/ 28575 w 74294"/>
                  <a:gd name="connsiteY20" fmla="*/ 0 h 306609"/>
                  <a:gd name="connsiteX21" fmla="*/ 20955 w 74294"/>
                  <a:gd name="connsiteY21" fmla="*/ 10477 h 306609"/>
                  <a:gd name="connsiteX22" fmla="*/ 20955 w 74294"/>
                  <a:gd name="connsiteY22" fmla="*/ 28575 h 306609"/>
                  <a:gd name="connsiteX23" fmla="*/ 3810 w 74294"/>
                  <a:gd name="connsiteY23" fmla="*/ 35147 h 306609"/>
                  <a:gd name="connsiteX24" fmla="*/ 3810 w 74294"/>
                  <a:gd name="connsiteY24" fmla="*/ 63722 h 306609"/>
                  <a:gd name="connsiteX25" fmla="*/ 3810 w 74294"/>
                  <a:gd name="connsiteY25" fmla="*/ 88583 h 306609"/>
                  <a:gd name="connsiteX26" fmla="*/ 3810 w 74294"/>
                  <a:gd name="connsiteY26" fmla="*/ 109538 h 306609"/>
                  <a:gd name="connsiteX27" fmla="*/ 14288 w 74294"/>
                  <a:gd name="connsiteY27" fmla="*/ 123825 h 306609"/>
                  <a:gd name="connsiteX28" fmla="*/ 10477 w 74294"/>
                  <a:gd name="connsiteY28" fmla="*/ 144685 h 306609"/>
                  <a:gd name="connsiteX29" fmla="*/ 10477 w 74294"/>
                  <a:gd name="connsiteY29" fmla="*/ 179927 h 306609"/>
                  <a:gd name="connsiteX30" fmla="*/ 10477 w 74294"/>
                  <a:gd name="connsiteY30" fmla="*/ 221933 h 306609"/>
                  <a:gd name="connsiteX31" fmla="*/ 10477 w 74294"/>
                  <a:gd name="connsiteY31" fmla="*/ 258127 h 306609"/>
                  <a:gd name="connsiteX32" fmla="*/ 10477 w 74294"/>
                  <a:gd name="connsiteY32" fmla="*/ 279083 h 306609"/>
                  <a:gd name="connsiteX33" fmla="*/ 0 w 74294"/>
                  <a:gd name="connsiteY33" fmla="*/ 293370 h 3066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74294" h="306609">
                    <a:moveTo>
                      <a:pt x="0" y="293370"/>
                    </a:moveTo>
                    <a:lnTo>
                      <a:pt x="10477" y="306610"/>
                    </a:lnTo>
                    <a:lnTo>
                      <a:pt x="18097" y="281940"/>
                    </a:lnTo>
                    <a:lnTo>
                      <a:pt x="31432" y="285750"/>
                    </a:lnTo>
                    <a:lnTo>
                      <a:pt x="42863" y="300038"/>
                    </a:lnTo>
                    <a:lnTo>
                      <a:pt x="45720" y="285750"/>
                    </a:lnTo>
                    <a:lnTo>
                      <a:pt x="39052" y="271463"/>
                    </a:lnTo>
                    <a:lnTo>
                      <a:pt x="24765" y="254222"/>
                    </a:lnTo>
                    <a:lnTo>
                      <a:pt x="18097" y="236220"/>
                    </a:lnTo>
                    <a:lnTo>
                      <a:pt x="24765" y="221933"/>
                    </a:lnTo>
                    <a:lnTo>
                      <a:pt x="31432" y="200977"/>
                    </a:lnTo>
                    <a:lnTo>
                      <a:pt x="39052" y="190500"/>
                    </a:lnTo>
                    <a:lnTo>
                      <a:pt x="53340" y="186690"/>
                    </a:lnTo>
                    <a:lnTo>
                      <a:pt x="74295" y="204788"/>
                    </a:lnTo>
                    <a:lnTo>
                      <a:pt x="74295" y="183833"/>
                    </a:lnTo>
                    <a:lnTo>
                      <a:pt x="56197" y="155258"/>
                    </a:lnTo>
                    <a:lnTo>
                      <a:pt x="49530" y="109538"/>
                    </a:lnTo>
                    <a:lnTo>
                      <a:pt x="42863" y="74295"/>
                    </a:lnTo>
                    <a:lnTo>
                      <a:pt x="39052" y="45720"/>
                    </a:lnTo>
                    <a:lnTo>
                      <a:pt x="35243" y="20860"/>
                    </a:lnTo>
                    <a:lnTo>
                      <a:pt x="28575" y="0"/>
                    </a:lnTo>
                    <a:lnTo>
                      <a:pt x="20955" y="10477"/>
                    </a:lnTo>
                    <a:lnTo>
                      <a:pt x="20955" y="28575"/>
                    </a:lnTo>
                    <a:lnTo>
                      <a:pt x="3810" y="35147"/>
                    </a:lnTo>
                    <a:lnTo>
                      <a:pt x="3810" y="63722"/>
                    </a:lnTo>
                    <a:lnTo>
                      <a:pt x="3810" y="88583"/>
                    </a:lnTo>
                    <a:lnTo>
                      <a:pt x="3810" y="109538"/>
                    </a:lnTo>
                    <a:lnTo>
                      <a:pt x="14288" y="123825"/>
                    </a:lnTo>
                    <a:lnTo>
                      <a:pt x="10477" y="144685"/>
                    </a:lnTo>
                    <a:lnTo>
                      <a:pt x="10477" y="179927"/>
                    </a:lnTo>
                    <a:lnTo>
                      <a:pt x="10477" y="221933"/>
                    </a:lnTo>
                    <a:lnTo>
                      <a:pt x="10477" y="258127"/>
                    </a:lnTo>
                    <a:lnTo>
                      <a:pt x="10477" y="279083"/>
                    </a:lnTo>
                    <a:lnTo>
                      <a:pt x="0" y="2933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id="{D3C853A3-6618-B012-4826-2666C069BB1B}"/>
                  </a:ext>
                </a:extLst>
              </p:cNvPr>
              <p:cNvSpPr/>
              <p:nvPr/>
            </p:nvSpPr>
            <p:spPr>
              <a:xfrm>
                <a:off x="7223567" y="3393380"/>
                <a:ext cx="42017" cy="34548"/>
              </a:xfrm>
              <a:custGeom>
                <a:avLst/>
                <a:gdLst>
                  <a:gd name="connsiteX0" fmla="*/ 39052 w 42862"/>
                  <a:gd name="connsiteY0" fmla="*/ 35243 h 35242"/>
                  <a:gd name="connsiteX1" fmla="*/ 24765 w 42862"/>
                  <a:gd name="connsiteY1" fmla="*/ 27623 h 35242"/>
                  <a:gd name="connsiteX2" fmla="*/ 14288 w 42862"/>
                  <a:gd name="connsiteY2" fmla="*/ 20955 h 35242"/>
                  <a:gd name="connsiteX3" fmla="*/ 0 w 42862"/>
                  <a:gd name="connsiteY3" fmla="*/ 6668 h 35242"/>
                  <a:gd name="connsiteX4" fmla="*/ 3810 w 42862"/>
                  <a:gd name="connsiteY4" fmla="*/ 0 h 35242"/>
                  <a:gd name="connsiteX5" fmla="*/ 18098 w 42862"/>
                  <a:gd name="connsiteY5" fmla="*/ 0 h 35242"/>
                  <a:gd name="connsiteX6" fmla="*/ 28575 w 42862"/>
                  <a:gd name="connsiteY6" fmla="*/ 6668 h 35242"/>
                  <a:gd name="connsiteX7" fmla="*/ 39052 w 42862"/>
                  <a:gd name="connsiteY7" fmla="*/ 10382 h 35242"/>
                  <a:gd name="connsiteX8" fmla="*/ 42863 w 42862"/>
                  <a:gd name="connsiteY8" fmla="*/ 24670 h 35242"/>
                  <a:gd name="connsiteX9" fmla="*/ 39052 w 42862"/>
                  <a:gd name="connsiteY9" fmla="*/ 3524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862" h="35242">
                    <a:moveTo>
                      <a:pt x="39052" y="35243"/>
                    </a:moveTo>
                    <a:lnTo>
                      <a:pt x="24765" y="27623"/>
                    </a:lnTo>
                    <a:lnTo>
                      <a:pt x="14288" y="20955"/>
                    </a:lnTo>
                    <a:lnTo>
                      <a:pt x="0" y="6668"/>
                    </a:lnTo>
                    <a:lnTo>
                      <a:pt x="3810" y="0"/>
                    </a:lnTo>
                    <a:lnTo>
                      <a:pt x="18098" y="0"/>
                    </a:lnTo>
                    <a:lnTo>
                      <a:pt x="28575" y="6668"/>
                    </a:lnTo>
                    <a:lnTo>
                      <a:pt x="39052" y="10382"/>
                    </a:lnTo>
                    <a:lnTo>
                      <a:pt x="42863" y="24670"/>
                    </a:lnTo>
                    <a:lnTo>
                      <a:pt x="39052" y="3524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0" name="Freeform: Shape 219">
                <a:extLst>
                  <a:ext uri="{FF2B5EF4-FFF2-40B4-BE49-F238E27FC236}">
                    <a16:creationId xmlns:a16="http://schemas.microsoft.com/office/drawing/2014/main" id="{5761A9F8-AEB3-4A5F-8A7C-68D85DDA4DB5}"/>
                  </a:ext>
                </a:extLst>
              </p:cNvPr>
              <p:cNvSpPr/>
              <p:nvPr/>
            </p:nvSpPr>
            <p:spPr>
              <a:xfrm>
                <a:off x="7223567" y="3393380"/>
                <a:ext cx="42017" cy="34548"/>
              </a:xfrm>
              <a:custGeom>
                <a:avLst/>
                <a:gdLst>
                  <a:gd name="connsiteX0" fmla="*/ 39052 w 42862"/>
                  <a:gd name="connsiteY0" fmla="*/ 35243 h 35242"/>
                  <a:gd name="connsiteX1" fmla="*/ 24765 w 42862"/>
                  <a:gd name="connsiteY1" fmla="*/ 27623 h 35242"/>
                  <a:gd name="connsiteX2" fmla="*/ 14288 w 42862"/>
                  <a:gd name="connsiteY2" fmla="*/ 20955 h 35242"/>
                  <a:gd name="connsiteX3" fmla="*/ 0 w 42862"/>
                  <a:gd name="connsiteY3" fmla="*/ 6668 h 35242"/>
                  <a:gd name="connsiteX4" fmla="*/ 3810 w 42862"/>
                  <a:gd name="connsiteY4" fmla="*/ 0 h 35242"/>
                  <a:gd name="connsiteX5" fmla="*/ 18098 w 42862"/>
                  <a:gd name="connsiteY5" fmla="*/ 0 h 35242"/>
                  <a:gd name="connsiteX6" fmla="*/ 28575 w 42862"/>
                  <a:gd name="connsiteY6" fmla="*/ 6668 h 35242"/>
                  <a:gd name="connsiteX7" fmla="*/ 39052 w 42862"/>
                  <a:gd name="connsiteY7" fmla="*/ 10382 h 35242"/>
                  <a:gd name="connsiteX8" fmla="*/ 42863 w 42862"/>
                  <a:gd name="connsiteY8" fmla="*/ 24670 h 35242"/>
                  <a:gd name="connsiteX9" fmla="*/ 39052 w 42862"/>
                  <a:gd name="connsiteY9" fmla="*/ 3524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2862" h="35242">
                    <a:moveTo>
                      <a:pt x="39052" y="35243"/>
                    </a:moveTo>
                    <a:lnTo>
                      <a:pt x="24765" y="27623"/>
                    </a:lnTo>
                    <a:lnTo>
                      <a:pt x="14288" y="20955"/>
                    </a:lnTo>
                    <a:lnTo>
                      <a:pt x="0" y="6668"/>
                    </a:lnTo>
                    <a:lnTo>
                      <a:pt x="3810" y="0"/>
                    </a:lnTo>
                    <a:lnTo>
                      <a:pt x="18098" y="0"/>
                    </a:lnTo>
                    <a:lnTo>
                      <a:pt x="28575" y="6668"/>
                    </a:lnTo>
                    <a:lnTo>
                      <a:pt x="39052" y="10382"/>
                    </a:lnTo>
                    <a:lnTo>
                      <a:pt x="42863" y="24670"/>
                    </a:lnTo>
                    <a:lnTo>
                      <a:pt x="39052" y="3524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1" name="Freeform: Shape 220">
                <a:extLst>
                  <a:ext uri="{FF2B5EF4-FFF2-40B4-BE49-F238E27FC236}">
                    <a16:creationId xmlns:a16="http://schemas.microsoft.com/office/drawing/2014/main" id="{EC747CB8-C143-CCB0-F9AD-F50726BC3973}"/>
                  </a:ext>
                </a:extLst>
              </p:cNvPr>
              <p:cNvSpPr/>
              <p:nvPr/>
            </p:nvSpPr>
            <p:spPr>
              <a:xfrm>
                <a:off x="6957456" y="3558557"/>
                <a:ext cx="48554" cy="48647"/>
              </a:xfrm>
              <a:custGeom>
                <a:avLst/>
                <a:gdLst>
                  <a:gd name="connsiteX0" fmla="*/ 28575 w 49530"/>
                  <a:gd name="connsiteY0" fmla="*/ 3905 h 49625"/>
                  <a:gd name="connsiteX1" fmla="*/ 42863 w 49530"/>
                  <a:gd name="connsiteY1" fmla="*/ 0 h 49625"/>
                  <a:gd name="connsiteX2" fmla="*/ 49530 w 49530"/>
                  <a:gd name="connsiteY2" fmla="*/ 7715 h 49625"/>
                  <a:gd name="connsiteX3" fmla="*/ 42863 w 49530"/>
                  <a:gd name="connsiteY3" fmla="*/ 18193 h 49625"/>
                  <a:gd name="connsiteX4" fmla="*/ 32385 w 49530"/>
                  <a:gd name="connsiteY4" fmla="*/ 24765 h 49625"/>
                  <a:gd name="connsiteX5" fmla="*/ 28575 w 49530"/>
                  <a:gd name="connsiteY5" fmla="*/ 36290 h 49625"/>
                  <a:gd name="connsiteX6" fmla="*/ 18098 w 49530"/>
                  <a:gd name="connsiteY6" fmla="*/ 42863 h 49625"/>
                  <a:gd name="connsiteX7" fmla="*/ 11430 w 49530"/>
                  <a:gd name="connsiteY7" fmla="*/ 49625 h 49625"/>
                  <a:gd name="connsiteX8" fmla="*/ 0 w 49530"/>
                  <a:gd name="connsiteY8" fmla="*/ 46768 h 49625"/>
                  <a:gd name="connsiteX9" fmla="*/ 11430 w 49530"/>
                  <a:gd name="connsiteY9" fmla="*/ 32480 h 49625"/>
                  <a:gd name="connsiteX10" fmla="*/ 21907 w 49530"/>
                  <a:gd name="connsiteY10" fmla="*/ 14288 h 49625"/>
                  <a:gd name="connsiteX11" fmla="*/ 28575 w 49530"/>
                  <a:gd name="connsiteY11" fmla="*/ 3905 h 4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9530" h="49625">
                    <a:moveTo>
                      <a:pt x="28575" y="3905"/>
                    </a:moveTo>
                    <a:lnTo>
                      <a:pt x="42863" y="0"/>
                    </a:lnTo>
                    <a:lnTo>
                      <a:pt x="49530" y="7715"/>
                    </a:lnTo>
                    <a:lnTo>
                      <a:pt x="42863" y="18193"/>
                    </a:lnTo>
                    <a:lnTo>
                      <a:pt x="32385" y="24765"/>
                    </a:lnTo>
                    <a:lnTo>
                      <a:pt x="28575" y="36290"/>
                    </a:lnTo>
                    <a:lnTo>
                      <a:pt x="18098" y="42863"/>
                    </a:lnTo>
                    <a:lnTo>
                      <a:pt x="11430" y="49625"/>
                    </a:lnTo>
                    <a:lnTo>
                      <a:pt x="0" y="46768"/>
                    </a:lnTo>
                    <a:lnTo>
                      <a:pt x="11430" y="32480"/>
                    </a:lnTo>
                    <a:lnTo>
                      <a:pt x="21907" y="14288"/>
                    </a:lnTo>
                    <a:lnTo>
                      <a:pt x="28575" y="390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2" name="Freeform: Shape 221">
                <a:extLst>
                  <a:ext uri="{FF2B5EF4-FFF2-40B4-BE49-F238E27FC236}">
                    <a16:creationId xmlns:a16="http://schemas.microsoft.com/office/drawing/2014/main" id="{6A0D7999-5380-5587-83DB-155B3EDC9190}"/>
                  </a:ext>
                </a:extLst>
              </p:cNvPr>
              <p:cNvSpPr/>
              <p:nvPr/>
            </p:nvSpPr>
            <p:spPr>
              <a:xfrm>
                <a:off x="6957456" y="3558557"/>
                <a:ext cx="48554" cy="48647"/>
              </a:xfrm>
              <a:custGeom>
                <a:avLst/>
                <a:gdLst>
                  <a:gd name="connsiteX0" fmla="*/ 28575 w 49530"/>
                  <a:gd name="connsiteY0" fmla="*/ 3905 h 49625"/>
                  <a:gd name="connsiteX1" fmla="*/ 42863 w 49530"/>
                  <a:gd name="connsiteY1" fmla="*/ 0 h 49625"/>
                  <a:gd name="connsiteX2" fmla="*/ 49530 w 49530"/>
                  <a:gd name="connsiteY2" fmla="*/ 7715 h 49625"/>
                  <a:gd name="connsiteX3" fmla="*/ 42863 w 49530"/>
                  <a:gd name="connsiteY3" fmla="*/ 18193 h 49625"/>
                  <a:gd name="connsiteX4" fmla="*/ 32385 w 49530"/>
                  <a:gd name="connsiteY4" fmla="*/ 24765 h 49625"/>
                  <a:gd name="connsiteX5" fmla="*/ 28575 w 49530"/>
                  <a:gd name="connsiteY5" fmla="*/ 36290 h 49625"/>
                  <a:gd name="connsiteX6" fmla="*/ 18098 w 49530"/>
                  <a:gd name="connsiteY6" fmla="*/ 42863 h 49625"/>
                  <a:gd name="connsiteX7" fmla="*/ 11430 w 49530"/>
                  <a:gd name="connsiteY7" fmla="*/ 49625 h 49625"/>
                  <a:gd name="connsiteX8" fmla="*/ 0 w 49530"/>
                  <a:gd name="connsiteY8" fmla="*/ 46768 h 49625"/>
                  <a:gd name="connsiteX9" fmla="*/ 11430 w 49530"/>
                  <a:gd name="connsiteY9" fmla="*/ 32480 h 49625"/>
                  <a:gd name="connsiteX10" fmla="*/ 21907 w 49530"/>
                  <a:gd name="connsiteY10" fmla="*/ 14288 h 49625"/>
                  <a:gd name="connsiteX11" fmla="*/ 28575 w 49530"/>
                  <a:gd name="connsiteY11" fmla="*/ 3905 h 4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9530" h="49625">
                    <a:moveTo>
                      <a:pt x="28575" y="3905"/>
                    </a:moveTo>
                    <a:lnTo>
                      <a:pt x="42863" y="0"/>
                    </a:lnTo>
                    <a:lnTo>
                      <a:pt x="49530" y="7715"/>
                    </a:lnTo>
                    <a:lnTo>
                      <a:pt x="42863" y="18193"/>
                    </a:lnTo>
                    <a:lnTo>
                      <a:pt x="32385" y="24765"/>
                    </a:lnTo>
                    <a:lnTo>
                      <a:pt x="28575" y="36290"/>
                    </a:lnTo>
                    <a:lnTo>
                      <a:pt x="18098" y="42863"/>
                    </a:lnTo>
                    <a:lnTo>
                      <a:pt x="11430" y="49625"/>
                    </a:lnTo>
                    <a:lnTo>
                      <a:pt x="0" y="46768"/>
                    </a:lnTo>
                    <a:lnTo>
                      <a:pt x="11430" y="32480"/>
                    </a:lnTo>
                    <a:lnTo>
                      <a:pt x="21907" y="14288"/>
                    </a:lnTo>
                    <a:lnTo>
                      <a:pt x="28575" y="39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3" name="Freeform: Shape 222">
                <a:extLst>
                  <a:ext uri="{FF2B5EF4-FFF2-40B4-BE49-F238E27FC236}">
                    <a16:creationId xmlns:a16="http://schemas.microsoft.com/office/drawing/2014/main" id="{5128D435-8EBF-7334-C1DD-4B82990D12FD}"/>
                  </a:ext>
                </a:extLst>
              </p:cNvPr>
              <p:cNvSpPr/>
              <p:nvPr/>
            </p:nvSpPr>
            <p:spPr>
              <a:xfrm>
                <a:off x="6968660" y="3479283"/>
                <a:ext cx="185811" cy="149303"/>
              </a:xfrm>
              <a:custGeom>
                <a:avLst/>
                <a:gdLst>
                  <a:gd name="connsiteX0" fmla="*/ 17145 w 189547"/>
                  <a:gd name="connsiteY0" fmla="*/ 84772 h 152304"/>
                  <a:gd name="connsiteX1" fmla="*/ 13335 w 189547"/>
                  <a:gd name="connsiteY1" fmla="*/ 57150 h 152304"/>
                  <a:gd name="connsiteX2" fmla="*/ 13335 w 189547"/>
                  <a:gd name="connsiteY2" fmla="*/ 42863 h 152304"/>
                  <a:gd name="connsiteX3" fmla="*/ 17145 w 189547"/>
                  <a:gd name="connsiteY3" fmla="*/ 35242 h 152304"/>
                  <a:gd name="connsiteX4" fmla="*/ 31432 w 189547"/>
                  <a:gd name="connsiteY4" fmla="*/ 21907 h 152304"/>
                  <a:gd name="connsiteX5" fmla="*/ 35243 w 189547"/>
                  <a:gd name="connsiteY5" fmla="*/ 7620 h 152304"/>
                  <a:gd name="connsiteX6" fmla="*/ 45720 w 189547"/>
                  <a:gd name="connsiteY6" fmla="*/ 14288 h 152304"/>
                  <a:gd name="connsiteX7" fmla="*/ 66675 w 189547"/>
                  <a:gd name="connsiteY7" fmla="*/ 14288 h 152304"/>
                  <a:gd name="connsiteX8" fmla="*/ 70485 w 189547"/>
                  <a:gd name="connsiteY8" fmla="*/ 7620 h 152304"/>
                  <a:gd name="connsiteX9" fmla="*/ 80963 w 189547"/>
                  <a:gd name="connsiteY9" fmla="*/ 7620 h 152304"/>
                  <a:gd name="connsiteX10" fmla="*/ 91440 w 189547"/>
                  <a:gd name="connsiteY10" fmla="*/ 18002 h 152304"/>
                  <a:gd name="connsiteX11" fmla="*/ 122872 w 189547"/>
                  <a:gd name="connsiteY11" fmla="*/ 14288 h 152304"/>
                  <a:gd name="connsiteX12" fmla="*/ 143827 w 189547"/>
                  <a:gd name="connsiteY12" fmla="*/ 0 h 152304"/>
                  <a:gd name="connsiteX13" fmla="*/ 189547 w 189547"/>
                  <a:gd name="connsiteY13" fmla="*/ 0 h 152304"/>
                  <a:gd name="connsiteX14" fmla="*/ 189547 w 189547"/>
                  <a:gd name="connsiteY14" fmla="*/ 7620 h 152304"/>
                  <a:gd name="connsiteX15" fmla="*/ 164782 w 189547"/>
                  <a:gd name="connsiteY15" fmla="*/ 24670 h 152304"/>
                  <a:gd name="connsiteX16" fmla="*/ 158115 w 189547"/>
                  <a:gd name="connsiteY16" fmla="*/ 80867 h 152304"/>
                  <a:gd name="connsiteX17" fmla="*/ 94297 w 189547"/>
                  <a:gd name="connsiteY17" fmla="*/ 119920 h 152304"/>
                  <a:gd name="connsiteX18" fmla="*/ 48577 w 189547"/>
                  <a:gd name="connsiteY18" fmla="*/ 148495 h 152304"/>
                  <a:gd name="connsiteX19" fmla="*/ 35243 w 189547"/>
                  <a:gd name="connsiteY19" fmla="*/ 152305 h 152304"/>
                  <a:gd name="connsiteX20" fmla="*/ 20955 w 189547"/>
                  <a:gd name="connsiteY20" fmla="*/ 144780 h 152304"/>
                  <a:gd name="connsiteX21" fmla="*/ 10477 w 189547"/>
                  <a:gd name="connsiteY21" fmla="*/ 140970 h 152304"/>
                  <a:gd name="connsiteX22" fmla="*/ 2857 w 189547"/>
                  <a:gd name="connsiteY22" fmla="*/ 138017 h 152304"/>
                  <a:gd name="connsiteX23" fmla="*/ 0 w 189547"/>
                  <a:gd name="connsiteY23" fmla="*/ 130492 h 152304"/>
                  <a:gd name="connsiteX24" fmla="*/ 17145 w 189547"/>
                  <a:gd name="connsiteY24" fmla="*/ 117157 h 152304"/>
                  <a:gd name="connsiteX25" fmla="*/ 20955 w 189547"/>
                  <a:gd name="connsiteY25" fmla="*/ 105632 h 152304"/>
                  <a:gd name="connsiteX26" fmla="*/ 31432 w 189547"/>
                  <a:gd name="connsiteY26" fmla="*/ 99060 h 152304"/>
                  <a:gd name="connsiteX27" fmla="*/ 38100 w 189547"/>
                  <a:gd name="connsiteY27" fmla="*/ 88582 h 152304"/>
                  <a:gd name="connsiteX28" fmla="*/ 31432 w 189547"/>
                  <a:gd name="connsiteY28" fmla="*/ 80867 h 152304"/>
                  <a:gd name="connsiteX29" fmla="*/ 17145 w 189547"/>
                  <a:gd name="connsiteY29" fmla="*/ 84772 h 152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89547" h="152304">
                    <a:moveTo>
                      <a:pt x="17145" y="84772"/>
                    </a:moveTo>
                    <a:lnTo>
                      <a:pt x="13335" y="57150"/>
                    </a:lnTo>
                    <a:lnTo>
                      <a:pt x="13335" y="42863"/>
                    </a:lnTo>
                    <a:lnTo>
                      <a:pt x="17145" y="35242"/>
                    </a:lnTo>
                    <a:lnTo>
                      <a:pt x="31432" y="21907"/>
                    </a:lnTo>
                    <a:lnTo>
                      <a:pt x="35243" y="7620"/>
                    </a:lnTo>
                    <a:lnTo>
                      <a:pt x="45720" y="14288"/>
                    </a:lnTo>
                    <a:lnTo>
                      <a:pt x="66675" y="14288"/>
                    </a:lnTo>
                    <a:lnTo>
                      <a:pt x="70485" y="7620"/>
                    </a:lnTo>
                    <a:lnTo>
                      <a:pt x="80963" y="7620"/>
                    </a:lnTo>
                    <a:lnTo>
                      <a:pt x="91440" y="18002"/>
                    </a:lnTo>
                    <a:lnTo>
                      <a:pt x="122872" y="14288"/>
                    </a:lnTo>
                    <a:lnTo>
                      <a:pt x="143827" y="0"/>
                    </a:lnTo>
                    <a:lnTo>
                      <a:pt x="189547" y="0"/>
                    </a:lnTo>
                    <a:lnTo>
                      <a:pt x="189547" y="7620"/>
                    </a:lnTo>
                    <a:lnTo>
                      <a:pt x="164782" y="24670"/>
                    </a:lnTo>
                    <a:lnTo>
                      <a:pt x="158115" y="80867"/>
                    </a:lnTo>
                    <a:lnTo>
                      <a:pt x="94297" y="119920"/>
                    </a:lnTo>
                    <a:lnTo>
                      <a:pt x="48577" y="148495"/>
                    </a:lnTo>
                    <a:lnTo>
                      <a:pt x="35243" y="152305"/>
                    </a:lnTo>
                    <a:lnTo>
                      <a:pt x="20955" y="144780"/>
                    </a:lnTo>
                    <a:lnTo>
                      <a:pt x="10477" y="140970"/>
                    </a:lnTo>
                    <a:lnTo>
                      <a:pt x="2857" y="138017"/>
                    </a:lnTo>
                    <a:lnTo>
                      <a:pt x="0" y="130492"/>
                    </a:lnTo>
                    <a:lnTo>
                      <a:pt x="17145" y="117157"/>
                    </a:lnTo>
                    <a:lnTo>
                      <a:pt x="20955" y="105632"/>
                    </a:lnTo>
                    <a:lnTo>
                      <a:pt x="31432" y="99060"/>
                    </a:lnTo>
                    <a:lnTo>
                      <a:pt x="38100" y="88582"/>
                    </a:lnTo>
                    <a:lnTo>
                      <a:pt x="31432" y="80867"/>
                    </a:lnTo>
                    <a:lnTo>
                      <a:pt x="17145" y="8477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4" name="Freeform: Shape 223">
                <a:extLst>
                  <a:ext uri="{FF2B5EF4-FFF2-40B4-BE49-F238E27FC236}">
                    <a16:creationId xmlns:a16="http://schemas.microsoft.com/office/drawing/2014/main" id="{AAA06118-1191-90A9-B34B-F944318D8BD0}"/>
                  </a:ext>
                </a:extLst>
              </p:cNvPr>
              <p:cNvSpPr/>
              <p:nvPr/>
            </p:nvSpPr>
            <p:spPr>
              <a:xfrm>
                <a:off x="6968660" y="3479283"/>
                <a:ext cx="185811" cy="149303"/>
              </a:xfrm>
              <a:custGeom>
                <a:avLst/>
                <a:gdLst>
                  <a:gd name="connsiteX0" fmla="*/ 17145 w 189547"/>
                  <a:gd name="connsiteY0" fmla="*/ 84772 h 152304"/>
                  <a:gd name="connsiteX1" fmla="*/ 13335 w 189547"/>
                  <a:gd name="connsiteY1" fmla="*/ 57150 h 152304"/>
                  <a:gd name="connsiteX2" fmla="*/ 13335 w 189547"/>
                  <a:gd name="connsiteY2" fmla="*/ 42863 h 152304"/>
                  <a:gd name="connsiteX3" fmla="*/ 17145 w 189547"/>
                  <a:gd name="connsiteY3" fmla="*/ 35242 h 152304"/>
                  <a:gd name="connsiteX4" fmla="*/ 31432 w 189547"/>
                  <a:gd name="connsiteY4" fmla="*/ 21907 h 152304"/>
                  <a:gd name="connsiteX5" fmla="*/ 35243 w 189547"/>
                  <a:gd name="connsiteY5" fmla="*/ 7620 h 152304"/>
                  <a:gd name="connsiteX6" fmla="*/ 45720 w 189547"/>
                  <a:gd name="connsiteY6" fmla="*/ 14288 h 152304"/>
                  <a:gd name="connsiteX7" fmla="*/ 66675 w 189547"/>
                  <a:gd name="connsiteY7" fmla="*/ 14288 h 152304"/>
                  <a:gd name="connsiteX8" fmla="*/ 70485 w 189547"/>
                  <a:gd name="connsiteY8" fmla="*/ 7620 h 152304"/>
                  <a:gd name="connsiteX9" fmla="*/ 80963 w 189547"/>
                  <a:gd name="connsiteY9" fmla="*/ 7620 h 152304"/>
                  <a:gd name="connsiteX10" fmla="*/ 91440 w 189547"/>
                  <a:gd name="connsiteY10" fmla="*/ 18002 h 152304"/>
                  <a:gd name="connsiteX11" fmla="*/ 122872 w 189547"/>
                  <a:gd name="connsiteY11" fmla="*/ 14288 h 152304"/>
                  <a:gd name="connsiteX12" fmla="*/ 143827 w 189547"/>
                  <a:gd name="connsiteY12" fmla="*/ 0 h 152304"/>
                  <a:gd name="connsiteX13" fmla="*/ 189547 w 189547"/>
                  <a:gd name="connsiteY13" fmla="*/ 0 h 152304"/>
                  <a:gd name="connsiteX14" fmla="*/ 189547 w 189547"/>
                  <a:gd name="connsiteY14" fmla="*/ 7620 h 152304"/>
                  <a:gd name="connsiteX15" fmla="*/ 164782 w 189547"/>
                  <a:gd name="connsiteY15" fmla="*/ 24670 h 152304"/>
                  <a:gd name="connsiteX16" fmla="*/ 158115 w 189547"/>
                  <a:gd name="connsiteY16" fmla="*/ 80867 h 152304"/>
                  <a:gd name="connsiteX17" fmla="*/ 94297 w 189547"/>
                  <a:gd name="connsiteY17" fmla="*/ 119920 h 152304"/>
                  <a:gd name="connsiteX18" fmla="*/ 48577 w 189547"/>
                  <a:gd name="connsiteY18" fmla="*/ 148495 h 152304"/>
                  <a:gd name="connsiteX19" fmla="*/ 35243 w 189547"/>
                  <a:gd name="connsiteY19" fmla="*/ 152305 h 152304"/>
                  <a:gd name="connsiteX20" fmla="*/ 20955 w 189547"/>
                  <a:gd name="connsiteY20" fmla="*/ 144780 h 152304"/>
                  <a:gd name="connsiteX21" fmla="*/ 10477 w 189547"/>
                  <a:gd name="connsiteY21" fmla="*/ 140970 h 152304"/>
                  <a:gd name="connsiteX22" fmla="*/ 2857 w 189547"/>
                  <a:gd name="connsiteY22" fmla="*/ 138017 h 152304"/>
                  <a:gd name="connsiteX23" fmla="*/ 0 w 189547"/>
                  <a:gd name="connsiteY23" fmla="*/ 130492 h 152304"/>
                  <a:gd name="connsiteX24" fmla="*/ 17145 w 189547"/>
                  <a:gd name="connsiteY24" fmla="*/ 117157 h 152304"/>
                  <a:gd name="connsiteX25" fmla="*/ 20955 w 189547"/>
                  <a:gd name="connsiteY25" fmla="*/ 105632 h 152304"/>
                  <a:gd name="connsiteX26" fmla="*/ 31432 w 189547"/>
                  <a:gd name="connsiteY26" fmla="*/ 99060 h 152304"/>
                  <a:gd name="connsiteX27" fmla="*/ 38100 w 189547"/>
                  <a:gd name="connsiteY27" fmla="*/ 88582 h 152304"/>
                  <a:gd name="connsiteX28" fmla="*/ 31432 w 189547"/>
                  <a:gd name="connsiteY28" fmla="*/ 80867 h 152304"/>
                  <a:gd name="connsiteX29" fmla="*/ 17145 w 189547"/>
                  <a:gd name="connsiteY29" fmla="*/ 84772 h 152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89547" h="152304">
                    <a:moveTo>
                      <a:pt x="17145" y="84772"/>
                    </a:moveTo>
                    <a:lnTo>
                      <a:pt x="13335" y="57150"/>
                    </a:lnTo>
                    <a:lnTo>
                      <a:pt x="13335" y="42863"/>
                    </a:lnTo>
                    <a:lnTo>
                      <a:pt x="17145" y="35242"/>
                    </a:lnTo>
                    <a:lnTo>
                      <a:pt x="31432" y="21907"/>
                    </a:lnTo>
                    <a:lnTo>
                      <a:pt x="35243" y="7620"/>
                    </a:lnTo>
                    <a:lnTo>
                      <a:pt x="45720" y="14288"/>
                    </a:lnTo>
                    <a:lnTo>
                      <a:pt x="66675" y="14288"/>
                    </a:lnTo>
                    <a:lnTo>
                      <a:pt x="70485" y="7620"/>
                    </a:lnTo>
                    <a:lnTo>
                      <a:pt x="80963" y="7620"/>
                    </a:lnTo>
                    <a:lnTo>
                      <a:pt x="91440" y="18002"/>
                    </a:lnTo>
                    <a:lnTo>
                      <a:pt x="122872" y="14288"/>
                    </a:lnTo>
                    <a:lnTo>
                      <a:pt x="143827" y="0"/>
                    </a:lnTo>
                    <a:lnTo>
                      <a:pt x="189547" y="0"/>
                    </a:lnTo>
                    <a:lnTo>
                      <a:pt x="189547" y="7620"/>
                    </a:lnTo>
                    <a:lnTo>
                      <a:pt x="164782" y="24670"/>
                    </a:lnTo>
                    <a:lnTo>
                      <a:pt x="158115" y="80867"/>
                    </a:lnTo>
                    <a:lnTo>
                      <a:pt x="94297" y="119920"/>
                    </a:lnTo>
                    <a:lnTo>
                      <a:pt x="48577" y="148495"/>
                    </a:lnTo>
                    <a:lnTo>
                      <a:pt x="35243" y="152305"/>
                    </a:lnTo>
                    <a:lnTo>
                      <a:pt x="20955" y="144780"/>
                    </a:lnTo>
                    <a:lnTo>
                      <a:pt x="10477" y="140970"/>
                    </a:lnTo>
                    <a:lnTo>
                      <a:pt x="2857" y="138017"/>
                    </a:lnTo>
                    <a:lnTo>
                      <a:pt x="0" y="130492"/>
                    </a:lnTo>
                    <a:lnTo>
                      <a:pt x="17145" y="117157"/>
                    </a:lnTo>
                    <a:lnTo>
                      <a:pt x="20955" y="105632"/>
                    </a:lnTo>
                    <a:lnTo>
                      <a:pt x="31432" y="99060"/>
                    </a:lnTo>
                    <a:lnTo>
                      <a:pt x="38100" y="88582"/>
                    </a:lnTo>
                    <a:lnTo>
                      <a:pt x="31432" y="80867"/>
                    </a:lnTo>
                    <a:lnTo>
                      <a:pt x="17145" y="847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5" name="Freeform: Shape 224">
                <a:extLst>
                  <a:ext uri="{FF2B5EF4-FFF2-40B4-BE49-F238E27FC236}">
                    <a16:creationId xmlns:a16="http://schemas.microsoft.com/office/drawing/2014/main" id="{71A935B0-B83A-B8C5-B8CC-395311228A5A}"/>
                  </a:ext>
                </a:extLst>
              </p:cNvPr>
              <p:cNvSpPr/>
              <p:nvPr/>
            </p:nvSpPr>
            <p:spPr>
              <a:xfrm>
                <a:off x="6934112" y="3604403"/>
                <a:ext cx="41084" cy="110180"/>
              </a:xfrm>
              <a:custGeom>
                <a:avLst/>
                <a:gdLst>
                  <a:gd name="connsiteX0" fmla="*/ 27623 w 41910"/>
                  <a:gd name="connsiteY0" fmla="*/ 24670 h 112395"/>
                  <a:gd name="connsiteX1" fmla="*/ 38100 w 41910"/>
                  <a:gd name="connsiteY1" fmla="*/ 24670 h 112395"/>
                  <a:gd name="connsiteX2" fmla="*/ 41910 w 41910"/>
                  <a:gd name="connsiteY2" fmla="*/ 13335 h 112395"/>
                  <a:gd name="connsiteX3" fmla="*/ 38100 w 41910"/>
                  <a:gd name="connsiteY3" fmla="*/ 10382 h 112395"/>
                  <a:gd name="connsiteX4" fmla="*/ 35243 w 41910"/>
                  <a:gd name="connsiteY4" fmla="*/ 2858 h 112395"/>
                  <a:gd name="connsiteX5" fmla="*/ 23813 w 41910"/>
                  <a:gd name="connsiteY5" fmla="*/ 0 h 112395"/>
                  <a:gd name="connsiteX6" fmla="*/ 23813 w 41910"/>
                  <a:gd name="connsiteY6" fmla="*/ 10382 h 112395"/>
                  <a:gd name="connsiteX7" fmla="*/ 20955 w 41910"/>
                  <a:gd name="connsiteY7" fmla="*/ 24670 h 112395"/>
                  <a:gd name="connsiteX8" fmla="*/ 17145 w 41910"/>
                  <a:gd name="connsiteY8" fmla="*/ 35147 h 112395"/>
                  <a:gd name="connsiteX9" fmla="*/ 10477 w 41910"/>
                  <a:gd name="connsiteY9" fmla="*/ 45720 h 112395"/>
                  <a:gd name="connsiteX10" fmla="*/ 6668 w 41910"/>
                  <a:gd name="connsiteY10" fmla="*/ 52388 h 112395"/>
                  <a:gd name="connsiteX11" fmla="*/ 0 w 41910"/>
                  <a:gd name="connsiteY11" fmla="*/ 62770 h 112395"/>
                  <a:gd name="connsiteX12" fmla="*/ 2857 w 41910"/>
                  <a:gd name="connsiteY12" fmla="*/ 70485 h 112395"/>
                  <a:gd name="connsiteX13" fmla="*/ 10477 w 41910"/>
                  <a:gd name="connsiteY13" fmla="*/ 83820 h 112395"/>
                  <a:gd name="connsiteX14" fmla="*/ 17145 w 41910"/>
                  <a:gd name="connsiteY14" fmla="*/ 101822 h 112395"/>
                  <a:gd name="connsiteX15" fmla="*/ 20955 w 41910"/>
                  <a:gd name="connsiteY15" fmla="*/ 112395 h 112395"/>
                  <a:gd name="connsiteX16" fmla="*/ 31432 w 41910"/>
                  <a:gd name="connsiteY16" fmla="*/ 91345 h 112395"/>
                  <a:gd name="connsiteX17" fmla="*/ 35243 w 41910"/>
                  <a:gd name="connsiteY17" fmla="*/ 73247 h 112395"/>
                  <a:gd name="connsiteX18" fmla="*/ 35243 w 41910"/>
                  <a:gd name="connsiteY18" fmla="*/ 52388 h 112395"/>
                  <a:gd name="connsiteX19" fmla="*/ 27623 w 41910"/>
                  <a:gd name="connsiteY19" fmla="*/ 52388 h 112395"/>
                  <a:gd name="connsiteX20" fmla="*/ 23813 w 41910"/>
                  <a:gd name="connsiteY20" fmla="*/ 31433 h 112395"/>
                  <a:gd name="connsiteX21" fmla="*/ 27623 w 41910"/>
                  <a:gd name="connsiteY21" fmla="*/ 24670 h 112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1910" h="112395">
                    <a:moveTo>
                      <a:pt x="27623" y="24670"/>
                    </a:moveTo>
                    <a:lnTo>
                      <a:pt x="38100" y="24670"/>
                    </a:lnTo>
                    <a:lnTo>
                      <a:pt x="41910" y="13335"/>
                    </a:lnTo>
                    <a:lnTo>
                      <a:pt x="38100" y="10382"/>
                    </a:lnTo>
                    <a:lnTo>
                      <a:pt x="35243" y="2858"/>
                    </a:lnTo>
                    <a:lnTo>
                      <a:pt x="23813" y="0"/>
                    </a:lnTo>
                    <a:lnTo>
                      <a:pt x="23813" y="10382"/>
                    </a:lnTo>
                    <a:lnTo>
                      <a:pt x="20955" y="24670"/>
                    </a:lnTo>
                    <a:lnTo>
                      <a:pt x="17145" y="35147"/>
                    </a:lnTo>
                    <a:lnTo>
                      <a:pt x="10477" y="45720"/>
                    </a:lnTo>
                    <a:lnTo>
                      <a:pt x="6668" y="52388"/>
                    </a:lnTo>
                    <a:lnTo>
                      <a:pt x="0" y="62770"/>
                    </a:lnTo>
                    <a:lnTo>
                      <a:pt x="2857" y="70485"/>
                    </a:lnTo>
                    <a:lnTo>
                      <a:pt x="10477" y="83820"/>
                    </a:lnTo>
                    <a:lnTo>
                      <a:pt x="17145" y="101822"/>
                    </a:lnTo>
                    <a:lnTo>
                      <a:pt x="20955" y="112395"/>
                    </a:lnTo>
                    <a:lnTo>
                      <a:pt x="31432" y="91345"/>
                    </a:lnTo>
                    <a:lnTo>
                      <a:pt x="35243" y="73247"/>
                    </a:lnTo>
                    <a:lnTo>
                      <a:pt x="35243" y="52388"/>
                    </a:lnTo>
                    <a:lnTo>
                      <a:pt x="27623" y="52388"/>
                    </a:lnTo>
                    <a:lnTo>
                      <a:pt x="23813" y="31433"/>
                    </a:lnTo>
                    <a:lnTo>
                      <a:pt x="27623" y="2467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70BFE859-6CC4-2ABD-EF91-3CECE7BA2404}"/>
                  </a:ext>
                </a:extLst>
              </p:cNvPr>
              <p:cNvSpPr/>
              <p:nvPr/>
            </p:nvSpPr>
            <p:spPr>
              <a:xfrm>
                <a:off x="6934112" y="3604403"/>
                <a:ext cx="41084" cy="110180"/>
              </a:xfrm>
              <a:custGeom>
                <a:avLst/>
                <a:gdLst>
                  <a:gd name="connsiteX0" fmla="*/ 27623 w 41910"/>
                  <a:gd name="connsiteY0" fmla="*/ 24670 h 112395"/>
                  <a:gd name="connsiteX1" fmla="*/ 38100 w 41910"/>
                  <a:gd name="connsiteY1" fmla="*/ 24670 h 112395"/>
                  <a:gd name="connsiteX2" fmla="*/ 41910 w 41910"/>
                  <a:gd name="connsiteY2" fmla="*/ 13335 h 112395"/>
                  <a:gd name="connsiteX3" fmla="*/ 38100 w 41910"/>
                  <a:gd name="connsiteY3" fmla="*/ 10382 h 112395"/>
                  <a:gd name="connsiteX4" fmla="*/ 35243 w 41910"/>
                  <a:gd name="connsiteY4" fmla="*/ 2858 h 112395"/>
                  <a:gd name="connsiteX5" fmla="*/ 23813 w 41910"/>
                  <a:gd name="connsiteY5" fmla="*/ 0 h 112395"/>
                  <a:gd name="connsiteX6" fmla="*/ 23813 w 41910"/>
                  <a:gd name="connsiteY6" fmla="*/ 10382 h 112395"/>
                  <a:gd name="connsiteX7" fmla="*/ 20955 w 41910"/>
                  <a:gd name="connsiteY7" fmla="*/ 24670 h 112395"/>
                  <a:gd name="connsiteX8" fmla="*/ 17145 w 41910"/>
                  <a:gd name="connsiteY8" fmla="*/ 35147 h 112395"/>
                  <a:gd name="connsiteX9" fmla="*/ 10477 w 41910"/>
                  <a:gd name="connsiteY9" fmla="*/ 45720 h 112395"/>
                  <a:gd name="connsiteX10" fmla="*/ 6668 w 41910"/>
                  <a:gd name="connsiteY10" fmla="*/ 52388 h 112395"/>
                  <a:gd name="connsiteX11" fmla="*/ 0 w 41910"/>
                  <a:gd name="connsiteY11" fmla="*/ 62770 h 112395"/>
                  <a:gd name="connsiteX12" fmla="*/ 2857 w 41910"/>
                  <a:gd name="connsiteY12" fmla="*/ 70485 h 112395"/>
                  <a:gd name="connsiteX13" fmla="*/ 10477 w 41910"/>
                  <a:gd name="connsiteY13" fmla="*/ 83820 h 112395"/>
                  <a:gd name="connsiteX14" fmla="*/ 17145 w 41910"/>
                  <a:gd name="connsiteY14" fmla="*/ 101822 h 112395"/>
                  <a:gd name="connsiteX15" fmla="*/ 20955 w 41910"/>
                  <a:gd name="connsiteY15" fmla="*/ 112395 h 112395"/>
                  <a:gd name="connsiteX16" fmla="*/ 31432 w 41910"/>
                  <a:gd name="connsiteY16" fmla="*/ 91345 h 112395"/>
                  <a:gd name="connsiteX17" fmla="*/ 35243 w 41910"/>
                  <a:gd name="connsiteY17" fmla="*/ 73247 h 112395"/>
                  <a:gd name="connsiteX18" fmla="*/ 35243 w 41910"/>
                  <a:gd name="connsiteY18" fmla="*/ 52388 h 112395"/>
                  <a:gd name="connsiteX19" fmla="*/ 27623 w 41910"/>
                  <a:gd name="connsiteY19" fmla="*/ 52388 h 112395"/>
                  <a:gd name="connsiteX20" fmla="*/ 23813 w 41910"/>
                  <a:gd name="connsiteY20" fmla="*/ 31433 h 112395"/>
                  <a:gd name="connsiteX21" fmla="*/ 27623 w 41910"/>
                  <a:gd name="connsiteY21" fmla="*/ 24670 h 112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41910" h="112395">
                    <a:moveTo>
                      <a:pt x="27623" y="24670"/>
                    </a:moveTo>
                    <a:lnTo>
                      <a:pt x="38100" y="24670"/>
                    </a:lnTo>
                    <a:lnTo>
                      <a:pt x="41910" y="13335"/>
                    </a:lnTo>
                    <a:lnTo>
                      <a:pt x="38100" y="10382"/>
                    </a:lnTo>
                    <a:lnTo>
                      <a:pt x="35243" y="2858"/>
                    </a:lnTo>
                    <a:lnTo>
                      <a:pt x="23813" y="0"/>
                    </a:lnTo>
                    <a:lnTo>
                      <a:pt x="23813" y="10382"/>
                    </a:lnTo>
                    <a:lnTo>
                      <a:pt x="20955" y="24670"/>
                    </a:lnTo>
                    <a:lnTo>
                      <a:pt x="17145" y="35147"/>
                    </a:lnTo>
                    <a:lnTo>
                      <a:pt x="10477" y="45720"/>
                    </a:lnTo>
                    <a:lnTo>
                      <a:pt x="6668" y="52388"/>
                    </a:lnTo>
                    <a:lnTo>
                      <a:pt x="0" y="62770"/>
                    </a:lnTo>
                    <a:lnTo>
                      <a:pt x="2857" y="70485"/>
                    </a:lnTo>
                    <a:lnTo>
                      <a:pt x="10477" y="83820"/>
                    </a:lnTo>
                    <a:lnTo>
                      <a:pt x="17145" y="101822"/>
                    </a:lnTo>
                    <a:lnTo>
                      <a:pt x="20955" y="112395"/>
                    </a:lnTo>
                    <a:lnTo>
                      <a:pt x="31432" y="91345"/>
                    </a:lnTo>
                    <a:lnTo>
                      <a:pt x="35243" y="73247"/>
                    </a:lnTo>
                    <a:lnTo>
                      <a:pt x="35243" y="52388"/>
                    </a:lnTo>
                    <a:lnTo>
                      <a:pt x="27623" y="52388"/>
                    </a:lnTo>
                    <a:lnTo>
                      <a:pt x="23813" y="31433"/>
                    </a:lnTo>
                    <a:lnTo>
                      <a:pt x="27623" y="246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1C29A78B-E69B-6543-A91A-488ACFD8FBC1}"/>
                  </a:ext>
                </a:extLst>
              </p:cNvPr>
              <p:cNvSpPr/>
              <p:nvPr/>
            </p:nvSpPr>
            <p:spPr>
              <a:xfrm>
                <a:off x="7068569" y="3468920"/>
                <a:ext cx="244635" cy="255936"/>
              </a:xfrm>
              <a:custGeom>
                <a:avLst/>
                <a:gdLst>
                  <a:gd name="connsiteX0" fmla="*/ 158115 w 249554"/>
                  <a:gd name="connsiteY0" fmla="*/ 3905 h 261080"/>
                  <a:gd name="connsiteX1" fmla="*/ 165735 w 249554"/>
                  <a:gd name="connsiteY1" fmla="*/ 18193 h 261080"/>
                  <a:gd name="connsiteX2" fmla="*/ 186690 w 249554"/>
                  <a:gd name="connsiteY2" fmla="*/ 49530 h 261080"/>
                  <a:gd name="connsiteX3" fmla="*/ 200977 w 249554"/>
                  <a:gd name="connsiteY3" fmla="*/ 53435 h 261080"/>
                  <a:gd name="connsiteX4" fmla="*/ 193357 w 249554"/>
                  <a:gd name="connsiteY4" fmla="*/ 63817 h 261080"/>
                  <a:gd name="connsiteX5" fmla="*/ 197167 w 249554"/>
                  <a:gd name="connsiteY5" fmla="*/ 78105 h 261080"/>
                  <a:gd name="connsiteX6" fmla="*/ 186690 w 249554"/>
                  <a:gd name="connsiteY6" fmla="*/ 84868 h 261080"/>
                  <a:gd name="connsiteX7" fmla="*/ 176213 w 249554"/>
                  <a:gd name="connsiteY7" fmla="*/ 109633 h 261080"/>
                  <a:gd name="connsiteX8" fmla="*/ 197167 w 249554"/>
                  <a:gd name="connsiteY8" fmla="*/ 130492 h 261080"/>
                  <a:gd name="connsiteX9" fmla="*/ 207645 w 249554"/>
                  <a:gd name="connsiteY9" fmla="*/ 148590 h 261080"/>
                  <a:gd name="connsiteX10" fmla="*/ 232410 w 249554"/>
                  <a:gd name="connsiteY10" fmla="*/ 159067 h 261080"/>
                  <a:gd name="connsiteX11" fmla="*/ 246697 w 249554"/>
                  <a:gd name="connsiteY11" fmla="*/ 173355 h 261080"/>
                  <a:gd name="connsiteX12" fmla="*/ 239077 w 249554"/>
                  <a:gd name="connsiteY12" fmla="*/ 198215 h 261080"/>
                  <a:gd name="connsiteX13" fmla="*/ 249555 w 249554"/>
                  <a:gd name="connsiteY13" fmla="*/ 219170 h 261080"/>
                  <a:gd name="connsiteX14" fmla="*/ 246697 w 249554"/>
                  <a:gd name="connsiteY14" fmla="*/ 229552 h 261080"/>
                  <a:gd name="connsiteX15" fmla="*/ 232410 w 249554"/>
                  <a:gd name="connsiteY15" fmla="*/ 233458 h 261080"/>
                  <a:gd name="connsiteX16" fmla="*/ 214313 w 249554"/>
                  <a:gd name="connsiteY16" fmla="*/ 246793 h 261080"/>
                  <a:gd name="connsiteX17" fmla="*/ 214313 w 249554"/>
                  <a:gd name="connsiteY17" fmla="*/ 261080 h 261080"/>
                  <a:gd name="connsiteX18" fmla="*/ 158115 w 249554"/>
                  <a:gd name="connsiteY18" fmla="*/ 261080 h 261080"/>
                  <a:gd name="connsiteX19" fmla="*/ 133350 w 249554"/>
                  <a:gd name="connsiteY19" fmla="*/ 240030 h 261080"/>
                  <a:gd name="connsiteX20" fmla="*/ 120015 w 249554"/>
                  <a:gd name="connsiteY20" fmla="*/ 240030 h 261080"/>
                  <a:gd name="connsiteX21" fmla="*/ 101917 w 249554"/>
                  <a:gd name="connsiteY21" fmla="*/ 211455 h 261080"/>
                  <a:gd name="connsiteX22" fmla="*/ 38100 w 249554"/>
                  <a:gd name="connsiteY22" fmla="*/ 176308 h 261080"/>
                  <a:gd name="connsiteX23" fmla="*/ 2857 w 249554"/>
                  <a:gd name="connsiteY23" fmla="*/ 169640 h 261080"/>
                  <a:gd name="connsiteX24" fmla="*/ 0 w 249554"/>
                  <a:gd name="connsiteY24" fmla="*/ 127730 h 261080"/>
                  <a:gd name="connsiteX25" fmla="*/ 56197 w 249554"/>
                  <a:gd name="connsiteY25" fmla="*/ 91440 h 261080"/>
                  <a:gd name="connsiteX26" fmla="*/ 62865 w 249554"/>
                  <a:gd name="connsiteY26" fmla="*/ 35242 h 261080"/>
                  <a:gd name="connsiteX27" fmla="*/ 87630 w 249554"/>
                  <a:gd name="connsiteY27" fmla="*/ 18193 h 261080"/>
                  <a:gd name="connsiteX28" fmla="*/ 87630 w 249554"/>
                  <a:gd name="connsiteY28" fmla="*/ 10573 h 261080"/>
                  <a:gd name="connsiteX29" fmla="*/ 105727 w 249554"/>
                  <a:gd name="connsiteY29" fmla="*/ 0 h 261080"/>
                  <a:gd name="connsiteX30" fmla="*/ 154305 w 249554"/>
                  <a:gd name="connsiteY30" fmla="*/ 10573 h 261080"/>
                  <a:gd name="connsiteX31" fmla="*/ 158115 w 249554"/>
                  <a:gd name="connsiteY31" fmla="*/ 3905 h 261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49554" h="261080">
                    <a:moveTo>
                      <a:pt x="158115" y="3905"/>
                    </a:moveTo>
                    <a:lnTo>
                      <a:pt x="165735" y="18193"/>
                    </a:lnTo>
                    <a:lnTo>
                      <a:pt x="186690" y="49530"/>
                    </a:lnTo>
                    <a:lnTo>
                      <a:pt x="200977" y="53435"/>
                    </a:lnTo>
                    <a:lnTo>
                      <a:pt x="193357" y="63817"/>
                    </a:lnTo>
                    <a:lnTo>
                      <a:pt x="197167" y="78105"/>
                    </a:lnTo>
                    <a:lnTo>
                      <a:pt x="186690" y="84868"/>
                    </a:lnTo>
                    <a:lnTo>
                      <a:pt x="176213" y="109633"/>
                    </a:lnTo>
                    <a:lnTo>
                      <a:pt x="197167" y="130492"/>
                    </a:lnTo>
                    <a:lnTo>
                      <a:pt x="207645" y="148590"/>
                    </a:lnTo>
                    <a:lnTo>
                      <a:pt x="232410" y="159067"/>
                    </a:lnTo>
                    <a:lnTo>
                      <a:pt x="246697" y="173355"/>
                    </a:lnTo>
                    <a:lnTo>
                      <a:pt x="239077" y="198215"/>
                    </a:lnTo>
                    <a:lnTo>
                      <a:pt x="249555" y="219170"/>
                    </a:lnTo>
                    <a:lnTo>
                      <a:pt x="246697" y="229552"/>
                    </a:lnTo>
                    <a:lnTo>
                      <a:pt x="232410" y="233458"/>
                    </a:lnTo>
                    <a:lnTo>
                      <a:pt x="214313" y="246793"/>
                    </a:lnTo>
                    <a:lnTo>
                      <a:pt x="214313" y="261080"/>
                    </a:lnTo>
                    <a:lnTo>
                      <a:pt x="158115" y="261080"/>
                    </a:lnTo>
                    <a:lnTo>
                      <a:pt x="133350" y="240030"/>
                    </a:lnTo>
                    <a:lnTo>
                      <a:pt x="120015" y="240030"/>
                    </a:lnTo>
                    <a:lnTo>
                      <a:pt x="101917" y="211455"/>
                    </a:lnTo>
                    <a:lnTo>
                      <a:pt x="38100" y="176308"/>
                    </a:lnTo>
                    <a:lnTo>
                      <a:pt x="2857" y="169640"/>
                    </a:lnTo>
                    <a:lnTo>
                      <a:pt x="0" y="127730"/>
                    </a:lnTo>
                    <a:lnTo>
                      <a:pt x="56197" y="91440"/>
                    </a:lnTo>
                    <a:lnTo>
                      <a:pt x="62865" y="35242"/>
                    </a:lnTo>
                    <a:lnTo>
                      <a:pt x="87630" y="18193"/>
                    </a:lnTo>
                    <a:lnTo>
                      <a:pt x="87630" y="10573"/>
                    </a:lnTo>
                    <a:lnTo>
                      <a:pt x="105727" y="0"/>
                    </a:lnTo>
                    <a:lnTo>
                      <a:pt x="154305" y="10573"/>
                    </a:lnTo>
                    <a:lnTo>
                      <a:pt x="158115" y="39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3FE83C70-94AA-7178-E21A-E5DE77E6EC7A}"/>
                  </a:ext>
                </a:extLst>
              </p:cNvPr>
              <p:cNvSpPr/>
              <p:nvPr/>
            </p:nvSpPr>
            <p:spPr>
              <a:xfrm>
                <a:off x="7424318" y="3862954"/>
                <a:ext cx="213822" cy="225122"/>
              </a:xfrm>
              <a:custGeom>
                <a:avLst/>
                <a:gdLst>
                  <a:gd name="connsiteX0" fmla="*/ 91440 w 218122"/>
                  <a:gd name="connsiteY0" fmla="*/ 53435 h 229647"/>
                  <a:gd name="connsiteX1" fmla="*/ 122873 w 218122"/>
                  <a:gd name="connsiteY1" fmla="*/ 0 h 229647"/>
                  <a:gd name="connsiteX2" fmla="*/ 143827 w 218122"/>
                  <a:gd name="connsiteY2" fmla="*/ 14288 h 229647"/>
                  <a:gd name="connsiteX3" fmla="*/ 158115 w 218122"/>
                  <a:gd name="connsiteY3" fmla="*/ 24860 h 229647"/>
                  <a:gd name="connsiteX4" fmla="*/ 179070 w 218122"/>
                  <a:gd name="connsiteY4" fmla="*/ 28575 h 229647"/>
                  <a:gd name="connsiteX5" fmla="*/ 218123 w 218122"/>
                  <a:gd name="connsiteY5" fmla="*/ 63913 h 229647"/>
                  <a:gd name="connsiteX6" fmla="*/ 203835 w 218122"/>
                  <a:gd name="connsiteY6" fmla="*/ 88678 h 229647"/>
                  <a:gd name="connsiteX7" fmla="*/ 182880 w 218122"/>
                  <a:gd name="connsiteY7" fmla="*/ 113347 h 229647"/>
                  <a:gd name="connsiteX8" fmla="*/ 172402 w 218122"/>
                  <a:gd name="connsiteY8" fmla="*/ 116300 h 229647"/>
                  <a:gd name="connsiteX9" fmla="*/ 151448 w 218122"/>
                  <a:gd name="connsiteY9" fmla="*/ 123825 h 229647"/>
                  <a:gd name="connsiteX10" fmla="*/ 154305 w 218122"/>
                  <a:gd name="connsiteY10" fmla="*/ 141065 h 229647"/>
                  <a:gd name="connsiteX11" fmla="*/ 158115 w 218122"/>
                  <a:gd name="connsiteY11" fmla="*/ 159163 h 229647"/>
                  <a:gd name="connsiteX12" fmla="*/ 140970 w 218122"/>
                  <a:gd name="connsiteY12" fmla="*/ 162973 h 229647"/>
                  <a:gd name="connsiteX13" fmla="*/ 126682 w 218122"/>
                  <a:gd name="connsiteY13" fmla="*/ 173450 h 229647"/>
                  <a:gd name="connsiteX14" fmla="*/ 119063 w 218122"/>
                  <a:gd name="connsiteY14" fmla="*/ 183928 h 229647"/>
                  <a:gd name="connsiteX15" fmla="*/ 119063 w 218122"/>
                  <a:gd name="connsiteY15" fmla="*/ 194310 h 229647"/>
                  <a:gd name="connsiteX16" fmla="*/ 94298 w 218122"/>
                  <a:gd name="connsiteY16" fmla="*/ 198215 h 229647"/>
                  <a:gd name="connsiteX17" fmla="*/ 91440 w 218122"/>
                  <a:gd name="connsiteY17" fmla="*/ 208597 h 229647"/>
                  <a:gd name="connsiteX18" fmla="*/ 80963 w 218122"/>
                  <a:gd name="connsiteY18" fmla="*/ 225838 h 229647"/>
                  <a:gd name="connsiteX19" fmla="*/ 45720 w 218122"/>
                  <a:gd name="connsiteY19" fmla="*/ 222885 h 229647"/>
                  <a:gd name="connsiteX20" fmla="*/ 27623 w 218122"/>
                  <a:gd name="connsiteY20" fmla="*/ 229648 h 229647"/>
                  <a:gd name="connsiteX21" fmla="*/ 0 w 218122"/>
                  <a:gd name="connsiteY21" fmla="*/ 165735 h 229647"/>
                  <a:gd name="connsiteX22" fmla="*/ 20955 w 218122"/>
                  <a:gd name="connsiteY22" fmla="*/ 148685 h 229647"/>
                  <a:gd name="connsiteX23" fmla="*/ 83820 w 218122"/>
                  <a:gd name="connsiteY23" fmla="*/ 127635 h 229647"/>
                  <a:gd name="connsiteX24" fmla="*/ 98107 w 218122"/>
                  <a:gd name="connsiteY24" fmla="*/ 95250 h 229647"/>
                  <a:gd name="connsiteX25" fmla="*/ 98107 w 218122"/>
                  <a:gd name="connsiteY25" fmla="*/ 70485 h 229647"/>
                  <a:gd name="connsiteX26" fmla="*/ 91440 w 218122"/>
                  <a:gd name="connsiteY26" fmla="*/ 53435 h 2296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8122" h="229647">
                    <a:moveTo>
                      <a:pt x="91440" y="53435"/>
                    </a:moveTo>
                    <a:lnTo>
                      <a:pt x="122873" y="0"/>
                    </a:lnTo>
                    <a:lnTo>
                      <a:pt x="143827" y="14288"/>
                    </a:lnTo>
                    <a:lnTo>
                      <a:pt x="158115" y="24860"/>
                    </a:lnTo>
                    <a:lnTo>
                      <a:pt x="179070" y="28575"/>
                    </a:lnTo>
                    <a:lnTo>
                      <a:pt x="218123" y="63913"/>
                    </a:lnTo>
                    <a:lnTo>
                      <a:pt x="203835" y="88678"/>
                    </a:lnTo>
                    <a:lnTo>
                      <a:pt x="182880" y="113347"/>
                    </a:lnTo>
                    <a:lnTo>
                      <a:pt x="172402" y="116300"/>
                    </a:lnTo>
                    <a:lnTo>
                      <a:pt x="151448" y="123825"/>
                    </a:lnTo>
                    <a:lnTo>
                      <a:pt x="154305" y="141065"/>
                    </a:lnTo>
                    <a:lnTo>
                      <a:pt x="158115" y="159163"/>
                    </a:lnTo>
                    <a:lnTo>
                      <a:pt x="140970" y="162973"/>
                    </a:lnTo>
                    <a:lnTo>
                      <a:pt x="126682" y="173450"/>
                    </a:lnTo>
                    <a:lnTo>
                      <a:pt x="119063" y="183928"/>
                    </a:lnTo>
                    <a:lnTo>
                      <a:pt x="119063" y="194310"/>
                    </a:lnTo>
                    <a:lnTo>
                      <a:pt x="94298" y="198215"/>
                    </a:lnTo>
                    <a:lnTo>
                      <a:pt x="91440" y="208597"/>
                    </a:lnTo>
                    <a:lnTo>
                      <a:pt x="80963" y="225838"/>
                    </a:lnTo>
                    <a:lnTo>
                      <a:pt x="45720" y="222885"/>
                    </a:lnTo>
                    <a:lnTo>
                      <a:pt x="27623" y="229648"/>
                    </a:lnTo>
                    <a:lnTo>
                      <a:pt x="0" y="165735"/>
                    </a:lnTo>
                    <a:lnTo>
                      <a:pt x="20955" y="148685"/>
                    </a:lnTo>
                    <a:lnTo>
                      <a:pt x="83820" y="127635"/>
                    </a:lnTo>
                    <a:lnTo>
                      <a:pt x="98107" y="95250"/>
                    </a:lnTo>
                    <a:lnTo>
                      <a:pt x="98107" y="70485"/>
                    </a:lnTo>
                    <a:lnTo>
                      <a:pt x="91440" y="5343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2104D789-33EB-BEC5-AC56-A611A9FD9A5C}"/>
                  </a:ext>
                </a:extLst>
              </p:cNvPr>
              <p:cNvSpPr/>
              <p:nvPr/>
            </p:nvSpPr>
            <p:spPr>
              <a:xfrm>
                <a:off x="7172212" y="4025423"/>
                <a:ext cx="279183" cy="172740"/>
              </a:xfrm>
              <a:custGeom>
                <a:avLst/>
                <a:gdLst>
                  <a:gd name="connsiteX0" fmla="*/ 87630 w 284797"/>
                  <a:gd name="connsiteY0" fmla="*/ 151543 h 176212"/>
                  <a:gd name="connsiteX1" fmla="*/ 73343 w 284797"/>
                  <a:gd name="connsiteY1" fmla="*/ 162878 h 176212"/>
                  <a:gd name="connsiteX2" fmla="*/ 62865 w 284797"/>
                  <a:gd name="connsiteY2" fmla="*/ 176213 h 176212"/>
                  <a:gd name="connsiteX3" fmla="*/ 27623 w 284797"/>
                  <a:gd name="connsiteY3" fmla="*/ 176213 h 176212"/>
                  <a:gd name="connsiteX4" fmla="*/ 14288 w 284797"/>
                  <a:gd name="connsiteY4" fmla="*/ 169640 h 176212"/>
                  <a:gd name="connsiteX5" fmla="*/ 0 w 284797"/>
                  <a:gd name="connsiteY5" fmla="*/ 116300 h 176212"/>
                  <a:gd name="connsiteX6" fmla="*/ 0 w 284797"/>
                  <a:gd name="connsiteY6" fmla="*/ 74390 h 176212"/>
                  <a:gd name="connsiteX7" fmla="*/ 14288 w 284797"/>
                  <a:gd name="connsiteY7" fmla="*/ 42863 h 176212"/>
                  <a:gd name="connsiteX8" fmla="*/ 73343 w 284797"/>
                  <a:gd name="connsiteY8" fmla="*/ 39053 h 176212"/>
                  <a:gd name="connsiteX9" fmla="*/ 126682 w 284797"/>
                  <a:gd name="connsiteY9" fmla="*/ 49625 h 176212"/>
                  <a:gd name="connsiteX10" fmla="*/ 172402 w 284797"/>
                  <a:gd name="connsiteY10" fmla="*/ 7715 h 176212"/>
                  <a:gd name="connsiteX11" fmla="*/ 224790 w 284797"/>
                  <a:gd name="connsiteY11" fmla="*/ 0 h 176212"/>
                  <a:gd name="connsiteX12" fmla="*/ 257175 w 284797"/>
                  <a:gd name="connsiteY12" fmla="*/ 0 h 176212"/>
                  <a:gd name="connsiteX13" fmla="*/ 284798 w 284797"/>
                  <a:gd name="connsiteY13" fmla="*/ 63913 h 176212"/>
                  <a:gd name="connsiteX14" fmla="*/ 263843 w 284797"/>
                  <a:gd name="connsiteY14" fmla="*/ 74390 h 176212"/>
                  <a:gd name="connsiteX15" fmla="*/ 249555 w 284797"/>
                  <a:gd name="connsiteY15" fmla="*/ 84868 h 176212"/>
                  <a:gd name="connsiteX16" fmla="*/ 249555 w 284797"/>
                  <a:gd name="connsiteY16" fmla="*/ 99155 h 176212"/>
                  <a:gd name="connsiteX17" fmla="*/ 239077 w 284797"/>
                  <a:gd name="connsiteY17" fmla="*/ 105728 h 176212"/>
                  <a:gd name="connsiteX18" fmla="*/ 200025 w 284797"/>
                  <a:gd name="connsiteY18" fmla="*/ 116300 h 176212"/>
                  <a:gd name="connsiteX19" fmla="*/ 182880 w 284797"/>
                  <a:gd name="connsiteY19" fmla="*/ 120015 h 176212"/>
                  <a:gd name="connsiteX20" fmla="*/ 168593 w 284797"/>
                  <a:gd name="connsiteY20" fmla="*/ 141065 h 176212"/>
                  <a:gd name="connsiteX21" fmla="*/ 137160 w 284797"/>
                  <a:gd name="connsiteY21" fmla="*/ 138113 h 176212"/>
                  <a:gd name="connsiteX22" fmla="*/ 122873 w 284797"/>
                  <a:gd name="connsiteY22" fmla="*/ 155353 h 176212"/>
                  <a:gd name="connsiteX23" fmla="*/ 98107 w 284797"/>
                  <a:gd name="connsiteY23" fmla="*/ 155353 h 176212"/>
                  <a:gd name="connsiteX24" fmla="*/ 87630 w 284797"/>
                  <a:gd name="connsiteY24" fmla="*/ 151543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84797" h="176212">
                    <a:moveTo>
                      <a:pt x="87630" y="151543"/>
                    </a:moveTo>
                    <a:lnTo>
                      <a:pt x="73343" y="162878"/>
                    </a:lnTo>
                    <a:lnTo>
                      <a:pt x="62865" y="176213"/>
                    </a:lnTo>
                    <a:lnTo>
                      <a:pt x="27623" y="176213"/>
                    </a:lnTo>
                    <a:lnTo>
                      <a:pt x="14288" y="169640"/>
                    </a:lnTo>
                    <a:lnTo>
                      <a:pt x="0" y="116300"/>
                    </a:lnTo>
                    <a:lnTo>
                      <a:pt x="0" y="74390"/>
                    </a:lnTo>
                    <a:lnTo>
                      <a:pt x="14288" y="42863"/>
                    </a:lnTo>
                    <a:lnTo>
                      <a:pt x="73343" y="39053"/>
                    </a:lnTo>
                    <a:lnTo>
                      <a:pt x="126682" y="49625"/>
                    </a:lnTo>
                    <a:lnTo>
                      <a:pt x="172402" y="7715"/>
                    </a:lnTo>
                    <a:lnTo>
                      <a:pt x="224790" y="0"/>
                    </a:lnTo>
                    <a:lnTo>
                      <a:pt x="257175" y="0"/>
                    </a:lnTo>
                    <a:lnTo>
                      <a:pt x="284798" y="63913"/>
                    </a:lnTo>
                    <a:lnTo>
                      <a:pt x="263843" y="74390"/>
                    </a:lnTo>
                    <a:lnTo>
                      <a:pt x="249555" y="84868"/>
                    </a:lnTo>
                    <a:lnTo>
                      <a:pt x="249555" y="99155"/>
                    </a:lnTo>
                    <a:lnTo>
                      <a:pt x="239077" y="105728"/>
                    </a:lnTo>
                    <a:lnTo>
                      <a:pt x="200025" y="116300"/>
                    </a:lnTo>
                    <a:lnTo>
                      <a:pt x="182880" y="120015"/>
                    </a:lnTo>
                    <a:lnTo>
                      <a:pt x="168593" y="141065"/>
                    </a:lnTo>
                    <a:lnTo>
                      <a:pt x="137160" y="138113"/>
                    </a:lnTo>
                    <a:lnTo>
                      <a:pt x="122873" y="155353"/>
                    </a:lnTo>
                    <a:lnTo>
                      <a:pt x="98107" y="155353"/>
                    </a:lnTo>
                    <a:lnTo>
                      <a:pt x="87630" y="15154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52E0B504-85FE-3A26-EC64-C660A87DB8F6}"/>
                  </a:ext>
                </a:extLst>
              </p:cNvPr>
              <p:cNvSpPr/>
              <p:nvPr/>
            </p:nvSpPr>
            <p:spPr>
              <a:xfrm>
                <a:off x="7206760" y="3396089"/>
                <a:ext cx="527554" cy="446417"/>
              </a:xfrm>
              <a:custGeom>
                <a:avLst/>
                <a:gdLst>
                  <a:gd name="connsiteX0" fmla="*/ 133350 w 538162"/>
                  <a:gd name="connsiteY0" fmla="*/ 42863 h 455390"/>
                  <a:gd name="connsiteX1" fmla="*/ 140970 w 538162"/>
                  <a:gd name="connsiteY1" fmla="*/ 67723 h 455390"/>
                  <a:gd name="connsiteX2" fmla="*/ 176213 w 538162"/>
                  <a:gd name="connsiteY2" fmla="*/ 84868 h 455390"/>
                  <a:gd name="connsiteX3" fmla="*/ 197168 w 538162"/>
                  <a:gd name="connsiteY3" fmla="*/ 99155 h 455390"/>
                  <a:gd name="connsiteX4" fmla="*/ 249555 w 538162"/>
                  <a:gd name="connsiteY4" fmla="*/ 99155 h 455390"/>
                  <a:gd name="connsiteX5" fmla="*/ 274320 w 538162"/>
                  <a:gd name="connsiteY5" fmla="*/ 84868 h 455390"/>
                  <a:gd name="connsiteX6" fmla="*/ 313372 w 538162"/>
                  <a:gd name="connsiteY6" fmla="*/ 57150 h 455390"/>
                  <a:gd name="connsiteX7" fmla="*/ 359093 w 538162"/>
                  <a:gd name="connsiteY7" fmla="*/ 49625 h 455390"/>
                  <a:gd name="connsiteX8" fmla="*/ 398145 w 538162"/>
                  <a:gd name="connsiteY8" fmla="*/ 63913 h 455390"/>
                  <a:gd name="connsiteX9" fmla="*/ 450532 w 538162"/>
                  <a:gd name="connsiteY9" fmla="*/ 92488 h 455390"/>
                  <a:gd name="connsiteX10" fmla="*/ 479107 w 538162"/>
                  <a:gd name="connsiteY10" fmla="*/ 99155 h 455390"/>
                  <a:gd name="connsiteX11" fmla="*/ 481965 w 538162"/>
                  <a:gd name="connsiteY11" fmla="*/ 138113 h 455390"/>
                  <a:gd name="connsiteX12" fmla="*/ 464820 w 538162"/>
                  <a:gd name="connsiteY12" fmla="*/ 173450 h 455390"/>
                  <a:gd name="connsiteX13" fmla="*/ 461010 w 538162"/>
                  <a:gd name="connsiteY13" fmla="*/ 222885 h 455390"/>
                  <a:gd name="connsiteX14" fmla="*/ 471488 w 538162"/>
                  <a:gd name="connsiteY14" fmla="*/ 264890 h 455390"/>
                  <a:gd name="connsiteX15" fmla="*/ 496252 w 538162"/>
                  <a:gd name="connsiteY15" fmla="*/ 264890 h 455390"/>
                  <a:gd name="connsiteX16" fmla="*/ 492443 w 538162"/>
                  <a:gd name="connsiteY16" fmla="*/ 285750 h 455390"/>
                  <a:gd name="connsiteX17" fmla="*/ 467677 w 538162"/>
                  <a:gd name="connsiteY17" fmla="*/ 310610 h 455390"/>
                  <a:gd name="connsiteX18" fmla="*/ 479107 w 538162"/>
                  <a:gd name="connsiteY18" fmla="*/ 328613 h 455390"/>
                  <a:gd name="connsiteX19" fmla="*/ 502920 w 538162"/>
                  <a:gd name="connsiteY19" fmla="*/ 356235 h 455390"/>
                  <a:gd name="connsiteX20" fmla="*/ 524827 w 538162"/>
                  <a:gd name="connsiteY20" fmla="*/ 374428 h 455390"/>
                  <a:gd name="connsiteX21" fmla="*/ 524827 w 538162"/>
                  <a:gd name="connsiteY21" fmla="*/ 395288 h 455390"/>
                  <a:gd name="connsiteX22" fmla="*/ 538163 w 538162"/>
                  <a:gd name="connsiteY22" fmla="*/ 395288 h 455390"/>
                  <a:gd name="connsiteX23" fmla="*/ 538163 w 538162"/>
                  <a:gd name="connsiteY23" fmla="*/ 409575 h 455390"/>
                  <a:gd name="connsiteX24" fmla="*/ 514350 w 538162"/>
                  <a:gd name="connsiteY24" fmla="*/ 413385 h 455390"/>
                  <a:gd name="connsiteX25" fmla="*/ 489585 w 538162"/>
                  <a:gd name="connsiteY25" fmla="*/ 426815 h 455390"/>
                  <a:gd name="connsiteX26" fmla="*/ 489585 w 538162"/>
                  <a:gd name="connsiteY26" fmla="*/ 455390 h 455390"/>
                  <a:gd name="connsiteX27" fmla="*/ 415290 w 538162"/>
                  <a:gd name="connsiteY27" fmla="*/ 448723 h 455390"/>
                  <a:gd name="connsiteX28" fmla="*/ 365760 w 538162"/>
                  <a:gd name="connsiteY28" fmla="*/ 434435 h 455390"/>
                  <a:gd name="connsiteX29" fmla="*/ 362902 w 538162"/>
                  <a:gd name="connsiteY29" fmla="*/ 405860 h 455390"/>
                  <a:gd name="connsiteX30" fmla="*/ 344805 w 538162"/>
                  <a:gd name="connsiteY30" fmla="*/ 391573 h 455390"/>
                  <a:gd name="connsiteX31" fmla="*/ 330518 w 538162"/>
                  <a:gd name="connsiteY31" fmla="*/ 395288 h 455390"/>
                  <a:gd name="connsiteX32" fmla="*/ 313372 w 538162"/>
                  <a:gd name="connsiteY32" fmla="*/ 409575 h 455390"/>
                  <a:gd name="connsiteX33" fmla="*/ 288607 w 538162"/>
                  <a:gd name="connsiteY33" fmla="*/ 413385 h 455390"/>
                  <a:gd name="connsiteX34" fmla="*/ 242888 w 538162"/>
                  <a:gd name="connsiteY34" fmla="*/ 395288 h 455390"/>
                  <a:gd name="connsiteX35" fmla="*/ 207645 w 538162"/>
                  <a:gd name="connsiteY35" fmla="*/ 363950 h 455390"/>
                  <a:gd name="connsiteX36" fmla="*/ 182880 w 538162"/>
                  <a:gd name="connsiteY36" fmla="*/ 331565 h 455390"/>
                  <a:gd name="connsiteX37" fmla="*/ 172402 w 538162"/>
                  <a:gd name="connsiteY37" fmla="*/ 310610 h 455390"/>
                  <a:gd name="connsiteX38" fmla="*/ 140970 w 538162"/>
                  <a:gd name="connsiteY38" fmla="*/ 303847 h 455390"/>
                  <a:gd name="connsiteX39" fmla="*/ 122872 w 538162"/>
                  <a:gd name="connsiteY39" fmla="*/ 310610 h 455390"/>
                  <a:gd name="connsiteX40" fmla="*/ 105727 w 538162"/>
                  <a:gd name="connsiteY40" fmla="*/ 303847 h 455390"/>
                  <a:gd name="connsiteX41" fmla="*/ 108585 w 538162"/>
                  <a:gd name="connsiteY41" fmla="*/ 293465 h 455390"/>
                  <a:gd name="connsiteX42" fmla="*/ 98107 w 538162"/>
                  <a:gd name="connsiteY42" fmla="*/ 272510 h 455390"/>
                  <a:gd name="connsiteX43" fmla="*/ 105727 w 538162"/>
                  <a:gd name="connsiteY43" fmla="*/ 247650 h 455390"/>
                  <a:gd name="connsiteX44" fmla="*/ 83820 w 538162"/>
                  <a:gd name="connsiteY44" fmla="*/ 229648 h 455390"/>
                  <a:gd name="connsiteX45" fmla="*/ 66675 w 538162"/>
                  <a:gd name="connsiteY45" fmla="*/ 222885 h 455390"/>
                  <a:gd name="connsiteX46" fmla="*/ 35243 w 538162"/>
                  <a:gd name="connsiteY46" fmla="*/ 183928 h 455390"/>
                  <a:gd name="connsiteX47" fmla="*/ 45720 w 538162"/>
                  <a:gd name="connsiteY47" fmla="*/ 159163 h 455390"/>
                  <a:gd name="connsiteX48" fmla="*/ 56197 w 538162"/>
                  <a:gd name="connsiteY48" fmla="*/ 152400 h 455390"/>
                  <a:gd name="connsiteX49" fmla="*/ 52388 w 538162"/>
                  <a:gd name="connsiteY49" fmla="*/ 138113 h 455390"/>
                  <a:gd name="connsiteX50" fmla="*/ 60007 w 538162"/>
                  <a:gd name="connsiteY50" fmla="*/ 127730 h 455390"/>
                  <a:gd name="connsiteX51" fmla="*/ 45720 w 538162"/>
                  <a:gd name="connsiteY51" fmla="*/ 123825 h 455390"/>
                  <a:gd name="connsiteX52" fmla="*/ 27622 w 538162"/>
                  <a:gd name="connsiteY52" fmla="*/ 95250 h 455390"/>
                  <a:gd name="connsiteX53" fmla="*/ 17145 w 538162"/>
                  <a:gd name="connsiteY53" fmla="*/ 78200 h 455390"/>
                  <a:gd name="connsiteX54" fmla="*/ 10477 w 538162"/>
                  <a:gd name="connsiteY54" fmla="*/ 60008 h 455390"/>
                  <a:gd name="connsiteX55" fmla="*/ 6668 w 538162"/>
                  <a:gd name="connsiteY55" fmla="*/ 42863 h 455390"/>
                  <a:gd name="connsiteX56" fmla="*/ 2857 w 538162"/>
                  <a:gd name="connsiteY56" fmla="*/ 28575 h 455390"/>
                  <a:gd name="connsiteX57" fmla="*/ 0 w 538162"/>
                  <a:gd name="connsiteY57" fmla="*/ 14288 h 455390"/>
                  <a:gd name="connsiteX58" fmla="*/ 2857 w 538162"/>
                  <a:gd name="connsiteY58" fmla="*/ 7620 h 455390"/>
                  <a:gd name="connsiteX59" fmla="*/ 17145 w 538162"/>
                  <a:gd name="connsiteY59" fmla="*/ 3905 h 455390"/>
                  <a:gd name="connsiteX60" fmla="*/ 41910 w 538162"/>
                  <a:gd name="connsiteY60" fmla="*/ 24860 h 455390"/>
                  <a:gd name="connsiteX61" fmla="*/ 56197 w 538162"/>
                  <a:gd name="connsiteY61" fmla="*/ 32480 h 455390"/>
                  <a:gd name="connsiteX62" fmla="*/ 60007 w 538162"/>
                  <a:gd name="connsiteY62" fmla="*/ 21908 h 455390"/>
                  <a:gd name="connsiteX63" fmla="*/ 73343 w 538162"/>
                  <a:gd name="connsiteY63" fmla="*/ 24860 h 455390"/>
                  <a:gd name="connsiteX64" fmla="*/ 83820 w 538162"/>
                  <a:gd name="connsiteY64" fmla="*/ 18193 h 455390"/>
                  <a:gd name="connsiteX65" fmla="*/ 105727 w 538162"/>
                  <a:gd name="connsiteY65" fmla="*/ 0 h 455390"/>
                  <a:gd name="connsiteX66" fmla="*/ 112395 w 538162"/>
                  <a:gd name="connsiteY66" fmla="*/ 3905 h 455390"/>
                  <a:gd name="connsiteX67" fmla="*/ 112395 w 538162"/>
                  <a:gd name="connsiteY67" fmla="*/ 18193 h 455390"/>
                  <a:gd name="connsiteX68" fmla="*/ 119063 w 538162"/>
                  <a:gd name="connsiteY68" fmla="*/ 28575 h 455390"/>
                  <a:gd name="connsiteX69" fmla="*/ 108585 w 538162"/>
                  <a:gd name="connsiteY69" fmla="*/ 32480 h 455390"/>
                  <a:gd name="connsiteX70" fmla="*/ 119063 w 538162"/>
                  <a:gd name="connsiteY70" fmla="*/ 42863 h 455390"/>
                  <a:gd name="connsiteX71" fmla="*/ 133350 w 538162"/>
                  <a:gd name="connsiteY71" fmla="*/ 42863 h 455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</a:cxnLst>
                <a:rect l="l" t="t" r="r" b="b"/>
                <a:pathLst>
                  <a:path w="538162" h="455390">
                    <a:moveTo>
                      <a:pt x="133350" y="42863"/>
                    </a:moveTo>
                    <a:lnTo>
                      <a:pt x="140970" y="67723"/>
                    </a:lnTo>
                    <a:lnTo>
                      <a:pt x="176213" y="84868"/>
                    </a:lnTo>
                    <a:lnTo>
                      <a:pt x="197168" y="99155"/>
                    </a:lnTo>
                    <a:lnTo>
                      <a:pt x="249555" y="99155"/>
                    </a:lnTo>
                    <a:lnTo>
                      <a:pt x="274320" y="84868"/>
                    </a:lnTo>
                    <a:lnTo>
                      <a:pt x="313372" y="57150"/>
                    </a:lnTo>
                    <a:lnTo>
                      <a:pt x="359093" y="49625"/>
                    </a:lnTo>
                    <a:lnTo>
                      <a:pt x="398145" y="63913"/>
                    </a:lnTo>
                    <a:lnTo>
                      <a:pt x="450532" y="92488"/>
                    </a:lnTo>
                    <a:lnTo>
                      <a:pt x="479107" y="99155"/>
                    </a:lnTo>
                    <a:lnTo>
                      <a:pt x="481965" y="138113"/>
                    </a:lnTo>
                    <a:lnTo>
                      <a:pt x="464820" y="173450"/>
                    </a:lnTo>
                    <a:lnTo>
                      <a:pt x="461010" y="222885"/>
                    </a:lnTo>
                    <a:lnTo>
                      <a:pt x="471488" y="264890"/>
                    </a:lnTo>
                    <a:lnTo>
                      <a:pt x="496252" y="264890"/>
                    </a:lnTo>
                    <a:lnTo>
                      <a:pt x="492443" y="285750"/>
                    </a:lnTo>
                    <a:lnTo>
                      <a:pt x="467677" y="310610"/>
                    </a:lnTo>
                    <a:lnTo>
                      <a:pt x="479107" y="328613"/>
                    </a:lnTo>
                    <a:lnTo>
                      <a:pt x="502920" y="356235"/>
                    </a:lnTo>
                    <a:lnTo>
                      <a:pt x="524827" y="374428"/>
                    </a:lnTo>
                    <a:lnTo>
                      <a:pt x="524827" y="395288"/>
                    </a:lnTo>
                    <a:lnTo>
                      <a:pt x="538163" y="395288"/>
                    </a:lnTo>
                    <a:lnTo>
                      <a:pt x="538163" y="409575"/>
                    </a:lnTo>
                    <a:lnTo>
                      <a:pt x="514350" y="413385"/>
                    </a:lnTo>
                    <a:lnTo>
                      <a:pt x="489585" y="426815"/>
                    </a:lnTo>
                    <a:lnTo>
                      <a:pt x="489585" y="455390"/>
                    </a:lnTo>
                    <a:lnTo>
                      <a:pt x="415290" y="448723"/>
                    </a:lnTo>
                    <a:lnTo>
                      <a:pt x="365760" y="434435"/>
                    </a:lnTo>
                    <a:lnTo>
                      <a:pt x="362902" y="405860"/>
                    </a:lnTo>
                    <a:lnTo>
                      <a:pt x="344805" y="391573"/>
                    </a:lnTo>
                    <a:lnTo>
                      <a:pt x="330518" y="395288"/>
                    </a:lnTo>
                    <a:lnTo>
                      <a:pt x="313372" y="409575"/>
                    </a:lnTo>
                    <a:lnTo>
                      <a:pt x="288607" y="413385"/>
                    </a:lnTo>
                    <a:lnTo>
                      <a:pt x="242888" y="395288"/>
                    </a:lnTo>
                    <a:lnTo>
                      <a:pt x="207645" y="363950"/>
                    </a:lnTo>
                    <a:lnTo>
                      <a:pt x="182880" y="331565"/>
                    </a:lnTo>
                    <a:lnTo>
                      <a:pt x="172402" y="310610"/>
                    </a:lnTo>
                    <a:lnTo>
                      <a:pt x="140970" y="303847"/>
                    </a:lnTo>
                    <a:lnTo>
                      <a:pt x="122872" y="310610"/>
                    </a:lnTo>
                    <a:lnTo>
                      <a:pt x="105727" y="303847"/>
                    </a:lnTo>
                    <a:lnTo>
                      <a:pt x="108585" y="293465"/>
                    </a:lnTo>
                    <a:lnTo>
                      <a:pt x="98107" y="272510"/>
                    </a:lnTo>
                    <a:lnTo>
                      <a:pt x="105727" y="247650"/>
                    </a:lnTo>
                    <a:lnTo>
                      <a:pt x="83820" y="229648"/>
                    </a:lnTo>
                    <a:lnTo>
                      <a:pt x="66675" y="222885"/>
                    </a:lnTo>
                    <a:lnTo>
                      <a:pt x="35243" y="183928"/>
                    </a:lnTo>
                    <a:lnTo>
                      <a:pt x="45720" y="159163"/>
                    </a:lnTo>
                    <a:lnTo>
                      <a:pt x="56197" y="152400"/>
                    </a:lnTo>
                    <a:lnTo>
                      <a:pt x="52388" y="138113"/>
                    </a:lnTo>
                    <a:lnTo>
                      <a:pt x="60007" y="127730"/>
                    </a:lnTo>
                    <a:lnTo>
                      <a:pt x="45720" y="123825"/>
                    </a:lnTo>
                    <a:lnTo>
                      <a:pt x="27622" y="95250"/>
                    </a:lnTo>
                    <a:lnTo>
                      <a:pt x="17145" y="78200"/>
                    </a:lnTo>
                    <a:lnTo>
                      <a:pt x="10477" y="60008"/>
                    </a:lnTo>
                    <a:lnTo>
                      <a:pt x="6668" y="42863"/>
                    </a:lnTo>
                    <a:lnTo>
                      <a:pt x="2857" y="28575"/>
                    </a:lnTo>
                    <a:lnTo>
                      <a:pt x="0" y="14288"/>
                    </a:lnTo>
                    <a:lnTo>
                      <a:pt x="2857" y="7620"/>
                    </a:lnTo>
                    <a:lnTo>
                      <a:pt x="17145" y="3905"/>
                    </a:lnTo>
                    <a:lnTo>
                      <a:pt x="41910" y="24860"/>
                    </a:lnTo>
                    <a:lnTo>
                      <a:pt x="56197" y="32480"/>
                    </a:lnTo>
                    <a:lnTo>
                      <a:pt x="60007" y="21908"/>
                    </a:lnTo>
                    <a:lnTo>
                      <a:pt x="73343" y="24860"/>
                    </a:lnTo>
                    <a:lnTo>
                      <a:pt x="83820" y="18193"/>
                    </a:lnTo>
                    <a:lnTo>
                      <a:pt x="105727" y="0"/>
                    </a:lnTo>
                    <a:lnTo>
                      <a:pt x="112395" y="3905"/>
                    </a:lnTo>
                    <a:lnTo>
                      <a:pt x="112395" y="18193"/>
                    </a:lnTo>
                    <a:lnTo>
                      <a:pt x="119063" y="28575"/>
                    </a:lnTo>
                    <a:lnTo>
                      <a:pt x="108585" y="32480"/>
                    </a:lnTo>
                    <a:lnTo>
                      <a:pt x="119063" y="42863"/>
                    </a:lnTo>
                    <a:lnTo>
                      <a:pt x="133350" y="4286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7DFDFFC9-FFED-2E75-2D7A-CDBD98AD26EA}"/>
                  </a:ext>
                </a:extLst>
              </p:cNvPr>
              <p:cNvSpPr/>
              <p:nvPr/>
            </p:nvSpPr>
            <p:spPr>
              <a:xfrm>
                <a:off x="7658682" y="3434464"/>
                <a:ext cx="390297" cy="280120"/>
              </a:xfrm>
              <a:custGeom>
                <a:avLst/>
                <a:gdLst>
                  <a:gd name="connsiteX0" fmla="*/ 20955 w 398145"/>
                  <a:gd name="connsiteY0" fmla="*/ 98965 h 285750"/>
                  <a:gd name="connsiteX1" fmla="*/ 41910 w 398145"/>
                  <a:gd name="connsiteY1" fmla="*/ 98965 h 285750"/>
                  <a:gd name="connsiteX2" fmla="*/ 60008 w 398145"/>
                  <a:gd name="connsiteY2" fmla="*/ 105727 h 285750"/>
                  <a:gd name="connsiteX3" fmla="*/ 77153 w 398145"/>
                  <a:gd name="connsiteY3" fmla="*/ 84677 h 285750"/>
                  <a:gd name="connsiteX4" fmla="*/ 99060 w 398145"/>
                  <a:gd name="connsiteY4" fmla="*/ 78010 h 285750"/>
                  <a:gd name="connsiteX5" fmla="*/ 120015 w 398145"/>
                  <a:gd name="connsiteY5" fmla="*/ 45720 h 285750"/>
                  <a:gd name="connsiteX6" fmla="*/ 147638 w 398145"/>
                  <a:gd name="connsiteY6" fmla="*/ 35147 h 285750"/>
                  <a:gd name="connsiteX7" fmla="*/ 169545 w 398145"/>
                  <a:gd name="connsiteY7" fmla="*/ 35147 h 285750"/>
                  <a:gd name="connsiteX8" fmla="*/ 203835 w 398145"/>
                  <a:gd name="connsiteY8" fmla="*/ 45720 h 285750"/>
                  <a:gd name="connsiteX9" fmla="*/ 221933 w 398145"/>
                  <a:gd name="connsiteY9" fmla="*/ 53340 h 285750"/>
                  <a:gd name="connsiteX10" fmla="*/ 257175 w 398145"/>
                  <a:gd name="connsiteY10" fmla="*/ 32290 h 285750"/>
                  <a:gd name="connsiteX11" fmla="*/ 271463 w 398145"/>
                  <a:gd name="connsiteY11" fmla="*/ 28575 h 285750"/>
                  <a:gd name="connsiteX12" fmla="*/ 288608 w 398145"/>
                  <a:gd name="connsiteY12" fmla="*/ 0 h 285750"/>
                  <a:gd name="connsiteX13" fmla="*/ 302895 w 398145"/>
                  <a:gd name="connsiteY13" fmla="*/ 10477 h 285750"/>
                  <a:gd name="connsiteX14" fmla="*/ 306705 w 398145"/>
                  <a:gd name="connsiteY14" fmla="*/ 32290 h 285750"/>
                  <a:gd name="connsiteX15" fmla="*/ 302895 w 398145"/>
                  <a:gd name="connsiteY15" fmla="*/ 45720 h 285750"/>
                  <a:gd name="connsiteX16" fmla="*/ 302895 w 398145"/>
                  <a:gd name="connsiteY16" fmla="*/ 56102 h 285750"/>
                  <a:gd name="connsiteX17" fmla="*/ 320993 w 398145"/>
                  <a:gd name="connsiteY17" fmla="*/ 53340 h 285750"/>
                  <a:gd name="connsiteX18" fmla="*/ 334328 w 398145"/>
                  <a:gd name="connsiteY18" fmla="*/ 45720 h 285750"/>
                  <a:gd name="connsiteX19" fmla="*/ 348615 w 398145"/>
                  <a:gd name="connsiteY19" fmla="*/ 35147 h 285750"/>
                  <a:gd name="connsiteX20" fmla="*/ 398145 w 398145"/>
                  <a:gd name="connsiteY20" fmla="*/ 35147 h 285750"/>
                  <a:gd name="connsiteX21" fmla="*/ 398145 w 398145"/>
                  <a:gd name="connsiteY21" fmla="*/ 49435 h 285750"/>
                  <a:gd name="connsiteX22" fmla="*/ 377190 w 398145"/>
                  <a:gd name="connsiteY22" fmla="*/ 53340 h 285750"/>
                  <a:gd name="connsiteX23" fmla="*/ 348615 w 398145"/>
                  <a:gd name="connsiteY23" fmla="*/ 53340 h 285750"/>
                  <a:gd name="connsiteX24" fmla="*/ 334328 w 398145"/>
                  <a:gd name="connsiteY24" fmla="*/ 53340 h 285750"/>
                  <a:gd name="connsiteX25" fmla="*/ 327660 w 398145"/>
                  <a:gd name="connsiteY25" fmla="*/ 56102 h 285750"/>
                  <a:gd name="connsiteX26" fmla="*/ 306705 w 398145"/>
                  <a:gd name="connsiteY26" fmla="*/ 70390 h 285750"/>
                  <a:gd name="connsiteX27" fmla="*/ 296228 w 398145"/>
                  <a:gd name="connsiteY27" fmla="*/ 80963 h 285750"/>
                  <a:gd name="connsiteX28" fmla="*/ 302895 w 398145"/>
                  <a:gd name="connsiteY28" fmla="*/ 91440 h 285750"/>
                  <a:gd name="connsiteX29" fmla="*/ 306705 w 398145"/>
                  <a:gd name="connsiteY29" fmla="*/ 102870 h 285750"/>
                  <a:gd name="connsiteX30" fmla="*/ 302895 w 398145"/>
                  <a:gd name="connsiteY30" fmla="*/ 120015 h 285750"/>
                  <a:gd name="connsiteX31" fmla="*/ 296228 w 398145"/>
                  <a:gd name="connsiteY31" fmla="*/ 138113 h 285750"/>
                  <a:gd name="connsiteX32" fmla="*/ 267653 w 398145"/>
                  <a:gd name="connsiteY32" fmla="*/ 148590 h 285750"/>
                  <a:gd name="connsiteX33" fmla="*/ 260985 w 398145"/>
                  <a:gd name="connsiteY33" fmla="*/ 169450 h 285750"/>
                  <a:gd name="connsiteX34" fmla="*/ 250508 w 398145"/>
                  <a:gd name="connsiteY34" fmla="*/ 176213 h 285750"/>
                  <a:gd name="connsiteX35" fmla="*/ 242888 w 398145"/>
                  <a:gd name="connsiteY35" fmla="*/ 194215 h 285750"/>
                  <a:gd name="connsiteX36" fmla="*/ 242888 w 398145"/>
                  <a:gd name="connsiteY36" fmla="*/ 219075 h 285750"/>
                  <a:gd name="connsiteX37" fmla="*/ 200978 w 398145"/>
                  <a:gd name="connsiteY37" fmla="*/ 219075 h 285750"/>
                  <a:gd name="connsiteX38" fmla="*/ 193358 w 398145"/>
                  <a:gd name="connsiteY38" fmla="*/ 233363 h 285750"/>
                  <a:gd name="connsiteX39" fmla="*/ 165735 w 398145"/>
                  <a:gd name="connsiteY39" fmla="*/ 233363 h 285750"/>
                  <a:gd name="connsiteX40" fmla="*/ 158115 w 398145"/>
                  <a:gd name="connsiteY40" fmla="*/ 243840 h 285750"/>
                  <a:gd name="connsiteX41" fmla="*/ 155258 w 398145"/>
                  <a:gd name="connsiteY41" fmla="*/ 275177 h 285750"/>
                  <a:gd name="connsiteX42" fmla="*/ 137160 w 398145"/>
                  <a:gd name="connsiteY42" fmla="*/ 278987 h 285750"/>
                  <a:gd name="connsiteX43" fmla="*/ 74295 w 398145"/>
                  <a:gd name="connsiteY43" fmla="*/ 285750 h 285750"/>
                  <a:gd name="connsiteX44" fmla="*/ 41910 w 398145"/>
                  <a:gd name="connsiteY44" fmla="*/ 285750 h 285750"/>
                  <a:gd name="connsiteX45" fmla="*/ 31433 w 398145"/>
                  <a:gd name="connsiteY45" fmla="*/ 275177 h 285750"/>
                  <a:gd name="connsiteX46" fmla="*/ 14288 w 398145"/>
                  <a:gd name="connsiteY46" fmla="*/ 281940 h 285750"/>
                  <a:gd name="connsiteX47" fmla="*/ 6668 w 398145"/>
                  <a:gd name="connsiteY47" fmla="*/ 271463 h 285750"/>
                  <a:gd name="connsiteX48" fmla="*/ 31433 w 398145"/>
                  <a:gd name="connsiteY48" fmla="*/ 246602 h 285750"/>
                  <a:gd name="connsiteX49" fmla="*/ 35243 w 398145"/>
                  <a:gd name="connsiteY49" fmla="*/ 225742 h 285750"/>
                  <a:gd name="connsiteX50" fmla="*/ 10478 w 398145"/>
                  <a:gd name="connsiteY50" fmla="*/ 225742 h 285750"/>
                  <a:gd name="connsiteX51" fmla="*/ 6668 w 398145"/>
                  <a:gd name="connsiteY51" fmla="*/ 200977 h 285750"/>
                  <a:gd name="connsiteX52" fmla="*/ 0 w 398145"/>
                  <a:gd name="connsiteY52" fmla="*/ 183737 h 285750"/>
                  <a:gd name="connsiteX53" fmla="*/ 3810 w 398145"/>
                  <a:gd name="connsiteY53" fmla="*/ 134302 h 285750"/>
                  <a:gd name="connsiteX54" fmla="*/ 20955 w 398145"/>
                  <a:gd name="connsiteY54" fmla="*/ 98965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98145" h="285750">
                    <a:moveTo>
                      <a:pt x="20955" y="98965"/>
                    </a:moveTo>
                    <a:lnTo>
                      <a:pt x="41910" y="98965"/>
                    </a:lnTo>
                    <a:lnTo>
                      <a:pt x="60008" y="105727"/>
                    </a:lnTo>
                    <a:lnTo>
                      <a:pt x="77153" y="84677"/>
                    </a:lnTo>
                    <a:lnTo>
                      <a:pt x="99060" y="78010"/>
                    </a:lnTo>
                    <a:lnTo>
                      <a:pt x="120015" y="45720"/>
                    </a:lnTo>
                    <a:lnTo>
                      <a:pt x="147638" y="35147"/>
                    </a:lnTo>
                    <a:lnTo>
                      <a:pt x="169545" y="35147"/>
                    </a:lnTo>
                    <a:lnTo>
                      <a:pt x="203835" y="45720"/>
                    </a:lnTo>
                    <a:lnTo>
                      <a:pt x="221933" y="53340"/>
                    </a:lnTo>
                    <a:lnTo>
                      <a:pt x="257175" y="32290"/>
                    </a:lnTo>
                    <a:lnTo>
                      <a:pt x="271463" y="28575"/>
                    </a:lnTo>
                    <a:lnTo>
                      <a:pt x="288608" y="0"/>
                    </a:lnTo>
                    <a:lnTo>
                      <a:pt x="302895" y="10477"/>
                    </a:lnTo>
                    <a:lnTo>
                      <a:pt x="306705" y="32290"/>
                    </a:lnTo>
                    <a:lnTo>
                      <a:pt x="302895" y="45720"/>
                    </a:lnTo>
                    <a:lnTo>
                      <a:pt x="302895" y="56102"/>
                    </a:lnTo>
                    <a:lnTo>
                      <a:pt x="320993" y="53340"/>
                    </a:lnTo>
                    <a:lnTo>
                      <a:pt x="334328" y="45720"/>
                    </a:lnTo>
                    <a:lnTo>
                      <a:pt x="348615" y="35147"/>
                    </a:lnTo>
                    <a:lnTo>
                      <a:pt x="398145" y="35147"/>
                    </a:lnTo>
                    <a:lnTo>
                      <a:pt x="398145" y="49435"/>
                    </a:lnTo>
                    <a:lnTo>
                      <a:pt x="377190" y="53340"/>
                    </a:lnTo>
                    <a:lnTo>
                      <a:pt x="348615" y="53340"/>
                    </a:lnTo>
                    <a:lnTo>
                      <a:pt x="334328" y="53340"/>
                    </a:lnTo>
                    <a:lnTo>
                      <a:pt x="327660" y="56102"/>
                    </a:lnTo>
                    <a:lnTo>
                      <a:pt x="306705" y="70390"/>
                    </a:lnTo>
                    <a:lnTo>
                      <a:pt x="296228" y="80963"/>
                    </a:lnTo>
                    <a:lnTo>
                      <a:pt x="302895" y="91440"/>
                    </a:lnTo>
                    <a:lnTo>
                      <a:pt x="306705" y="102870"/>
                    </a:lnTo>
                    <a:lnTo>
                      <a:pt x="302895" y="120015"/>
                    </a:lnTo>
                    <a:lnTo>
                      <a:pt x="296228" y="138113"/>
                    </a:lnTo>
                    <a:lnTo>
                      <a:pt x="267653" y="148590"/>
                    </a:lnTo>
                    <a:lnTo>
                      <a:pt x="260985" y="169450"/>
                    </a:lnTo>
                    <a:lnTo>
                      <a:pt x="250508" y="176213"/>
                    </a:lnTo>
                    <a:lnTo>
                      <a:pt x="242888" y="194215"/>
                    </a:lnTo>
                    <a:lnTo>
                      <a:pt x="242888" y="219075"/>
                    </a:lnTo>
                    <a:lnTo>
                      <a:pt x="200978" y="219075"/>
                    </a:lnTo>
                    <a:lnTo>
                      <a:pt x="193358" y="233363"/>
                    </a:lnTo>
                    <a:lnTo>
                      <a:pt x="165735" y="233363"/>
                    </a:lnTo>
                    <a:lnTo>
                      <a:pt x="158115" y="243840"/>
                    </a:lnTo>
                    <a:lnTo>
                      <a:pt x="155258" y="275177"/>
                    </a:lnTo>
                    <a:lnTo>
                      <a:pt x="137160" y="278987"/>
                    </a:lnTo>
                    <a:lnTo>
                      <a:pt x="74295" y="285750"/>
                    </a:lnTo>
                    <a:lnTo>
                      <a:pt x="41910" y="285750"/>
                    </a:lnTo>
                    <a:lnTo>
                      <a:pt x="31433" y="275177"/>
                    </a:lnTo>
                    <a:lnTo>
                      <a:pt x="14288" y="281940"/>
                    </a:lnTo>
                    <a:lnTo>
                      <a:pt x="6668" y="271463"/>
                    </a:lnTo>
                    <a:lnTo>
                      <a:pt x="31433" y="246602"/>
                    </a:lnTo>
                    <a:lnTo>
                      <a:pt x="35243" y="225742"/>
                    </a:lnTo>
                    <a:lnTo>
                      <a:pt x="10478" y="225742"/>
                    </a:lnTo>
                    <a:lnTo>
                      <a:pt x="6668" y="200977"/>
                    </a:lnTo>
                    <a:lnTo>
                      <a:pt x="0" y="183737"/>
                    </a:lnTo>
                    <a:lnTo>
                      <a:pt x="3810" y="134302"/>
                    </a:lnTo>
                    <a:lnTo>
                      <a:pt x="20955" y="9896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D8630D2C-5D94-04A5-1773-B21F2F802850}"/>
                  </a:ext>
                </a:extLst>
              </p:cNvPr>
              <p:cNvSpPr/>
              <p:nvPr/>
            </p:nvSpPr>
            <p:spPr>
              <a:xfrm>
                <a:off x="6954655" y="3594133"/>
                <a:ext cx="116715" cy="130722"/>
              </a:xfrm>
              <a:custGeom>
                <a:avLst/>
                <a:gdLst>
                  <a:gd name="connsiteX0" fmla="*/ 116205 w 119062"/>
                  <a:gd name="connsiteY0" fmla="*/ 0 h 133350"/>
                  <a:gd name="connsiteX1" fmla="*/ 119063 w 119062"/>
                  <a:gd name="connsiteY1" fmla="*/ 41910 h 133350"/>
                  <a:gd name="connsiteX2" fmla="*/ 116205 w 119062"/>
                  <a:gd name="connsiteY2" fmla="*/ 52388 h 133350"/>
                  <a:gd name="connsiteX3" fmla="*/ 66675 w 119062"/>
                  <a:gd name="connsiteY3" fmla="*/ 58960 h 133350"/>
                  <a:gd name="connsiteX4" fmla="*/ 87630 w 119062"/>
                  <a:gd name="connsiteY4" fmla="*/ 87535 h 133350"/>
                  <a:gd name="connsiteX5" fmla="*/ 77152 w 119062"/>
                  <a:gd name="connsiteY5" fmla="*/ 98012 h 133350"/>
                  <a:gd name="connsiteX6" fmla="*/ 73343 w 119062"/>
                  <a:gd name="connsiteY6" fmla="*/ 108585 h 133350"/>
                  <a:gd name="connsiteX7" fmla="*/ 52388 w 119062"/>
                  <a:gd name="connsiteY7" fmla="*/ 112300 h 133350"/>
                  <a:gd name="connsiteX8" fmla="*/ 41910 w 119062"/>
                  <a:gd name="connsiteY8" fmla="*/ 126587 h 133350"/>
                  <a:gd name="connsiteX9" fmla="*/ 35243 w 119062"/>
                  <a:gd name="connsiteY9" fmla="*/ 133350 h 133350"/>
                  <a:gd name="connsiteX10" fmla="*/ 0 w 119062"/>
                  <a:gd name="connsiteY10" fmla="*/ 122873 h 133350"/>
                  <a:gd name="connsiteX11" fmla="*/ 10477 w 119062"/>
                  <a:gd name="connsiteY11" fmla="*/ 101822 h 133350"/>
                  <a:gd name="connsiteX12" fmla="*/ 14288 w 119062"/>
                  <a:gd name="connsiteY12" fmla="*/ 83725 h 133350"/>
                  <a:gd name="connsiteX13" fmla="*/ 14288 w 119062"/>
                  <a:gd name="connsiteY13" fmla="*/ 62865 h 133350"/>
                  <a:gd name="connsiteX14" fmla="*/ 17145 w 119062"/>
                  <a:gd name="connsiteY14" fmla="*/ 48578 h 133350"/>
                  <a:gd name="connsiteX15" fmla="*/ 17145 w 119062"/>
                  <a:gd name="connsiteY15" fmla="*/ 35147 h 133350"/>
                  <a:gd name="connsiteX16" fmla="*/ 20955 w 119062"/>
                  <a:gd name="connsiteY16" fmla="*/ 23813 h 133350"/>
                  <a:gd name="connsiteX17" fmla="*/ 27622 w 119062"/>
                  <a:gd name="connsiteY17" fmla="*/ 27623 h 133350"/>
                  <a:gd name="connsiteX18" fmla="*/ 35243 w 119062"/>
                  <a:gd name="connsiteY18" fmla="*/ 27623 h 133350"/>
                  <a:gd name="connsiteX19" fmla="*/ 49530 w 119062"/>
                  <a:gd name="connsiteY19" fmla="*/ 35147 h 133350"/>
                  <a:gd name="connsiteX20" fmla="*/ 62865 w 119062"/>
                  <a:gd name="connsiteY20" fmla="*/ 31337 h 133350"/>
                  <a:gd name="connsiteX21" fmla="*/ 116205 w 119062"/>
                  <a:gd name="connsiteY21" fmla="*/ 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062" h="133350">
                    <a:moveTo>
                      <a:pt x="116205" y="0"/>
                    </a:moveTo>
                    <a:lnTo>
                      <a:pt x="119063" y="41910"/>
                    </a:lnTo>
                    <a:lnTo>
                      <a:pt x="116205" y="52388"/>
                    </a:lnTo>
                    <a:lnTo>
                      <a:pt x="66675" y="58960"/>
                    </a:lnTo>
                    <a:lnTo>
                      <a:pt x="87630" y="87535"/>
                    </a:lnTo>
                    <a:lnTo>
                      <a:pt x="77152" y="98012"/>
                    </a:lnTo>
                    <a:lnTo>
                      <a:pt x="73343" y="108585"/>
                    </a:lnTo>
                    <a:lnTo>
                      <a:pt x="52388" y="112300"/>
                    </a:lnTo>
                    <a:lnTo>
                      <a:pt x="41910" y="126587"/>
                    </a:lnTo>
                    <a:lnTo>
                      <a:pt x="35243" y="133350"/>
                    </a:lnTo>
                    <a:lnTo>
                      <a:pt x="0" y="122873"/>
                    </a:lnTo>
                    <a:lnTo>
                      <a:pt x="10477" y="101822"/>
                    </a:lnTo>
                    <a:lnTo>
                      <a:pt x="14288" y="83725"/>
                    </a:lnTo>
                    <a:lnTo>
                      <a:pt x="14288" y="62865"/>
                    </a:lnTo>
                    <a:lnTo>
                      <a:pt x="17145" y="48578"/>
                    </a:lnTo>
                    <a:lnTo>
                      <a:pt x="17145" y="35147"/>
                    </a:lnTo>
                    <a:lnTo>
                      <a:pt x="20955" y="23813"/>
                    </a:lnTo>
                    <a:lnTo>
                      <a:pt x="27622" y="27623"/>
                    </a:lnTo>
                    <a:lnTo>
                      <a:pt x="35243" y="27623"/>
                    </a:lnTo>
                    <a:lnTo>
                      <a:pt x="49530" y="35147"/>
                    </a:lnTo>
                    <a:lnTo>
                      <a:pt x="62865" y="31337"/>
                    </a:lnTo>
                    <a:lnTo>
                      <a:pt x="11620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42BAF60B-1D55-A6EB-7A3B-A3AED11AAEB7}"/>
                  </a:ext>
                </a:extLst>
              </p:cNvPr>
              <p:cNvSpPr/>
              <p:nvPr/>
            </p:nvSpPr>
            <p:spPr>
              <a:xfrm>
                <a:off x="6954655" y="3594133"/>
                <a:ext cx="116715" cy="130722"/>
              </a:xfrm>
              <a:custGeom>
                <a:avLst/>
                <a:gdLst>
                  <a:gd name="connsiteX0" fmla="*/ 116205 w 119062"/>
                  <a:gd name="connsiteY0" fmla="*/ 0 h 133350"/>
                  <a:gd name="connsiteX1" fmla="*/ 119063 w 119062"/>
                  <a:gd name="connsiteY1" fmla="*/ 41910 h 133350"/>
                  <a:gd name="connsiteX2" fmla="*/ 116205 w 119062"/>
                  <a:gd name="connsiteY2" fmla="*/ 52388 h 133350"/>
                  <a:gd name="connsiteX3" fmla="*/ 66675 w 119062"/>
                  <a:gd name="connsiteY3" fmla="*/ 58960 h 133350"/>
                  <a:gd name="connsiteX4" fmla="*/ 87630 w 119062"/>
                  <a:gd name="connsiteY4" fmla="*/ 87535 h 133350"/>
                  <a:gd name="connsiteX5" fmla="*/ 77152 w 119062"/>
                  <a:gd name="connsiteY5" fmla="*/ 98012 h 133350"/>
                  <a:gd name="connsiteX6" fmla="*/ 73343 w 119062"/>
                  <a:gd name="connsiteY6" fmla="*/ 108585 h 133350"/>
                  <a:gd name="connsiteX7" fmla="*/ 52388 w 119062"/>
                  <a:gd name="connsiteY7" fmla="*/ 112300 h 133350"/>
                  <a:gd name="connsiteX8" fmla="*/ 41910 w 119062"/>
                  <a:gd name="connsiteY8" fmla="*/ 126587 h 133350"/>
                  <a:gd name="connsiteX9" fmla="*/ 35243 w 119062"/>
                  <a:gd name="connsiteY9" fmla="*/ 133350 h 133350"/>
                  <a:gd name="connsiteX10" fmla="*/ 0 w 119062"/>
                  <a:gd name="connsiteY10" fmla="*/ 122873 h 133350"/>
                  <a:gd name="connsiteX11" fmla="*/ 10477 w 119062"/>
                  <a:gd name="connsiteY11" fmla="*/ 101822 h 133350"/>
                  <a:gd name="connsiteX12" fmla="*/ 14288 w 119062"/>
                  <a:gd name="connsiteY12" fmla="*/ 83725 h 133350"/>
                  <a:gd name="connsiteX13" fmla="*/ 14288 w 119062"/>
                  <a:gd name="connsiteY13" fmla="*/ 62865 h 133350"/>
                  <a:gd name="connsiteX14" fmla="*/ 17145 w 119062"/>
                  <a:gd name="connsiteY14" fmla="*/ 48578 h 133350"/>
                  <a:gd name="connsiteX15" fmla="*/ 17145 w 119062"/>
                  <a:gd name="connsiteY15" fmla="*/ 35147 h 133350"/>
                  <a:gd name="connsiteX16" fmla="*/ 20955 w 119062"/>
                  <a:gd name="connsiteY16" fmla="*/ 23813 h 133350"/>
                  <a:gd name="connsiteX17" fmla="*/ 27622 w 119062"/>
                  <a:gd name="connsiteY17" fmla="*/ 27623 h 133350"/>
                  <a:gd name="connsiteX18" fmla="*/ 35243 w 119062"/>
                  <a:gd name="connsiteY18" fmla="*/ 27623 h 133350"/>
                  <a:gd name="connsiteX19" fmla="*/ 49530 w 119062"/>
                  <a:gd name="connsiteY19" fmla="*/ 35147 h 133350"/>
                  <a:gd name="connsiteX20" fmla="*/ 62865 w 119062"/>
                  <a:gd name="connsiteY20" fmla="*/ 31337 h 133350"/>
                  <a:gd name="connsiteX21" fmla="*/ 116205 w 119062"/>
                  <a:gd name="connsiteY21" fmla="*/ 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9062" h="133350">
                    <a:moveTo>
                      <a:pt x="116205" y="0"/>
                    </a:moveTo>
                    <a:lnTo>
                      <a:pt x="119063" y="41910"/>
                    </a:lnTo>
                    <a:lnTo>
                      <a:pt x="116205" y="52388"/>
                    </a:lnTo>
                    <a:lnTo>
                      <a:pt x="66675" y="58960"/>
                    </a:lnTo>
                    <a:lnTo>
                      <a:pt x="87630" y="87535"/>
                    </a:lnTo>
                    <a:lnTo>
                      <a:pt x="77152" y="98012"/>
                    </a:lnTo>
                    <a:lnTo>
                      <a:pt x="73343" y="108585"/>
                    </a:lnTo>
                    <a:lnTo>
                      <a:pt x="52388" y="112300"/>
                    </a:lnTo>
                    <a:lnTo>
                      <a:pt x="41910" y="126587"/>
                    </a:lnTo>
                    <a:lnTo>
                      <a:pt x="35243" y="133350"/>
                    </a:lnTo>
                    <a:lnTo>
                      <a:pt x="0" y="122873"/>
                    </a:lnTo>
                    <a:lnTo>
                      <a:pt x="10477" y="101822"/>
                    </a:lnTo>
                    <a:lnTo>
                      <a:pt x="14288" y="83725"/>
                    </a:lnTo>
                    <a:lnTo>
                      <a:pt x="14288" y="62865"/>
                    </a:lnTo>
                    <a:lnTo>
                      <a:pt x="17145" y="48578"/>
                    </a:lnTo>
                    <a:lnTo>
                      <a:pt x="17145" y="35147"/>
                    </a:lnTo>
                    <a:lnTo>
                      <a:pt x="20955" y="23813"/>
                    </a:lnTo>
                    <a:lnTo>
                      <a:pt x="27622" y="27623"/>
                    </a:lnTo>
                    <a:lnTo>
                      <a:pt x="35243" y="27623"/>
                    </a:lnTo>
                    <a:lnTo>
                      <a:pt x="49530" y="35147"/>
                    </a:lnTo>
                    <a:lnTo>
                      <a:pt x="62865" y="31337"/>
                    </a:lnTo>
                    <a:lnTo>
                      <a:pt x="11620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CF1069BA-55B4-F06B-D368-6843FC787369}"/>
                  </a:ext>
                </a:extLst>
              </p:cNvPr>
              <p:cNvSpPr/>
              <p:nvPr/>
            </p:nvSpPr>
            <p:spPr>
              <a:xfrm>
                <a:off x="6957456" y="3628587"/>
                <a:ext cx="14005" cy="27171"/>
              </a:xfrm>
              <a:custGeom>
                <a:avLst/>
                <a:gdLst>
                  <a:gd name="connsiteX0" fmla="*/ 14288 w 14287"/>
                  <a:gd name="connsiteY0" fmla="*/ 0 h 27717"/>
                  <a:gd name="connsiteX1" fmla="*/ 3810 w 14287"/>
                  <a:gd name="connsiteY1" fmla="*/ 0 h 27717"/>
                  <a:gd name="connsiteX2" fmla="*/ 0 w 14287"/>
                  <a:gd name="connsiteY2" fmla="*/ 6763 h 27717"/>
                  <a:gd name="connsiteX3" fmla="*/ 0 w 14287"/>
                  <a:gd name="connsiteY3" fmla="*/ 17240 h 27717"/>
                  <a:gd name="connsiteX4" fmla="*/ 3810 w 14287"/>
                  <a:gd name="connsiteY4" fmla="*/ 27718 h 27717"/>
                  <a:gd name="connsiteX5" fmla="*/ 11430 w 14287"/>
                  <a:gd name="connsiteY5" fmla="*/ 27718 h 27717"/>
                  <a:gd name="connsiteX6" fmla="*/ 14288 w 14287"/>
                  <a:gd name="connsiteY6" fmla="*/ 13430 h 27717"/>
                  <a:gd name="connsiteX7" fmla="*/ 14288 w 14287"/>
                  <a:gd name="connsiteY7" fmla="*/ 2953 h 27717"/>
                  <a:gd name="connsiteX8" fmla="*/ 14288 w 14287"/>
                  <a:gd name="connsiteY8" fmla="*/ 0 h 2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287" h="27717">
                    <a:moveTo>
                      <a:pt x="14288" y="0"/>
                    </a:moveTo>
                    <a:lnTo>
                      <a:pt x="3810" y="0"/>
                    </a:lnTo>
                    <a:lnTo>
                      <a:pt x="0" y="6763"/>
                    </a:lnTo>
                    <a:lnTo>
                      <a:pt x="0" y="17240"/>
                    </a:lnTo>
                    <a:lnTo>
                      <a:pt x="3810" y="27718"/>
                    </a:lnTo>
                    <a:lnTo>
                      <a:pt x="11430" y="27718"/>
                    </a:lnTo>
                    <a:lnTo>
                      <a:pt x="14288" y="13430"/>
                    </a:lnTo>
                    <a:lnTo>
                      <a:pt x="14288" y="2953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5C885C70-C770-9C20-1486-CCBDBE367301}"/>
                  </a:ext>
                </a:extLst>
              </p:cNvPr>
              <p:cNvSpPr/>
              <p:nvPr/>
            </p:nvSpPr>
            <p:spPr>
              <a:xfrm>
                <a:off x="6957456" y="3628587"/>
                <a:ext cx="14005" cy="27171"/>
              </a:xfrm>
              <a:custGeom>
                <a:avLst/>
                <a:gdLst>
                  <a:gd name="connsiteX0" fmla="*/ 14288 w 14287"/>
                  <a:gd name="connsiteY0" fmla="*/ 0 h 27717"/>
                  <a:gd name="connsiteX1" fmla="*/ 3810 w 14287"/>
                  <a:gd name="connsiteY1" fmla="*/ 0 h 27717"/>
                  <a:gd name="connsiteX2" fmla="*/ 0 w 14287"/>
                  <a:gd name="connsiteY2" fmla="*/ 6763 h 27717"/>
                  <a:gd name="connsiteX3" fmla="*/ 0 w 14287"/>
                  <a:gd name="connsiteY3" fmla="*/ 17240 h 27717"/>
                  <a:gd name="connsiteX4" fmla="*/ 3810 w 14287"/>
                  <a:gd name="connsiteY4" fmla="*/ 27718 h 27717"/>
                  <a:gd name="connsiteX5" fmla="*/ 11430 w 14287"/>
                  <a:gd name="connsiteY5" fmla="*/ 27718 h 27717"/>
                  <a:gd name="connsiteX6" fmla="*/ 14288 w 14287"/>
                  <a:gd name="connsiteY6" fmla="*/ 13430 h 27717"/>
                  <a:gd name="connsiteX7" fmla="*/ 14288 w 14287"/>
                  <a:gd name="connsiteY7" fmla="*/ 2953 h 27717"/>
                  <a:gd name="connsiteX8" fmla="*/ 14288 w 14287"/>
                  <a:gd name="connsiteY8" fmla="*/ 0 h 2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4287" h="27717">
                    <a:moveTo>
                      <a:pt x="14288" y="0"/>
                    </a:moveTo>
                    <a:lnTo>
                      <a:pt x="3810" y="0"/>
                    </a:lnTo>
                    <a:lnTo>
                      <a:pt x="0" y="6763"/>
                    </a:lnTo>
                    <a:lnTo>
                      <a:pt x="0" y="17240"/>
                    </a:lnTo>
                    <a:lnTo>
                      <a:pt x="3810" y="27718"/>
                    </a:lnTo>
                    <a:lnTo>
                      <a:pt x="11430" y="27718"/>
                    </a:lnTo>
                    <a:lnTo>
                      <a:pt x="14288" y="13430"/>
                    </a:lnTo>
                    <a:lnTo>
                      <a:pt x="14288" y="2953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9A421373-8F0F-D3DB-D121-702020648985}"/>
                  </a:ext>
                </a:extLst>
              </p:cNvPr>
              <p:cNvSpPr/>
              <p:nvPr/>
            </p:nvSpPr>
            <p:spPr>
              <a:xfrm>
                <a:off x="7392571" y="3818228"/>
                <a:ext cx="17740" cy="44725"/>
              </a:xfrm>
              <a:custGeom>
                <a:avLst/>
                <a:gdLst>
                  <a:gd name="connsiteX0" fmla="*/ 0 w 18097"/>
                  <a:gd name="connsiteY0" fmla="*/ 39053 h 45624"/>
                  <a:gd name="connsiteX1" fmla="*/ 0 w 18097"/>
                  <a:gd name="connsiteY1" fmla="*/ 18097 h 45624"/>
                  <a:gd name="connsiteX2" fmla="*/ 7620 w 18097"/>
                  <a:gd name="connsiteY2" fmla="*/ 0 h 45624"/>
                  <a:gd name="connsiteX3" fmla="*/ 14288 w 18097"/>
                  <a:gd name="connsiteY3" fmla="*/ 0 h 45624"/>
                  <a:gd name="connsiteX4" fmla="*/ 18098 w 18097"/>
                  <a:gd name="connsiteY4" fmla="*/ 14288 h 45624"/>
                  <a:gd name="connsiteX5" fmla="*/ 18098 w 18097"/>
                  <a:gd name="connsiteY5" fmla="*/ 24765 h 45624"/>
                  <a:gd name="connsiteX6" fmla="*/ 14288 w 18097"/>
                  <a:gd name="connsiteY6" fmla="*/ 39053 h 45624"/>
                  <a:gd name="connsiteX7" fmla="*/ 7620 w 18097"/>
                  <a:gd name="connsiteY7" fmla="*/ 45625 h 45624"/>
                  <a:gd name="connsiteX8" fmla="*/ 0 w 18097"/>
                  <a:gd name="connsiteY8" fmla="*/ 39053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097" h="45624">
                    <a:moveTo>
                      <a:pt x="0" y="39053"/>
                    </a:moveTo>
                    <a:lnTo>
                      <a:pt x="0" y="18097"/>
                    </a:lnTo>
                    <a:lnTo>
                      <a:pt x="7620" y="0"/>
                    </a:lnTo>
                    <a:lnTo>
                      <a:pt x="14288" y="0"/>
                    </a:lnTo>
                    <a:lnTo>
                      <a:pt x="18098" y="14288"/>
                    </a:lnTo>
                    <a:lnTo>
                      <a:pt x="18098" y="24765"/>
                    </a:lnTo>
                    <a:lnTo>
                      <a:pt x="14288" y="39053"/>
                    </a:lnTo>
                    <a:lnTo>
                      <a:pt x="7620" y="45625"/>
                    </a:lnTo>
                    <a:lnTo>
                      <a:pt x="0" y="3905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3A140B07-8163-F0EA-1FD1-BE10DAA3D9D7}"/>
                  </a:ext>
                </a:extLst>
              </p:cNvPr>
              <p:cNvSpPr/>
              <p:nvPr/>
            </p:nvSpPr>
            <p:spPr>
              <a:xfrm>
                <a:off x="5337443" y="2384016"/>
                <a:ext cx="285720" cy="141833"/>
              </a:xfrm>
              <a:custGeom>
                <a:avLst/>
                <a:gdLst>
                  <a:gd name="connsiteX0" fmla="*/ 23813 w 291465"/>
                  <a:gd name="connsiteY0" fmla="*/ 49435 h 144684"/>
                  <a:gd name="connsiteX1" fmla="*/ 0 w 291465"/>
                  <a:gd name="connsiteY1" fmla="*/ 49435 h 144684"/>
                  <a:gd name="connsiteX2" fmla="*/ 10478 w 291465"/>
                  <a:gd name="connsiteY2" fmla="*/ 31432 h 144684"/>
                  <a:gd name="connsiteX3" fmla="*/ 17145 w 291465"/>
                  <a:gd name="connsiteY3" fmla="*/ 17145 h 144684"/>
                  <a:gd name="connsiteX4" fmla="*/ 35243 w 291465"/>
                  <a:gd name="connsiteY4" fmla="*/ 2857 h 144684"/>
                  <a:gd name="connsiteX5" fmla="*/ 52388 w 291465"/>
                  <a:gd name="connsiteY5" fmla="*/ 10477 h 144684"/>
                  <a:gd name="connsiteX6" fmla="*/ 73343 w 291465"/>
                  <a:gd name="connsiteY6" fmla="*/ 24765 h 144684"/>
                  <a:gd name="connsiteX7" fmla="*/ 77153 w 291465"/>
                  <a:gd name="connsiteY7" fmla="*/ 41815 h 144684"/>
                  <a:gd name="connsiteX8" fmla="*/ 83820 w 291465"/>
                  <a:gd name="connsiteY8" fmla="*/ 49435 h 144684"/>
                  <a:gd name="connsiteX9" fmla="*/ 94297 w 291465"/>
                  <a:gd name="connsiteY9" fmla="*/ 41815 h 144684"/>
                  <a:gd name="connsiteX10" fmla="*/ 101918 w 291465"/>
                  <a:gd name="connsiteY10" fmla="*/ 31432 h 144684"/>
                  <a:gd name="connsiteX11" fmla="*/ 112395 w 291465"/>
                  <a:gd name="connsiteY11" fmla="*/ 20860 h 144684"/>
                  <a:gd name="connsiteX12" fmla="*/ 119063 w 291465"/>
                  <a:gd name="connsiteY12" fmla="*/ 27527 h 144684"/>
                  <a:gd name="connsiteX13" fmla="*/ 126682 w 291465"/>
                  <a:gd name="connsiteY13" fmla="*/ 38100 h 144684"/>
                  <a:gd name="connsiteX14" fmla="*/ 140018 w 291465"/>
                  <a:gd name="connsiteY14" fmla="*/ 24765 h 144684"/>
                  <a:gd name="connsiteX15" fmla="*/ 151447 w 291465"/>
                  <a:gd name="connsiteY15" fmla="*/ 14288 h 144684"/>
                  <a:gd name="connsiteX16" fmla="*/ 161925 w 291465"/>
                  <a:gd name="connsiteY16" fmla="*/ 20860 h 144684"/>
                  <a:gd name="connsiteX17" fmla="*/ 182880 w 291465"/>
                  <a:gd name="connsiteY17" fmla="*/ 24765 h 144684"/>
                  <a:gd name="connsiteX18" fmla="*/ 207645 w 291465"/>
                  <a:gd name="connsiteY18" fmla="*/ 14288 h 144684"/>
                  <a:gd name="connsiteX19" fmla="*/ 224790 w 291465"/>
                  <a:gd name="connsiteY19" fmla="*/ 0 h 144684"/>
                  <a:gd name="connsiteX20" fmla="*/ 245745 w 291465"/>
                  <a:gd name="connsiteY20" fmla="*/ 20860 h 144684"/>
                  <a:gd name="connsiteX21" fmla="*/ 263843 w 291465"/>
                  <a:gd name="connsiteY21" fmla="*/ 27527 h 144684"/>
                  <a:gd name="connsiteX22" fmla="*/ 278130 w 291465"/>
                  <a:gd name="connsiteY22" fmla="*/ 41815 h 144684"/>
                  <a:gd name="connsiteX23" fmla="*/ 291465 w 291465"/>
                  <a:gd name="connsiteY23" fmla="*/ 60007 h 144684"/>
                  <a:gd name="connsiteX24" fmla="*/ 291465 w 291465"/>
                  <a:gd name="connsiteY24" fmla="*/ 73247 h 144684"/>
                  <a:gd name="connsiteX25" fmla="*/ 274320 w 291465"/>
                  <a:gd name="connsiteY25" fmla="*/ 87535 h 144684"/>
                  <a:gd name="connsiteX26" fmla="*/ 245745 w 291465"/>
                  <a:gd name="connsiteY26" fmla="*/ 105727 h 144684"/>
                  <a:gd name="connsiteX27" fmla="*/ 210503 w 291465"/>
                  <a:gd name="connsiteY27" fmla="*/ 120015 h 144684"/>
                  <a:gd name="connsiteX28" fmla="*/ 179070 w 291465"/>
                  <a:gd name="connsiteY28" fmla="*/ 130397 h 144684"/>
                  <a:gd name="connsiteX29" fmla="*/ 154305 w 291465"/>
                  <a:gd name="connsiteY29" fmla="*/ 144685 h 144684"/>
                  <a:gd name="connsiteX30" fmla="*/ 129540 w 291465"/>
                  <a:gd name="connsiteY30" fmla="*/ 144685 h 144684"/>
                  <a:gd name="connsiteX31" fmla="*/ 101918 w 291465"/>
                  <a:gd name="connsiteY31" fmla="*/ 133350 h 144684"/>
                  <a:gd name="connsiteX32" fmla="*/ 83820 w 291465"/>
                  <a:gd name="connsiteY32" fmla="*/ 122777 h 144684"/>
                  <a:gd name="connsiteX33" fmla="*/ 31432 w 291465"/>
                  <a:gd name="connsiteY33" fmla="*/ 122777 h 144684"/>
                  <a:gd name="connsiteX34" fmla="*/ 56197 w 291465"/>
                  <a:gd name="connsiteY34" fmla="*/ 109538 h 144684"/>
                  <a:gd name="connsiteX35" fmla="*/ 59055 w 291465"/>
                  <a:gd name="connsiteY35" fmla="*/ 91440 h 144684"/>
                  <a:gd name="connsiteX36" fmla="*/ 45720 w 291465"/>
                  <a:gd name="connsiteY36" fmla="*/ 84677 h 144684"/>
                  <a:gd name="connsiteX37" fmla="*/ 23813 w 291465"/>
                  <a:gd name="connsiteY37" fmla="*/ 80963 h 144684"/>
                  <a:gd name="connsiteX38" fmla="*/ 2857 w 291465"/>
                  <a:gd name="connsiteY38" fmla="*/ 77152 h 144684"/>
                  <a:gd name="connsiteX39" fmla="*/ 31432 w 291465"/>
                  <a:gd name="connsiteY39" fmla="*/ 66675 h 144684"/>
                  <a:gd name="connsiteX40" fmla="*/ 52388 w 291465"/>
                  <a:gd name="connsiteY40" fmla="*/ 56102 h 144684"/>
                  <a:gd name="connsiteX41" fmla="*/ 41910 w 291465"/>
                  <a:gd name="connsiteY41" fmla="*/ 49435 h 144684"/>
                  <a:gd name="connsiteX42" fmla="*/ 23813 w 291465"/>
                  <a:gd name="connsiteY42" fmla="*/ 49435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291465" h="144684">
                    <a:moveTo>
                      <a:pt x="23813" y="49435"/>
                    </a:moveTo>
                    <a:lnTo>
                      <a:pt x="0" y="49435"/>
                    </a:lnTo>
                    <a:lnTo>
                      <a:pt x="10478" y="31432"/>
                    </a:lnTo>
                    <a:lnTo>
                      <a:pt x="17145" y="17145"/>
                    </a:lnTo>
                    <a:lnTo>
                      <a:pt x="35243" y="2857"/>
                    </a:lnTo>
                    <a:lnTo>
                      <a:pt x="52388" y="10477"/>
                    </a:lnTo>
                    <a:lnTo>
                      <a:pt x="73343" y="24765"/>
                    </a:lnTo>
                    <a:lnTo>
                      <a:pt x="77153" y="41815"/>
                    </a:lnTo>
                    <a:lnTo>
                      <a:pt x="83820" y="49435"/>
                    </a:lnTo>
                    <a:lnTo>
                      <a:pt x="94297" y="41815"/>
                    </a:lnTo>
                    <a:lnTo>
                      <a:pt x="101918" y="31432"/>
                    </a:lnTo>
                    <a:lnTo>
                      <a:pt x="112395" y="20860"/>
                    </a:lnTo>
                    <a:lnTo>
                      <a:pt x="119063" y="27527"/>
                    </a:lnTo>
                    <a:lnTo>
                      <a:pt x="126682" y="38100"/>
                    </a:lnTo>
                    <a:lnTo>
                      <a:pt x="140018" y="24765"/>
                    </a:lnTo>
                    <a:lnTo>
                      <a:pt x="151447" y="14288"/>
                    </a:lnTo>
                    <a:lnTo>
                      <a:pt x="161925" y="20860"/>
                    </a:lnTo>
                    <a:lnTo>
                      <a:pt x="182880" y="24765"/>
                    </a:lnTo>
                    <a:lnTo>
                      <a:pt x="207645" y="14288"/>
                    </a:lnTo>
                    <a:lnTo>
                      <a:pt x="224790" y="0"/>
                    </a:lnTo>
                    <a:lnTo>
                      <a:pt x="245745" y="20860"/>
                    </a:lnTo>
                    <a:lnTo>
                      <a:pt x="263843" y="27527"/>
                    </a:lnTo>
                    <a:lnTo>
                      <a:pt x="278130" y="41815"/>
                    </a:lnTo>
                    <a:lnTo>
                      <a:pt x="291465" y="60007"/>
                    </a:lnTo>
                    <a:lnTo>
                      <a:pt x="291465" y="73247"/>
                    </a:lnTo>
                    <a:lnTo>
                      <a:pt x="274320" y="87535"/>
                    </a:lnTo>
                    <a:lnTo>
                      <a:pt x="245745" y="105727"/>
                    </a:lnTo>
                    <a:lnTo>
                      <a:pt x="210503" y="120015"/>
                    </a:lnTo>
                    <a:lnTo>
                      <a:pt x="179070" y="130397"/>
                    </a:lnTo>
                    <a:lnTo>
                      <a:pt x="154305" y="144685"/>
                    </a:lnTo>
                    <a:lnTo>
                      <a:pt x="129540" y="144685"/>
                    </a:lnTo>
                    <a:lnTo>
                      <a:pt x="101918" y="133350"/>
                    </a:lnTo>
                    <a:lnTo>
                      <a:pt x="83820" y="122777"/>
                    </a:lnTo>
                    <a:lnTo>
                      <a:pt x="31432" y="122777"/>
                    </a:lnTo>
                    <a:lnTo>
                      <a:pt x="56197" y="109538"/>
                    </a:lnTo>
                    <a:lnTo>
                      <a:pt x="59055" y="91440"/>
                    </a:lnTo>
                    <a:lnTo>
                      <a:pt x="45720" y="84677"/>
                    </a:lnTo>
                    <a:lnTo>
                      <a:pt x="23813" y="80963"/>
                    </a:lnTo>
                    <a:lnTo>
                      <a:pt x="2857" y="77152"/>
                    </a:lnTo>
                    <a:lnTo>
                      <a:pt x="31432" y="66675"/>
                    </a:lnTo>
                    <a:lnTo>
                      <a:pt x="52388" y="56102"/>
                    </a:lnTo>
                    <a:lnTo>
                      <a:pt x="41910" y="49435"/>
                    </a:lnTo>
                    <a:lnTo>
                      <a:pt x="23813" y="4943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E218590C-4756-E76B-F088-35C8310C6C4A}"/>
                  </a:ext>
                </a:extLst>
              </p:cNvPr>
              <p:cNvSpPr/>
              <p:nvPr/>
            </p:nvSpPr>
            <p:spPr>
              <a:xfrm>
                <a:off x="3472796" y="4053435"/>
                <a:ext cx="99908" cy="110274"/>
              </a:xfrm>
              <a:custGeom>
                <a:avLst/>
                <a:gdLst>
                  <a:gd name="connsiteX0" fmla="*/ 60008 w 101917"/>
                  <a:gd name="connsiteY0" fmla="*/ 112490 h 112490"/>
                  <a:gd name="connsiteX1" fmla="*/ 74295 w 101917"/>
                  <a:gd name="connsiteY1" fmla="*/ 99155 h 112490"/>
                  <a:gd name="connsiteX2" fmla="*/ 84772 w 101917"/>
                  <a:gd name="connsiteY2" fmla="*/ 87725 h 112490"/>
                  <a:gd name="connsiteX3" fmla="*/ 91440 w 101917"/>
                  <a:gd name="connsiteY3" fmla="*/ 80963 h 112490"/>
                  <a:gd name="connsiteX4" fmla="*/ 101917 w 101917"/>
                  <a:gd name="connsiteY4" fmla="*/ 66675 h 112490"/>
                  <a:gd name="connsiteX5" fmla="*/ 95250 w 101917"/>
                  <a:gd name="connsiteY5" fmla="*/ 60103 h 112490"/>
                  <a:gd name="connsiteX6" fmla="*/ 84772 w 101917"/>
                  <a:gd name="connsiteY6" fmla="*/ 60103 h 112490"/>
                  <a:gd name="connsiteX7" fmla="*/ 84772 w 101917"/>
                  <a:gd name="connsiteY7" fmla="*/ 0 h 112490"/>
                  <a:gd name="connsiteX8" fmla="*/ 31433 w 101917"/>
                  <a:gd name="connsiteY8" fmla="*/ 3905 h 112490"/>
                  <a:gd name="connsiteX9" fmla="*/ 28575 w 101917"/>
                  <a:gd name="connsiteY9" fmla="*/ 10478 h 112490"/>
                  <a:gd name="connsiteX10" fmla="*/ 31433 w 101917"/>
                  <a:gd name="connsiteY10" fmla="*/ 24765 h 112490"/>
                  <a:gd name="connsiteX11" fmla="*/ 45720 w 101917"/>
                  <a:gd name="connsiteY11" fmla="*/ 35338 h 112490"/>
                  <a:gd name="connsiteX12" fmla="*/ 52388 w 101917"/>
                  <a:gd name="connsiteY12" fmla="*/ 45815 h 112490"/>
                  <a:gd name="connsiteX13" fmla="*/ 45720 w 101917"/>
                  <a:gd name="connsiteY13" fmla="*/ 49625 h 112490"/>
                  <a:gd name="connsiteX14" fmla="*/ 24765 w 101917"/>
                  <a:gd name="connsiteY14" fmla="*/ 52388 h 112490"/>
                  <a:gd name="connsiteX15" fmla="*/ 17145 w 101917"/>
                  <a:gd name="connsiteY15" fmla="*/ 49625 h 112490"/>
                  <a:gd name="connsiteX16" fmla="*/ 6667 w 101917"/>
                  <a:gd name="connsiteY16" fmla="*/ 63913 h 112490"/>
                  <a:gd name="connsiteX17" fmla="*/ 3810 w 101917"/>
                  <a:gd name="connsiteY17" fmla="*/ 74390 h 112490"/>
                  <a:gd name="connsiteX18" fmla="*/ 0 w 101917"/>
                  <a:gd name="connsiteY18" fmla="*/ 95250 h 112490"/>
                  <a:gd name="connsiteX19" fmla="*/ 10478 w 101917"/>
                  <a:gd name="connsiteY19" fmla="*/ 102013 h 112490"/>
                  <a:gd name="connsiteX20" fmla="*/ 20955 w 101917"/>
                  <a:gd name="connsiteY20" fmla="*/ 109538 h 112490"/>
                  <a:gd name="connsiteX21" fmla="*/ 39053 w 101917"/>
                  <a:gd name="connsiteY21" fmla="*/ 112490 h 112490"/>
                  <a:gd name="connsiteX22" fmla="*/ 60008 w 101917"/>
                  <a:gd name="connsiteY22" fmla="*/ 112490 h 112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917" h="112490">
                    <a:moveTo>
                      <a:pt x="60008" y="112490"/>
                    </a:moveTo>
                    <a:lnTo>
                      <a:pt x="74295" y="99155"/>
                    </a:lnTo>
                    <a:lnTo>
                      <a:pt x="84772" y="87725"/>
                    </a:lnTo>
                    <a:lnTo>
                      <a:pt x="91440" y="80963"/>
                    </a:lnTo>
                    <a:lnTo>
                      <a:pt x="101917" y="66675"/>
                    </a:lnTo>
                    <a:lnTo>
                      <a:pt x="95250" y="60103"/>
                    </a:lnTo>
                    <a:lnTo>
                      <a:pt x="84772" y="60103"/>
                    </a:lnTo>
                    <a:lnTo>
                      <a:pt x="84772" y="0"/>
                    </a:lnTo>
                    <a:lnTo>
                      <a:pt x="31433" y="3905"/>
                    </a:lnTo>
                    <a:lnTo>
                      <a:pt x="28575" y="10478"/>
                    </a:lnTo>
                    <a:lnTo>
                      <a:pt x="31433" y="24765"/>
                    </a:lnTo>
                    <a:lnTo>
                      <a:pt x="45720" y="35338"/>
                    </a:lnTo>
                    <a:lnTo>
                      <a:pt x="52388" y="45815"/>
                    </a:lnTo>
                    <a:lnTo>
                      <a:pt x="45720" y="49625"/>
                    </a:lnTo>
                    <a:lnTo>
                      <a:pt x="24765" y="52388"/>
                    </a:lnTo>
                    <a:lnTo>
                      <a:pt x="17145" y="49625"/>
                    </a:lnTo>
                    <a:lnTo>
                      <a:pt x="6667" y="63913"/>
                    </a:lnTo>
                    <a:lnTo>
                      <a:pt x="3810" y="74390"/>
                    </a:lnTo>
                    <a:lnTo>
                      <a:pt x="0" y="95250"/>
                    </a:lnTo>
                    <a:lnTo>
                      <a:pt x="10478" y="102013"/>
                    </a:lnTo>
                    <a:lnTo>
                      <a:pt x="20955" y="109538"/>
                    </a:lnTo>
                    <a:lnTo>
                      <a:pt x="39053" y="112490"/>
                    </a:lnTo>
                    <a:lnTo>
                      <a:pt x="60008" y="11249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E47D2422-58FF-AE6A-BCFF-5AE4065505AB}"/>
                  </a:ext>
                </a:extLst>
              </p:cNvPr>
              <p:cNvSpPr/>
              <p:nvPr/>
            </p:nvSpPr>
            <p:spPr>
              <a:xfrm>
                <a:off x="3472796" y="4053435"/>
                <a:ext cx="99908" cy="110274"/>
              </a:xfrm>
              <a:custGeom>
                <a:avLst/>
                <a:gdLst>
                  <a:gd name="connsiteX0" fmla="*/ 60008 w 101917"/>
                  <a:gd name="connsiteY0" fmla="*/ 112490 h 112490"/>
                  <a:gd name="connsiteX1" fmla="*/ 74295 w 101917"/>
                  <a:gd name="connsiteY1" fmla="*/ 99155 h 112490"/>
                  <a:gd name="connsiteX2" fmla="*/ 84772 w 101917"/>
                  <a:gd name="connsiteY2" fmla="*/ 87725 h 112490"/>
                  <a:gd name="connsiteX3" fmla="*/ 91440 w 101917"/>
                  <a:gd name="connsiteY3" fmla="*/ 80963 h 112490"/>
                  <a:gd name="connsiteX4" fmla="*/ 101917 w 101917"/>
                  <a:gd name="connsiteY4" fmla="*/ 66675 h 112490"/>
                  <a:gd name="connsiteX5" fmla="*/ 95250 w 101917"/>
                  <a:gd name="connsiteY5" fmla="*/ 60103 h 112490"/>
                  <a:gd name="connsiteX6" fmla="*/ 84772 w 101917"/>
                  <a:gd name="connsiteY6" fmla="*/ 60103 h 112490"/>
                  <a:gd name="connsiteX7" fmla="*/ 84772 w 101917"/>
                  <a:gd name="connsiteY7" fmla="*/ 0 h 112490"/>
                  <a:gd name="connsiteX8" fmla="*/ 31433 w 101917"/>
                  <a:gd name="connsiteY8" fmla="*/ 3905 h 112490"/>
                  <a:gd name="connsiteX9" fmla="*/ 28575 w 101917"/>
                  <a:gd name="connsiteY9" fmla="*/ 10478 h 112490"/>
                  <a:gd name="connsiteX10" fmla="*/ 31433 w 101917"/>
                  <a:gd name="connsiteY10" fmla="*/ 24765 h 112490"/>
                  <a:gd name="connsiteX11" fmla="*/ 45720 w 101917"/>
                  <a:gd name="connsiteY11" fmla="*/ 35338 h 112490"/>
                  <a:gd name="connsiteX12" fmla="*/ 52388 w 101917"/>
                  <a:gd name="connsiteY12" fmla="*/ 45815 h 112490"/>
                  <a:gd name="connsiteX13" fmla="*/ 45720 w 101917"/>
                  <a:gd name="connsiteY13" fmla="*/ 49625 h 112490"/>
                  <a:gd name="connsiteX14" fmla="*/ 24765 w 101917"/>
                  <a:gd name="connsiteY14" fmla="*/ 52388 h 112490"/>
                  <a:gd name="connsiteX15" fmla="*/ 17145 w 101917"/>
                  <a:gd name="connsiteY15" fmla="*/ 49625 h 112490"/>
                  <a:gd name="connsiteX16" fmla="*/ 6667 w 101917"/>
                  <a:gd name="connsiteY16" fmla="*/ 63913 h 112490"/>
                  <a:gd name="connsiteX17" fmla="*/ 3810 w 101917"/>
                  <a:gd name="connsiteY17" fmla="*/ 74390 h 112490"/>
                  <a:gd name="connsiteX18" fmla="*/ 0 w 101917"/>
                  <a:gd name="connsiteY18" fmla="*/ 95250 h 112490"/>
                  <a:gd name="connsiteX19" fmla="*/ 10478 w 101917"/>
                  <a:gd name="connsiteY19" fmla="*/ 102013 h 112490"/>
                  <a:gd name="connsiteX20" fmla="*/ 20955 w 101917"/>
                  <a:gd name="connsiteY20" fmla="*/ 109538 h 112490"/>
                  <a:gd name="connsiteX21" fmla="*/ 39053 w 101917"/>
                  <a:gd name="connsiteY21" fmla="*/ 112490 h 112490"/>
                  <a:gd name="connsiteX22" fmla="*/ 60008 w 101917"/>
                  <a:gd name="connsiteY22" fmla="*/ 112490 h 1124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01917" h="112490">
                    <a:moveTo>
                      <a:pt x="60008" y="112490"/>
                    </a:moveTo>
                    <a:lnTo>
                      <a:pt x="74295" y="99155"/>
                    </a:lnTo>
                    <a:lnTo>
                      <a:pt x="84772" y="87725"/>
                    </a:lnTo>
                    <a:lnTo>
                      <a:pt x="91440" y="80963"/>
                    </a:lnTo>
                    <a:lnTo>
                      <a:pt x="101917" y="66675"/>
                    </a:lnTo>
                    <a:lnTo>
                      <a:pt x="95250" y="60103"/>
                    </a:lnTo>
                    <a:lnTo>
                      <a:pt x="84772" y="60103"/>
                    </a:lnTo>
                    <a:lnTo>
                      <a:pt x="84772" y="0"/>
                    </a:lnTo>
                    <a:lnTo>
                      <a:pt x="31433" y="3905"/>
                    </a:lnTo>
                    <a:lnTo>
                      <a:pt x="28575" y="10478"/>
                    </a:lnTo>
                    <a:lnTo>
                      <a:pt x="31433" y="24765"/>
                    </a:lnTo>
                    <a:lnTo>
                      <a:pt x="45720" y="35338"/>
                    </a:lnTo>
                    <a:lnTo>
                      <a:pt x="52388" y="45815"/>
                    </a:lnTo>
                    <a:lnTo>
                      <a:pt x="45720" y="49625"/>
                    </a:lnTo>
                    <a:lnTo>
                      <a:pt x="24765" y="52388"/>
                    </a:lnTo>
                    <a:lnTo>
                      <a:pt x="17145" y="49625"/>
                    </a:lnTo>
                    <a:lnTo>
                      <a:pt x="6667" y="63913"/>
                    </a:lnTo>
                    <a:lnTo>
                      <a:pt x="3810" y="74390"/>
                    </a:lnTo>
                    <a:lnTo>
                      <a:pt x="0" y="95250"/>
                    </a:lnTo>
                    <a:lnTo>
                      <a:pt x="10478" y="102013"/>
                    </a:lnTo>
                    <a:lnTo>
                      <a:pt x="20955" y="109538"/>
                    </a:lnTo>
                    <a:lnTo>
                      <a:pt x="39053" y="112490"/>
                    </a:lnTo>
                    <a:lnTo>
                      <a:pt x="60008" y="1124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F62194FF-40C8-B71C-40DE-96E4F7ADAAE7}"/>
                  </a:ext>
                </a:extLst>
              </p:cNvPr>
              <p:cNvSpPr/>
              <p:nvPr/>
            </p:nvSpPr>
            <p:spPr>
              <a:xfrm>
                <a:off x="3555897" y="4035694"/>
                <a:ext cx="20542" cy="76659"/>
              </a:xfrm>
              <a:custGeom>
                <a:avLst/>
                <a:gdLst>
                  <a:gd name="connsiteX0" fmla="*/ 17145 w 20955"/>
                  <a:gd name="connsiteY0" fmla="*/ 0 h 78200"/>
                  <a:gd name="connsiteX1" fmla="*/ 20955 w 20955"/>
                  <a:gd name="connsiteY1" fmla="*/ 10573 h 78200"/>
                  <a:gd name="connsiteX2" fmla="*/ 17145 w 20955"/>
                  <a:gd name="connsiteY2" fmla="*/ 22003 h 78200"/>
                  <a:gd name="connsiteX3" fmla="*/ 17145 w 20955"/>
                  <a:gd name="connsiteY3" fmla="*/ 46672 h 78200"/>
                  <a:gd name="connsiteX4" fmla="*/ 17145 w 20955"/>
                  <a:gd name="connsiteY4" fmla="*/ 60103 h 78200"/>
                  <a:gd name="connsiteX5" fmla="*/ 10478 w 20955"/>
                  <a:gd name="connsiteY5" fmla="*/ 67723 h 78200"/>
                  <a:gd name="connsiteX6" fmla="*/ 0 w 20955"/>
                  <a:gd name="connsiteY6" fmla="*/ 78200 h 78200"/>
                  <a:gd name="connsiteX7" fmla="*/ 0 w 20955"/>
                  <a:gd name="connsiteY7" fmla="*/ 18097 h 78200"/>
                  <a:gd name="connsiteX8" fmla="*/ 10478 w 20955"/>
                  <a:gd name="connsiteY8" fmla="*/ 7715 h 78200"/>
                  <a:gd name="connsiteX9" fmla="*/ 17145 w 20955"/>
                  <a:gd name="connsiteY9" fmla="*/ 0 h 7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955" h="78200">
                    <a:moveTo>
                      <a:pt x="17145" y="0"/>
                    </a:moveTo>
                    <a:lnTo>
                      <a:pt x="20955" y="10573"/>
                    </a:lnTo>
                    <a:lnTo>
                      <a:pt x="17145" y="22003"/>
                    </a:lnTo>
                    <a:lnTo>
                      <a:pt x="17145" y="46672"/>
                    </a:lnTo>
                    <a:lnTo>
                      <a:pt x="17145" y="60103"/>
                    </a:lnTo>
                    <a:lnTo>
                      <a:pt x="10478" y="67723"/>
                    </a:lnTo>
                    <a:lnTo>
                      <a:pt x="0" y="78200"/>
                    </a:lnTo>
                    <a:lnTo>
                      <a:pt x="0" y="18097"/>
                    </a:lnTo>
                    <a:lnTo>
                      <a:pt x="10478" y="7715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A4ED22E1-66A1-A448-8D70-1D60D4EB0F73}"/>
                  </a:ext>
                </a:extLst>
              </p:cNvPr>
              <p:cNvSpPr/>
              <p:nvPr/>
            </p:nvSpPr>
            <p:spPr>
              <a:xfrm>
                <a:off x="3555897" y="4035694"/>
                <a:ext cx="20542" cy="76659"/>
              </a:xfrm>
              <a:custGeom>
                <a:avLst/>
                <a:gdLst>
                  <a:gd name="connsiteX0" fmla="*/ 17145 w 20955"/>
                  <a:gd name="connsiteY0" fmla="*/ 0 h 78200"/>
                  <a:gd name="connsiteX1" fmla="*/ 20955 w 20955"/>
                  <a:gd name="connsiteY1" fmla="*/ 10573 h 78200"/>
                  <a:gd name="connsiteX2" fmla="*/ 17145 w 20955"/>
                  <a:gd name="connsiteY2" fmla="*/ 22003 h 78200"/>
                  <a:gd name="connsiteX3" fmla="*/ 17145 w 20955"/>
                  <a:gd name="connsiteY3" fmla="*/ 46672 h 78200"/>
                  <a:gd name="connsiteX4" fmla="*/ 17145 w 20955"/>
                  <a:gd name="connsiteY4" fmla="*/ 60103 h 78200"/>
                  <a:gd name="connsiteX5" fmla="*/ 10478 w 20955"/>
                  <a:gd name="connsiteY5" fmla="*/ 67723 h 78200"/>
                  <a:gd name="connsiteX6" fmla="*/ 0 w 20955"/>
                  <a:gd name="connsiteY6" fmla="*/ 78200 h 78200"/>
                  <a:gd name="connsiteX7" fmla="*/ 0 w 20955"/>
                  <a:gd name="connsiteY7" fmla="*/ 18097 h 78200"/>
                  <a:gd name="connsiteX8" fmla="*/ 10478 w 20955"/>
                  <a:gd name="connsiteY8" fmla="*/ 7715 h 78200"/>
                  <a:gd name="connsiteX9" fmla="*/ 17145 w 20955"/>
                  <a:gd name="connsiteY9" fmla="*/ 0 h 7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955" h="78200">
                    <a:moveTo>
                      <a:pt x="17145" y="0"/>
                    </a:moveTo>
                    <a:lnTo>
                      <a:pt x="20955" y="10573"/>
                    </a:lnTo>
                    <a:lnTo>
                      <a:pt x="17145" y="22003"/>
                    </a:lnTo>
                    <a:lnTo>
                      <a:pt x="17145" y="46672"/>
                    </a:lnTo>
                    <a:lnTo>
                      <a:pt x="17145" y="60103"/>
                    </a:lnTo>
                    <a:lnTo>
                      <a:pt x="10478" y="67723"/>
                    </a:lnTo>
                    <a:lnTo>
                      <a:pt x="0" y="78200"/>
                    </a:lnTo>
                    <a:lnTo>
                      <a:pt x="0" y="18097"/>
                    </a:lnTo>
                    <a:lnTo>
                      <a:pt x="10478" y="7715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65A0E50C-879F-4346-0845-B95A00855EFF}"/>
                  </a:ext>
                </a:extLst>
              </p:cNvPr>
              <p:cNvSpPr/>
              <p:nvPr/>
            </p:nvSpPr>
            <p:spPr>
              <a:xfrm>
                <a:off x="3531621" y="4146808"/>
                <a:ext cx="58824" cy="38283"/>
              </a:xfrm>
              <a:custGeom>
                <a:avLst/>
                <a:gdLst>
                  <a:gd name="connsiteX0" fmla="*/ 0 w 60007"/>
                  <a:gd name="connsiteY0" fmla="*/ 17240 h 39052"/>
                  <a:gd name="connsiteX1" fmla="*/ 20955 w 60007"/>
                  <a:gd name="connsiteY1" fmla="*/ 0 h 39052"/>
                  <a:gd name="connsiteX2" fmla="*/ 31433 w 60007"/>
                  <a:gd name="connsiteY2" fmla="*/ 6763 h 39052"/>
                  <a:gd name="connsiteX3" fmla="*/ 41910 w 60007"/>
                  <a:gd name="connsiteY3" fmla="*/ 14288 h 39052"/>
                  <a:gd name="connsiteX4" fmla="*/ 56197 w 60007"/>
                  <a:gd name="connsiteY4" fmla="*/ 17240 h 39052"/>
                  <a:gd name="connsiteX5" fmla="*/ 60008 w 60007"/>
                  <a:gd name="connsiteY5" fmla="*/ 24765 h 39052"/>
                  <a:gd name="connsiteX6" fmla="*/ 52388 w 60007"/>
                  <a:gd name="connsiteY6" fmla="*/ 35338 h 39052"/>
                  <a:gd name="connsiteX7" fmla="*/ 45720 w 60007"/>
                  <a:gd name="connsiteY7" fmla="*/ 39053 h 39052"/>
                  <a:gd name="connsiteX8" fmla="*/ 27622 w 60007"/>
                  <a:gd name="connsiteY8" fmla="*/ 31528 h 39052"/>
                  <a:gd name="connsiteX9" fmla="*/ 14288 w 60007"/>
                  <a:gd name="connsiteY9" fmla="*/ 24765 h 39052"/>
                  <a:gd name="connsiteX10" fmla="*/ 0 w 60007"/>
                  <a:gd name="connsiteY10" fmla="*/ 17240 h 3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007" h="39052">
                    <a:moveTo>
                      <a:pt x="0" y="17240"/>
                    </a:moveTo>
                    <a:lnTo>
                      <a:pt x="20955" y="0"/>
                    </a:lnTo>
                    <a:lnTo>
                      <a:pt x="31433" y="6763"/>
                    </a:lnTo>
                    <a:lnTo>
                      <a:pt x="41910" y="14288"/>
                    </a:lnTo>
                    <a:lnTo>
                      <a:pt x="56197" y="17240"/>
                    </a:lnTo>
                    <a:lnTo>
                      <a:pt x="60008" y="24765"/>
                    </a:lnTo>
                    <a:lnTo>
                      <a:pt x="52388" y="35338"/>
                    </a:lnTo>
                    <a:lnTo>
                      <a:pt x="45720" y="39053"/>
                    </a:lnTo>
                    <a:lnTo>
                      <a:pt x="27622" y="31528"/>
                    </a:lnTo>
                    <a:lnTo>
                      <a:pt x="14288" y="24765"/>
                    </a:lnTo>
                    <a:lnTo>
                      <a:pt x="0" y="1724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431104A5-14DC-4DCC-2138-0BEDD3E99438}"/>
                  </a:ext>
                </a:extLst>
              </p:cNvPr>
              <p:cNvSpPr/>
              <p:nvPr/>
            </p:nvSpPr>
            <p:spPr>
              <a:xfrm>
                <a:off x="3531621" y="4146808"/>
                <a:ext cx="58824" cy="38283"/>
              </a:xfrm>
              <a:custGeom>
                <a:avLst/>
                <a:gdLst>
                  <a:gd name="connsiteX0" fmla="*/ 0 w 60007"/>
                  <a:gd name="connsiteY0" fmla="*/ 17240 h 39052"/>
                  <a:gd name="connsiteX1" fmla="*/ 20955 w 60007"/>
                  <a:gd name="connsiteY1" fmla="*/ 0 h 39052"/>
                  <a:gd name="connsiteX2" fmla="*/ 31433 w 60007"/>
                  <a:gd name="connsiteY2" fmla="*/ 6763 h 39052"/>
                  <a:gd name="connsiteX3" fmla="*/ 41910 w 60007"/>
                  <a:gd name="connsiteY3" fmla="*/ 14288 h 39052"/>
                  <a:gd name="connsiteX4" fmla="*/ 56197 w 60007"/>
                  <a:gd name="connsiteY4" fmla="*/ 17240 h 39052"/>
                  <a:gd name="connsiteX5" fmla="*/ 60008 w 60007"/>
                  <a:gd name="connsiteY5" fmla="*/ 24765 h 39052"/>
                  <a:gd name="connsiteX6" fmla="*/ 52388 w 60007"/>
                  <a:gd name="connsiteY6" fmla="*/ 35338 h 39052"/>
                  <a:gd name="connsiteX7" fmla="*/ 45720 w 60007"/>
                  <a:gd name="connsiteY7" fmla="*/ 39053 h 39052"/>
                  <a:gd name="connsiteX8" fmla="*/ 27622 w 60007"/>
                  <a:gd name="connsiteY8" fmla="*/ 31528 h 39052"/>
                  <a:gd name="connsiteX9" fmla="*/ 14288 w 60007"/>
                  <a:gd name="connsiteY9" fmla="*/ 24765 h 39052"/>
                  <a:gd name="connsiteX10" fmla="*/ 0 w 60007"/>
                  <a:gd name="connsiteY10" fmla="*/ 17240 h 3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0007" h="39052">
                    <a:moveTo>
                      <a:pt x="0" y="17240"/>
                    </a:moveTo>
                    <a:lnTo>
                      <a:pt x="20955" y="0"/>
                    </a:lnTo>
                    <a:lnTo>
                      <a:pt x="31433" y="6763"/>
                    </a:lnTo>
                    <a:lnTo>
                      <a:pt x="41910" y="14288"/>
                    </a:lnTo>
                    <a:lnTo>
                      <a:pt x="56197" y="17240"/>
                    </a:lnTo>
                    <a:lnTo>
                      <a:pt x="60008" y="24765"/>
                    </a:lnTo>
                    <a:lnTo>
                      <a:pt x="52388" y="35338"/>
                    </a:lnTo>
                    <a:lnTo>
                      <a:pt x="45720" y="39053"/>
                    </a:lnTo>
                    <a:lnTo>
                      <a:pt x="27622" y="31528"/>
                    </a:lnTo>
                    <a:lnTo>
                      <a:pt x="14288" y="24765"/>
                    </a:lnTo>
                    <a:lnTo>
                      <a:pt x="0" y="1724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5D8EE1CB-C91B-6E65-6784-73671623968F}"/>
                  </a:ext>
                </a:extLst>
              </p:cNvPr>
              <p:cNvSpPr/>
              <p:nvPr/>
            </p:nvSpPr>
            <p:spPr>
              <a:xfrm>
                <a:off x="3552163" y="4108619"/>
                <a:ext cx="165269" cy="83102"/>
              </a:xfrm>
              <a:custGeom>
                <a:avLst/>
                <a:gdLst>
                  <a:gd name="connsiteX0" fmla="*/ 20955 w 168592"/>
                  <a:gd name="connsiteY0" fmla="*/ 10382 h 84772"/>
                  <a:gd name="connsiteX1" fmla="*/ 45720 w 168592"/>
                  <a:gd name="connsiteY1" fmla="*/ 3810 h 84772"/>
                  <a:gd name="connsiteX2" fmla="*/ 60008 w 168592"/>
                  <a:gd name="connsiteY2" fmla="*/ 3810 h 84772"/>
                  <a:gd name="connsiteX3" fmla="*/ 74295 w 168592"/>
                  <a:gd name="connsiteY3" fmla="*/ 7620 h 84772"/>
                  <a:gd name="connsiteX4" fmla="*/ 91440 w 168592"/>
                  <a:gd name="connsiteY4" fmla="*/ 3810 h 84772"/>
                  <a:gd name="connsiteX5" fmla="*/ 112395 w 168592"/>
                  <a:gd name="connsiteY5" fmla="*/ 0 h 84772"/>
                  <a:gd name="connsiteX6" fmla="*/ 130492 w 168592"/>
                  <a:gd name="connsiteY6" fmla="*/ 0 h 84772"/>
                  <a:gd name="connsiteX7" fmla="*/ 140970 w 168592"/>
                  <a:gd name="connsiteY7" fmla="*/ 0 h 84772"/>
                  <a:gd name="connsiteX8" fmla="*/ 147638 w 168592"/>
                  <a:gd name="connsiteY8" fmla="*/ 7620 h 84772"/>
                  <a:gd name="connsiteX9" fmla="*/ 168592 w 168592"/>
                  <a:gd name="connsiteY9" fmla="*/ 20860 h 84772"/>
                  <a:gd name="connsiteX10" fmla="*/ 165735 w 168592"/>
                  <a:gd name="connsiteY10" fmla="*/ 28575 h 84772"/>
                  <a:gd name="connsiteX11" fmla="*/ 155258 w 168592"/>
                  <a:gd name="connsiteY11" fmla="*/ 31432 h 84772"/>
                  <a:gd name="connsiteX12" fmla="*/ 140970 w 168592"/>
                  <a:gd name="connsiteY12" fmla="*/ 31432 h 84772"/>
                  <a:gd name="connsiteX13" fmla="*/ 122872 w 168592"/>
                  <a:gd name="connsiteY13" fmla="*/ 31432 h 84772"/>
                  <a:gd name="connsiteX14" fmla="*/ 112395 w 168592"/>
                  <a:gd name="connsiteY14" fmla="*/ 38957 h 84772"/>
                  <a:gd name="connsiteX15" fmla="*/ 99060 w 168592"/>
                  <a:gd name="connsiteY15" fmla="*/ 53245 h 84772"/>
                  <a:gd name="connsiteX16" fmla="*/ 84772 w 168592"/>
                  <a:gd name="connsiteY16" fmla="*/ 56197 h 84772"/>
                  <a:gd name="connsiteX17" fmla="*/ 74295 w 168592"/>
                  <a:gd name="connsiteY17" fmla="*/ 60007 h 84772"/>
                  <a:gd name="connsiteX18" fmla="*/ 70485 w 168592"/>
                  <a:gd name="connsiteY18" fmla="*/ 74295 h 84772"/>
                  <a:gd name="connsiteX19" fmla="*/ 63817 w 168592"/>
                  <a:gd name="connsiteY19" fmla="*/ 80963 h 84772"/>
                  <a:gd name="connsiteX20" fmla="*/ 52388 w 168592"/>
                  <a:gd name="connsiteY20" fmla="*/ 84772 h 84772"/>
                  <a:gd name="connsiteX21" fmla="*/ 52388 w 168592"/>
                  <a:gd name="connsiteY21" fmla="*/ 74295 h 84772"/>
                  <a:gd name="connsiteX22" fmla="*/ 49530 w 168592"/>
                  <a:gd name="connsiteY22" fmla="*/ 63722 h 84772"/>
                  <a:gd name="connsiteX23" fmla="*/ 39053 w 168592"/>
                  <a:gd name="connsiteY23" fmla="*/ 63722 h 84772"/>
                  <a:gd name="connsiteX24" fmla="*/ 35242 w 168592"/>
                  <a:gd name="connsiteY24" fmla="*/ 56197 h 84772"/>
                  <a:gd name="connsiteX25" fmla="*/ 10478 w 168592"/>
                  <a:gd name="connsiteY25" fmla="*/ 45720 h 84772"/>
                  <a:gd name="connsiteX26" fmla="*/ 0 w 168592"/>
                  <a:gd name="connsiteY26" fmla="*/ 38957 h 84772"/>
                  <a:gd name="connsiteX27" fmla="*/ 20955 w 168592"/>
                  <a:gd name="connsiteY27" fmla="*/ 10382 h 8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68592" h="84772">
                    <a:moveTo>
                      <a:pt x="20955" y="10382"/>
                    </a:moveTo>
                    <a:lnTo>
                      <a:pt x="45720" y="3810"/>
                    </a:lnTo>
                    <a:lnTo>
                      <a:pt x="60008" y="3810"/>
                    </a:lnTo>
                    <a:lnTo>
                      <a:pt x="74295" y="7620"/>
                    </a:lnTo>
                    <a:lnTo>
                      <a:pt x="91440" y="3810"/>
                    </a:lnTo>
                    <a:lnTo>
                      <a:pt x="112395" y="0"/>
                    </a:lnTo>
                    <a:lnTo>
                      <a:pt x="130492" y="0"/>
                    </a:lnTo>
                    <a:lnTo>
                      <a:pt x="140970" y="0"/>
                    </a:lnTo>
                    <a:lnTo>
                      <a:pt x="147638" y="7620"/>
                    </a:lnTo>
                    <a:lnTo>
                      <a:pt x="168592" y="20860"/>
                    </a:lnTo>
                    <a:lnTo>
                      <a:pt x="165735" y="28575"/>
                    </a:lnTo>
                    <a:lnTo>
                      <a:pt x="155258" y="31432"/>
                    </a:lnTo>
                    <a:lnTo>
                      <a:pt x="140970" y="31432"/>
                    </a:lnTo>
                    <a:lnTo>
                      <a:pt x="122872" y="31432"/>
                    </a:lnTo>
                    <a:lnTo>
                      <a:pt x="112395" y="38957"/>
                    </a:lnTo>
                    <a:lnTo>
                      <a:pt x="99060" y="53245"/>
                    </a:lnTo>
                    <a:lnTo>
                      <a:pt x="84772" y="56197"/>
                    </a:lnTo>
                    <a:lnTo>
                      <a:pt x="74295" y="60007"/>
                    </a:lnTo>
                    <a:lnTo>
                      <a:pt x="70485" y="74295"/>
                    </a:lnTo>
                    <a:lnTo>
                      <a:pt x="63817" y="80963"/>
                    </a:lnTo>
                    <a:lnTo>
                      <a:pt x="52388" y="84772"/>
                    </a:lnTo>
                    <a:lnTo>
                      <a:pt x="52388" y="74295"/>
                    </a:lnTo>
                    <a:lnTo>
                      <a:pt x="49530" y="63722"/>
                    </a:lnTo>
                    <a:lnTo>
                      <a:pt x="39053" y="63722"/>
                    </a:lnTo>
                    <a:lnTo>
                      <a:pt x="35242" y="56197"/>
                    </a:lnTo>
                    <a:lnTo>
                      <a:pt x="10478" y="45720"/>
                    </a:lnTo>
                    <a:lnTo>
                      <a:pt x="0" y="38957"/>
                    </a:lnTo>
                    <a:lnTo>
                      <a:pt x="20955" y="1038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D4465E8C-035F-1A8D-B5D0-DE7B8856C630}"/>
                  </a:ext>
                </a:extLst>
              </p:cNvPr>
              <p:cNvSpPr/>
              <p:nvPr/>
            </p:nvSpPr>
            <p:spPr>
              <a:xfrm>
                <a:off x="3552163" y="4108619"/>
                <a:ext cx="165269" cy="83102"/>
              </a:xfrm>
              <a:custGeom>
                <a:avLst/>
                <a:gdLst>
                  <a:gd name="connsiteX0" fmla="*/ 20955 w 168592"/>
                  <a:gd name="connsiteY0" fmla="*/ 10382 h 84772"/>
                  <a:gd name="connsiteX1" fmla="*/ 45720 w 168592"/>
                  <a:gd name="connsiteY1" fmla="*/ 3810 h 84772"/>
                  <a:gd name="connsiteX2" fmla="*/ 60008 w 168592"/>
                  <a:gd name="connsiteY2" fmla="*/ 3810 h 84772"/>
                  <a:gd name="connsiteX3" fmla="*/ 74295 w 168592"/>
                  <a:gd name="connsiteY3" fmla="*/ 7620 h 84772"/>
                  <a:gd name="connsiteX4" fmla="*/ 91440 w 168592"/>
                  <a:gd name="connsiteY4" fmla="*/ 3810 h 84772"/>
                  <a:gd name="connsiteX5" fmla="*/ 112395 w 168592"/>
                  <a:gd name="connsiteY5" fmla="*/ 0 h 84772"/>
                  <a:gd name="connsiteX6" fmla="*/ 130492 w 168592"/>
                  <a:gd name="connsiteY6" fmla="*/ 0 h 84772"/>
                  <a:gd name="connsiteX7" fmla="*/ 140970 w 168592"/>
                  <a:gd name="connsiteY7" fmla="*/ 0 h 84772"/>
                  <a:gd name="connsiteX8" fmla="*/ 147638 w 168592"/>
                  <a:gd name="connsiteY8" fmla="*/ 7620 h 84772"/>
                  <a:gd name="connsiteX9" fmla="*/ 168592 w 168592"/>
                  <a:gd name="connsiteY9" fmla="*/ 20860 h 84772"/>
                  <a:gd name="connsiteX10" fmla="*/ 165735 w 168592"/>
                  <a:gd name="connsiteY10" fmla="*/ 28575 h 84772"/>
                  <a:gd name="connsiteX11" fmla="*/ 155258 w 168592"/>
                  <a:gd name="connsiteY11" fmla="*/ 31432 h 84772"/>
                  <a:gd name="connsiteX12" fmla="*/ 140970 w 168592"/>
                  <a:gd name="connsiteY12" fmla="*/ 31432 h 84772"/>
                  <a:gd name="connsiteX13" fmla="*/ 122872 w 168592"/>
                  <a:gd name="connsiteY13" fmla="*/ 31432 h 84772"/>
                  <a:gd name="connsiteX14" fmla="*/ 112395 w 168592"/>
                  <a:gd name="connsiteY14" fmla="*/ 38957 h 84772"/>
                  <a:gd name="connsiteX15" fmla="*/ 99060 w 168592"/>
                  <a:gd name="connsiteY15" fmla="*/ 53245 h 84772"/>
                  <a:gd name="connsiteX16" fmla="*/ 84772 w 168592"/>
                  <a:gd name="connsiteY16" fmla="*/ 56197 h 84772"/>
                  <a:gd name="connsiteX17" fmla="*/ 74295 w 168592"/>
                  <a:gd name="connsiteY17" fmla="*/ 60007 h 84772"/>
                  <a:gd name="connsiteX18" fmla="*/ 70485 w 168592"/>
                  <a:gd name="connsiteY18" fmla="*/ 74295 h 84772"/>
                  <a:gd name="connsiteX19" fmla="*/ 63817 w 168592"/>
                  <a:gd name="connsiteY19" fmla="*/ 80963 h 84772"/>
                  <a:gd name="connsiteX20" fmla="*/ 52388 w 168592"/>
                  <a:gd name="connsiteY20" fmla="*/ 84772 h 84772"/>
                  <a:gd name="connsiteX21" fmla="*/ 52388 w 168592"/>
                  <a:gd name="connsiteY21" fmla="*/ 74295 h 84772"/>
                  <a:gd name="connsiteX22" fmla="*/ 49530 w 168592"/>
                  <a:gd name="connsiteY22" fmla="*/ 63722 h 84772"/>
                  <a:gd name="connsiteX23" fmla="*/ 39053 w 168592"/>
                  <a:gd name="connsiteY23" fmla="*/ 63722 h 84772"/>
                  <a:gd name="connsiteX24" fmla="*/ 35242 w 168592"/>
                  <a:gd name="connsiteY24" fmla="*/ 56197 h 84772"/>
                  <a:gd name="connsiteX25" fmla="*/ 10478 w 168592"/>
                  <a:gd name="connsiteY25" fmla="*/ 45720 h 84772"/>
                  <a:gd name="connsiteX26" fmla="*/ 0 w 168592"/>
                  <a:gd name="connsiteY26" fmla="*/ 38957 h 84772"/>
                  <a:gd name="connsiteX27" fmla="*/ 20955 w 168592"/>
                  <a:gd name="connsiteY27" fmla="*/ 10382 h 847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68592" h="84772">
                    <a:moveTo>
                      <a:pt x="20955" y="10382"/>
                    </a:moveTo>
                    <a:lnTo>
                      <a:pt x="45720" y="3810"/>
                    </a:lnTo>
                    <a:lnTo>
                      <a:pt x="60008" y="3810"/>
                    </a:lnTo>
                    <a:lnTo>
                      <a:pt x="74295" y="7620"/>
                    </a:lnTo>
                    <a:lnTo>
                      <a:pt x="91440" y="3810"/>
                    </a:lnTo>
                    <a:lnTo>
                      <a:pt x="112395" y="0"/>
                    </a:lnTo>
                    <a:lnTo>
                      <a:pt x="130492" y="0"/>
                    </a:lnTo>
                    <a:lnTo>
                      <a:pt x="140970" y="0"/>
                    </a:lnTo>
                    <a:lnTo>
                      <a:pt x="147638" y="7620"/>
                    </a:lnTo>
                    <a:lnTo>
                      <a:pt x="168592" y="20860"/>
                    </a:lnTo>
                    <a:lnTo>
                      <a:pt x="165735" y="28575"/>
                    </a:lnTo>
                    <a:lnTo>
                      <a:pt x="155258" y="31432"/>
                    </a:lnTo>
                    <a:lnTo>
                      <a:pt x="140970" y="31432"/>
                    </a:lnTo>
                    <a:lnTo>
                      <a:pt x="122872" y="31432"/>
                    </a:lnTo>
                    <a:lnTo>
                      <a:pt x="112395" y="38957"/>
                    </a:lnTo>
                    <a:lnTo>
                      <a:pt x="99060" y="53245"/>
                    </a:lnTo>
                    <a:lnTo>
                      <a:pt x="84772" y="56197"/>
                    </a:lnTo>
                    <a:lnTo>
                      <a:pt x="74295" y="60007"/>
                    </a:lnTo>
                    <a:lnTo>
                      <a:pt x="70485" y="74295"/>
                    </a:lnTo>
                    <a:lnTo>
                      <a:pt x="63817" y="80963"/>
                    </a:lnTo>
                    <a:lnTo>
                      <a:pt x="52388" y="84772"/>
                    </a:lnTo>
                    <a:lnTo>
                      <a:pt x="52388" y="74295"/>
                    </a:lnTo>
                    <a:lnTo>
                      <a:pt x="49530" y="63722"/>
                    </a:lnTo>
                    <a:lnTo>
                      <a:pt x="39053" y="63722"/>
                    </a:lnTo>
                    <a:lnTo>
                      <a:pt x="35242" y="56197"/>
                    </a:lnTo>
                    <a:lnTo>
                      <a:pt x="10478" y="45720"/>
                    </a:lnTo>
                    <a:lnTo>
                      <a:pt x="0" y="38957"/>
                    </a:lnTo>
                    <a:lnTo>
                      <a:pt x="20955" y="1038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F7233860-2753-3C78-879A-1C5F2A8A35F2}"/>
                  </a:ext>
                </a:extLst>
              </p:cNvPr>
              <p:cNvSpPr/>
              <p:nvPr/>
            </p:nvSpPr>
            <p:spPr>
              <a:xfrm>
                <a:off x="3603518" y="4136631"/>
                <a:ext cx="111113" cy="113821"/>
              </a:xfrm>
              <a:custGeom>
                <a:avLst/>
                <a:gdLst>
                  <a:gd name="connsiteX0" fmla="*/ 95250 w 113347"/>
                  <a:gd name="connsiteY0" fmla="*/ 116110 h 116109"/>
                  <a:gd name="connsiteX1" fmla="*/ 78105 w 113347"/>
                  <a:gd name="connsiteY1" fmla="*/ 108585 h 116109"/>
                  <a:gd name="connsiteX2" fmla="*/ 46672 w 113347"/>
                  <a:gd name="connsiteY2" fmla="*/ 105632 h 116109"/>
                  <a:gd name="connsiteX3" fmla="*/ 24765 w 113347"/>
                  <a:gd name="connsiteY3" fmla="*/ 87535 h 116109"/>
                  <a:gd name="connsiteX4" fmla="*/ 11430 w 113347"/>
                  <a:gd name="connsiteY4" fmla="*/ 73247 h 116109"/>
                  <a:gd name="connsiteX5" fmla="*/ 0 w 113347"/>
                  <a:gd name="connsiteY5" fmla="*/ 56197 h 116109"/>
                  <a:gd name="connsiteX6" fmla="*/ 18097 w 113347"/>
                  <a:gd name="connsiteY6" fmla="*/ 45720 h 116109"/>
                  <a:gd name="connsiteX7" fmla="*/ 21908 w 113347"/>
                  <a:gd name="connsiteY7" fmla="*/ 31432 h 116109"/>
                  <a:gd name="connsiteX8" fmla="*/ 46672 w 113347"/>
                  <a:gd name="connsiteY8" fmla="*/ 24670 h 116109"/>
                  <a:gd name="connsiteX9" fmla="*/ 60008 w 113347"/>
                  <a:gd name="connsiteY9" fmla="*/ 10382 h 116109"/>
                  <a:gd name="connsiteX10" fmla="*/ 70485 w 113347"/>
                  <a:gd name="connsiteY10" fmla="*/ 2857 h 116109"/>
                  <a:gd name="connsiteX11" fmla="*/ 88583 w 113347"/>
                  <a:gd name="connsiteY11" fmla="*/ 2857 h 116109"/>
                  <a:gd name="connsiteX12" fmla="*/ 102870 w 113347"/>
                  <a:gd name="connsiteY12" fmla="*/ 2857 h 116109"/>
                  <a:gd name="connsiteX13" fmla="*/ 113347 w 113347"/>
                  <a:gd name="connsiteY13" fmla="*/ 0 h 116109"/>
                  <a:gd name="connsiteX14" fmla="*/ 113347 w 113347"/>
                  <a:gd name="connsiteY14" fmla="*/ 10382 h 116109"/>
                  <a:gd name="connsiteX15" fmla="*/ 109538 w 113347"/>
                  <a:gd name="connsiteY15" fmla="*/ 31432 h 116109"/>
                  <a:gd name="connsiteX16" fmla="*/ 102870 w 113347"/>
                  <a:gd name="connsiteY16" fmla="*/ 52388 h 116109"/>
                  <a:gd name="connsiteX17" fmla="*/ 99060 w 113347"/>
                  <a:gd name="connsiteY17" fmla="*/ 73247 h 116109"/>
                  <a:gd name="connsiteX18" fmla="*/ 99060 w 113347"/>
                  <a:gd name="connsiteY18" fmla="*/ 91345 h 116109"/>
                  <a:gd name="connsiteX19" fmla="*/ 95250 w 113347"/>
                  <a:gd name="connsiteY19" fmla="*/ 116110 h 116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347" h="116109">
                    <a:moveTo>
                      <a:pt x="95250" y="116110"/>
                    </a:moveTo>
                    <a:lnTo>
                      <a:pt x="78105" y="108585"/>
                    </a:lnTo>
                    <a:lnTo>
                      <a:pt x="46672" y="105632"/>
                    </a:lnTo>
                    <a:lnTo>
                      <a:pt x="24765" y="87535"/>
                    </a:lnTo>
                    <a:lnTo>
                      <a:pt x="11430" y="73247"/>
                    </a:lnTo>
                    <a:lnTo>
                      <a:pt x="0" y="56197"/>
                    </a:lnTo>
                    <a:lnTo>
                      <a:pt x="18097" y="45720"/>
                    </a:lnTo>
                    <a:lnTo>
                      <a:pt x="21908" y="31432"/>
                    </a:lnTo>
                    <a:lnTo>
                      <a:pt x="46672" y="24670"/>
                    </a:lnTo>
                    <a:lnTo>
                      <a:pt x="60008" y="10382"/>
                    </a:lnTo>
                    <a:lnTo>
                      <a:pt x="70485" y="2857"/>
                    </a:lnTo>
                    <a:lnTo>
                      <a:pt x="88583" y="2857"/>
                    </a:lnTo>
                    <a:lnTo>
                      <a:pt x="102870" y="2857"/>
                    </a:lnTo>
                    <a:lnTo>
                      <a:pt x="113347" y="0"/>
                    </a:lnTo>
                    <a:lnTo>
                      <a:pt x="113347" y="10382"/>
                    </a:lnTo>
                    <a:lnTo>
                      <a:pt x="109538" y="31432"/>
                    </a:lnTo>
                    <a:lnTo>
                      <a:pt x="102870" y="52388"/>
                    </a:lnTo>
                    <a:lnTo>
                      <a:pt x="99060" y="73247"/>
                    </a:lnTo>
                    <a:lnTo>
                      <a:pt x="99060" y="91345"/>
                    </a:lnTo>
                    <a:lnTo>
                      <a:pt x="95250" y="1161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61BA97BA-FE35-D2B1-0C6E-4C8A68050FD2}"/>
                  </a:ext>
                </a:extLst>
              </p:cNvPr>
              <p:cNvSpPr/>
              <p:nvPr/>
            </p:nvSpPr>
            <p:spPr>
              <a:xfrm>
                <a:off x="3603518" y="4136631"/>
                <a:ext cx="111113" cy="113821"/>
              </a:xfrm>
              <a:custGeom>
                <a:avLst/>
                <a:gdLst>
                  <a:gd name="connsiteX0" fmla="*/ 95250 w 113347"/>
                  <a:gd name="connsiteY0" fmla="*/ 116110 h 116109"/>
                  <a:gd name="connsiteX1" fmla="*/ 78105 w 113347"/>
                  <a:gd name="connsiteY1" fmla="*/ 108585 h 116109"/>
                  <a:gd name="connsiteX2" fmla="*/ 46672 w 113347"/>
                  <a:gd name="connsiteY2" fmla="*/ 105632 h 116109"/>
                  <a:gd name="connsiteX3" fmla="*/ 24765 w 113347"/>
                  <a:gd name="connsiteY3" fmla="*/ 87535 h 116109"/>
                  <a:gd name="connsiteX4" fmla="*/ 11430 w 113347"/>
                  <a:gd name="connsiteY4" fmla="*/ 73247 h 116109"/>
                  <a:gd name="connsiteX5" fmla="*/ 0 w 113347"/>
                  <a:gd name="connsiteY5" fmla="*/ 56197 h 116109"/>
                  <a:gd name="connsiteX6" fmla="*/ 18097 w 113347"/>
                  <a:gd name="connsiteY6" fmla="*/ 45720 h 116109"/>
                  <a:gd name="connsiteX7" fmla="*/ 21908 w 113347"/>
                  <a:gd name="connsiteY7" fmla="*/ 31432 h 116109"/>
                  <a:gd name="connsiteX8" fmla="*/ 46672 w 113347"/>
                  <a:gd name="connsiteY8" fmla="*/ 24670 h 116109"/>
                  <a:gd name="connsiteX9" fmla="*/ 60008 w 113347"/>
                  <a:gd name="connsiteY9" fmla="*/ 10382 h 116109"/>
                  <a:gd name="connsiteX10" fmla="*/ 70485 w 113347"/>
                  <a:gd name="connsiteY10" fmla="*/ 2857 h 116109"/>
                  <a:gd name="connsiteX11" fmla="*/ 88583 w 113347"/>
                  <a:gd name="connsiteY11" fmla="*/ 2857 h 116109"/>
                  <a:gd name="connsiteX12" fmla="*/ 102870 w 113347"/>
                  <a:gd name="connsiteY12" fmla="*/ 2857 h 116109"/>
                  <a:gd name="connsiteX13" fmla="*/ 113347 w 113347"/>
                  <a:gd name="connsiteY13" fmla="*/ 0 h 116109"/>
                  <a:gd name="connsiteX14" fmla="*/ 113347 w 113347"/>
                  <a:gd name="connsiteY14" fmla="*/ 10382 h 116109"/>
                  <a:gd name="connsiteX15" fmla="*/ 109538 w 113347"/>
                  <a:gd name="connsiteY15" fmla="*/ 31432 h 116109"/>
                  <a:gd name="connsiteX16" fmla="*/ 102870 w 113347"/>
                  <a:gd name="connsiteY16" fmla="*/ 52388 h 116109"/>
                  <a:gd name="connsiteX17" fmla="*/ 99060 w 113347"/>
                  <a:gd name="connsiteY17" fmla="*/ 73247 h 116109"/>
                  <a:gd name="connsiteX18" fmla="*/ 99060 w 113347"/>
                  <a:gd name="connsiteY18" fmla="*/ 91345 h 116109"/>
                  <a:gd name="connsiteX19" fmla="*/ 95250 w 113347"/>
                  <a:gd name="connsiteY19" fmla="*/ 116110 h 1161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13347" h="116109">
                    <a:moveTo>
                      <a:pt x="95250" y="116110"/>
                    </a:moveTo>
                    <a:lnTo>
                      <a:pt x="78105" y="108585"/>
                    </a:lnTo>
                    <a:lnTo>
                      <a:pt x="46672" y="105632"/>
                    </a:lnTo>
                    <a:lnTo>
                      <a:pt x="24765" y="87535"/>
                    </a:lnTo>
                    <a:lnTo>
                      <a:pt x="11430" y="73247"/>
                    </a:lnTo>
                    <a:lnTo>
                      <a:pt x="0" y="56197"/>
                    </a:lnTo>
                    <a:lnTo>
                      <a:pt x="18097" y="45720"/>
                    </a:lnTo>
                    <a:lnTo>
                      <a:pt x="21908" y="31432"/>
                    </a:lnTo>
                    <a:lnTo>
                      <a:pt x="46672" y="24670"/>
                    </a:lnTo>
                    <a:lnTo>
                      <a:pt x="60008" y="10382"/>
                    </a:lnTo>
                    <a:lnTo>
                      <a:pt x="70485" y="2857"/>
                    </a:lnTo>
                    <a:lnTo>
                      <a:pt x="88583" y="2857"/>
                    </a:lnTo>
                    <a:lnTo>
                      <a:pt x="102870" y="2857"/>
                    </a:lnTo>
                    <a:lnTo>
                      <a:pt x="113347" y="0"/>
                    </a:lnTo>
                    <a:lnTo>
                      <a:pt x="113347" y="10382"/>
                    </a:lnTo>
                    <a:lnTo>
                      <a:pt x="109538" y="31432"/>
                    </a:lnTo>
                    <a:lnTo>
                      <a:pt x="102870" y="52388"/>
                    </a:lnTo>
                    <a:lnTo>
                      <a:pt x="99060" y="73247"/>
                    </a:lnTo>
                    <a:lnTo>
                      <a:pt x="99060" y="91345"/>
                    </a:lnTo>
                    <a:lnTo>
                      <a:pt x="95250" y="1161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6A3F1B00-729E-587F-6ED6-02D4940DA1B8}"/>
                  </a:ext>
                </a:extLst>
              </p:cNvPr>
              <p:cNvSpPr/>
              <p:nvPr/>
            </p:nvSpPr>
            <p:spPr>
              <a:xfrm>
                <a:off x="3645536" y="4240181"/>
                <a:ext cx="85902" cy="75632"/>
              </a:xfrm>
              <a:custGeom>
                <a:avLst/>
                <a:gdLst>
                  <a:gd name="connsiteX0" fmla="*/ 31433 w 87629"/>
                  <a:gd name="connsiteY0" fmla="*/ 35338 h 77152"/>
                  <a:gd name="connsiteX1" fmla="*/ 20955 w 87629"/>
                  <a:gd name="connsiteY1" fmla="*/ 27718 h 77152"/>
                  <a:gd name="connsiteX2" fmla="*/ 17145 w 87629"/>
                  <a:gd name="connsiteY2" fmla="*/ 39053 h 77152"/>
                  <a:gd name="connsiteX3" fmla="*/ 14288 w 87629"/>
                  <a:gd name="connsiteY3" fmla="*/ 42005 h 77152"/>
                  <a:gd name="connsiteX4" fmla="*/ 3810 w 87629"/>
                  <a:gd name="connsiteY4" fmla="*/ 35338 h 77152"/>
                  <a:gd name="connsiteX5" fmla="*/ 0 w 87629"/>
                  <a:gd name="connsiteY5" fmla="*/ 27718 h 77152"/>
                  <a:gd name="connsiteX6" fmla="*/ 0 w 87629"/>
                  <a:gd name="connsiteY6" fmla="*/ 17240 h 77152"/>
                  <a:gd name="connsiteX7" fmla="*/ 3810 w 87629"/>
                  <a:gd name="connsiteY7" fmla="*/ 10478 h 77152"/>
                  <a:gd name="connsiteX8" fmla="*/ 3810 w 87629"/>
                  <a:gd name="connsiteY8" fmla="*/ 0 h 77152"/>
                  <a:gd name="connsiteX9" fmla="*/ 31433 w 87629"/>
                  <a:gd name="connsiteY9" fmla="*/ 2953 h 77152"/>
                  <a:gd name="connsiteX10" fmla="*/ 52388 w 87629"/>
                  <a:gd name="connsiteY10" fmla="*/ 10478 h 77152"/>
                  <a:gd name="connsiteX11" fmla="*/ 60008 w 87629"/>
                  <a:gd name="connsiteY11" fmla="*/ 17240 h 77152"/>
                  <a:gd name="connsiteX12" fmla="*/ 73342 w 87629"/>
                  <a:gd name="connsiteY12" fmla="*/ 31528 h 77152"/>
                  <a:gd name="connsiteX13" fmla="*/ 84772 w 87629"/>
                  <a:gd name="connsiteY13" fmla="*/ 42005 h 77152"/>
                  <a:gd name="connsiteX14" fmla="*/ 87630 w 87629"/>
                  <a:gd name="connsiteY14" fmla="*/ 49625 h 77152"/>
                  <a:gd name="connsiteX15" fmla="*/ 80963 w 87629"/>
                  <a:gd name="connsiteY15" fmla="*/ 52388 h 77152"/>
                  <a:gd name="connsiteX16" fmla="*/ 77153 w 87629"/>
                  <a:gd name="connsiteY16" fmla="*/ 62865 h 77152"/>
                  <a:gd name="connsiteX17" fmla="*/ 73342 w 87629"/>
                  <a:gd name="connsiteY17" fmla="*/ 74390 h 77152"/>
                  <a:gd name="connsiteX18" fmla="*/ 66675 w 87629"/>
                  <a:gd name="connsiteY18" fmla="*/ 77153 h 77152"/>
                  <a:gd name="connsiteX19" fmla="*/ 60008 w 87629"/>
                  <a:gd name="connsiteY19" fmla="*/ 56293 h 77152"/>
                  <a:gd name="connsiteX20" fmla="*/ 49530 w 87629"/>
                  <a:gd name="connsiteY20" fmla="*/ 45815 h 77152"/>
                  <a:gd name="connsiteX21" fmla="*/ 41910 w 87629"/>
                  <a:gd name="connsiteY21" fmla="*/ 42005 h 77152"/>
                  <a:gd name="connsiteX22" fmla="*/ 31433 w 87629"/>
                  <a:gd name="connsiteY22" fmla="*/ 35338 h 77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7629" h="77152">
                    <a:moveTo>
                      <a:pt x="31433" y="35338"/>
                    </a:moveTo>
                    <a:lnTo>
                      <a:pt x="20955" y="27718"/>
                    </a:lnTo>
                    <a:lnTo>
                      <a:pt x="17145" y="39053"/>
                    </a:lnTo>
                    <a:lnTo>
                      <a:pt x="14288" y="42005"/>
                    </a:lnTo>
                    <a:lnTo>
                      <a:pt x="3810" y="35338"/>
                    </a:lnTo>
                    <a:lnTo>
                      <a:pt x="0" y="27718"/>
                    </a:lnTo>
                    <a:lnTo>
                      <a:pt x="0" y="17240"/>
                    </a:lnTo>
                    <a:lnTo>
                      <a:pt x="3810" y="10478"/>
                    </a:lnTo>
                    <a:lnTo>
                      <a:pt x="3810" y="0"/>
                    </a:lnTo>
                    <a:lnTo>
                      <a:pt x="31433" y="2953"/>
                    </a:lnTo>
                    <a:lnTo>
                      <a:pt x="52388" y="10478"/>
                    </a:lnTo>
                    <a:lnTo>
                      <a:pt x="60008" y="17240"/>
                    </a:lnTo>
                    <a:lnTo>
                      <a:pt x="73342" y="31528"/>
                    </a:lnTo>
                    <a:lnTo>
                      <a:pt x="84772" y="42005"/>
                    </a:lnTo>
                    <a:lnTo>
                      <a:pt x="87630" y="49625"/>
                    </a:lnTo>
                    <a:lnTo>
                      <a:pt x="80963" y="52388"/>
                    </a:lnTo>
                    <a:lnTo>
                      <a:pt x="77153" y="62865"/>
                    </a:lnTo>
                    <a:lnTo>
                      <a:pt x="73342" y="74390"/>
                    </a:lnTo>
                    <a:lnTo>
                      <a:pt x="66675" y="77153"/>
                    </a:lnTo>
                    <a:lnTo>
                      <a:pt x="60008" y="56293"/>
                    </a:lnTo>
                    <a:lnTo>
                      <a:pt x="49530" y="45815"/>
                    </a:lnTo>
                    <a:lnTo>
                      <a:pt x="41910" y="42005"/>
                    </a:lnTo>
                    <a:lnTo>
                      <a:pt x="31433" y="353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22EC2F2F-03B7-C0B0-309F-7E79021EB962}"/>
                  </a:ext>
                </a:extLst>
              </p:cNvPr>
              <p:cNvSpPr/>
              <p:nvPr/>
            </p:nvSpPr>
            <p:spPr>
              <a:xfrm>
                <a:off x="3645536" y="4240181"/>
                <a:ext cx="85902" cy="75632"/>
              </a:xfrm>
              <a:custGeom>
                <a:avLst/>
                <a:gdLst>
                  <a:gd name="connsiteX0" fmla="*/ 31433 w 87629"/>
                  <a:gd name="connsiteY0" fmla="*/ 35338 h 77152"/>
                  <a:gd name="connsiteX1" fmla="*/ 20955 w 87629"/>
                  <a:gd name="connsiteY1" fmla="*/ 27718 h 77152"/>
                  <a:gd name="connsiteX2" fmla="*/ 17145 w 87629"/>
                  <a:gd name="connsiteY2" fmla="*/ 39053 h 77152"/>
                  <a:gd name="connsiteX3" fmla="*/ 14288 w 87629"/>
                  <a:gd name="connsiteY3" fmla="*/ 42005 h 77152"/>
                  <a:gd name="connsiteX4" fmla="*/ 3810 w 87629"/>
                  <a:gd name="connsiteY4" fmla="*/ 35338 h 77152"/>
                  <a:gd name="connsiteX5" fmla="*/ 0 w 87629"/>
                  <a:gd name="connsiteY5" fmla="*/ 27718 h 77152"/>
                  <a:gd name="connsiteX6" fmla="*/ 0 w 87629"/>
                  <a:gd name="connsiteY6" fmla="*/ 17240 h 77152"/>
                  <a:gd name="connsiteX7" fmla="*/ 3810 w 87629"/>
                  <a:gd name="connsiteY7" fmla="*/ 10478 h 77152"/>
                  <a:gd name="connsiteX8" fmla="*/ 3810 w 87629"/>
                  <a:gd name="connsiteY8" fmla="*/ 0 h 77152"/>
                  <a:gd name="connsiteX9" fmla="*/ 31433 w 87629"/>
                  <a:gd name="connsiteY9" fmla="*/ 2953 h 77152"/>
                  <a:gd name="connsiteX10" fmla="*/ 52388 w 87629"/>
                  <a:gd name="connsiteY10" fmla="*/ 10478 h 77152"/>
                  <a:gd name="connsiteX11" fmla="*/ 60008 w 87629"/>
                  <a:gd name="connsiteY11" fmla="*/ 17240 h 77152"/>
                  <a:gd name="connsiteX12" fmla="*/ 73342 w 87629"/>
                  <a:gd name="connsiteY12" fmla="*/ 31528 h 77152"/>
                  <a:gd name="connsiteX13" fmla="*/ 84772 w 87629"/>
                  <a:gd name="connsiteY13" fmla="*/ 42005 h 77152"/>
                  <a:gd name="connsiteX14" fmla="*/ 87630 w 87629"/>
                  <a:gd name="connsiteY14" fmla="*/ 49625 h 77152"/>
                  <a:gd name="connsiteX15" fmla="*/ 80963 w 87629"/>
                  <a:gd name="connsiteY15" fmla="*/ 52388 h 77152"/>
                  <a:gd name="connsiteX16" fmla="*/ 77153 w 87629"/>
                  <a:gd name="connsiteY16" fmla="*/ 62865 h 77152"/>
                  <a:gd name="connsiteX17" fmla="*/ 73342 w 87629"/>
                  <a:gd name="connsiteY17" fmla="*/ 74390 h 77152"/>
                  <a:gd name="connsiteX18" fmla="*/ 66675 w 87629"/>
                  <a:gd name="connsiteY18" fmla="*/ 77153 h 77152"/>
                  <a:gd name="connsiteX19" fmla="*/ 60008 w 87629"/>
                  <a:gd name="connsiteY19" fmla="*/ 56293 h 77152"/>
                  <a:gd name="connsiteX20" fmla="*/ 49530 w 87629"/>
                  <a:gd name="connsiteY20" fmla="*/ 45815 h 77152"/>
                  <a:gd name="connsiteX21" fmla="*/ 41910 w 87629"/>
                  <a:gd name="connsiteY21" fmla="*/ 42005 h 77152"/>
                  <a:gd name="connsiteX22" fmla="*/ 31433 w 87629"/>
                  <a:gd name="connsiteY22" fmla="*/ 35338 h 77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87629" h="77152">
                    <a:moveTo>
                      <a:pt x="31433" y="35338"/>
                    </a:moveTo>
                    <a:lnTo>
                      <a:pt x="20955" y="27718"/>
                    </a:lnTo>
                    <a:lnTo>
                      <a:pt x="17145" y="39053"/>
                    </a:lnTo>
                    <a:lnTo>
                      <a:pt x="14288" y="42005"/>
                    </a:lnTo>
                    <a:lnTo>
                      <a:pt x="3810" y="35338"/>
                    </a:lnTo>
                    <a:lnTo>
                      <a:pt x="0" y="27718"/>
                    </a:lnTo>
                    <a:lnTo>
                      <a:pt x="0" y="17240"/>
                    </a:lnTo>
                    <a:lnTo>
                      <a:pt x="3810" y="10478"/>
                    </a:lnTo>
                    <a:lnTo>
                      <a:pt x="3810" y="0"/>
                    </a:lnTo>
                    <a:lnTo>
                      <a:pt x="31433" y="2953"/>
                    </a:lnTo>
                    <a:lnTo>
                      <a:pt x="52388" y="10478"/>
                    </a:lnTo>
                    <a:lnTo>
                      <a:pt x="60008" y="17240"/>
                    </a:lnTo>
                    <a:lnTo>
                      <a:pt x="73342" y="31528"/>
                    </a:lnTo>
                    <a:lnTo>
                      <a:pt x="84772" y="42005"/>
                    </a:lnTo>
                    <a:lnTo>
                      <a:pt x="87630" y="49625"/>
                    </a:lnTo>
                    <a:lnTo>
                      <a:pt x="80963" y="52388"/>
                    </a:lnTo>
                    <a:lnTo>
                      <a:pt x="77153" y="62865"/>
                    </a:lnTo>
                    <a:lnTo>
                      <a:pt x="73342" y="74390"/>
                    </a:lnTo>
                    <a:lnTo>
                      <a:pt x="66675" y="77153"/>
                    </a:lnTo>
                    <a:lnTo>
                      <a:pt x="60008" y="56293"/>
                    </a:lnTo>
                    <a:lnTo>
                      <a:pt x="49530" y="45815"/>
                    </a:lnTo>
                    <a:lnTo>
                      <a:pt x="41910" y="42005"/>
                    </a:lnTo>
                    <a:lnTo>
                      <a:pt x="31433" y="353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BA5FF720-9A04-920A-373E-20F0FDC07E10}"/>
                  </a:ext>
                </a:extLst>
              </p:cNvPr>
              <p:cNvSpPr/>
              <p:nvPr/>
            </p:nvSpPr>
            <p:spPr>
              <a:xfrm>
                <a:off x="3710896" y="4285094"/>
                <a:ext cx="176473" cy="65361"/>
              </a:xfrm>
              <a:custGeom>
                <a:avLst/>
                <a:gdLst>
                  <a:gd name="connsiteX0" fmla="*/ 155258 w 180022"/>
                  <a:gd name="connsiteY0" fmla="*/ 59912 h 66675"/>
                  <a:gd name="connsiteX1" fmla="*/ 144780 w 180022"/>
                  <a:gd name="connsiteY1" fmla="*/ 56197 h 66675"/>
                  <a:gd name="connsiteX2" fmla="*/ 140970 w 180022"/>
                  <a:gd name="connsiteY2" fmla="*/ 49435 h 66675"/>
                  <a:gd name="connsiteX3" fmla="*/ 140970 w 180022"/>
                  <a:gd name="connsiteY3" fmla="*/ 39053 h 66675"/>
                  <a:gd name="connsiteX4" fmla="*/ 140970 w 180022"/>
                  <a:gd name="connsiteY4" fmla="*/ 28575 h 66675"/>
                  <a:gd name="connsiteX5" fmla="*/ 137160 w 180022"/>
                  <a:gd name="connsiteY5" fmla="*/ 20860 h 66675"/>
                  <a:gd name="connsiteX6" fmla="*/ 126683 w 180022"/>
                  <a:gd name="connsiteY6" fmla="*/ 17050 h 66675"/>
                  <a:gd name="connsiteX7" fmla="*/ 116205 w 180022"/>
                  <a:gd name="connsiteY7" fmla="*/ 17050 h 66675"/>
                  <a:gd name="connsiteX8" fmla="*/ 109537 w 180022"/>
                  <a:gd name="connsiteY8" fmla="*/ 20860 h 66675"/>
                  <a:gd name="connsiteX9" fmla="*/ 105727 w 180022"/>
                  <a:gd name="connsiteY9" fmla="*/ 28575 h 66675"/>
                  <a:gd name="connsiteX10" fmla="*/ 91440 w 180022"/>
                  <a:gd name="connsiteY10" fmla="*/ 31337 h 66675"/>
                  <a:gd name="connsiteX11" fmla="*/ 84772 w 180022"/>
                  <a:gd name="connsiteY11" fmla="*/ 39053 h 66675"/>
                  <a:gd name="connsiteX12" fmla="*/ 87630 w 180022"/>
                  <a:gd name="connsiteY12" fmla="*/ 45625 h 66675"/>
                  <a:gd name="connsiteX13" fmla="*/ 91440 w 180022"/>
                  <a:gd name="connsiteY13" fmla="*/ 52388 h 66675"/>
                  <a:gd name="connsiteX14" fmla="*/ 91440 w 180022"/>
                  <a:gd name="connsiteY14" fmla="*/ 63722 h 66675"/>
                  <a:gd name="connsiteX15" fmla="*/ 77153 w 180022"/>
                  <a:gd name="connsiteY15" fmla="*/ 66675 h 66675"/>
                  <a:gd name="connsiteX16" fmla="*/ 66675 w 180022"/>
                  <a:gd name="connsiteY16" fmla="*/ 56197 h 66675"/>
                  <a:gd name="connsiteX17" fmla="*/ 56197 w 180022"/>
                  <a:gd name="connsiteY17" fmla="*/ 45625 h 66675"/>
                  <a:gd name="connsiteX18" fmla="*/ 45720 w 180022"/>
                  <a:gd name="connsiteY18" fmla="*/ 39053 h 66675"/>
                  <a:gd name="connsiteX19" fmla="*/ 31433 w 180022"/>
                  <a:gd name="connsiteY19" fmla="*/ 35147 h 66675"/>
                  <a:gd name="connsiteX20" fmla="*/ 24765 w 180022"/>
                  <a:gd name="connsiteY20" fmla="*/ 31337 h 66675"/>
                  <a:gd name="connsiteX21" fmla="*/ 14288 w 180022"/>
                  <a:gd name="connsiteY21" fmla="*/ 35147 h 66675"/>
                  <a:gd name="connsiteX22" fmla="*/ 0 w 180022"/>
                  <a:gd name="connsiteY22" fmla="*/ 31337 h 66675"/>
                  <a:gd name="connsiteX23" fmla="*/ 6667 w 180022"/>
                  <a:gd name="connsiteY23" fmla="*/ 24765 h 66675"/>
                  <a:gd name="connsiteX24" fmla="*/ 10478 w 180022"/>
                  <a:gd name="connsiteY24" fmla="*/ 14288 h 66675"/>
                  <a:gd name="connsiteX25" fmla="*/ 20955 w 180022"/>
                  <a:gd name="connsiteY25" fmla="*/ 3810 h 66675"/>
                  <a:gd name="connsiteX26" fmla="*/ 31433 w 180022"/>
                  <a:gd name="connsiteY26" fmla="*/ 6572 h 66675"/>
                  <a:gd name="connsiteX27" fmla="*/ 39053 w 180022"/>
                  <a:gd name="connsiteY27" fmla="*/ 14288 h 66675"/>
                  <a:gd name="connsiteX28" fmla="*/ 53340 w 180022"/>
                  <a:gd name="connsiteY28" fmla="*/ 20860 h 66675"/>
                  <a:gd name="connsiteX29" fmla="*/ 66675 w 180022"/>
                  <a:gd name="connsiteY29" fmla="*/ 20860 h 66675"/>
                  <a:gd name="connsiteX30" fmla="*/ 77153 w 180022"/>
                  <a:gd name="connsiteY30" fmla="*/ 17050 h 66675"/>
                  <a:gd name="connsiteX31" fmla="*/ 91440 w 180022"/>
                  <a:gd name="connsiteY31" fmla="*/ 10478 h 66675"/>
                  <a:gd name="connsiteX32" fmla="*/ 109537 w 180022"/>
                  <a:gd name="connsiteY32" fmla="*/ 3810 h 66675"/>
                  <a:gd name="connsiteX33" fmla="*/ 126683 w 180022"/>
                  <a:gd name="connsiteY33" fmla="*/ 0 h 66675"/>
                  <a:gd name="connsiteX34" fmla="*/ 144780 w 180022"/>
                  <a:gd name="connsiteY34" fmla="*/ 3810 h 66675"/>
                  <a:gd name="connsiteX35" fmla="*/ 155258 w 180022"/>
                  <a:gd name="connsiteY35" fmla="*/ 10478 h 66675"/>
                  <a:gd name="connsiteX36" fmla="*/ 165735 w 180022"/>
                  <a:gd name="connsiteY36" fmla="*/ 17050 h 66675"/>
                  <a:gd name="connsiteX37" fmla="*/ 172402 w 180022"/>
                  <a:gd name="connsiteY37" fmla="*/ 28575 h 66675"/>
                  <a:gd name="connsiteX38" fmla="*/ 180023 w 180022"/>
                  <a:gd name="connsiteY38" fmla="*/ 35147 h 66675"/>
                  <a:gd name="connsiteX39" fmla="*/ 176212 w 180022"/>
                  <a:gd name="connsiteY39" fmla="*/ 45625 h 66675"/>
                  <a:gd name="connsiteX40" fmla="*/ 165735 w 180022"/>
                  <a:gd name="connsiteY40" fmla="*/ 52388 h 66675"/>
                  <a:gd name="connsiteX41" fmla="*/ 155258 w 180022"/>
                  <a:gd name="connsiteY41" fmla="*/ 59912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80022" h="66675">
                    <a:moveTo>
                      <a:pt x="155258" y="59912"/>
                    </a:moveTo>
                    <a:lnTo>
                      <a:pt x="144780" y="56197"/>
                    </a:lnTo>
                    <a:lnTo>
                      <a:pt x="140970" y="49435"/>
                    </a:lnTo>
                    <a:lnTo>
                      <a:pt x="140970" y="39053"/>
                    </a:lnTo>
                    <a:lnTo>
                      <a:pt x="140970" y="28575"/>
                    </a:lnTo>
                    <a:lnTo>
                      <a:pt x="137160" y="20860"/>
                    </a:lnTo>
                    <a:lnTo>
                      <a:pt x="126683" y="17050"/>
                    </a:lnTo>
                    <a:lnTo>
                      <a:pt x="116205" y="17050"/>
                    </a:lnTo>
                    <a:lnTo>
                      <a:pt x="109537" y="20860"/>
                    </a:lnTo>
                    <a:lnTo>
                      <a:pt x="105727" y="28575"/>
                    </a:lnTo>
                    <a:lnTo>
                      <a:pt x="91440" y="31337"/>
                    </a:lnTo>
                    <a:lnTo>
                      <a:pt x="84772" y="39053"/>
                    </a:lnTo>
                    <a:lnTo>
                      <a:pt x="87630" y="45625"/>
                    </a:lnTo>
                    <a:lnTo>
                      <a:pt x="91440" y="52388"/>
                    </a:lnTo>
                    <a:lnTo>
                      <a:pt x="91440" y="63722"/>
                    </a:lnTo>
                    <a:lnTo>
                      <a:pt x="77153" y="66675"/>
                    </a:lnTo>
                    <a:lnTo>
                      <a:pt x="66675" y="56197"/>
                    </a:lnTo>
                    <a:lnTo>
                      <a:pt x="56197" y="45625"/>
                    </a:lnTo>
                    <a:lnTo>
                      <a:pt x="45720" y="39053"/>
                    </a:lnTo>
                    <a:lnTo>
                      <a:pt x="31433" y="35147"/>
                    </a:lnTo>
                    <a:lnTo>
                      <a:pt x="24765" y="31337"/>
                    </a:lnTo>
                    <a:lnTo>
                      <a:pt x="14288" y="35147"/>
                    </a:lnTo>
                    <a:lnTo>
                      <a:pt x="0" y="31337"/>
                    </a:lnTo>
                    <a:lnTo>
                      <a:pt x="6667" y="24765"/>
                    </a:lnTo>
                    <a:lnTo>
                      <a:pt x="10478" y="14288"/>
                    </a:lnTo>
                    <a:lnTo>
                      <a:pt x="20955" y="3810"/>
                    </a:lnTo>
                    <a:lnTo>
                      <a:pt x="31433" y="6572"/>
                    </a:lnTo>
                    <a:lnTo>
                      <a:pt x="39053" y="14288"/>
                    </a:lnTo>
                    <a:lnTo>
                      <a:pt x="53340" y="20860"/>
                    </a:lnTo>
                    <a:lnTo>
                      <a:pt x="66675" y="20860"/>
                    </a:lnTo>
                    <a:lnTo>
                      <a:pt x="77153" y="17050"/>
                    </a:lnTo>
                    <a:lnTo>
                      <a:pt x="91440" y="10478"/>
                    </a:lnTo>
                    <a:lnTo>
                      <a:pt x="109537" y="3810"/>
                    </a:lnTo>
                    <a:lnTo>
                      <a:pt x="126683" y="0"/>
                    </a:lnTo>
                    <a:lnTo>
                      <a:pt x="144780" y="3810"/>
                    </a:lnTo>
                    <a:lnTo>
                      <a:pt x="155258" y="10478"/>
                    </a:lnTo>
                    <a:lnTo>
                      <a:pt x="165735" y="17050"/>
                    </a:lnTo>
                    <a:lnTo>
                      <a:pt x="172402" y="28575"/>
                    </a:lnTo>
                    <a:lnTo>
                      <a:pt x="180023" y="35147"/>
                    </a:lnTo>
                    <a:lnTo>
                      <a:pt x="176212" y="45625"/>
                    </a:lnTo>
                    <a:lnTo>
                      <a:pt x="165735" y="52388"/>
                    </a:lnTo>
                    <a:lnTo>
                      <a:pt x="155258" y="5991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F5FF4961-CC55-71F7-5497-C13B7AD1C8DE}"/>
                  </a:ext>
                </a:extLst>
              </p:cNvPr>
              <p:cNvSpPr/>
              <p:nvPr/>
            </p:nvSpPr>
            <p:spPr>
              <a:xfrm>
                <a:off x="3710896" y="4285094"/>
                <a:ext cx="176473" cy="65361"/>
              </a:xfrm>
              <a:custGeom>
                <a:avLst/>
                <a:gdLst>
                  <a:gd name="connsiteX0" fmla="*/ 155258 w 180022"/>
                  <a:gd name="connsiteY0" fmla="*/ 59912 h 66675"/>
                  <a:gd name="connsiteX1" fmla="*/ 144780 w 180022"/>
                  <a:gd name="connsiteY1" fmla="*/ 56197 h 66675"/>
                  <a:gd name="connsiteX2" fmla="*/ 140970 w 180022"/>
                  <a:gd name="connsiteY2" fmla="*/ 49435 h 66675"/>
                  <a:gd name="connsiteX3" fmla="*/ 140970 w 180022"/>
                  <a:gd name="connsiteY3" fmla="*/ 39053 h 66675"/>
                  <a:gd name="connsiteX4" fmla="*/ 140970 w 180022"/>
                  <a:gd name="connsiteY4" fmla="*/ 28575 h 66675"/>
                  <a:gd name="connsiteX5" fmla="*/ 137160 w 180022"/>
                  <a:gd name="connsiteY5" fmla="*/ 20860 h 66675"/>
                  <a:gd name="connsiteX6" fmla="*/ 126683 w 180022"/>
                  <a:gd name="connsiteY6" fmla="*/ 17050 h 66675"/>
                  <a:gd name="connsiteX7" fmla="*/ 116205 w 180022"/>
                  <a:gd name="connsiteY7" fmla="*/ 17050 h 66675"/>
                  <a:gd name="connsiteX8" fmla="*/ 109537 w 180022"/>
                  <a:gd name="connsiteY8" fmla="*/ 20860 h 66675"/>
                  <a:gd name="connsiteX9" fmla="*/ 105727 w 180022"/>
                  <a:gd name="connsiteY9" fmla="*/ 28575 h 66675"/>
                  <a:gd name="connsiteX10" fmla="*/ 91440 w 180022"/>
                  <a:gd name="connsiteY10" fmla="*/ 31337 h 66675"/>
                  <a:gd name="connsiteX11" fmla="*/ 84772 w 180022"/>
                  <a:gd name="connsiteY11" fmla="*/ 39053 h 66675"/>
                  <a:gd name="connsiteX12" fmla="*/ 87630 w 180022"/>
                  <a:gd name="connsiteY12" fmla="*/ 45625 h 66675"/>
                  <a:gd name="connsiteX13" fmla="*/ 91440 w 180022"/>
                  <a:gd name="connsiteY13" fmla="*/ 52388 h 66675"/>
                  <a:gd name="connsiteX14" fmla="*/ 91440 w 180022"/>
                  <a:gd name="connsiteY14" fmla="*/ 63722 h 66675"/>
                  <a:gd name="connsiteX15" fmla="*/ 77153 w 180022"/>
                  <a:gd name="connsiteY15" fmla="*/ 66675 h 66675"/>
                  <a:gd name="connsiteX16" fmla="*/ 66675 w 180022"/>
                  <a:gd name="connsiteY16" fmla="*/ 56197 h 66675"/>
                  <a:gd name="connsiteX17" fmla="*/ 56197 w 180022"/>
                  <a:gd name="connsiteY17" fmla="*/ 45625 h 66675"/>
                  <a:gd name="connsiteX18" fmla="*/ 45720 w 180022"/>
                  <a:gd name="connsiteY18" fmla="*/ 39053 h 66675"/>
                  <a:gd name="connsiteX19" fmla="*/ 31433 w 180022"/>
                  <a:gd name="connsiteY19" fmla="*/ 35147 h 66675"/>
                  <a:gd name="connsiteX20" fmla="*/ 24765 w 180022"/>
                  <a:gd name="connsiteY20" fmla="*/ 31337 h 66675"/>
                  <a:gd name="connsiteX21" fmla="*/ 14288 w 180022"/>
                  <a:gd name="connsiteY21" fmla="*/ 35147 h 66675"/>
                  <a:gd name="connsiteX22" fmla="*/ 0 w 180022"/>
                  <a:gd name="connsiteY22" fmla="*/ 31337 h 66675"/>
                  <a:gd name="connsiteX23" fmla="*/ 6667 w 180022"/>
                  <a:gd name="connsiteY23" fmla="*/ 24765 h 66675"/>
                  <a:gd name="connsiteX24" fmla="*/ 10478 w 180022"/>
                  <a:gd name="connsiteY24" fmla="*/ 14288 h 66675"/>
                  <a:gd name="connsiteX25" fmla="*/ 20955 w 180022"/>
                  <a:gd name="connsiteY25" fmla="*/ 3810 h 66675"/>
                  <a:gd name="connsiteX26" fmla="*/ 31433 w 180022"/>
                  <a:gd name="connsiteY26" fmla="*/ 6572 h 66675"/>
                  <a:gd name="connsiteX27" fmla="*/ 39053 w 180022"/>
                  <a:gd name="connsiteY27" fmla="*/ 14288 h 66675"/>
                  <a:gd name="connsiteX28" fmla="*/ 53340 w 180022"/>
                  <a:gd name="connsiteY28" fmla="*/ 20860 h 66675"/>
                  <a:gd name="connsiteX29" fmla="*/ 66675 w 180022"/>
                  <a:gd name="connsiteY29" fmla="*/ 20860 h 66675"/>
                  <a:gd name="connsiteX30" fmla="*/ 77153 w 180022"/>
                  <a:gd name="connsiteY30" fmla="*/ 17050 h 66675"/>
                  <a:gd name="connsiteX31" fmla="*/ 91440 w 180022"/>
                  <a:gd name="connsiteY31" fmla="*/ 10478 h 66675"/>
                  <a:gd name="connsiteX32" fmla="*/ 109537 w 180022"/>
                  <a:gd name="connsiteY32" fmla="*/ 3810 h 66675"/>
                  <a:gd name="connsiteX33" fmla="*/ 126683 w 180022"/>
                  <a:gd name="connsiteY33" fmla="*/ 0 h 66675"/>
                  <a:gd name="connsiteX34" fmla="*/ 144780 w 180022"/>
                  <a:gd name="connsiteY34" fmla="*/ 3810 h 66675"/>
                  <a:gd name="connsiteX35" fmla="*/ 155258 w 180022"/>
                  <a:gd name="connsiteY35" fmla="*/ 10478 h 66675"/>
                  <a:gd name="connsiteX36" fmla="*/ 165735 w 180022"/>
                  <a:gd name="connsiteY36" fmla="*/ 17050 h 66675"/>
                  <a:gd name="connsiteX37" fmla="*/ 172402 w 180022"/>
                  <a:gd name="connsiteY37" fmla="*/ 28575 h 66675"/>
                  <a:gd name="connsiteX38" fmla="*/ 180023 w 180022"/>
                  <a:gd name="connsiteY38" fmla="*/ 35147 h 66675"/>
                  <a:gd name="connsiteX39" fmla="*/ 176212 w 180022"/>
                  <a:gd name="connsiteY39" fmla="*/ 45625 h 66675"/>
                  <a:gd name="connsiteX40" fmla="*/ 165735 w 180022"/>
                  <a:gd name="connsiteY40" fmla="*/ 52388 h 66675"/>
                  <a:gd name="connsiteX41" fmla="*/ 155258 w 180022"/>
                  <a:gd name="connsiteY41" fmla="*/ 59912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80022" h="66675">
                    <a:moveTo>
                      <a:pt x="155258" y="59912"/>
                    </a:moveTo>
                    <a:lnTo>
                      <a:pt x="144780" y="56197"/>
                    </a:lnTo>
                    <a:lnTo>
                      <a:pt x="140970" y="49435"/>
                    </a:lnTo>
                    <a:lnTo>
                      <a:pt x="140970" y="39053"/>
                    </a:lnTo>
                    <a:lnTo>
                      <a:pt x="140970" y="28575"/>
                    </a:lnTo>
                    <a:lnTo>
                      <a:pt x="137160" y="20860"/>
                    </a:lnTo>
                    <a:lnTo>
                      <a:pt x="126683" y="17050"/>
                    </a:lnTo>
                    <a:lnTo>
                      <a:pt x="116205" y="17050"/>
                    </a:lnTo>
                    <a:lnTo>
                      <a:pt x="109537" y="20860"/>
                    </a:lnTo>
                    <a:lnTo>
                      <a:pt x="105727" y="28575"/>
                    </a:lnTo>
                    <a:lnTo>
                      <a:pt x="91440" y="31337"/>
                    </a:lnTo>
                    <a:lnTo>
                      <a:pt x="84772" y="39053"/>
                    </a:lnTo>
                    <a:lnTo>
                      <a:pt x="87630" y="45625"/>
                    </a:lnTo>
                    <a:lnTo>
                      <a:pt x="91440" y="52388"/>
                    </a:lnTo>
                    <a:lnTo>
                      <a:pt x="91440" y="63722"/>
                    </a:lnTo>
                    <a:lnTo>
                      <a:pt x="77153" y="66675"/>
                    </a:lnTo>
                    <a:lnTo>
                      <a:pt x="66675" y="56197"/>
                    </a:lnTo>
                    <a:lnTo>
                      <a:pt x="56197" y="45625"/>
                    </a:lnTo>
                    <a:lnTo>
                      <a:pt x="45720" y="39053"/>
                    </a:lnTo>
                    <a:lnTo>
                      <a:pt x="31433" y="35147"/>
                    </a:lnTo>
                    <a:lnTo>
                      <a:pt x="24765" y="31337"/>
                    </a:lnTo>
                    <a:lnTo>
                      <a:pt x="14288" y="35147"/>
                    </a:lnTo>
                    <a:lnTo>
                      <a:pt x="0" y="31337"/>
                    </a:lnTo>
                    <a:lnTo>
                      <a:pt x="6667" y="24765"/>
                    </a:lnTo>
                    <a:lnTo>
                      <a:pt x="10478" y="14288"/>
                    </a:lnTo>
                    <a:lnTo>
                      <a:pt x="20955" y="3810"/>
                    </a:lnTo>
                    <a:lnTo>
                      <a:pt x="31433" y="6572"/>
                    </a:lnTo>
                    <a:lnTo>
                      <a:pt x="39053" y="14288"/>
                    </a:lnTo>
                    <a:lnTo>
                      <a:pt x="53340" y="20860"/>
                    </a:lnTo>
                    <a:lnTo>
                      <a:pt x="66675" y="20860"/>
                    </a:lnTo>
                    <a:lnTo>
                      <a:pt x="77153" y="17050"/>
                    </a:lnTo>
                    <a:lnTo>
                      <a:pt x="91440" y="10478"/>
                    </a:lnTo>
                    <a:lnTo>
                      <a:pt x="109537" y="3810"/>
                    </a:lnTo>
                    <a:lnTo>
                      <a:pt x="126683" y="0"/>
                    </a:lnTo>
                    <a:lnTo>
                      <a:pt x="144780" y="3810"/>
                    </a:lnTo>
                    <a:lnTo>
                      <a:pt x="155258" y="10478"/>
                    </a:lnTo>
                    <a:lnTo>
                      <a:pt x="165735" y="17050"/>
                    </a:lnTo>
                    <a:lnTo>
                      <a:pt x="172402" y="28575"/>
                    </a:lnTo>
                    <a:lnTo>
                      <a:pt x="180023" y="35147"/>
                    </a:lnTo>
                    <a:lnTo>
                      <a:pt x="176212" y="45625"/>
                    </a:lnTo>
                    <a:lnTo>
                      <a:pt x="165735" y="52388"/>
                    </a:lnTo>
                    <a:lnTo>
                      <a:pt x="155258" y="5991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FE591857-0FB9-1550-9332-F11E088C9A9A}"/>
                  </a:ext>
                </a:extLst>
              </p:cNvPr>
              <p:cNvSpPr/>
              <p:nvPr/>
            </p:nvSpPr>
            <p:spPr>
              <a:xfrm>
                <a:off x="3672613" y="3901330"/>
                <a:ext cx="286653" cy="97014"/>
              </a:xfrm>
              <a:custGeom>
                <a:avLst/>
                <a:gdLst>
                  <a:gd name="connsiteX0" fmla="*/ 260985 w 292417"/>
                  <a:gd name="connsiteY0" fmla="*/ 98965 h 98964"/>
                  <a:gd name="connsiteX1" fmla="*/ 246698 w 292417"/>
                  <a:gd name="connsiteY1" fmla="*/ 91440 h 98964"/>
                  <a:gd name="connsiteX2" fmla="*/ 229552 w 292417"/>
                  <a:gd name="connsiteY2" fmla="*/ 91440 h 98964"/>
                  <a:gd name="connsiteX3" fmla="*/ 219075 w 292417"/>
                  <a:gd name="connsiteY3" fmla="*/ 98965 h 98964"/>
                  <a:gd name="connsiteX4" fmla="*/ 204788 w 292417"/>
                  <a:gd name="connsiteY4" fmla="*/ 95250 h 98964"/>
                  <a:gd name="connsiteX5" fmla="*/ 208598 w 292417"/>
                  <a:gd name="connsiteY5" fmla="*/ 80963 h 98964"/>
                  <a:gd name="connsiteX6" fmla="*/ 204788 w 292417"/>
                  <a:gd name="connsiteY6" fmla="*/ 70390 h 98964"/>
                  <a:gd name="connsiteX7" fmla="*/ 183833 w 292417"/>
                  <a:gd name="connsiteY7" fmla="*/ 70390 h 98964"/>
                  <a:gd name="connsiteX8" fmla="*/ 176213 w 292417"/>
                  <a:gd name="connsiteY8" fmla="*/ 56102 h 98964"/>
                  <a:gd name="connsiteX9" fmla="*/ 165735 w 292417"/>
                  <a:gd name="connsiteY9" fmla="*/ 53340 h 98964"/>
                  <a:gd name="connsiteX10" fmla="*/ 140970 w 292417"/>
                  <a:gd name="connsiteY10" fmla="*/ 45625 h 98964"/>
                  <a:gd name="connsiteX11" fmla="*/ 134302 w 292417"/>
                  <a:gd name="connsiteY11" fmla="*/ 39053 h 98964"/>
                  <a:gd name="connsiteX12" fmla="*/ 109538 w 292417"/>
                  <a:gd name="connsiteY12" fmla="*/ 31337 h 98964"/>
                  <a:gd name="connsiteX13" fmla="*/ 84773 w 292417"/>
                  <a:gd name="connsiteY13" fmla="*/ 28575 h 98964"/>
                  <a:gd name="connsiteX14" fmla="*/ 78105 w 292417"/>
                  <a:gd name="connsiteY14" fmla="*/ 20955 h 98964"/>
                  <a:gd name="connsiteX15" fmla="*/ 60008 w 292417"/>
                  <a:gd name="connsiteY15" fmla="*/ 17050 h 98964"/>
                  <a:gd name="connsiteX16" fmla="*/ 49530 w 292417"/>
                  <a:gd name="connsiteY16" fmla="*/ 24765 h 98964"/>
                  <a:gd name="connsiteX17" fmla="*/ 35243 w 292417"/>
                  <a:gd name="connsiteY17" fmla="*/ 31337 h 98964"/>
                  <a:gd name="connsiteX18" fmla="*/ 21908 w 292417"/>
                  <a:gd name="connsiteY18" fmla="*/ 39053 h 98964"/>
                  <a:gd name="connsiteX19" fmla="*/ 0 w 292417"/>
                  <a:gd name="connsiteY19" fmla="*/ 39053 h 98964"/>
                  <a:gd name="connsiteX20" fmla="*/ 3810 w 292417"/>
                  <a:gd name="connsiteY20" fmla="*/ 28575 h 98964"/>
                  <a:gd name="connsiteX21" fmla="*/ 18098 w 292417"/>
                  <a:gd name="connsiteY21" fmla="*/ 10478 h 98964"/>
                  <a:gd name="connsiteX22" fmla="*/ 45720 w 292417"/>
                  <a:gd name="connsiteY22" fmla="*/ 3715 h 98964"/>
                  <a:gd name="connsiteX23" fmla="*/ 70485 w 292417"/>
                  <a:gd name="connsiteY23" fmla="*/ 0 h 98964"/>
                  <a:gd name="connsiteX24" fmla="*/ 102870 w 292417"/>
                  <a:gd name="connsiteY24" fmla="*/ 0 h 98964"/>
                  <a:gd name="connsiteX25" fmla="*/ 130493 w 292417"/>
                  <a:gd name="connsiteY25" fmla="*/ 6668 h 98964"/>
                  <a:gd name="connsiteX26" fmla="*/ 155258 w 292417"/>
                  <a:gd name="connsiteY26" fmla="*/ 17050 h 98964"/>
                  <a:gd name="connsiteX27" fmla="*/ 183833 w 292417"/>
                  <a:gd name="connsiteY27" fmla="*/ 24765 h 98964"/>
                  <a:gd name="connsiteX28" fmla="*/ 194310 w 292417"/>
                  <a:gd name="connsiteY28" fmla="*/ 35243 h 98964"/>
                  <a:gd name="connsiteX29" fmla="*/ 204788 w 292417"/>
                  <a:gd name="connsiteY29" fmla="*/ 41815 h 98964"/>
                  <a:gd name="connsiteX30" fmla="*/ 229552 w 292417"/>
                  <a:gd name="connsiteY30" fmla="*/ 53340 h 98964"/>
                  <a:gd name="connsiteX31" fmla="*/ 250508 w 292417"/>
                  <a:gd name="connsiteY31" fmla="*/ 59912 h 98964"/>
                  <a:gd name="connsiteX32" fmla="*/ 271463 w 292417"/>
                  <a:gd name="connsiteY32" fmla="*/ 70390 h 98964"/>
                  <a:gd name="connsiteX33" fmla="*/ 292417 w 292417"/>
                  <a:gd name="connsiteY33" fmla="*/ 80963 h 98964"/>
                  <a:gd name="connsiteX34" fmla="*/ 281940 w 292417"/>
                  <a:gd name="connsiteY34" fmla="*/ 88487 h 98964"/>
                  <a:gd name="connsiteX35" fmla="*/ 267652 w 292417"/>
                  <a:gd name="connsiteY35" fmla="*/ 91440 h 98964"/>
                  <a:gd name="connsiteX36" fmla="*/ 264795 w 292417"/>
                  <a:gd name="connsiteY36" fmla="*/ 98965 h 98964"/>
                  <a:gd name="connsiteX37" fmla="*/ 260985 w 292417"/>
                  <a:gd name="connsiteY37" fmla="*/ 98965 h 98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92417" h="98964">
                    <a:moveTo>
                      <a:pt x="260985" y="98965"/>
                    </a:moveTo>
                    <a:lnTo>
                      <a:pt x="246698" y="91440"/>
                    </a:lnTo>
                    <a:lnTo>
                      <a:pt x="229552" y="91440"/>
                    </a:lnTo>
                    <a:lnTo>
                      <a:pt x="219075" y="98965"/>
                    </a:lnTo>
                    <a:lnTo>
                      <a:pt x="204788" y="95250"/>
                    </a:lnTo>
                    <a:lnTo>
                      <a:pt x="208598" y="80963"/>
                    </a:lnTo>
                    <a:lnTo>
                      <a:pt x="204788" y="70390"/>
                    </a:lnTo>
                    <a:lnTo>
                      <a:pt x="183833" y="70390"/>
                    </a:lnTo>
                    <a:lnTo>
                      <a:pt x="176213" y="56102"/>
                    </a:lnTo>
                    <a:lnTo>
                      <a:pt x="165735" y="53340"/>
                    </a:lnTo>
                    <a:lnTo>
                      <a:pt x="140970" y="45625"/>
                    </a:lnTo>
                    <a:lnTo>
                      <a:pt x="134302" y="39053"/>
                    </a:lnTo>
                    <a:lnTo>
                      <a:pt x="109538" y="31337"/>
                    </a:lnTo>
                    <a:lnTo>
                      <a:pt x="84773" y="28575"/>
                    </a:lnTo>
                    <a:lnTo>
                      <a:pt x="78105" y="20955"/>
                    </a:lnTo>
                    <a:lnTo>
                      <a:pt x="60008" y="17050"/>
                    </a:lnTo>
                    <a:lnTo>
                      <a:pt x="49530" y="24765"/>
                    </a:lnTo>
                    <a:lnTo>
                      <a:pt x="35243" y="31337"/>
                    </a:lnTo>
                    <a:lnTo>
                      <a:pt x="21908" y="39053"/>
                    </a:lnTo>
                    <a:lnTo>
                      <a:pt x="0" y="39053"/>
                    </a:lnTo>
                    <a:lnTo>
                      <a:pt x="3810" y="28575"/>
                    </a:lnTo>
                    <a:lnTo>
                      <a:pt x="18098" y="10478"/>
                    </a:lnTo>
                    <a:lnTo>
                      <a:pt x="45720" y="3715"/>
                    </a:lnTo>
                    <a:lnTo>
                      <a:pt x="70485" y="0"/>
                    </a:lnTo>
                    <a:lnTo>
                      <a:pt x="102870" y="0"/>
                    </a:lnTo>
                    <a:lnTo>
                      <a:pt x="130493" y="6668"/>
                    </a:lnTo>
                    <a:lnTo>
                      <a:pt x="155258" y="17050"/>
                    </a:lnTo>
                    <a:lnTo>
                      <a:pt x="183833" y="24765"/>
                    </a:lnTo>
                    <a:lnTo>
                      <a:pt x="194310" y="35243"/>
                    </a:lnTo>
                    <a:lnTo>
                      <a:pt x="204788" y="41815"/>
                    </a:lnTo>
                    <a:lnTo>
                      <a:pt x="229552" y="53340"/>
                    </a:lnTo>
                    <a:lnTo>
                      <a:pt x="250508" y="59912"/>
                    </a:lnTo>
                    <a:lnTo>
                      <a:pt x="271463" y="70390"/>
                    </a:lnTo>
                    <a:lnTo>
                      <a:pt x="292417" y="80963"/>
                    </a:lnTo>
                    <a:lnTo>
                      <a:pt x="281940" y="88487"/>
                    </a:lnTo>
                    <a:lnTo>
                      <a:pt x="267652" y="91440"/>
                    </a:lnTo>
                    <a:lnTo>
                      <a:pt x="264795" y="98965"/>
                    </a:lnTo>
                    <a:lnTo>
                      <a:pt x="260985" y="9896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A9B0896E-A41E-A389-CA65-C65AF9C13615}"/>
                  </a:ext>
                </a:extLst>
              </p:cNvPr>
              <p:cNvSpPr/>
              <p:nvPr/>
            </p:nvSpPr>
            <p:spPr>
              <a:xfrm>
                <a:off x="3672613" y="3901330"/>
                <a:ext cx="286653" cy="97014"/>
              </a:xfrm>
              <a:custGeom>
                <a:avLst/>
                <a:gdLst>
                  <a:gd name="connsiteX0" fmla="*/ 260985 w 292417"/>
                  <a:gd name="connsiteY0" fmla="*/ 98965 h 98964"/>
                  <a:gd name="connsiteX1" fmla="*/ 246698 w 292417"/>
                  <a:gd name="connsiteY1" fmla="*/ 91440 h 98964"/>
                  <a:gd name="connsiteX2" fmla="*/ 229552 w 292417"/>
                  <a:gd name="connsiteY2" fmla="*/ 91440 h 98964"/>
                  <a:gd name="connsiteX3" fmla="*/ 219075 w 292417"/>
                  <a:gd name="connsiteY3" fmla="*/ 98965 h 98964"/>
                  <a:gd name="connsiteX4" fmla="*/ 204788 w 292417"/>
                  <a:gd name="connsiteY4" fmla="*/ 95250 h 98964"/>
                  <a:gd name="connsiteX5" fmla="*/ 208598 w 292417"/>
                  <a:gd name="connsiteY5" fmla="*/ 80963 h 98964"/>
                  <a:gd name="connsiteX6" fmla="*/ 204788 w 292417"/>
                  <a:gd name="connsiteY6" fmla="*/ 70390 h 98964"/>
                  <a:gd name="connsiteX7" fmla="*/ 183833 w 292417"/>
                  <a:gd name="connsiteY7" fmla="*/ 70390 h 98964"/>
                  <a:gd name="connsiteX8" fmla="*/ 176213 w 292417"/>
                  <a:gd name="connsiteY8" fmla="*/ 56102 h 98964"/>
                  <a:gd name="connsiteX9" fmla="*/ 165735 w 292417"/>
                  <a:gd name="connsiteY9" fmla="*/ 53340 h 98964"/>
                  <a:gd name="connsiteX10" fmla="*/ 140970 w 292417"/>
                  <a:gd name="connsiteY10" fmla="*/ 45625 h 98964"/>
                  <a:gd name="connsiteX11" fmla="*/ 134302 w 292417"/>
                  <a:gd name="connsiteY11" fmla="*/ 39053 h 98964"/>
                  <a:gd name="connsiteX12" fmla="*/ 109538 w 292417"/>
                  <a:gd name="connsiteY12" fmla="*/ 31337 h 98964"/>
                  <a:gd name="connsiteX13" fmla="*/ 84773 w 292417"/>
                  <a:gd name="connsiteY13" fmla="*/ 28575 h 98964"/>
                  <a:gd name="connsiteX14" fmla="*/ 78105 w 292417"/>
                  <a:gd name="connsiteY14" fmla="*/ 20955 h 98964"/>
                  <a:gd name="connsiteX15" fmla="*/ 60008 w 292417"/>
                  <a:gd name="connsiteY15" fmla="*/ 17050 h 98964"/>
                  <a:gd name="connsiteX16" fmla="*/ 49530 w 292417"/>
                  <a:gd name="connsiteY16" fmla="*/ 24765 h 98964"/>
                  <a:gd name="connsiteX17" fmla="*/ 35243 w 292417"/>
                  <a:gd name="connsiteY17" fmla="*/ 31337 h 98964"/>
                  <a:gd name="connsiteX18" fmla="*/ 21908 w 292417"/>
                  <a:gd name="connsiteY18" fmla="*/ 39053 h 98964"/>
                  <a:gd name="connsiteX19" fmla="*/ 0 w 292417"/>
                  <a:gd name="connsiteY19" fmla="*/ 39053 h 98964"/>
                  <a:gd name="connsiteX20" fmla="*/ 3810 w 292417"/>
                  <a:gd name="connsiteY20" fmla="*/ 28575 h 98964"/>
                  <a:gd name="connsiteX21" fmla="*/ 18098 w 292417"/>
                  <a:gd name="connsiteY21" fmla="*/ 10478 h 98964"/>
                  <a:gd name="connsiteX22" fmla="*/ 45720 w 292417"/>
                  <a:gd name="connsiteY22" fmla="*/ 3715 h 98964"/>
                  <a:gd name="connsiteX23" fmla="*/ 70485 w 292417"/>
                  <a:gd name="connsiteY23" fmla="*/ 0 h 98964"/>
                  <a:gd name="connsiteX24" fmla="*/ 102870 w 292417"/>
                  <a:gd name="connsiteY24" fmla="*/ 0 h 98964"/>
                  <a:gd name="connsiteX25" fmla="*/ 130493 w 292417"/>
                  <a:gd name="connsiteY25" fmla="*/ 6668 h 98964"/>
                  <a:gd name="connsiteX26" fmla="*/ 155258 w 292417"/>
                  <a:gd name="connsiteY26" fmla="*/ 17050 h 98964"/>
                  <a:gd name="connsiteX27" fmla="*/ 183833 w 292417"/>
                  <a:gd name="connsiteY27" fmla="*/ 24765 h 98964"/>
                  <a:gd name="connsiteX28" fmla="*/ 194310 w 292417"/>
                  <a:gd name="connsiteY28" fmla="*/ 35243 h 98964"/>
                  <a:gd name="connsiteX29" fmla="*/ 204788 w 292417"/>
                  <a:gd name="connsiteY29" fmla="*/ 41815 h 98964"/>
                  <a:gd name="connsiteX30" fmla="*/ 229552 w 292417"/>
                  <a:gd name="connsiteY30" fmla="*/ 53340 h 98964"/>
                  <a:gd name="connsiteX31" fmla="*/ 250508 w 292417"/>
                  <a:gd name="connsiteY31" fmla="*/ 59912 h 98964"/>
                  <a:gd name="connsiteX32" fmla="*/ 271463 w 292417"/>
                  <a:gd name="connsiteY32" fmla="*/ 70390 h 98964"/>
                  <a:gd name="connsiteX33" fmla="*/ 292417 w 292417"/>
                  <a:gd name="connsiteY33" fmla="*/ 80963 h 98964"/>
                  <a:gd name="connsiteX34" fmla="*/ 281940 w 292417"/>
                  <a:gd name="connsiteY34" fmla="*/ 88487 h 98964"/>
                  <a:gd name="connsiteX35" fmla="*/ 267652 w 292417"/>
                  <a:gd name="connsiteY35" fmla="*/ 91440 h 98964"/>
                  <a:gd name="connsiteX36" fmla="*/ 264795 w 292417"/>
                  <a:gd name="connsiteY36" fmla="*/ 98965 h 98964"/>
                  <a:gd name="connsiteX37" fmla="*/ 260985 w 292417"/>
                  <a:gd name="connsiteY37" fmla="*/ 98965 h 98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92417" h="98964">
                    <a:moveTo>
                      <a:pt x="260985" y="98965"/>
                    </a:moveTo>
                    <a:lnTo>
                      <a:pt x="246698" y="91440"/>
                    </a:lnTo>
                    <a:lnTo>
                      <a:pt x="229552" y="91440"/>
                    </a:lnTo>
                    <a:lnTo>
                      <a:pt x="219075" y="98965"/>
                    </a:lnTo>
                    <a:lnTo>
                      <a:pt x="204788" y="95250"/>
                    </a:lnTo>
                    <a:lnTo>
                      <a:pt x="208598" y="80963"/>
                    </a:lnTo>
                    <a:lnTo>
                      <a:pt x="204788" y="70390"/>
                    </a:lnTo>
                    <a:lnTo>
                      <a:pt x="183833" y="70390"/>
                    </a:lnTo>
                    <a:lnTo>
                      <a:pt x="176213" y="56102"/>
                    </a:lnTo>
                    <a:lnTo>
                      <a:pt x="165735" y="53340"/>
                    </a:lnTo>
                    <a:lnTo>
                      <a:pt x="140970" y="45625"/>
                    </a:lnTo>
                    <a:lnTo>
                      <a:pt x="134302" y="39053"/>
                    </a:lnTo>
                    <a:lnTo>
                      <a:pt x="109538" y="31337"/>
                    </a:lnTo>
                    <a:lnTo>
                      <a:pt x="84773" y="28575"/>
                    </a:lnTo>
                    <a:lnTo>
                      <a:pt x="78105" y="20955"/>
                    </a:lnTo>
                    <a:lnTo>
                      <a:pt x="60008" y="17050"/>
                    </a:lnTo>
                    <a:lnTo>
                      <a:pt x="49530" y="24765"/>
                    </a:lnTo>
                    <a:lnTo>
                      <a:pt x="35243" y="31337"/>
                    </a:lnTo>
                    <a:lnTo>
                      <a:pt x="21908" y="39053"/>
                    </a:lnTo>
                    <a:lnTo>
                      <a:pt x="0" y="39053"/>
                    </a:lnTo>
                    <a:lnTo>
                      <a:pt x="3810" y="28575"/>
                    </a:lnTo>
                    <a:lnTo>
                      <a:pt x="18098" y="10478"/>
                    </a:lnTo>
                    <a:lnTo>
                      <a:pt x="45720" y="3715"/>
                    </a:lnTo>
                    <a:lnTo>
                      <a:pt x="70485" y="0"/>
                    </a:lnTo>
                    <a:lnTo>
                      <a:pt x="102870" y="0"/>
                    </a:lnTo>
                    <a:lnTo>
                      <a:pt x="130493" y="6668"/>
                    </a:lnTo>
                    <a:lnTo>
                      <a:pt x="155258" y="17050"/>
                    </a:lnTo>
                    <a:lnTo>
                      <a:pt x="183833" y="24765"/>
                    </a:lnTo>
                    <a:lnTo>
                      <a:pt x="194310" y="35243"/>
                    </a:lnTo>
                    <a:lnTo>
                      <a:pt x="204788" y="41815"/>
                    </a:lnTo>
                    <a:lnTo>
                      <a:pt x="229552" y="53340"/>
                    </a:lnTo>
                    <a:lnTo>
                      <a:pt x="250508" y="59912"/>
                    </a:lnTo>
                    <a:lnTo>
                      <a:pt x="271463" y="70390"/>
                    </a:lnTo>
                    <a:lnTo>
                      <a:pt x="292417" y="80963"/>
                    </a:lnTo>
                    <a:lnTo>
                      <a:pt x="281940" y="88487"/>
                    </a:lnTo>
                    <a:lnTo>
                      <a:pt x="267652" y="91440"/>
                    </a:lnTo>
                    <a:lnTo>
                      <a:pt x="264795" y="98965"/>
                    </a:lnTo>
                    <a:lnTo>
                      <a:pt x="260985" y="9896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D38F3FA9-619A-F774-464D-39D82253B4FB}"/>
                  </a:ext>
                </a:extLst>
              </p:cNvPr>
              <p:cNvSpPr/>
              <p:nvPr/>
            </p:nvSpPr>
            <p:spPr>
              <a:xfrm>
                <a:off x="3959266" y="3990968"/>
                <a:ext cx="76565" cy="52289"/>
              </a:xfrm>
              <a:custGeom>
                <a:avLst/>
                <a:gdLst>
                  <a:gd name="connsiteX0" fmla="*/ 0 w 78105"/>
                  <a:gd name="connsiteY0" fmla="*/ 49435 h 53340"/>
                  <a:gd name="connsiteX1" fmla="*/ 28575 w 78105"/>
                  <a:gd name="connsiteY1" fmla="*/ 53340 h 53340"/>
                  <a:gd name="connsiteX2" fmla="*/ 56197 w 78105"/>
                  <a:gd name="connsiteY2" fmla="*/ 53340 h 53340"/>
                  <a:gd name="connsiteX3" fmla="*/ 70485 w 78105"/>
                  <a:gd name="connsiteY3" fmla="*/ 53340 h 53340"/>
                  <a:gd name="connsiteX4" fmla="*/ 70485 w 78105"/>
                  <a:gd name="connsiteY4" fmla="*/ 42863 h 53340"/>
                  <a:gd name="connsiteX5" fmla="*/ 63818 w 78105"/>
                  <a:gd name="connsiteY5" fmla="*/ 35147 h 53340"/>
                  <a:gd name="connsiteX6" fmla="*/ 74295 w 78105"/>
                  <a:gd name="connsiteY6" fmla="*/ 32385 h 53340"/>
                  <a:gd name="connsiteX7" fmla="*/ 78105 w 78105"/>
                  <a:gd name="connsiteY7" fmla="*/ 24765 h 53340"/>
                  <a:gd name="connsiteX8" fmla="*/ 74295 w 78105"/>
                  <a:gd name="connsiteY8" fmla="*/ 7525 h 53340"/>
                  <a:gd name="connsiteX9" fmla="*/ 56197 w 78105"/>
                  <a:gd name="connsiteY9" fmla="*/ 3810 h 53340"/>
                  <a:gd name="connsiteX10" fmla="*/ 42863 w 78105"/>
                  <a:gd name="connsiteY10" fmla="*/ 0 h 53340"/>
                  <a:gd name="connsiteX11" fmla="*/ 28575 w 78105"/>
                  <a:gd name="connsiteY11" fmla="*/ 3810 h 53340"/>
                  <a:gd name="connsiteX12" fmla="*/ 39053 w 78105"/>
                  <a:gd name="connsiteY12" fmla="*/ 10478 h 53340"/>
                  <a:gd name="connsiteX13" fmla="*/ 49530 w 78105"/>
                  <a:gd name="connsiteY13" fmla="*/ 24765 h 53340"/>
                  <a:gd name="connsiteX14" fmla="*/ 49530 w 78105"/>
                  <a:gd name="connsiteY14" fmla="*/ 35147 h 53340"/>
                  <a:gd name="connsiteX15" fmla="*/ 35243 w 78105"/>
                  <a:gd name="connsiteY15" fmla="*/ 35147 h 53340"/>
                  <a:gd name="connsiteX16" fmla="*/ 24765 w 78105"/>
                  <a:gd name="connsiteY16" fmla="*/ 32385 h 53340"/>
                  <a:gd name="connsiteX17" fmla="*/ 10478 w 78105"/>
                  <a:gd name="connsiteY17" fmla="*/ 35147 h 53340"/>
                  <a:gd name="connsiteX18" fmla="*/ 0 w 78105"/>
                  <a:gd name="connsiteY18" fmla="*/ 35147 h 53340"/>
                  <a:gd name="connsiteX19" fmla="*/ 0 w 78105"/>
                  <a:gd name="connsiteY19" fmla="*/ 49435 h 53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78105" h="53340">
                    <a:moveTo>
                      <a:pt x="0" y="49435"/>
                    </a:moveTo>
                    <a:lnTo>
                      <a:pt x="28575" y="53340"/>
                    </a:lnTo>
                    <a:lnTo>
                      <a:pt x="56197" y="53340"/>
                    </a:lnTo>
                    <a:lnTo>
                      <a:pt x="70485" y="53340"/>
                    </a:lnTo>
                    <a:lnTo>
                      <a:pt x="70485" y="42863"/>
                    </a:lnTo>
                    <a:lnTo>
                      <a:pt x="63818" y="35147"/>
                    </a:lnTo>
                    <a:lnTo>
                      <a:pt x="74295" y="32385"/>
                    </a:lnTo>
                    <a:lnTo>
                      <a:pt x="78105" y="24765"/>
                    </a:lnTo>
                    <a:lnTo>
                      <a:pt x="74295" y="7525"/>
                    </a:lnTo>
                    <a:lnTo>
                      <a:pt x="56197" y="3810"/>
                    </a:lnTo>
                    <a:lnTo>
                      <a:pt x="42863" y="0"/>
                    </a:lnTo>
                    <a:lnTo>
                      <a:pt x="28575" y="3810"/>
                    </a:lnTo>
                    <a:lnTo>
                      <a:pt x="39053" y="10478"/>
                    </a:lnTo>
                    <a:lnTo>
                      <a:pt x="49530" y="24765"/>
                    </a:lnTo>
                    <a:lnTo>
                      <a:pt x="49530" y="35147"/>
                    </a:lnTo>
                    <a:lnTo>
                      <a:pt x="35243" y="35147"/>
                    </a:lnTo>
                    <a:lnTo>
                      <a:pt x="24765" y="32385"/>
                    </a:lnTo>
                    <a:lnTo>
                      <a:pt x="10478" y="35147"/>
                    </a:lnTo>
                    <a:lnTo>
                      <a:pt x="0" y="35147"/>
                    </a:lnTo>
                    <a:lnTo>
                      <a:pt x="0" y="4943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ED8C8A9F-6384-ACAC-2041-05244A902FC7}"/>
                  </a:ext>
                </a:extLst>
              </p:cNvPr>
              <p:cNvSpPr/>
              <p:nvPr/>
            </p:nvSpPr>
            <p:spPr>
              <a:xfrm>
                <a:off x="3959266" y="3990968"/>
                <a:ext cx="76565" cy="52289"/>
              </a:xfrm>
              <a:custGeom>
                <a:avLst/>
                <a:gdLst>
                  <a:gd name="connsiteX0" fmla="*/ 0 w 78105"/>
                  <a:gd name="connsiteY0" fmla="*/ 49435 h 53340"/>
                  <a:gd name="connsiteX1" fmla="*/ 28575 w 78105"/>
                  <a:gd name="connsiteY1" fmla="*/ 53340 h 53340"/>
                  <a:gd name="connsiteX2" fmla="*/ 56197 w 78105"/>
                  <a:gd name="connsiteY2" fmla="*/ 53340 h 53340"/>
                  <a:gd name="connsiteX3" fmla="*/ 70485 w 78105"/>
                  <a:gd name="connsiteY3" fmla="*/ 53340 h 53340"/>
                  <a:gd name="connsiteX4" fmla="*/ 70485 w 78105"/>
                  <a:gd name="connsiteY4" fmla="*/ 42863 h 53340"/>
                  <a:gd name="connsiteX5" fmla="*/ 63818 w 78105"/>
                  <a:gd name="connsiteY5" fmla="*/ 35147 h 53340"/>
                  <a:gd name="connsiteX6" fmla="*/ 74295 w 78105"/>
                  <a:gd name="connsiteY6" fmla="*/ 32385 h 53340"/>
                  <a:gd name="connsiteX7" fmla="*/ 78105 w 78105"/>
                  <a:gd name="connsiteY7" fmla="*/ 24765 h 53340"/>
                  <a:gd name="connsiteX8" fmla="*/ 74295 w 78105"/>
                  <a:gd name="connsiteY8" fmla="*/ 7525 h 53340"/>
                  <a:gd name="connsiteX9" fmla="*/ 56197 w 78105"/>
                  <a:gd name="connsiteY9" fmla="*/ 3810 h 53340"/>
                  <a:gd name="connsiteX10" fmla="*/ 42863 w 78105"/>
                  <a:gd name="connsiteY10" fmla="*/ 0 h 53340"/>
                  <a:gd name="connsiteX11" fmla="*/ 28575 w 78105"/>
                  <a:gd name="connsiteY11" fmla="*/ 3810 h 53340"/>
                  <a:gd name="connsiteX12" fmla="*/ 39053 w 78105"/>
                  <a:gd name="connsiteY12" fmla="*/ 10478 h 53340"/>
                  <a:gd name="connsiteX13" fmla="*/ 49530 w 78105"/>
                  <a:gd name="connsiteY13" fmla="*/ 24765 h 53340"/>
                  <a:gd name="connsiteX14" fmla="*/ 49530 w 78105"/>
                  <a:gd name="connsiteY14" fmla="*/ 35147 h 53340"/>
                  <a:gd name="connsiteX15" fmla="*/ 35243 w 78105"/>
                  <a:gd name="connsiteY15" fmla="*/ 35147 h 53340"/>
                  <a:gd name="connsiteX16" fmla="*/ 24765 w 78105"/>
                  <a:gd name="connsiteY16" fmla="*/ 32385 h 53340"/>
                  <a:gd name="connsiteX17" fmla="*/ 10478 w 78105"/>
                  <a:gd name="connsiteY17" fmla="*/ 35147 h 53340"/>
                  <a:gd name="connsiteX18" fmla="*/ 0 w 78105"/>
                  <a:gd name="connsiteY18" fmla="*/ 35147 h 53340"/>
                  <a:gd name="connsiteX19" fmla="*/ 0 w 78105"/>
                  <a:gd name="connsiteY19" fmla="*/ 49435 h 53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78105" h="53340">
                    <a:moveTo>
                      <a:pt x="0" y="49435"/>
                    </a:moveTo>
                    <a:lnTo>
                      <a:pt x="28575" y="53340"/>
                    </a:lnTo>
                    <a:lnTo>
                      <a:pt x="56197" y="53340"/>
                    </a:lnTo>
                    <a:lnTo>
                      <a:pt x="70485" y="53340"/>
                    </a:lnTo>
                    <a:lnTo>
                      <a:pt x="70485" y="42863"/>
                    </a:lnTo>
                    <a:lnTo>
                      <a:pt x="63818" y="35147"/>
                    </a:lnTo>
                    <a:lnTo>
                      <a:pt x="74295" y="32385"/>
                    </a:lnTo>
                    <a:lnTo>
                      <a:pt x="78105" y="24765"/>
                    </a:lnTo>
                    <a:lnTo>
                      <a:pt x="74295" y="7525"/>
                    </a:lnTo>
                    <a:lnTo>
                      <a:pt x="56197" y="3810"/>
                    </a:lnTo>
                    <a:lnTo>
                      <a:pt x="42863" y="0"/>
                    </a:lnTo>
                    <a:lnTo>
                      <a:pt x="28575" y="3810"/>
                    </a:lnTo>
                    <a:lnTo>
                      <a:pt x="39053" y="10478"/>
                    </a:lnTo>
                    <a:lnTo>
                      <a:pt x="49530" y="24765"/>
                    </a:lnTo>
                    <a:lnTo>
                      <a:pt x="49530" y="35147"/>
                    </a:lnTo>
                    <a:lnTo>
                      <a:pt x="35243" y="35147"/>
                    </a:lnTo>
                    <a:lnTo>
                      <a:pt x="24765" y="32385"/>
                    </a:lnTo>
                    <a:lnTo>
                      <a:pt x="10478" y="35147"/>
                    </a:lnTo>
                    <a:lnTo>
                      <a:pt x="0" y="35147"/>
                    </a:lnTo>
                    <a:lnTo>
                      <a:pt x="0" y="4943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1C55FDEE-8583-04ED-4DBB-852534F0D374}"/>
                  </a:ext>
                </a:extLst>
              </p:cNvPr>
              <p:cNvSpPr/>
              <p:nvPr/>
            </p:nvSpPr>
            <p:spPr>
              <a:xfrm>
                <a:off x="3852822" y="4029252"/>
                <a:ext cx="55089" cy="30813"/>
              </a:xfrm>
              <a:custGeom>
                <a:avLst/>
                <a:gdLst>
                  <a:gd name="connsiteX0" fmla="*/ 0 w 56197"/>
                  <a:gd name="connsiteY0" fmla="*/ 10382 h 31432"/>
                  <a:gd name="connsiteX1" fmla="*/ 10478 w 56197"/>
                  <a:gd name="connsiteY1" fmla="*/ 0 h 31432"/>
                  <a:gd name="connsiteX2" fmla="*/ 24765 w 56197"/>
                  <a:gd name="connsiteY2" fmla="*/ 0 h 31432"/>
                  <a:gd name="connsiteX3" fmla="*/ 35243 w 56197"/>
                  <a:gd name="connsiteY3" fmla="*/ 3810 h 31432"/>
                  <a:gd name="connsiteX4" fmla="*/ 48578 w 56197"/>
                  <a:gd name="connsiteY4" fmla="*/ 10382 h 31432"/>
                  <a:gd name="connsiteX5" fmla="*/ 56197 w 56197"/>
                  <a:gd name="connsiteY5" fmla="*/ 17145 h 31432"/>
                  <a:gd name="connsiteX6" fmla="*/ 41910 w 56197"/>
                  <a:gd name="connsiteY6" fmla="*/ 24670 h 31432"/>
                  <a:gd name="connsiteX7" fmla="*/ 31432 w 56197"/>
                  <a:gd name="connsiteY7" fmla="*/ 24670 h 31432"/>
                  <a:gd name="connsiteX8" fmla="*/ 24765 w 56197"/>
                  <a:gd name="connsiteY8" fmla="*/ 31432 h 31432"/>
                  <a:gd name="connsiteX9" fmla="*/ 17145 w 56197"/>
                  <a:gd name="connsiteY9" fmla="*/ 20860 h 31432"/>
                  <a:gd name="connsiteX10" fmla="*/ 10478 w 56197"/>
                  <a:gd name="connsiteY10" fmla="*/ 14288 h 31432"/>
                  <a:gd name="connsiteX11" fmla="*/ 0 w 56197"/>
                  <a:gd name="connsiteY11" fmla="*/ 10382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6197" h="31432">
                    <a:moveTo>
                      <a:pt x="0" y="10382"/>
                    </a:moveTo>
                    <a:lnTo>
                      <a:pt x="10478" y="0"/>
                    </a:lnTo>
                    <a:lnTo>
                      <a:pt x="24765" y="0"/>
                    </a:lnTo>
                    <a:lnTo>
                      <a:pt x="35243" y="3810"/>
                    </a:lnTo>
                    <a:lnTo>
                      <a:pt x="48578" y="10382"/>
                    </a:lnTo>
                    <a:lnTo>
                      <a:pt x="56197" y="17145"/>
                    </a:lnTo>
                    <a:lnTo>
                      <a:pt x="41910" y="24670"/>
                    </a:lnTo>
                    <a:lnTo>
                      <a:pt x="31432" y="24670"/>
                    </a:lnTo>
                    <a:lnTo>
                      <a:pt x="24765" y="31432"/>
                    </a:lnTo>
                    <a:lnTo>
                      <a:pt x="17145" y="20860"/>
                    </a:lnTo>
                    <a:lnTo>
                      <a:pt x="10478" y="14288"/>
                    </a:lnTo>
                    <a:lnTo>
                      <a:pt x="0" y="1038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0FF20860-621C-A746-DA35-72AEB678392F}"/>
                  </a:ext>
                </a:extLst>
              </p:cNvPr>
              <p:cNvSpPr/>
              <p:nvPr/>
            </p:nvSpPr>
            <p:spPr>
              <a:xfrm>
                <a:off x="3852822" y="4029252"/>
                <a:ext cx="55089" cy="30813"/>
              </a:xfrm>
              <a:custGeom>
                <a:avLst/>
                <a:gdLst>
                  <a:gd name="connsiteX0" fmla="*/ 0 w 56197"/>
                  <a:gd name="connsiteY0" fmla="*/ 10382 h 31432"/>
                  <a:gd name="connsiteX1" fmla="*/ 10478 w 56197"/>
                  <a:gd name="connsiteY1" fmla="*/ 0 h 31432"/>
                  <a:gd name="connsiteX2" fmla="*/ 24765 w 56197"/>
                  <a:gd name="connsiteY2" fmla="*/ 0 h 31432"/>
                  <a:gd name="connsiteX3" fmla="*/ 35243 w 56197"/>
                  <a:gd name="connsiteY3" fmla="*/ 3810 h 31432"/>
                  <a:gd name="connsiteX4" fmla="*/ 48578 w 56197"/>
                  <a:gd name="connsiteY4" fmla="*/ 10382 h 31432"/>
                  <a:gd name="connsiteX5" fmla="*/ 56197 w 56197"/>
                  <a:gd name="connsiteY5" fmla="*/ 17145 h 31432"/>
                  <a:gd name="connsiteX6" fmla="*/ 41910 w 56197"/>
                  <a:gd name="connsiteY6" fmla="*/ 24670 h 31432"/>
                  <a:gd name="connsiteX7" fmla="*/ 31432 w 56197"/>
                  <a:gd name="connsiteY7" fmla="*/ 24670 h 31432"/>
                  <a:gd name="connsiteX8" fmla="*/ 24765 w 56197"/>
                  <a:gd name="connsiteY8" fmla="*/ 31432 h 31432"/>
                  <a:gd name="connsiteX9" fmla="*/ 17145 w 56197"/>
                  <a:gd name="connsiteY9" fmla="*/ 20860 h 31432"/>
                  <a:gd name="connsiteX10" fmla="*/ 10478 w 56197"/>
                  <a:gd name="connsiteY10" fmla="*/ 14288 h 31432"/>
                  <a:gd name="connsiteX11" fmla="*/ 0 w 56197"/>
                  <a:gd name="connsiteY11" fmla="*/ 10382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6197" h="31432">
                    <a:moveTo>
                      <a:pt x="0" y="10382"/>
                    </a:moveTo>
                    <a:lnTo>
                      <a:pt x="10478" y="0"/>
                    </a:lnTo>
                    <a:lnTo>
                      <a:pt x="24765" y="0"/>
                    </a:lnTo>
                    <a:lnTo>
                      <a:pt x="35243" y="3810"/>
                    </a:lnTo>
                    <a:lnTo>
                      <a:pt x="48578" y="10382"/>
                    </a:lnTo>
                    <a:lnTo>
                      <a:pt x="56197" y="17145"/>
                    </a:lnTo>
                    <a:lnTo>
                      <a:pt x="41910" y="24670"/>
                    </a:lnTo>
                    <a:lnTo>
                      <a:pt x="31432" y="24670"/>
                    </a:lnTo>
                    <a:lnTo>
                      <a:pt x="24765" y="31432"/>
                    </a:lnTo>
                    <a:lnTo>
                      <a:pt x="17145" y="20860"/>
                    </a:lnTo>
                    <a:lnTo>
                      <a:pt x="10478" y="14288"/>
                    </a:lnTo>
                    <a:lnTo>
                      <a:pt x="0" y="1038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A949A34B-FE59-33F8-CE85-2D2FB2595A9C}"/>
                  </a:ext>
                </a:extLst>
              </p:cNvPr>
              <p:cNvSpPr/>
              <p:nvPr/>
            </p:nvSpPr>
            <p:spPr>
              <a:xfrm>
                <a:off x="4021826" y="3998345"/>
                <a:ext cx="99908" cy="61719"/>
              </a:xfrm>
              <a:custGeom>
                <a:avLst/>
                <a:gdLst>
                  <a:gd name="connsiteX0" fmla="*/ 10478 w 101917"/>
                  <a:gd name="connsiteY0" fmla="*/ 0 h 62960"/>
                  <a:gd name="connsiteX1" fmla="*/ 27622 w 101917"/>
                  <a:gd name="connsiteY1" fmla="*/ 2953 h 62960"/>
                  <a:gd name="connsiteX2" fmla="*/ 41910 w 101917"/>
                  <a:gd name="connsiteY2" fmla="*/ 2953 h 62960"/>
                  <a:gd name="connsiteX3" fmla="*/ 60007 w 101917"/>
                  <a:gd name="connsiteY3" fmla="*/ 6763 h 62960"/>
                  <a:gd name="connsiteX4" fmla="*/ 70485 w 101917"/>
                  <a:gd name="connsiteY4" fmla="*/ 10573 h 62960"/>
                  <a:gd name="connsiteX5" fmla="*/ 80963 w 101917"/>
                  <a:gd name="connsiteY5" fmla="*/ 17240 h 62960"/>
                  <a:gd name="connsiteX6" fmla="*/ 98107 w 101917"/>
                  <a:gd name="connsiteY6" fmla="*/ 27622 h 62960"/>
                  <a:gd name="connsiteX7" fmla="*/ 101917 w 101917"/>
                  <a:gd name="connsiteY7" fmla="*/ 35338 h 62960"/>
                  <a:gd name="connsiteX8" fmla="*/ 95250 w 101917"/>
                  <a:gd name="connsiteY8" fmla="*/ 41910 h 62960"/>
                  <a:gd name="connsiteX9" fmla="*/ 77153 w 101917"/>
                  <a:gd name="connsiteY9" fmla="*/ 38100 h 62960"/>
                  <a:gd name="connsiteX10" fmla="*/ 66675 w 101917"/>
                  <a:gd name="connsiteY10" fmla="*/ 38100 h 62960"/>
                  <a:gd name="connsiteX11" fmla="*/ 52388 w 101917"/>
                  <a:gd name="connsiteY11" fmla="*/ 41910 h 62960"/>
                  <a:gd name="connsiteX12" fmla="*/ 41910 w 101917"/>
                  <a:gd name="connsiteY12" fmla="*/ 41910 h 62960"/>
                  <a:gd name="connsiteX13" fmla="*/ 35242 w 101917"/>
                  <a:gd name="connsiteY13" fmla="*/ 35338 h 62960"/>
                  <a:gd name="connsiteX14" fmla="*/ 24765 w 101917"/>
                  <a:gd name="connsiteY14" fmla="*/ 38100 h 62960"/>
                  <a:gd name="connsiteX15" fmla="*/ 20955 w 101917"/>
                  <a:gd name="connsiteY15" fmla="*/ 48673 h 62960"/>
                  <a:gd name="connsiteX16" fmla="*/ 20955 w 101917"/>
                  <a:gd name="connsiteY16" fmla="*/ 60103 h 62960"/>
                  <a:gd name="connsiteX17" fmla="*/ 14288 w 101917"/>
                  <a:gd name="connsiteY17" fmla="*/ 62960 h 62960"/>
                  <a:gd name="connsiteX18" fmla="*/ 6667 w 101917"/>
                  <a:gd name="connsiteY18" fmla="*/ 52388 h 62960"/>
                  <a:gd name="connsiteX19" fmla="*/ 6667 w 101917"/>
                  <a:gd name="connsiteY19" fmla="*/ 45815 h 62960"/>
                  <a:gd name="connsiteX20" fmla="*/ 6667 w 101917"/>
                  <a:gd name="connsiteY20" fmla="*/ 35338 h 62960"/>
                  <a:gd name="connsiteX21" fmla="*/ 0 w 101917"/>
                  <a:gd name="connsiteY21" fmla="*/ 27622 h 62960"/>
                  <a:gd name="connsiteX22" fmla="*/ 10478 w 101917"/>
                  <a:gd name="connsiteY22" fmla="*/ 24860 h 62960"/>
                  <a:gd name="connsiteX23" fmla="*/ 14288 w 101917"/>
                  <a:gd name="connsiteY23" fmla="*/ 17240 h 62960"/>
                  <a:gd name="connsiteX24" fmla="*/ 10478 w 101917"/>
                  <a:gd name="connsiteY24" fmla="*/ 0 h 62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01917" h="62960">
                    <a:moveTo>
                      <a:pt x="10478" y="0"/>
                    </a:moveTo>
                    <a:lnTo>
                      <a:pt x="27622" y="2953"/>
                    </a:lnTo>
                    <a:lnTo>
                      <a:pt x="41910" y="2953"/>
                    </a:lnTo>
                    <a:lnTo>
                      <a:pt x="60007" y="6763"/>
                    </a:lnTo>
                    <a:lnTo>
                      <a:pt x="70485" y="10573"/>
                    </a:lnTo>
                    <a:lnTo>
                      <a:pt x="80963" y="17240"/>
                    </a:lnTo>
                    <a:lnTo>
                      <a:pt x="98107" y="27622"/>
                    </a:lnTo>
                    <a:lnTo>
                      <a:pt x="101917" y="35338"/>
                    </a:lnTo>
                    <a:lnTo>
                      <a:pt x="95250" y="41910"/>
                    </a:lnTo>
                    <a:lnTo>
                      <a:pt x="77153" y="38100"/>
                    </a:lnTo>
                    <a:lnTo>
                      <a:pt x="66675" y="38100"/>
                    </a:lnTo>
                    <a:lnTo>
                      <a:pt x="52388" y="41910"/>
                    </a:lnTo>
                    <a:lnTo>
                      <a:pt x="41910" y="41910"/>
                    </a:lnTo>
                    <a:lnTo>
                      <a:pt x="35242" y="35338"/>
                    </a:lnTo>
                    <a:lnTo>
                      <a:pt x="24765" y="38100"/>
                    </a:lnTo>
                    <a:lnTo>
                      <a:pt x="20955" y="48673"/>
                    </a:lnTo>
                    <a:lnTo>
                      <a:pt x="20955" y="60103"/>
                    </a:lnTo>
                    <a:lnTo>
                      <a:pt x="14288" y="62960"/>
                    </a:lnTo>
                    <a:lnTo>
                      <a:pt x="6667" y="52388"/>
                    </a:lnTo>
                    <a:lnTo>
                      <a:pt x="6667" y="45815"/>
                    </a:lnTo>
                    <a:lnTo>
                      <a:pt x="6667" y="35338"/>
                    </a:lnTo>
                    <a:lnTo>
                      <a:pt x="0" y="27622"/>
                    </a:lnTo>
                    <a:lnTo>
                      <a:pt x="10478" y="24860"/>
                    </a:lnTo>
                    <a:lnTo>
                      <a:pt x="14288" y="17240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8DE24F5E-F220-4E50-1E55-FE4E582DAE36}"/>
                  </a:ext>
                </a:extLst>
              </p:cNvPr>
              <p:cNvSpPr/>
              <p:nvPr/>
            </p:nvSpPr>
            <p:spPr>
              <a:xfrm>
                <a:off x="4021826" y="3998345"/>
                <a:ext cx="99908" cy="61719"/>
              </a:xfrm>
              <a:custGeom>
                <a:avLst/>
                <a:gdLst>
                  <a:gd name="connsiteX0" fmla="*/ 10478 w 101917"/>
                  <a:gd name="connsiteY0" fmla="*/ 0 h 62960"/>
                  <a:gd name="connsiteX1" fmla="*/ 27622 w 101917"/>
                  <a:gd name="connsiteY1" fmla="*/ 2953 h 62960"/>
                  <a:gd name="connsiteX2" fmla="*/ 41910 w 101917"/>
                  <a:gd name="connsiteY2" fmla="*/ 2953 h 62960"/>
                  <a:gd name="connsiteX3" fmla="*/ 60007 w 101917"/>
                  <a:gd name="connsiteY3" fmla="*/ 6763 h 62960"/>
                  <a:gd name="connsiteX4" fmla="*/ 70485 w 101917"/>
                  <a:gd name="connsiteY4" fmla="*/ 10573 h 62960"/>
                  <a:gd name="connsiteX5" fmla="*/ 80963 w 101917"/>
                  <a:gd name="connsiteY5" fmla="*/ 17240 h 62960"/>
                  <a:gd name="connsiteX6" fmla="*/ 98107 w 101917"/>
                  <a:gd name="connsiteY6" fmla="*/ 27622 h 62960"/>
                  <a:gd name="connsiteX7" fmla="*/ 101917 w 101917"/>
                  <a:gd name="connsiteY7" fmla="*/ 35338 h 62960"/>
                  <a:gd name="connsiteX8" fmla="*/ 95250 w 101917"/>
                  <a:gd name="connsiteY8" fmla="*/ 41910 h 62960"/>
                  <a:gd name="connsiteX9" fmla="*/ 77153 w 101917"/>
                  <a:gd name="connsiteY9" fmla="*/ 38100 h 62960"/>
                  <a:gd name="connsiteX10" fmla="*/ 66675 w 101917"/>
                  <a:gd name="connsiteY10" fmla="*/ 38100 h 62960"/>
                  <a:gd name="connsiteX11" fmla="*/ 52388 w 101917"/>
                  <a:gd name="connsiteY11" fmla="*/ 41910 h 62960"/>
                  <a:gd name="connsiteX12" fmla="*/ 41910 w 101917"/>
                  <a:gd name="connsiteY12" fmla="*/ 41910 h 62960"/>
                  <a:gd name="connsiteX13" fmla="*/ 35242 w 101917"/>
                  <a:gd name="connsiteY13" fmla="*/ 35338 h 62960"/>
                  <a:gd name="connsiteX14" fmla="*/ 24765 w 101917"/>
                  <a:gd name="connsiteY14" fmla="*/ 38100 h 62960"/>
                  <a:gd name="connsiteX15" fmla="*/ 20955 w 101917"/>
                  <a:gd name="connsiteY15" fmla="*/ 48673 h 62960"/>
                  <a:gd name="connsiteX16" fmla="*/ 20955 w 101917"/>
                  <a:gd name="connsiteY16" fmla="*/ 60103 h 62960"/>
                  <a:gd name="connsiteX17" fmla="*/ 14288 w 101917"/>
                  <a:gd name="connsiteY17" fmla="*/ 62960 h 62960"/>
                  <a:gd name="connsiteX18" fmla="*/ 6667 w 101917"/>
                  <a:gd name="connsiteY18" fmla="*/ 52388 h 62960"/>
                  <a:gd name="connsiteX19" fmla="*/ 6667 w 101917"/>
                  <a:gd name="connsiteY19" fmla="*/ 45815 h 62960"/>
                  <a:gd name="connsiteX20" fmla="*/ 6667 w 101917"/>
                  <a:gd name="connsiteY20" fmla="*/ 35338 h 62960"/>
                  <a:gd name="connsiteX21" fmla="*/ 0 w 101917"/>
                  <a:gd name="connsiteY21" fmla="*/ 27622 h 62960"/>
                  <a:gd name="connsiteX22" fmla="*/ 10478 w 101917"/>
                  <a:gd name="connsiteY22" fmla="*/ 24860 h 62960"/>
                  <a:gd name="connsiteX23" fmla="*/ 14288 w 101917"/>
                  <a:gd name="connsiteY23" fmla="*/ 17240 h 62960"/>
                  <a:gd name="connsiteX24" fmla="*/ 10478 w 101917"/>
                  <a:gd name="connsiteY24" fmla="*/ 0 h 629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01917" h="62960">
                    <a:moveTo>
                      <a:pt x="10478" y="0"/>
                    </a:moveTo>
                    <a:lnTo>
                      <a:pt x="27622" y="2953"/>
                    </a:lnTo>
                    <a:lnTo>
                      <a:pt x="41910" y="2953"/>
                    </a:lnTo>
                    <a:lnTo>
                      <a:pt x="60007" y="6763"/>
                    </a:lnTo>
                    <a:lnTo>
                      <a:pt x="70485" y="10573"/>
                    </a:lnTo>
                    <a:lnTo>
                      <a:pt x="80963" y="17240"/>
                    </a:lnTo>
                    <a:lnTo>
                      <a:pt x="98107" y="27622"/>
                    </a:lnTo>
                    <a:lnTo>
                      <a:pt x="101917" y="35338"/>
                    </a:lnTo>
                    <a:lnTo>
                      <a:pt x="95250" y="41910"/>
                    </a:lnTo>
                    <a:lnTo>
                      <a:pt x="77153" y="38100"/>
                    </a:lnTo>
                    <a:lnTo>
                      <a:pt x="66675" y="38100"/>
                    </a:lnTo>
                    <a:lnTo>
                      <a:pt x="52388" y="41910"/>
                    </a:lnTo>
                    <a:lnTo>
                      <a:pt x="41910" y="41910"/>
                    </a:lnTo>
                    <a:lnTo>
                      <a:pt x="35242" y="35338"/>
                    </a:lnTo>
                    <a:lnTo>
                      <a:pt x="24765" y="38100"/>
                    </a:lnTo>
                    <a:lnTo>
                      <a:pt x="20955" y="48673"/>
                    </a:lnTo>
                    <a:lnTo>
                      <a:pt x="20955" y="60103"/>
                    </a:lnTo>
                    <a:lnTo>
                      <a:pt x="14288" y="62960"/>
                    </a:lnTo>
                    <a:lnTo>
                      <a:pt x="6667" y="52388"/>
                    </a:lnTo>
                    <a:lnTo>
                      <a:pt x="6667" y="45815"/>
                    </a:lnTo>
                    <a:lnTo>
                      <a:pt x="6667" y="35338"/>
                    </a:lnTo>
                    <a:lnTo>
                      <a:pt x="0" y="27622"/>
                    </a:lnTo>
                    <a:lnTo>
                      <a:pt x="10478" y="24860"/>
                    </a:lnTo>
                    <a:lnTo>
                      <a:pt x="14288" y="17240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E4FE26AC-5188-1708-3544-4BF0EA6CA12C}"/>
                  </a:ext>
                </a:extLst>
              </p:cNvPr>
              <p:cNvSpPr/>
              <p:nvPr/>
            </p:nvSpPr>
            <p:spPr>
              <a:xfrm>
                <a:off x="4152548" y="4032987"/>
                <a:ext cx="44818" cy="16713"/>
              </a:xfrm>
              <a:custGeom>
                <a:avLst/>
                <a:gdLst>
                  <a:gd name="connsiteX0" fmla="*/ 32385 w 45719"/>
                  <a:gd name="connsiteY0" fmla="*/ 0 h 17049"/>
                  <a:gd name="connsiteX1" fmla="*/ 14288 w 45719"/>
                  <a:gd name="connsiteY1" fmla="*/ 0 h 17049"/>
                  <a:gd name="connsiteX2" fmla="*/ 0 w 45719"/>
                  <a:gd name="connsiteY2" fmla="*/ 6572 h 17049"/>
                  <a:gd name="connsiteX3" fmla="*/ 7620 w 45719"/>
                  <a:gd name="connsiteY3" fmla="*/ 17050 h 17049"/>
                  <a:gd name="connsiteX4" fmla="*/ 21907 w 45719"/>
                  <a:gd name="connsiteY4" fmla="*/ 17050 h 17049"/>
                  <a:gd name="connsiteX5" fmla="*/ 39053 w 45719"/>
                  <a:gd name="connsiteY5" fmla="*/ 17050 h 17049"/>
                  <a:gd name="connsiteX6" fmla="*/ 45720 w 45719"/>
                  <a:gd name="connsiteY6" fmla="*/ 13335 h 17049"/>
                  <a:gd name="connsiteX7" fmla="*/ 45720 w 45719"/>
                  <a:gd name="connsiteY7" fmla="*/ 6572 h 17049"/>
                  <a:gd name="connsiteX8" fmla="*/ 39053 w 45719"/>
                  <a:gd name="connsiteY8" fmla="*/ 0 h 17049"/>
                  <a:gd name="connsiteX9" fmla="*/ 32385 w 45719"/>
                  <a:gd name="connsiteY9" fmla="*/ 0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719" h="17049">
                    <a:moveTo>
                      <a:pt x="32385" y="0"/>
                    </a:moveTo>
                    <a:lnTo>
                      <a:pt x="14288" y="0"/>
                    </a:lnTo>
                    <a:lnTo>
                      <a:pt x="0" y="6572"/>
                    </a:lnTo>
                    <a:lnTo>
                      <a:pt x="7620" y="17050"/>
                    </a:lnTo>
                    <a:lnTo>
                      <a:pt x="21907" y="17050"/>
                    </a:lnTo>
                    <a:lnTo>
                      <a:pt x="39053" y="17050"/>
                    </a:lnTo>
                    <a:lnTo>
                      <a:pt x="45720" y="13335"/>
                    </a:lnTo>
                    <a:lnTo>
                      <a:pt x="45720" y="6572"/>
                    </a:lnTo>
                    <a:lnTo>
                      <a:pt x="39053" y="0"/>
                    </a:lnTo>
                    <a:lnTo>
                      <a:pt x="3238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0975942F-5DE0-EF11-5F05-55582ADCB7CA}"/>
                  </a:ext>
                </a:extLst>
              </p:cNvPr>
              <p:cNvSpPr/>
              <p:nvPr/>
            </p:nvSpPr>
            <p:spPr>
              <a:xfrm>
                <a:off x="4152548" y="4032987"/>
                <a:ext cx="44818" cy="16713"/>
              </a:xfrm>
              <a:custGeom>
                <a:avLst/>
                <a:gdLst>
                  <a:gd name="connsiteX0" fmla="*/ 32385 w 45719"/>
                  <a:gd name="connsiteY0" fmla="*/ 0 h 17049"/>
                  <a:gd name="connsiteX1" fmla="*/ 14288 w 45719"/>
                  <a:gd name="connsiteY1" fmla="*/ 0 h 17049"/>
                  <a:gd name="connsiteX2" fmla="*/ 0 w 45719"/>
                  <a:gd name="connsiteY2" fmla="*/ 6572 h 17049"/>
                  <a:gd name="connsiteX3" fmla="*/ 7620 w 45719"/>
                  <a:gd name="connsiteY3" fmla="*/ 17050 h 17049"/>
                  <a:gd name="connsiteX4" fmla="*/ 21907 w 45719"/>
                  <a:gd name="connsiteY4" fmla="*/ 17050 h 17049"/>
                  <a:gd name="connsiteX5" fmla="*/ 39053 w 45719"/>
                  <a:gd name="connsiteY5" fmla="*/ 17050 h 17049"/>
                  <a:gd name="connsiteX6" fmla="*/ 45720 w 45719"/>
                  <a:gd name="connsiteY6" fmla="*/ 13335 h 17049"/>
                  <a:gd name="connsiteX7" fmla="*/ 45720 w 45719"/>
                  <a:gd name="connsiteY7" fmla="*/ 6572 h 17049"/>
                  <a:gd name="connsiteX8" fmla="*/ 39053 w 45719"/>
                  <a:gd name="connsiteY8" fmla="*/ 0 h 17049"/>
                  <a:gd name="connsiteX9" fmla="*/ 32385 w 45719"/>
                  <a:gd name="connsiteY9" fmla="*/ 0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45719" h="17049">
                    <a:moveTo>
                      <a:pt x="32385" y="0"/>
                    </a:moveTo>
                    <a:lnTo>
                      <a:pt x="14288" y="0"/>
                    </a:lnTo>
                    <a:lnTo>
                      <a:pt x="0" y="6572"/>
                    </a:lnTo>
                    <a:lnTo>
                      <a:pt x="7620" y="17050"/>
                    </a:lnTo>
                    <a:lnTo>
                      <a:pt x="21907" y="17050"/>
                    </a:lnTo>
                    <a:lnTo>
                      <a:pt x="39053" y="17050"/>
                    </a:lnTo>
                    <a:lnTo>
                      <a:pt x="45720" y="13335"/>
                    </a:lnTo>
                    <a:lnTo>
                      <a:pt x="45720" y="6572"/>
                    </a:lnTo>
                    <a:lnTo>
                      <a:pt x="39053" y="0"/>
                    </a:lnTo>
                    <a:lnTo>
                      <a:pt x="3238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17298F8F-8E2D-1D23-5AF8-67D984E6FD27}"/>
                  </a:ext>
                </a:extLst>
              </p:cNvPr>
              <p:cNvSpPr/>
              <p:nvPr/>
            </p:nvSpPr>
            <p:spPr>
              <a:xfrm>
                <a:off x="3849088" y="3842506"/>
                <a:ext cx="20541" cy="28012"/>
              </a:xfrm>
              <a:custGeom>
                <a:avLst/>
                <a:gdLst>
                  <a:gd name="connsiteX0" fmla="*/ 14288 w 20954"/>
                  <a:gd name="connsiteY0" fmla="*/ 6572 h 28575"/>
                  <a:gd name="connsiteX1" fmla="*/ 3810 w 20954"/>
                  <a:gd name="connsiteY1" fmla="*/ 0 h 28575"/>
                  <a:gd name="connsiteX2" fmla="*/ 0 w 20954"/>
                  <a:gd name="connsiteY2" fmla="*/ 14288 h 28575"/>
                  <a:gd name="connsiteX3" fmla="*/ 10478 w 20954"/>
                  <a:gd name="connsiteY3" fmla="*/ 20860 h 28575"/>
                  <a:gd name="connsiteX4" fmla="*/ 17145 w 20954"/>
                  <a:gd name="connsiteY4" fmla="*/ 28575 h 28575"/>
                  <a:gd name="connsiteX5" fmla="*/ 20955 w 20954"/>
                  <a:gd name="connsiteY5" fmla="*/ 18097 h 28575"/>
                  <a:gd name="connsiteX6" fmla="*/ 14288 w 20954"/>
                  <a:gd name="connsiteY6" fmla="*/ 657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54" h="28575">
                    <a:moveTo>
                      <a:pt x="14288" y="6572"/>
                    </a:moveTo>
                    <a:lnTo>
                      <a:pt x="3810" y="0"/>
                    </a:lnTo>
                    <a:lnTo>
                      <a:pt x="0" y="14288"/>
                    </a:lnTo>
                    <a:lnTo>
                      <a:pt x="10478" y="20860"/>
                    </a:lnTo>
                    <a:lnTo>
                      <a:pt x="17145" y="28575"/>
                    </a:lnTo>
                    <a:lnTo>
                      <a:pt x="20955" y="18097"/>
                    </a:lnTo>
                    <a:lnTo>
                      <a:pt x="14288" y="657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D84D521F-0B49-95FB-5AD0-F996015E4CAF}"/>
                  </a:ext>
                </a:extLst>
              </p:cNvPr>
              <p:cNvSpPr/>
              <p:nvPr/>
            </p:nvSpPr>
            <p:spPr>
              <a:xfrm>
                <a:off x="3849088" y="3842506"/>
                <a:ext cx="20541" cy="28012"/>
              </a:xfrm>
              <a:custGeom>
                <a:avLst/>
                <a:gdLst>
                  <a:gd name="connsiteX0" fmla="*/ 14288 w 20954"/>
                  <a:gd name="connsiteY0" fmla="*/ 6572 h 28575"/>
                  <a:gd name="connsiteX1" fmla="*/ 3810 w 20954"/>
                  <a:gd name="connsiteY1" fmla="*/ 0 h 28575"/>
                  <a:gd name="connsiteX2" fmla="*/ 0 w 20954"/>
                  <a:gd name="connsiteY2" fmla="*/ 14288 h 28575"/>
                  <a:gd name="connsiteX3" fmla="*/ 10478 w 20954"/>
                  <a:gd name="connsiteY3" fmla="*/ 20860 h 28575"/>
                  <a:gd name="connsiteX4" fmla="*/ 17145 w 20954"/>
                  <a:gd name="connsiteY4" fmla="*/ 28575 h 28575"/>
                  <a:gd name="connsiteX5" fmla="*/ 20955 w 20954"/>
                  <a:gd name="connsiteY5" fmla="*/ 18097 h 28575"/>
                  <a:gd name="connsiteX6" fmla="*/ 14288 w 20954"/>
                  <a:gd name="connsiteY6" fmla="*/ 6572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54" h="28575">
                    <a:moveTo>
                      <a:pt x="14288" y="6572"/>
                    </a:moveTo>
                    <a:lnTo>
                      <a:pt x="3810" y="0"/>
                    </a:lnTo>
                    <a:lnTo>
                      <a:pt x="0" y="14288"/>
                    </a:lnTo>
                    <a:lnTo>
                      <a:pt x="10478" y="20860"/>
                    </a:lnTo>
                    <a:lnTo>
                      <a:pt x="17145" y="28575"/>
                    </a:lnTo>
                    <a:lnTo>
                      <a:pt x="20955" y="18097"/>
                    </a:lnTo>
                    <a:lnTo>
                      <a:pt x="14288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9E7E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22689FD6-E743-EEE9-393D-131DE4BE2CBE}"/>
                  </a:ext>
                </a:extLst>
              </p:cNvPr>
              <p:cNvSpPr/>
              <p:nvPr/>
            </p:nvSpPr>
            <p:spPr>
              <a:xfrm>
                <a:off x="4215107" y="3621211"/>
                <a:ext cx="20542" cy="14005"/>
              </a:xfrm>
              <a:custGeom>
                <a:avLst/>
                <a:gdLst>
                  <a:gd name="connsiteX0" fmla="*/ 10478 w 20955"/>
                  <a:gd name="connsiteY0" fmla="*/ 0 h 14287"/>
                  <a:gd name="connsiteX1" fmla="*/ 3810 w 20955"/>
                  <a:gd name="connsiteY1" fmla="*/ 3715 h 14287"/>
                  <a:gd name="connsiteX2" fmla="*/ 0 w 20955"/>
                  <a:gd name="connsiteY2" fmla="*/ 14288 h 14287"/>
                  <a:gd name="connsiteX3" fmla="*/ 14288 w 20955"/>
                  <a:gd name="connsiteY3" fmla="*/ 14288 h 14287"/>
                  <a:gd name="connsiteX4" fmla="*/ 20955 w 20955"/>
                  <a:gd name="connsiteY4" fmla="*/ 14288 h 14287"/>
                  <a:gd name="connsiteX5" fmla="*/ 10478 w 20955"/>
                  <a:gd name="connsiteY5" fmla="*/ 0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" h="14287">
                    <a:moveTo>
                      <a:pt x="10478" y="0"/>
                    </a:moveTo>
                    <a:lnTo>
                      <a:pt x="3810" y="3715"/>
                    </a:lnTo>
                    <a:lnTo>
                      <a:pt x="0" y="14288"/>
                    </a:lnTo>
                    <a:lnTo>
                      <a:pt x="14288" y="14288"/>
                    </a:lnTo>
                    <a:lnTo>
                      <a:pt x="20955" y="14288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F45856F1-0B3B-4709-CE01-AEF0601DA9F7}"/>
                  </a:ext>
                </a:extLst>
              </p:cNvPr>
              <p:cNvSpPr/>
              <p:nvPr/>
            </p:nvSpPr>
            <p:spPr>
              <a:xfrm>
                <a:off x="4215107" y="3621211"/>
                <a:ext cx="20542" cy="14005"/>
              </a:xfrm>
              <a:custGeom>
                <a:avLst/>
                <a:gdLst>
                  <a:gd name="connsiteX0" fmla="*/ 10478 w 20955"/>
                  <a:gd name="connsiteY0" fmla="*/ 0 h 14287"/>
                  <a:gd name="connsiteX1" fmla="*/ 3810 w 20955"/>
                  <a:gd name="connsiteY1" fmla="*/ 3715 h 14287"/>
                  <a:gd name="connsiteX2" fmla="*/ 0 w 20955"/>
                  <a:gd name="connsiteY2" fmla="*/ 14288 h 14287"/>
                  <a:gd name="connsiteX3" fmla="*/ 14288 w 20955"/>
                  <a:gd name="connsiteY3" fmla="*/ 14288 h 14287"/>
                  <a:gd name="connsiteX4" fmla="*/ 20955 w 20955"/>
                  <a:gd name="connsiteY4" fmla="*/ 14288 h 14287"/>
                  <a:gd name="connsiteX5" fmla="*/ 10478 w 20955"/>
                  <a:gd name="connsiteY5" fmla="*/ 0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0955" h="14287">
                    <a:moveTo>
                      <a:pt x="10478" y="0"/>
                    </a:moveTo>
                    <a:lnTo>
                      <a:pt x="3810" y="3715"/>
                    </a:lnTo>
                    <a:lnTo>
                      <a:pt x="0" y="14288"/>
                    </a:lnTo>
                    <a:lnTo>
                      <a:pt x="14288" y="14288"/>
                    </a:lnTo>
                    <a:lnTo>
                      <a:pt x="20955" y="14288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7614A56C-7135-603C-6162-13737119F247}"/>
                  </a:ext>
                </a:extLst>
              </p:cNvPr>
              <p:cNvSpPr/>
              <p:nvPr/>
            </p:nvSpPr>
            <p:spPr>
              <a:xfrm>
                <a:off x="6719355" y="3320549"/>
                <a:ext cx="504211" cy="193282"/>
              </a:xfrm>
              <a:custGeom>
                <a:avLst/>
                <a:gdLst>
                  <a:gd name="connsiteX0" fmla="*/ 18098 w 514350"/>
                  <a:gd name="connsiteY0" fmla="*/ 84677 h 197167"/>
                  <a:gd name="connsiteX1" fmla="*/ 0 w 514350"/>
                  <a:gd name="connsiteY1" fmla="*/ 80963 h 197167"/>
                  <a:gd name="connsiteX2" fmla="*/ 0 w 514350"/>
                  <a:gd name="connsiteY2" fmla="*/ 74295 h 197167"/>
                  <a:gd name="connsiteX3" fmla="*/ 10477 w 514350"/>
                  <a:gd name="connsiteY3" fmla="*/ 60007 h 197167"/>
                  <a:gd name="connsiteX4" fmla="*/ 21907 w 514350"/>
                  <a:gd name="connsiteY4" fmla="*/ 56102 h 197167"/>
                  <a:gd name="connsiteX5" fmla="*/ 45720 w 514350"/>
                  <a:gd name="connsiteY5" fmla="*/ 60007 h 197167"/>
                  <a:gd name="connsiteX6" fmla="*/ 67627 w 514350"/>
                  <a:gd name="connsiteY6" fmla="*/ 60007 h 197167"/>
                  <a:gd name="connsiteX7" fmla="*/ 80963 w 514350"/>
                  <a:gd name="connsiteY7" fmla="*/ 60007 h 197167"/>
                  <a:gd name="connsiteX8" fmla="*/ 80963 w 514350"/>
                  <a:gd name="connsiteY8" fmla="*/ 49530 h 197167"/>
                  <a:gd name="connsiteX9" fmla="*/ 91440 w 514350"/>
                  <a:gd name="connsiteY9" fmla="*/ 45720 h 197167"/>
                  <a:gd name="connsiteX10" fmla="*/ 102870 w 514350"/>
                  <a:gd name="connsiteY10" fmla="*/ 45720 h 197167"/>
                  <a:gd name="connsiteX11" fmla="*/ 91440 w 514350"/>
                  <a:gd name="connsiteY11" fmla="*/ 38957 h 197167"/>
                  <a:gd name="connsiteX12" fmla="*/ 80963 w 514350"/>
                  <a:gd name="connsiteY12" fmla="*/ 38957 h 197167"/>
                  <a:gd name="connsiteX13" fmla="*/ 80963 w 514350"/>
                  <a:gd name="connsiteY13" fmla="*/ 28575 h 197167"/>
                  <a:gd name="connsiteX14" fmla="*/ 120015 w 514350"/>
                  <a:gd name="connsiteY14" fmla="*/ 31432 h 197167"/>
                  <a:gd name="connsiteX15" fmla="*/ 144780 w 514350"/>
                  <a:gd name="connsiteY15" fmla="*/ 31432 h 197167"/>
                  <a:gd name="connsiteX16" fmla="*/ 159068 w 514350"/>
                  <a:gd name="connsiteY16" fmla="*/ 18002 h 197167"/>
                  <a:gd name="connsiteX17" fmla="*/ 194310 w 514350"/>
                  <a:gd name="connsiteY17" fmla="*/ 0 h 197167"/>
                  <a:gd name="connsiteX18" fmla="*/ 246698 w 514350"/>
                  <a:gd name="connsiteY18" fmla="*/ 0 h 197167"/>
                  <a:gd name="connsiteX19" fmla="*/ 257175 w 514350"/>
                  <a:gd name="connsiteY19" fmla="*/ 20955 h 197167"/>
                  <a:gd name="connsiteX20" fmla="*/ 271463 w 514350"/>
                  <a:gd name="connsiteY20" fmla="*/ 18002 h 197167"/>
                  <a:gd name="connsiteX21" fmla="*/ 281940 w 514350"/>
                  <a:gd name="connsiteY21" fmla="*/ 28575 h 197167"/>
                  <a:gd name="connsiteX22" fmla="*/ 296227 w 514350"/>
                  <a:gd name="connsiteY22" fmla="*/ 31432 h 197167"/>
                  <a:gd name="connsiteX23" fmla="*/ 320993 w 514350"/>
                  <a:gd name="connsiteY23" fmla="*/ 38957 h 197167"/>
                  <a:gd name="connsiteX24" fmla="*/ 352425 w 514350"/>
                  <a:gd name="connsiteY24" fmla="*/ 38957 h 197167"/>
                  <a:gd name="connsiteX25" fmla="*/ 383857 w 514350"/>
                  <a:gd name="connsiteY25" fmla="*/ 38957 h 197167"/>
                  <a:gd name="connsiteX26" fmla="*/ 412432 w 514350"/>
                  <a:gd name="connsiteY26" fmla="*/ 31432 h 197167"/>
                  <a:gd name="connsiteX27" fmla="*/ 426720 w 514350"/>
                  <a:gd name="connsiteY27" fmla="*/ 18002 h 197167"/>
                  <a:gd name="connsiteX28" fmla="*/ 437198 w 514350"/>
                  <a:gd name="connsiteY28" fmla="*/ 20955 h 197167"/>
                  <a:gd name="connsiteX29" fmla="*/ 443865 w 514350"/>
                  <a:gd name="connsiteY29" fmla="*/ 24670 h 197167"/>
                  <a:gd name="connsiteX30" fmla="*/ 447675 w 514350"/>
                  <a:gd name="connsiteY30" fmla="*/ 14288 h 197167"/>
                  <a:gd name="connsiteX31" fmla="*/ 461963 w 514350"/>
                  <a:gd name="connsiteY31" fmla="*/ 18002 h 197167"/>
                  <a:gd name="connsiteX32" fmla="*/ 472440 w 514350"/>
                  <a:gd name="connsiteY32" fmla="*/ 28575 h 197167"/>
                  <a:gd name="connsiteX33" fmla="*/ 482918 w 514350"/>
                  <a:gd name="connsiteY33" fmla="*/ 35242 h 197167"/>
                  <a:gd name="connsiteX34" fmla="*/ 482918 w 514350"/>
                  <a:gd name="connsiteY34" fmla="*/ 53245 h 197167"/>
                  <a:gd name="connsiteX35" fmla="*/ 482918 w 514350"/>
                  <a:gd name="connsiteY35" fmla="*/ 74295 h 197167"/>
                  <a:gd name="connsiteX36" fmla="*/ 503873 w 514350"/>
                  <a:gd name="connsiteY36" fmla="*/ 74295 h 197167"/>
                  <a:gd name="connsiteX37" fmla="*/ 514350 w 514350"/>
                  <a:gd name="connsiteY37" fmla="*/ 80963 h 197167"/>
                  <a:gd name="connsiteX38" fmla="*/ 500063 w 514350"/>
                  <a:gd name="connsiteY38" fmla="*/ 84677 h 197167"/>
                  <a:gd name="connsiteX39" fmla="*/ 497205 w 514350"/>
                  <a:gd name="connsiteY39" fmla="*/ 91345 h 197167"/>
                  <a:gd name="connsiteX40" fmla="*/ 500063 w 514350"/>
                  <a:gd name="connsiteY40" fmla="*/ 105632 h 197167"/>
                  <a:gd name="connsiteX41" fmla="*/ 503873 w 514350"/>
                  <a:gd name="connsiteY41" fmla="*/ 119920 h 197167"/>
                  <a:gd name="connsiteX42" fmla="*/ 507682 w 514350"/>
                  <a:gd name="connsiteY42" fmla="*/ 137065 h 197167"/>
                  <a:gd name="connsiteX43" fmla="*/ 514350 w 514350"/>
                  <a:gd name="connsiteY43" fmla="*/ 155257 h 197167"/>
                  <a:gd name="connsiteX44" fmla="*/ 510540 w 514350"/>
                  <a:gd name="connsiteY44" fmla="*/ 161925 h 197167"/>
                  <a:gd name="connsiteX45" fmla="*/ 497205 w 514350"/>
                  <a:gd name="connsiteY45" fmla="*/ 159067 h 197167"/>
                  <a:gd name="connsiteX46" fmla="*/ 461963 w 514350"/>
                  <a:gd name="connsiteY46" fmla="*/ 151352 h 197167"/>
                  <a:gd name="connsiteX47" fmla="*/ 443865 w 514350"/>
                  <a:gd name="connsiteY47" fmla="*/ 161925 h 197167"/>
                  <a:gd name="connsiteX48" fmla="*/ 398145 w 514350"/>
                  <a:gd name="connsiteY48" fmla="*/ 161925 h 197167"/>
                  <a:gd name="connsiteX49" fmla="*/ 377190 w 514350"/>
                  <a:gd name="connsiteY49" fmla="*/ 176213 h 197167"/>
                  <a:gd name="connsiteX50" fmla="*/ 345757 w 514350"/>
                  <a:gd name="connsiteY50" fmla="*/ 179927 h 197167"/>
                  <a:gd name="connsiteX51" fmla="*/ 335280 w 514350"/>
                  <a:gd name="connsiteY51" fmla="*/ 169545 h 197167"/>
                  <a:gd name="connsiteX52" fmla="*/ 324802 w 514350"/>
                  <a:gd name="connsiteY52" fmla="*/ 169545 h 197167"/>
                  <a:gd name="connsiteX53" fmla="*/ 320993 w 514350"/>
                  <a:gd name="connsiteY53" fmla="*/ 176213 h 197167"/>
                  <a:gd name="connsiteX54" fmla="*/ 300038 w 514350"/>
                  <a:gd name="connsiteY54" fmla="*/ 176213 h 197167"/>
                  <a:gd name="connsiteX55" fmla="*/ 289560 w 514350"/>
                  <a:gd name="connsiteY55" fmla="*/ 169545 h 197167"/>
                  <a:gd name="connsiteX56" fmla="*/ 285750 w 514350"/>
                  <a:gd name="connsiteY56" fmla="*/ 183832 h 197167"/>
                  <a:gd name="connsiteX57" fmla="*/ 271463 w 514350"/>
                  <a:gd name="connsiteY57" fmla="*/ 197167 h 197167"/>
                  <a:gd name="connsiteX58" fmla="*/ 267652 w 514350"/>
                  <a:gd name="connsiteY58" fmla="*/ 183832 h 197167"/>
                  <a:gd name="connsiteX59" fmla="*/ 275273 w 514350"/>
                  <a:gd name="connsiteY59" fmla="*/ 169545 h 197167"/>
                  <a:gd name="connsiteX60" fmla="*/ 264795 w 514350"/>
                  <a:gd name="connsiteY60" fmla="*/ 169545 h 197167"/>
                  <a:gd name="connsiteX61" fmla="*/ 257175 w 514350"/>
                  <a:gd name="connsiteY61" fmla="*/ 176213 h 197167"/>
                  <a:gd name="connsiteX62" fmla="*/ 232410 w 514350"/>
                  <a:gd name="connsiteY62" fmla="*/ 172307 h 197167"/>
                  <a:gd name="connsiteX63" fmla="*/ 225743 w 514350"/>
                  <a:gd name="connsiteY63" fmla="*/ 176213 h 197167"/>
                  <a:gd name="connsiteX64" fmla="*/ 211455 w 514350"/>
                  <a:gd name="connsiteY64" fmla="*/ 190500 h 197167"/>
                  <a:gd name="connsiteX65" fmla="*/ 194310 w 514350"/>
                  <a:gd name="connsiteY65" fmla="*/ 194215 h 197167"/>
                  <a:gd name="connsiteX66" fmla="*/ 176213 w 514350"/>
                  <a:gd name="connsiteY66" fmla="*/ 194215 h 197167"/>
                  <a:gd name="connsiteX67" fmla="*/ 161925 w 514350"/>
                  <a:gd name="connsiteY67" fmla="*/ 183832 h 197167"/>
                  <a:gd name="connsiteX68" fmla="*/ 140970 w 514350"/>
                  <a:gd name="connsiteY68" fmla="*/ 176213 h 197167"/>
                  <a:gd name="connsiteX69" fmla="*/ 126682 w 514350"/>
                  <a:gd name="connsiteY69" fmla="*/ 169545 h 197167"/>
                  <a:gd name="connsiteX70" fmla="*/ 116205 w 514350"/>
                  <a:gd name="connsiteY70" fmla="*/ 172307 h 197167"/>
                  <a:gd name="connsiteX71" fmla="*/ 120015 w 514350"/>
                  <a:gd name="connsiteY71" fmla="*/ 183832 h 197167"/>
                  <a:gd name="connsiteX72" fmla="*/ 116205 w 514350"/>
                  <a:gd name="connsiteY72" fmla="*/ 190500 h 197167"/>
                  <a:gd name="connsiteX73" fmla="*/ 88582 w 514350"/>
                  <a:gd name="connsiteY73" fmla="*/ 190500 h 197167"/>
                  <a:gd name="connsiteX74" fmla="*/ 70485 w 514350"/>
                  <a:gd name="connsiteY74" fmla="*/ 176213 h 197167"/>
                  <a:gd name="connsiteX75" fmla="*/ 60007 w 514350"/>
                  <a:gd name="connsiteY75" fmla="*/ 169545 h 197167"/>
                  <a:gd name="connsiteX76" fmla="*/ 35243 w 514350"/>
                  <a:gd name="connsiteY76" fmla="*/ 161925 h 197167"/>
                  <a:gd name="connsiteX77" fmla="*/ 28575 w 514350"/>
                  <a:gd name="connsiteY77" fmla="*/ 148495 h 197167"/>
                  <a:gd name="connsiteX78" fmla="*/ 28575 w 514350"/>
                  <a:gd name="connsiteY78" fmla="*/ 137065 h 197167"/>
                  <a:gd name="connsiteX79" fmla="*/ 10477 w 514350"/>
                  <a:gd name="connsiteY79" fmla="*/ 130492 h 197167"/>
                  <a:gd name="connsiteX80" fmla="*/ 18098 w 514350"/>
                  <a:gd name="connsiteY80" fmla="*/ 119920 h 197167"/>
                  <a:gd name="connsiteX81" fmla="*/ 24765 w 514350"/>
                  <a:gd name="connsiteY81" fmla="*/ 109538 h 197167"/>
                  <a:gd name="connsiteX82" fmla="*/ 21907 w 514350"/>
                  <a:gd name="connsiteY82" fmla="*/ 95250 h 197167"/>
                  <a:gd name="connsiteX83" fmla="*/ 18098 w 514350"/>
                  <a:gd name="connsiteY83" fmla="*/ 84677 h 197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</a:cxnLst>
                <a:rect l="l" t="t" r="r" b="b"/>
                <a:pathLst>
                  <a:path w="514350" h="197167">
                    <a:moveTo>
                      <a:pt x="18098" y="84677"/>
                    </a:moveTo>
                    <a:lnTo>
                      <a:pt x="0" y="80963"/>
                    </a:lnTo>
                    <a:lnTo>
                      <a:pt x="0" y="74295"/>
                    </a:lnTo>
                    <a:lnTo>
                      <a:pt x="10477" y="60007"/>
                    </a:lnTo>
                    <a:lnTo>
                      <a:pt x="21907" y="56102"/>
                    </a:lnTo>
                    <a:lnTo>
                      <a:pt x="45720" y="60007"/>
                    </a:lnTo>
                    <a:lnTo>
                      <a:pt x="67627" y="60007"/>
                    </a:lnTo>
                    <a:lnTo>
                      <a:pt x="80963" y="60007"/>
                    </a:lnTo>
                    <a:lnTo>
                      <a:pt x="80963" y="49530"/>
                    </a:lnTo>
                    <a:lnTo>
                      <a:pt x="91440" y="45720"/>
                    </a:lnTo>
                    <a:lnTo>
                      <a:pt x="102870" y="45720"/>
                    </a:lnTo>
                    <a:lnTo>
                      <a:pt x="91440" y="38957"/>
                    </a:lnTo>
                    <a:lnTo>
                      <a:pt x="80963" y="38957"/>
                    </a:lnTo>
                    <a:lnTo>
                      <a:pt x="80963" y="28575"/>
                    </a:lnTo>
                    <a:lnTo>
                      <a:pt x="120015" y="31432"/>
                    </a:lnTo>
                    <a:lnTo>
                      <a:pt x="144780" y="31432"/>
                    </a:lnTo>
                    <a:lnTo>
                      <a:pt x="159068" y="18002"/>
                    </a:lnTo>
                    <a:lnTo>
                      <a:pt x="194310" y="0"/>
                    </a:lnTo>
                    <a:lnTo>
                      <a:pt x="246698" y="0"/>
                    </a:lnTo>
                    <a:lnTo>
                      <a:pt x="257175" y="20955"/>
                    </a:lnTo>
                    <a:lnTo>
                      <a:pt x="271463" y="18002"/>
                    </a:lnTo>
                    <a:lnTo>
                      <a:pt x="281940" y="28575"/>
                    </a:lnTo>
                    <a:lnTo>
                      <a:pt x="296227" y="31432"/>
                    </a:lnTo>
                    <a:lnTo>
                      <a:pt x="320993" y="38957"/>
                    </a:lnTo>
                    <a:lnTo>
                      <a:pt x="352425" y="38957"/>
                    </a:lnTo>
                    <a:lnTo>
                      <a:pt x="383857" y="38957"/>
                    </a:lnTo>
                    <a:lnTo>
                      <a:pt x="412432" y="31432"/>
                    </a:lnTo>
                    <a:lnTo>
                      <a:pt x="426720" y="18002"/>
                    </a:lnTo>
                    <a:lnTo>
                      <a:pt x="437198" y="20955"/>
                    </a:lnTo>
                    <a:lnTo>
                      <a:pt x="443865" y="24670"/>
                    </a:lnTo>
                    <a:lnTo>
                      <a:pt x="447675" y="14288"/>
                    </a:lnTo>
                    <a:lnTo>
                      <a:pt x="461963" y="18002"/>
                    </a:lnTo>
                    <a:lnTo>
                      <a:pt x="472440" y="28575"/>
                    </a:lnTo>
                    <a:lnTo>
                      <a:pt x="482918" y="35242"/>
                    </a:lnTo>
                    <a:lnTo>
                      <a:pt x="482918" y="53245"/>
                    </a:lnTo>
                    <a:lnTo>
                      <a:pt x="482918" y="74295"/>
                    </a:lnTo>
                    <a:lnTo>
                      <a:pt x="503873" y="74295"/>
                    </a:lnTo>
                    <a:lnTo>
                      <a:pt x="514350" y="80963"/>
                    </a:lnTo>
                    <a:lnTo>
                      <a:pt x="500063" y="84677"/>
                    </a:lnTo>
                    <a:lnTo>
                      <a:pt x="497205" y="91345"/>
                    </a:lnTo>
                    <a:lnTo>
                      <a:pt x="500063" y="105632"/>
                    </a:lnTo>
                    <a:lnTo>
                      <a:pt x="503873" y="119920"/>
                    </a:lnTo>
                    <a:lnTo>
                      <a:pt x="507682" y="137065"/>
                    </a:lnTo>
                    <a:lnTo>
                      <a:pt x="514350" y="155257"/>
                    </a:lnTo>
                    <a:lnTo>
                      <a:pt x="510540" y="161925"/>
                    </a:lnTo>
                    <a:lnTo>
                      <a:pt x="497205" y="159067"/>
                    </a:lnTo>
                    <a:lnTo>
                      <a:pt x="461963" y="151352"/>
                    </a:lnTo>
                    <a:lnTo>
                      <a:pt x="443865" y="161925"/>
                    </a:lnTo>
                    <a:lnTo>
                      <a:pt x="398145" y="161925"/>
                    </a:lnTo>
                    <a:lnTo>
                      <a:pt x="377190" y="176213"/>
                    </a:lnTo>
                    <a:lnTo>
                      <a:pt x="345757" y="179927"/>
                    </a:lnTo>
                    <a:lnTo>
                      <a:pt x="335280" y="169545"/>
                    </a:lnTo>
                    <a:lnTo>
                      <a:pt x="324802" y="169545"/>
                    </a:lnTo>
                    <a:lnTo>
                      <a:pt x="320993" y="176213"/>
                    </a:lnTo>
                    <a:lnTo>
                      <a:pt x="300038" y="176213"/>
                    </a:lnTo>
                    <a:lnTo>
                      <a:pt x="289560" y="169545"/>
                    </a:lnTo>
                    <a:lnTo>
                      <a:pt x="285750" y="183832"/>
                    </a:lnTo>
                    <a:lnTo>
                      <a:pt x="271463" y="197167"/>
                    </a:lnTo>
                    <a:lnTo>
                      <a:pt x="267652" y="183832"/>
                    </a:lnTo>
                    <a:lnTo>
                      <a:pt x="275273" y="169545"/>
                    </a:lnTo>
                    <a:lnTo>
                      <a:pt x="264795" y="169545"/>
                    </a:lnTo>
                    <a:lnTo>
                      <a:pt x="257175" y="176213"/>
                    </a:lnTo>
                    <a:lnTo>
                      <a:pt x="232410" y="172307"/>
                    </a:lnTo>
                    <a:lnTo>
                      <a:pt x="225743" y="176213"/>
                    </a:lnTo>
                    <a:lnTo>
                      <a:pt x="211455" y="190500"/>
                    </a:lnTo>
                    <a:lnTo>
                      <a:pt x="194310" y="194215"/>
                    </a:lnTo>
                    <a:lnTo>
                      <a:pt x="176213" y="194215"/>
                    </a:lnTo>
                    <a:lnTo>
                      <a:pt x="161925" y="183832"/>
                    </a:lnTo>
                    <a:lnTo>
                      <a:pt x="140970" y="176213"/>
                    </a:lnTo>
                    <a:lnTo>
                      <a:pt x="126682" y="169545"/>
                    </a:lnTo>
                    <a:lnTo>
                      <a:pt x="116205" y="172307"/>
                    </a:lnTo>
                    <a:lnTo>
                      <a:pt x="120015" y="183832"/>
                    </a:lnTo>
                    <a:lnTo>
                      <a:pt x="116205" y="190500"/>
                    </a:lnTo>
                    <a:lnTo>
                      <a:pt x="88582" y="190500"/>
                    </a:lnTo>
                    <a:lnTo>
                      <a:pt x="70485" y="176213"/>
                    </a:lnTo>
                    <a:lnTo>
                      <a:pt x="60007" y="169545"/>
                    </a:lnTo>
                    <a:lnTo>
                      <a:pt x="35243" y="161925"/>
                    </a:lnTo>
                    <a:lnTo>
                      <a:pt x="28575" y="148495"/>
                    </a:lnTo>
                    <a:lnTo>
                      <a:pt x="28575" y="137065"/>
                    </a:lnTo>
                    <a:lnTo>
                      <a:pt x="10477" y="130492"/>
                    </a:lnTo>
                    <a:lnTo>
                      <a:pt x="18098" y="119920"/>
                    </a:lnTo>
                    <a:lnTo>
                      <a:pt x="24765" y="109538"/>
                    </a:lnTo>
                    <a:lnTo>
                      <a:pt x="21907" y="95250"/>
                    </a:lnTo>
                    <a:lnTo>
                      <a:pt x="18098" y="8467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D8A3F2A7-2E7A-5B2B-8BCA-242167A73E28}"/>
                  </a:ext>
                </a:extLst>
              </p:cNvPr>
              <p:cNvSpPr/>
              <p:nvPr/>
            </p:nvSpPr>
            <p:spPr>
              <a:xfrm>
                <a:off x="6574629" y="2746304"/>
                <a:ext cx="200750" cy="93373"/>
              </a:xfrm>
              <a:custGeom>
                <a:avLst/>
                <a:gdLst>
                  <a:gd name="connsiteX0" fmla="*/ 45720 w 204787"/>
                  <a:gd name="connsiteY0" fmla="*/ 21907 h 95250"/>
                  <a:gd name="connsiteX1" fmla="*/ 63818 w 204787"/>
                  <a:gd name="connsiteY1" fmla="*/ 32290 h 95250"/>
                  <a:gd name="connsiteX2" fmla="*/ 80963 w 204787"/>
                  <a:gd name="connsiteY2" fmla="*/ 42863 h 95250"/>
                  <a:gd name="connsiteX3" fmla="*/ 95250 w 204787"/>
                  <a:gd name="connsiteY3" fmla="*/ 32290 h 95250"/>
                  <a:gd name="connsiteX4" fmla="*/ 99060 w 204787"/>
                  <a:gd name="connsiteY4" fmla="*/ 14288 h 95250"/>
                  <a:gd name="connsiteX5" fmla="*/ 99060 w 204787"/>
                  <a:gd name="connsiteY5" fmla="*/ 0 h 95250"/>
                  <a:gd name="connsiteX6" fmla="*/ 120015 w 204787"/>
                  <a:gd name="connsiteY6" fmla="*/ 0 h 95250"/>
                  <a:gd name="connsiteX7" fmla="*/ 140970 w 204787"/>
                  <a:gd name="connsiteY7" fmla="*/ 7620 h 95250"/>
                  <a:gd name="connsiteX8" fmla="*/ 155257 w 204787"/>
                  <a:gd name="connsiteY8" fmla="*/ 11430 h 95250"/>
                  <a:gd name="connsiteX9" fmla="*/ 180023 w 204787"/>
                  <a:gd name="connsiteY9" fmla="*/ 14288 h 95250"/>
                  <a:gd name="connsiteX10" fmla="*/ 182880 w 204787"/>
                  <a:gd name="connsiteY10" fmla="*/ 21907 h 95250"/>
                  <a:gd name="connsiteX11" fmla="*/ 190500 w 204787"/>
                  <a:gd name="connsiteY11" fmla="*/ 35242 h 95250"/>
                  <a:gd name="connsiteX12" fmla="*/ 197168 w 204787"/>
                  <a:gd name="connsiteY12" fmla="*/ 63817 h 95250"/>
                  <a:gd name="connsiteX13" fmla="*/ 204788 w 204787"/>
                  <a:gd name="connsiteY13" fmla="*/ 74295 h 95250"/>
                  <a:gd name="connsiteX14" fmla="*/ 182880 w 204787"/>
                  <a:gd name="connsiteY14" fmla="*/ 88582 h 95250"/>
                  <a:gd name="connsiteX15" fmla="*/ 158115 w 204787"/>
                  <a:gd name="connsiteY15" fmla="*/ 95250 h 95250"/>
                  <a:gd name="connsiteX16" fmla="*/ 109538 w 204787"/>
                  <a:gd name="connsiteY16" fmla="*/ 63817 h 95250"/>
                  <a:gd name="connsiteX17" fmla="*/ 18098 w 204787"/>
                  <a:gd name="connsiteY17" fmla="*/ 67532 h 95250"/>
                  <a:gd name="connsiteX18" fmla="*/ 0 w 204787"/>
                  <a:gd name="connsiteY18" fmla="*/ 71438 h 95250"/>
                  <a:gd name="connsiteX19" fmla="*/ 0 w 204787"/>
                  <a:gd name="connsiteY19" fmla="*/ 53245 h 95250"/>
                  <a:gd name="connsiteX20" fmla="*/ 14288 w 204787"/>
                  <a:gd name="connsiteY20" fmla="*/ 35242 h 95250"/>
                  <a:gd name="connsiteX21" fmla="*/ 24765 w 204787"/>
                  <a:gd name="connsiteY21" fmla="*/ 18002 h 95250"/>
                  <a:gd name="connsiteX22" fmla="*/ 45720 w 204787"/>
                  <a:gd name="connsiteY22" fmla="*/ 21907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204787" h="95250">
                    <a:moveTo>
                      <a:pt x="45720" y="21907"/>
                    </a:moveTo>
                    <a:lnTo>
                      <a:pt x="63818" y="32290"/>
                    </a:lnTo>
                    <a:lnTo>
                      <a:pt x="80963" y="42863"/>
                    </a:lnTo>
                    <a:lnTo>
                      <a:pt x="95250" y="32290"/>
                    </a:lnTo>
                    <a:lnTo>
                      <a:pt x="99060" y="14288"/>
                    </a:lnTo>
                    <a:lnTo>
                      <a:pt x="99060" y="0"/>
                    </a:lnTo>
                    <a:lnTo>
                      <a:pt x="120015" y="0"/>
                    </a:lnTo>
                    <a:lnTo>
                      <a:pt x="140970" y="7620"/>
                    </a:lnTo>
                    <a:lnTo>
                      <a:pt x="155257" y="11430"/>
                    </a:lnTo>
                    <a:lnTo>
                      <a:pt x="180023" y="14288"/>
                    </a:lnTo>
                    <a:lnTo>
                      <a:pt x="182880" y="21907"/>
                    </a:lnTo>
                    <a:lnTo>
                      <a:pt x="190500" y="35242"/>
                    </a:lnTo>
                    <a:lnTo>
                      <a:pt x="197168" y="63817"/>
                    </a:lnTo>
                    <a:lnTo>
                      <a:pt x="204788" y="74295"/>
                    </a:lnTo>
                    <a:lnTo>
                      <a:pt x="182880" y="88582"/>
                    </a:lnTo>
                    <a:lnTo>
                      <a:pt x="158115" y="95250"/>
                    </a:lnTo>
                    <a:lnTo>
                      <a:pt x="109538" y="63817"/>
                    </a:lnTo>
                    <a:lnTo>
                      <a:pt x="18098" y="67532"/>
                    </a:lnTo>
                    <a:lnTo>
                      <a:pt x="0" y="71438"/>
                    </a:lnTo>
                    <a:lnTo>
                      <a:pt x="0" y="53245"/>
                    </a:lnTo>
                    <a:lnTo>
                      <a:pt x="14288" y="35242"/>
                    </a:lnTo>
                    <a:lnTo>
                      <a:pt x="24765" y="18002"/>
                    </a:lnTo>
                    <a:lnTo>
                      <a:pt x="45720" y="2190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204424B1-6507-EA08-4B49-9DCF041242AA}"/>
                  </a:ext>
                </a:extLst>
              </p:cNvPr>
              <p:cNvSpPr/>
              <p:nvPr/>
            </p:nvSpPr>
            <p:spPr>
              <a:xfrm>
                <a:off x="6574629" y="2808864"/>
                <a:ext cx="154997" cy="93373"/>
              </a:xfrm>
              <a:custGeom>
                <a:avLst/>
                <a:gdLst>
                  <a:gd name="connsiteX0" fmla="*/ 0 w 158114"/>
                  <a:gd name="connsiteY0" fmla="*/ 7620 h 95250"/>
                  <a:gd name="connsiteX1" fmla="*/ 18098 w 158114"/>
                  <a:gd name="connsiteY1" fmla="*/ 3715 h 95250"/>
                  <a:gd name="connsiteX2" fmla="*/ 109538 w 158114"/>
                  <a:gd name="connsiteY2" fmla="*/ 0 h 95250"/>
                  <a:gd name="connsiteX3" fmla="*/ 158115 w 158114"/>
                  <a:gd name="connsiteY3" fmla="*/ 31433 h 95250"/>
                  <a:gd name="connsiteX4" fmla="*/ 158115 w 158114"/>
                  <a:gd name="connsiteY4" fmla="*/ 53340 h 95250"/>
                  <a:gd name="connsiteX5" fmla="*/ 134302 w 158114"/>
                  <a:gd name="connsiteY5" fmla="*/ 60008 h 95250"/>
                  <a:gd name="connsiteX6" fmla="*/ 130493 w 158114"/>
                  <a:gd name="connsiteY6" fmla="*/ 88583 h 95250"/>
                  <a:gd name="connsiteX7" fmla="*/ 101918 w 158114"/>
                  <a:gd name="connsiteY7" fmla="*/ 91440 h 95250"/>
                  <a:gd name="connsiteX8" fmla="*/ 66675 w 158114"/>
                  <a:gd name="connsiteY8" fmla="*/ 95250 h 95250"/>
                  <a:gd name="connsiteX9" fmla="*/ 49530 w 158114"/>
                  <a:gd name="connsiteY9" fmla="*/ 78010 h 95250"/>
                  <a:gd name="connsiteX10" fmla="*/ 53340 w 158114"/>
                  <a:gd name="connsiteY10" fmla="*/ 60008 h 95250"/>
                  <a:gd name="connsiteX11" fmla="*/ 35243 w 158114"/>
                  <a:gd name="connsiteY11" fmla="*/ 53340 h 95250"/>
                  <a:gd name="connsiteX12" fmla="*/ 6668 w 158114"/>
                  <a:gd name="connsiteY12" fmla="*/ 45720 h 95250"/>
                  <a:gd name="connsiteX13" fmla="*/ 0 w 158114"/>
                  <a:gd name="connsiteY13" fmla="*/ 762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58114" h="95250">
                    <a:moveTo>
                      <a:pt x="0" y="7620"/>
                    </a:moveTo>
                    <a:lnTo>
                      <a:pt x="18098" y="3715"/>
                    </a:lnTo>
                    <a:lnTo>
                      <a:pt x="109538" y="0"/>
                    </a:lnTo>
                    <a:lnTo>
                      <a:pt x="158115" y="31433"/>
                    </a:lnTo>
                    <a:lnTo>
                      <a:pt x="158115" y="53340"/>
                    </a:lnTo>
                    <a:lnTo>
                      <a:pt x="134302" y="60008"/>
                    </a:lnTo>
                    <a:lnTo>
                      <a:pt x="130493" y="88583"/>
                    </a:lnTo>
                    <a:lnTo>
                      <a:pt x="101918" y="91440"/>
                    </a:lnTo>
                    <a:lnTo>
                      <a:pt x="66675" y="95250"/>
                    </a:lnTo>
                    <a:lnTo>
                      <a:pt x="49530" y="78010"/>
                    </a:lnTo>
                    <a:lnTo>
                      <a:pt x="53340" y="60008"/>
                    </a:lnTo>
                    <a:lnTo>
                      <a:pt x="35243" y="53340"/>
                    </a:lnTo>
                    <a:lnTo>
                      <a:pt x="6668" y="45720"/>
                    </a:lnTo>
                    <a:lnTo>
                      <a:pt x="0" y="762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E5FF0C73-36B5-088D-39E4-B8B6D3CD76FE}"/>
                  </a:ext>
                </a:extLst>
              </p:cNvPr>
              <p:cNvSpPr/>
              <p:nvPr/>
            </p:nvSpPr>
            <p:spPr>
              <a:xfrm>
                <a:off x="6536346" y="2853683"/>
                <a:ext cx="90571" cy="34548"/>
              </a:xfrm>
              <a:custGeom>
                <a:avLst/>
                <a:gdLst>
                  <a:gd name="connsiteX0" fmla="*/ 0 w 92392"/>
                  <a:gd name="connsiteY0" fmla="*/ 20955 h 35242"/>
                  <a:gd name="connsiteX1" fmla="*/ 7620 w 92392"/>
                  <a:gd name="connsiteY1" fmla="*/ 35242 h 35242"/>
                  <a:gd name="connsiteX2" fmla="*/ 88582 w 92392"/>
                  <a:gd name="connsiteY2" fmla="*/ 32290 h 35242"/>
                  <a:gd name="connsiteX3" fmla="*/ 92392 w 92392"/>
                  <a:gd name="connsiteY3" fmla="*/ 14288 h 35242"/>
                  <a:gd name="connsiteX4" fmla="*/ 53340 w 92392"/>
                  <a:gd name="connsiteY4" fmla="*/ 0 h 35242"/>
                  <a:gd name="connsiteX5" fmla="*/ 42863 w 92392"/>
                  <a:gd name="connsiteY5" fmla="*/ 14288 h 35242"/>
                  <a:gd name="connsiteX6" fmla="*/ 14288 w 92392"/>
                  <a:gd name="connsiteY6" fmla="*/ 10382 h 35242"/>
                  <a:gd name="connsiteX7" fmla="*/ 10477 w 92392"/>
                  <a:gd name="connsiteY7" fmla="*/ 20955 h 35242"/>
                  <a:gd name="connsiteX8" fmla="*/ 0 w 92392"/>
                  <a:gd name="connsiteY8" fmla="*/ 20955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392" h="35242">
                    <a:moveTo>
                      <a:pt x="0" y="20955"/>
                    </a:moveTo>
                    <a:lnTo>
                      <a:pt x="7620" y="35242"/>
                    </a:lnTo>
                    <a:lnTo>
                      <a:pt x="88582" y="32290"/>
                    </a:lnTo>
                    <a:lnTo>
                      <a:pt x="92392" y="14288"/>
                    </a:lnTo>
                    <a:lnTo>
                      <a:pt x="53340" y="0"/>
                    </a:lnTo>
                    <a:lnTo>
                      <a:pt x="42863" y="14288"/>
                    </a:lnTo>
                    <a:lnTo>
                      <a:pt x="14288" y="10382"/>
                    </a:lnTo>
                    <a:lnTo>
                      <a:pt x="10477" y="20955"/>
                    </a:lnTo>
                    <a:lnTo>
                      <a:pt x="0" y="2095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1F292646-F785-E4F0-9857-37EB3776FC11}"/>
                  </a:ext>
                </a:extLst>
              </p:cNvPr>
              <p:cNvSpPr/>
              <p:nvPr/>
            </p:nvSpPr>
            <p:spPr>
              <a:xfrm>
                <a:off x="6536346" y="2853683"/>
                <a:ext cx="90571" cy="34548"/>
              </a:xfrm>
              <a:custGeom>
                <a:avLst/>
                <a:gdLst>
                  <a:gd name="connsiteX0" fmla="*/ 0 w 92392"/>
                  <a:gd name="connsiteY0" fmla="*/ 20955 h 35242"/>
                  <a:gd name="connsiteX1" fmla="*/ 7620 w 92392"/>
                  <a:gd name="connsiteY1" fmla="*/ 35242 h 35242"/>
                  <a:gd name="connsiteX2" fmla="*/ 88582 w 92392"/>
                  <a:gd name="connsiteY2" fmla="*/ 32290 h 35242"/>
                  <a:gd name="connsiteX3" fmla="*/ 92392 w 92392"/>
                  <a:gd name="connsiteY3" fmla="*/ 14288 h 35242"/>
                  <a:gd name="connsiteX4" fmla="*/ 53340 w 92392"/>
                  <a:gd name="connsiteY4" fmla="*/ 0 h 35242"/>
                  <a:gd name="connsiteX5" fmla="*/ 42863 w 92392"/>
                  <a:gd name="connsiteY5" fmla="*/ 14288 h 35242"/>
                  <a:gd name="connsiteX6" fmla="*/ 14288 w 92392"/>
                  <a:gd name="connsiteY6" fmla="*/ 10382 h 35242"/>
                  <a:gd name="connsiteX7" fmla="*/ 10477 w 92392"/>
                  <a:gd name="connsiteY7" fmla="*/ 20955 h 35242"/>
                  <a:gd name="connsiteX8" fmla="*/ 0 w 92392"/>
                  <a:gd name="connsiteY8" fmla="*/ 20955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2392" h="35242">
                    <a:moveTo>
                      <a:pt x="0" y="20955"/>
                    </a:moveTo>
                    <a:lnTo>
                      <a:pt x="7620" y="35242"/>
                    </a:lnTo>
                    <a:lnTo>
                      <a:pt x="88582" y="32290"/>
                    </a:lnTo>
                    <a:lnTo>
                      <a:pt x="92392" y="14288"/>
                    </a:lnTo>
                    <a:lnTo>
                      <a:pt x="53340" y="0"/>
                    </a:lnTo>
                    <a:lnTo>
                      <a:pt x="42863" y="14288"/>
                    </a:lnTo>
                    <a:lnTo>
                      <a:pt x="14288" y="10382"/>
                    </a:lnTo>
                    <a:lnTo>
                      <a:pt x="10477" y="20955"/>
                    </a:lnTo>
                    <a:lnTo>
                      <a:pt x="0" y="2095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E352CF4B-492E-D36A-F090-F56A64A5864E}"/>
                  </a:ext>
                </a:extLst>
              </p:cNvPr>
              <p:cNvSpPr/>
              <p:nvPr/>
            </p:nvSpPr>
            <p:spPr>
              <a:xfrm>
                <a:off x="6637189" y="2819135"/>
                <a:ext cx="258641" cy="182917"/>
              </a:xfrm>
              <a:custGeom>
                <a:avLst/>
                <a:gdLst>
                  <a:gd name="connsiteX0" fmla="*/ 2857 w 263842"/>
                  <a:gd name="connsiteY0" fmla="*/ 84773 h 186594"/>
                  <a:gd name="connsiteX1" fmla="*/ 41910 w 263842"/>
                  <a:gd name="connsiteY1" fmla="*/ 78105 h 186594"/>
                  <a:gd name="connsiteX2" fmla="*/ 66675 w 263842"/>
                  <a:gd name="connsiteY2" fmla="*/ 78105 h 186594"/>
                  <a:gd name="connsiteX3" fmla="*/ 70485 w 263842"/>
                  <a:gd name="connsiteY3" fmla="*/ 49530 h 186594"/>
                  <a:gd name="connsiteX4" fmla="*/ 94297 w 263842"/>
                  <a:gd name="connsiteY4" fmla="*/ 42863 h 186594"/>
                  <a:gd name="connsiteX5" fmla="*/ 94297 w 263842"/>
                  <a:gd name="connsiteY5" fmla="*/ 20955 h 186594"/>
                  <a:gd name="connsiteX6" fmla="*/ 119063 w 263842"/>
                  <a:gd name="connsiteY6" fmla="*/ 14288 h 186594"/>
                  <a:gd name="connsiteX7" fmla="*/ 140970 w 263842"/>
                  <a:gd name="connsiteY7" fmla="*/ 0 h 186594"/>
                  <a:gd name="connsiteX8" fmla="*/ 172402 w 263842"/>
                  <a:gd name="connsiteY8" fmla="*/ 7525 h 186594"/>
                  <a:gd name="connsiteX9" fmla="*/ 172402 w 263842"/>
                  <a:gd name="connsiteY9" fmla="*/ 18098 h 186594"/>
                  <a:gd name="connsiteX10" fmla="*/ 207645 w 263842"/>
                  <a:gd name="connsiteY10" fmla="*/ 20955 h 186594"/>
                  <a:gd name="connsiteX11" fmla="*/ 214313 w 263842"/>
                  <a:gd name="connsiteY11" fmla="*/ 59912 h 186594"/>
                  <a:gd name="connsiteX12" fmla="*/ 263843 w 263842"/>
                  <a:gd name="connsiteY12" fmla="*/ 113348 h 186594"/>
                  <a:gd name="connsiteX13" fmla="*/ 260032 w 263842"/>
                  <a:gd name="connsiteY13" fmla="*/ 116205 h 186594"/>
                  <a:gd name="connsiteX14" fmla="*/ 228600 w 263842"/>
                  <a:gd name="connsiteY14" fmla="*/ 116205 h 186594"/>
                  <a:gd name="connsiteX15" fmla="*/ 228600 w 263842"/>
                  <a:gd name="connsiteY15" fmla="*/ 151448 h 186594"/>
                  <a:gd name="connsiteX16" fmla="*/ 207645 w 263842"/>
                  <a:gd name="connsiteY16" fmla="*/ 155162 h 186594"/>
                  <a:gd name="connsiteX17" fmla="*/ 200025 w 263842"/>
                  <a:gd name="connsiteY17" fmla="*/ 186595 h 186594"/>
                  <a:gd name="connsiteX18" fmla="*/ 164782 w 263842"/>
                  <a:gd name="connsiteY18" fmla="*/ 183737 h 186594"/>
                  <a:gd name="connsiteX19" fmla="*/ 161925 w 263842"/>
                  <a:gd name="connsiteY19" fmla="*/ 173355 h 186594"/>
                  <a:gd name="connsiteX20" fmla="*/ 112395 w 263842"/>
                  <a:gd name="connsiteY20" fmla="*/ 173355 h 186594"/>
                  <a:gd name="connsiteX21" fmla="*/ 80963 w 263842"/>
                  <a:gd name="connsiteY21" fmla="*/ 165735 h 186594"/>
                  <a:gd name="connsiteX22" fmla="*/ 27622 w 263842"/>
                  <a:gd name="connsiteY22" fmla="*/ 155162 h 186594"/>
                  <a:gd name="connsiteX23" fmla="*/ 10477 w 263842"/>
                  <a:gd name="connsiteY23" fmla="*/ 180023 h 186594"/>
                  <a:gd name="connsiteX24" fmla="*/ 10477 w 263842"/>
                  <a:gd name="connsiteY24" fmla="*/ 155162 h 186594"/>
                  <a:gd name="connsiteX25" fmla="*/ 0 w 263842"/>
                  <a:gd name="connsiteY25" fmla="*/ 148495 h 186594"/>
                  <a:gd name="connsiteX26" fmla="*/ 2857 w 263842"/>
                  <a:gd name="connsiteY26" fmla="*/ 138113 h 186594"/>
                  <a:gd name="connsiteX27" fmla="*/ 17145 w 263842"/>
                  <a:gd name="connsiteY27" fmla="*/ 138113 h 186594"/>
                  <a:gd name="connsiteX28" fmla="*/ 17145 w 263842"/>
                  <a:gd name="connsiteY28" fmla="*/ 113348 h 186594"/>
                  <a:gd name="connsiteX29" fmla="*/ 10477 w 263842"/>
                  <a:gd name="connsiteY29" fmla="*/ 105632 h 186594"/>
                  <a:gd name="connsiteX30" fmla="*/ 2857 w 263842"/>
                  <a:gd name="connsiteY30" fmla="*/ 84773 h 1865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63842" h="186594">
                    <a:moveTo>
                      <a:pt x="2857" y="84773"/>
                    </a:moveTo>
                    <a:lnTo>
                      <a:pt x="41910" y="78105"/>
                    </a:lnTo>
                    <a:lnTo>
                      <a:pt x="66675" y="78105"/>
                    </a:lnTo>
                    <a:lnTo>
                      <a:pt x="70485" y="49530"/>
                    </a:lnTo>
                    <a:lnTo>
                      <a:pt x="94297" y="42863"/>
                    </a:lnTo>
                    <a:lnTo>
                      <a:pt x="94297" y="20955"/>
                    </a:lnTo>
                    <a:lnTo>
                      <a:pt x="119063" y="14288"/>
                    </a:lnTo>
                    <a:lnTo>
                      <a:pt x="140970" y="0"/>
                    </a:lnTo>
                    <a:lnTo>
                      <a:pt x="172402" y="7525"/>
                    </a:lnTo>
                    <a:lnTo>
                      <a:pt x="172402" y="18098"/>
                    </a:lnTo>
                    <a:lnTo>
                      <a:pt x="207645" y="20955"/>
                    </a:lnTo>
                    <a:lnTo>
                      <a:pt x="214313" y="59912"/>
                    </a:lnTo>
                    <a:lnTo>
                      <a:pt x="263843" y="113348"/>
                    </a:lnTo>
                    <a:lnTo>
                      <a:pt x="260032" y="116205"/>
                    </a:lnTo>
                    <a:lnTo>
                      <a:pt x="228600" y="116205"/>
                    </a:lnTo>
                    <a:lnTo>
                      <a:pt x="228600" y="151448"/>
                    </a:lnTo>
                    <a:lnTo>
                      <a:pt x="207645" y="155162"/>
                    </a:lnTo>
                    <a:lnTo>
                      <a:pt x="200025" y="186595"/>
                    </a:lnTo>
                    <a:lnTo>
                      <a:pt x="164782" y="183737"/>
                    </a:lnTo>
                    <a:lnTo>
                      <a:pt x="161925" y="173355"/>
                    </a:lnTo>
                    <a:lnTo>
                      <a:pt x="112395" y="173355"/>
                    </a:lnTo>
                    <a:lnTo>
                      <a:pt x="80963" y="165735"/>
                    </a:lnTo>
                    <a:lnTo>
                      <a:pt x="27622" y="155162"/>
                    </a:lnTo>
                    <a:lnTo>
                      <a:pt x="10477" y="180023"/>
                    </a:lnTo>
                    <a:lnTo>
                      <a:pt x="10477" y="155162"/>
                    </a:lnTo>
                    <a:lnTo>
                      <a:pt x="0" y="148495"/>
                    </a:lnTo>
                    <a:lnTo>
                      <a:pt x="2857" y="138113"/>
                    </a:lnTo>
                    <a:lnTo>
                      <a:pt x="17145" y="138113"/>
                    </a:lnTo>
                    <a:lnTo>
                      <a:pt x="17145" y="113348"/>
                    </a:lnTo>
                    <a:lnTo>
                      <a:pt x="10477" y="105632"/>
                    </a:lnTo>
                    <a:lnTo>
                      <a:pt x="2857" y="8477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84CB34AE-B2AC-1592-0932-C3EA89E1429C}"/>
                  </a:ext>
                </a:extLst>
              </p:cNvPr>
              <p:cNvSpPr/>
              <p:nvPr/>
            </p:nvSpPr>
            <p:spPr>
              <a:xfrm>
                <a:off x="5716536" y="2888231"/>
                <a:ext cx="113913" cy="107379"/>
              </a:xfrm>
              <a:custGeom>
                <a:avLst/>
                <a:gdLst>
                  <a:gd name="connsiteX0" fmla="*/ 116205 w 116204"/>
                  <a:gd name="connsiteY0" fmla="*/ 45720 h 109537"/>
                  <a:gd name="connsiteX1" fmla="*/ 113347 w 116204"/>
                  <a:gd name="connsiteY1" fmla="*/ 78010 h 109537"/>
                  <a:gd name="connsiteX2" fmla="*/ 84772 w 116204"/>
                  <a:gd name="connsiteY2" fmla="*/ 84677 h 109537"/>
                  <a:gd name="connsiteX3" fmla="*/ 63817 w 116204"/>
                  <a:gd name="connsiteY3" fmla="*/ 92297 h 109537"/>
                  <a:gd name="connsiteX4" fmla="*/ 45720 w 116204"/>
                  <a:gd name="connsiteY4" fmla="*/ 102870 h 109537"/>
                  <a:gd name="connsiteX5" fmla="*/ 32385 w 116204"/>
                  <a:gd name="connsiteY5" fmla="*/ 109538 h 109537"/>
                  <a:gd name="connsiteX6" fmla="*/ 14288 w 116204"/>
                  <a:gd name="connsiteY6" fmla="*/ 102870 h 109537"/>
                  <a:gd name="connsiteX7" fmla="*/ 0 w 116204"/>
                  <a:gd name="connsiteY7" fmla="*/ 84677 h 109537"/>
                  <a:gd name="connsiteX8" fmla="*/ 18097 w 116204"/>
                  <a:gd name="connsiteY8" fmla="*/ 70390 h 109537"/>
                  <a:gd name="connsiteX9" fmla="*/ 20955 w 116204"/>
                  <a:gd name="connsiteY9" fmla="*/ 53340 h 109537"/>
                  <a:gd name="connsiteX10" fmla="*/ 35242 w 116204"/>
                  <a:gd name="connsiteY10" fmla="*/ 45720 h 109537"/>
                  <a:gd name="connsiteX11" fmla="*/ 24765 w 116204"/>
                  <a:gd name="connsiteY11" fmla="*/ 39052 h 109537"/>
                  <a:gd name="connsiteX12" fmla="*/ 7620 w 116204"/>
                  <a:gd name="connsiteY12" fmla="*/ 42863 h 109537"/>
                  <a:gd name="connsiteX13" fmla="*/ 3810 w 116204"/>
                  <a:gd name="connsiteY13" fmla="*/ 28575 h 109537"/>
                  <a:gd name="connsiteX14" fmla="*/ 10478 w 116204"/>
                  <a:gd name="connsiteY14" fmla="*/ 20860 h 109537"/>
                  <a:gd name="connsiteX15" fmla="*/ 7620 w 116204"/>
                  <a:gd name="connsiteY15" fmla="*/ 10477 h 109537"/>
                  <a:gd name="connsiteX16" fmla="*/ 18097 w 116204"/>
                  <a:gd name="connsiteY16" fmla="*/ 0 h 109537"/>
                  <a:gd name="connsiteX17" fmla="*/ 35242 w 116204"/>
                  <a:gd name="connsiteY17" fmla="*/ 7620 h 109537"/>
                  <a:gd name="connsiteX18" fmla="*/ 49530 w 116204"/>
                  <a:gd name="connsiteY18" fmla="*/ 3715 h 109537"/>
                  <a:gd name="connsiteX19" fmla="*/ 63817 w 116204"/>
                  <a:gd name="connsiteY19" fmla="*/ 0 h 109537"/>
                  <a:gd name="connsiteX20" fmla="*/ 78105 w 116204"/>
                  <a:gd name="connsiteY20" fmla="*/ 7620 h 109537"/>
                  <a:gd name="connsiteX21" fmla="*/ 91440 w 116204"/>
                  <a:gd name="connsiteY21" fmla="*/ 0 h 109537"/>
                  <a:gd name="connsiteX22" fmla="*/ 101917 w 116204"/>
                  <a:gd name="connsiteY22" fmla="*/ 10477 h 109537"/>
                  <a:gd name="connsiteX23" fmla="*/ 113347 w 116204"/>
                  <a:gd name="connsiteY23" fmla="*/ 20860 h 109537"/>
                  <a:gd name="connsiteX24" fmla="*/ 116205 w 116204"/>
                  <a:gd name="connsiteY24" fmla="*/ 45720 h 1095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16204" h="109537">
                    <a:moveTo>
                      <a:pt x="116205" y="45720"/>
                    </a:moveTo>
                    <a:lnTo>
                      <a:pt x="113347" y="78010"/>
                    </a:lnTo>
                    <a:lnTo>
                      <a:pt x="84772" y="84677"/>
                    </a:lnTo>
                    <a:lnTo>
                      <a:pt x="63817" y="92297"/>
                    </a:lnTo>
                    <a:lnTo>
                      <a:pt x="45720" y="102870"/>
                    </a:lnTo>
                    <a:lnTo>
                      <a:pt x="32385" y="109538"/>
                    </a:lnTo>
                    <a:lnTo>
                      <a:pt x="14288" y="102870"/>
                    </a:lnTo>
                    <a:lnTo>
                      <a:pt x="0" y="84677"/>
                    </a:lnTo>
                    <a:lnTo>
                      <a:pt x="18097" y="70390"/>
                    </a:lnTo>
                    <a:lnTo>
                      <a:pt x="20955" y="53340"/>
                    </a:lnTo>
                    <a:lnTo>
                      <a:pt x="35242" y="45720"/>
                    </a:lnTo>
                    <a:lnTo>
                      <a:pt x="24765" y="39052"/>
                    </a:lnTo>
                    <a:lnTo>
                      <a:pt x="7620" y="42863"/>
                    </a:lnTo>
                    <a:lnTo>
                      <a:pt x="3810" y="28575"/>
                    </a:lnTo>
                    <a:lnTo>
                      <a:pt x="10478" y="20860"/>
                    </a:lnTo>
                    <a:lnTo>
                      <a:pt x="7620" y="10477"/>
                    </a:lnTo>
                    <a:lnTo>
                      <a:pt x="18097" y="0"/>
                    </a:lnTo>
                    <a:lnTo>
                      <a:pt x="35242" y="7620"/>
                    </a:lnTo>
                    <a:lnTo>
                      <a:pt x="49530" y="3715"/>
                    </a:lnTo>
                    <a:lnTo>
                      <a:pt x="63817" y="0"/>
                    </a:lnTo>
                    <a:lnTo>
                      <a:pt x="78105" y="7620"/>
                    </a:lnTo>
                    <a:lnTo>
                      <a:pt x="91440" y="0"/>
                    </a:lnTo>
                    <a:lnTo>
                      <a:pt x="101917" y="10477"/>
                    </a:lnTo>
                    <a:lnTo>
                      <a:pt x="113347" y="20860"/>
                    </a:lnTo>
                    <a:lnTo>
                      <a:pt x="116205" y="4572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1C06C0A4-2ABB-34DA-4CFC-12B9C475C998}"/>
                  </a:ext>
                </a:extLst>
              </p:cNvPr>
              <p:cNvSpPr/>
              <p:nvPr/>
            </p:nvSpPr>
            <p:spPr>
              <a:xfrm>
                <a:off x="5737077" y="3314013"/>
                <a:ext cx="93372" cy="165270"/>
              </a:xfrm>
              <a:custGeom>
                <a:avLst/>
                <a:gdLst>
                  <a:gd name="connsiteX0" fmla="*/ 63818 w 95250"/>
                  <a:gd name="connsiteY0" fmla="*/ 168593 h 168592"/>
                  <a:gd name="connsiteX1" fmla="*/ 42863 w 95250"/>
                  <a:gd name="connsiteY1" fmla="*/ 168593 h 168592"/>
                  <a:gd name="connsiteX2" fmla="*/ 21908 w 95250"/>
                  <a:gd name="connsiteY2" fmla="*/ 168593 h 168592"/>
                  <a:gd name="connsiteX3" fmla="*/ 21908 w 95250"/>
                  <a:gd name="connsiteY3" fmla="*/ 155162 h 168592"/>
                  <a:gd name="connsiteX4" fmla="*/ 21908 w 95250"/>
                  <a:gd name="connsiteY4" fmla="*/ 126587 h 168592"/>
                  <a:gd name="connsiteX5" fmla="*/ 14288 w 95250"/>
                  <a:gd name="connsiteY5" fmla="*/ 122873 h 168592"/>
                  <a:gd name="connsiteX6" fmla="*/ 0 w 95250"/>
                  <a:gd name="connsiteY6" fmla="*/ 105632 h 168592"/>
                  <a:gd name="connsiteX7" fmla="*/ 14288 w 95250"/>
                  <a:gd name="connsiteY7" fmla="*/ 87630 h 168592"/>
                  <a:gd name="connsiteX8" fmla="*/ 18098 w 95250"/>
                  <a:gd name="connsiteY8" fmla="*/ 70485 h 168592"/>
                  <a:gd name="connsiteX9" fmla="*/ 24765 w 95250"/>
                  <a:gd name="connsiteY9" fmla="*/ 45625 h 168592"/>
                  <a:gd name="connsiteX10" fmla="*/ 21908 w 95250"/>
                  <a:gd name="connsiteY10" fmla="*/ 24670 h 168592"/>
                  <a:gd name="connsiteX11" fmla="*/ 24765 w 95250"/>
                  <a:gd name="connsiteY11" fmla="*/ 0 h 168592"/>
                  <a:gd name="connsiteX12" fmla="*/ 35243 w 95250"/>
                  <a:gd name="connsiteY12" fmla="*/ 2762 h 168592"/>
                  <a:gd name="connsiteX13" fmla="*/ 46673 w 95250"/>
                  <a:gd name="connsiteY13" fmla="*/ 13335 h 168592"/>
                  <a:gd name="connsiteX14" fmla="*/ 67628 w 95250"/>
                  <a:gd name="connsiteY14" fmla="*/ 10382 h 168592"/>
                  <a:gd name="connsiteX15" fmla="*/ 84773 w 95250"/>
                  <a:gd name="connsiteY15" fmla="*/ 10382 h 168592"/>
                  <a:gd name="connsiteX16" fmla="*/ 95250 w 95250"/>
                  <a:gd name="connsiteY16" fmla="*/ 24670 h 168592"/>
                  <a:gd name="connsiteX17" fmla="*/ 92393 w 95250"/>
                  <a:gd name="connsiteY17" fmla="*/ 35243 h 168592"/>
                  <a:gd name="connsiteX18" fmla="*/ 74295 w 95250"/>
                  <a:gd name="connsiteY18" fmla="*/ 38100 h 168592"/>
                  <a:gd name="connsiteX19" fmla="*/ 74295 w 95250"/>
                  <a:gd name="connsiteY19" fmla="*/ 62770 h 168592"/>
                  <a:gd name="connsiteX20" fmla="*/ 74295 w 95250"/>
                  <a:gd name="connsiteY20" fmla="*/ 80963 h 168592"/>
                  <a:gd name="connsiteX21" fmla="*/ 70485 w 95250"/>
                  <a:gd name="connsiteY21" fmla="*/ 87630 h 168592"/>
                  <a:gd name="connsiteX22" fmla="*/ 60008 w 95250"/>
                  <a:gd name="connsiteY22" fmla="*/ 95250 h 168592"/>
                  <a:gd name="connsiteX23" fmla="*/ 60008 w 95250"/>
                  <a:gd name="connsiteY23" fmla="*/ 101918 h 168592"/>
                  <a:gd name="connsiteX24" fmla="*/ 70485 w 95250"/>
                  <a:gd name="connsiteY24" fmla="*/ 116205 h 168592"/>
                  <a:gd name="connsiteX25" fmla="*/ 60008 w 95250"/>
                  <a:gd name="connsiteY25" fmla="*/ 122873 h 168592"/>
                  <a:gd name="connsiteX26" fmla="*/ 63818 w 95250"/>
                  <a:gd name="connsiteY26" fmla="*/ 133350 h 168592"/>
                  <a:gd name="connsiteX27" fmla="*/ 67628 w 95250"/>
                  <a:gd name="connsiteY27" fmla="*/ 143732 h 168592"/>
                  <a:gd name="connsiteX28" fmla="*/ 57150 w 95250"/>
                  <a:gd name="connsiteY28" fmla="*/ 151448 h 168592"/>
                  <a:gd name="connsiteX29" fmla="*/ 63818 w 95250"/>
                  <a:gd name="connsiteY29" fmla="*/ 168593 h 1685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95250" h="168592">
                    <a:moveTo>
                      <a:pt x="63818" y="168593"/>
                    </a:moveTo>
                    <a:lnTo>
                      <a:pt x="42863" y="168593"/>
                    </a:lnTo>
                    <a:lnTo>
                      <a:pt x="21908" y="168593"/>
                    </a:lnTo>
                    <a:lnTo>
                      <a:pt x="21908" y="155162"/>
                    </a:lnTo>
                    <a:lnTo>
                      <a:pt x="21908" y="126587"/>
                    </a:lnTo>
                    <a:lnTo>
                      <a:pt x="14288" y="122873"/>
                    </a:lnTo>
                    <a:lnTo>
                      <a:pt x="0" y="105632"/>
                    </a:lnTo>
                    <a:lnTo>
                      <a:pt x="14288" y="87630"/>
                    </a:lnTo>
                    <a:lnTo>
                      <a:pt x="18098" y="70485"/>
                    </a:lnTo>
                    <a:lnTo>
                      <a:pt x="24765" y="45625"/>
                    </a:lnTo>
                    <a:lnTo>
                      <a:pt x="21908" y="24670"/>
                    </a:lnTo>
                    <a:lnTo>
                      <a:pt x="24765" y="0"/>
                    </a:lnTo>
                    <a:lnTo>
                      <a:pt x="35243" y="2762"/>
                    </a:lnTo>
                    <a:lnTo>
                      <a:pt x="46673" y="13335"/>
                    </a:lnTo>
                    <a:lnTo>
                      <a:pt x="67628" y="10382"/>
                    </a:lnTo>
                    <a:lnTo>
                      <a:pt x="84773" y="10382"/>
                    </a:lnTo>
                    <a:lnTo>
                      <a:pt x="95250" y="24670"/>
                    </a:lnTo>
                    <a:lnTo>
                      <a:pt x="92393" y="35243"/>
                    </a:lnTo>
                    <a:lnTo>
                      <a:pt x="74295" y="38100"/>
                    </a:lnTo>
                    <a:lnTo>
                      <a:pt x="74295" y="62770"/>
                    </a:lnTo>
                    <a:lnTo>
                      <a:pt x="74295" y="80963"/>
                    </a:lnTo>
                    <a:lnTo>
                      <a:pt x="70485" y="87630"/>
                    </a:lnTo>
                    <a:lnTo>
                      <a:pt x="60008" y="95250"/>
                    </a:lnTo>
                    <a:lnTo>
                      <a:pt x="60008" y="101918"/>
                    </a:lnTo>
                    <a:lnTo>
                      <a:pt x="70485" y="116205"/>
                    </a:lnTo>
                    <a:lnTo>
                      <a:pt x="60008" y="122873"/>
                    </a:lnTo>
                    <a:lnTo>
                      <a:pt x="63818" y="133350"/>
                    </a:lnTo>
                    <a:lnTo>
                      <a:pt x="67628" y="143732"/>
                    </a:lnTo>
                    <a:lnTo>
                      <a:pt x="57150" y="151448"/>
                    </a:lnTo>
                    <a:lnTo>
                      <a:pt x="63818" y="16859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6730DD81-B43B-913B-544A-64528CC4321B}"/>
                  </a:ext>
                </a:extLst>
              </p:cNvPr>
              <p:cNvSpPr/>
              <p:nvPr/>
            </p:nvSpPr>
            <p:spPr>
              <a:xfrm>
                <a:off x="6238488" y="3296179"/>
                <a:ext cx="23343" cy="44912"/>
              </a:xfrm>
              <a:custGeom>
                <a:avLst/>
                <a:gdLst>
                  <a:gd name="connsiteX0" fmla="*/ 17145 w 23812"/>
                  <a:gd name="connsiteY0" fmla="*/ 0 h 45815"/>
                  <a:gd name="connsiteX1" fmla="*/ 6668 w 23812"/>
                  <a:gd name="connsiteY1" fmla="*/ 3905 h 45815"/>
                  <a:gd name="connsiteX2" fmla="*/ 0 w 23812"/>
                  <a:gd name="connsiteY2" fmla="*/ 10573 h 45815"/>
                  <a:gd name="connsiteX3" fmla="*/ 0 w 23812"/>
                  <a:gd name="connsiteY3" fmla="*/ 24860 h 45815"/>
                  <a:gd name="connsiteX4" fmla="*/ 0 w 23812"/>
                  <a:gd name="connsiteY4" fmla="*/ 39148 h 45815"/>
                  <a:gd name="connsiteX5" fmla="*/ 10477 w 23812"/>
                  <a:gd name="connsiteY5" fmla="*/ 45815 h 45815"/>
                  <a:gd name="connsiteX6" fmla="*/ 17145 w 23812"/>
                  <a:gd name="connsiteY6" fmla="*/ 31528 h 45815"/>
                  <a:gd name="connsiteX7" fmla="*/ 13335 w 23812"/>
                  <a:gd name="connsiteY7" fmla="*/ 20955 h 45815"/>
                  <a:gd name="connsiteX8" fmla="*/ 23813 w 23812"/>
                  <a:gd name="connsiteY8" fmla="*/ 18193 h 45815"/>
                  <a:gd name="connsiteX9" fmla="*/ 17145 w 23812"/>
                  <a:gd name="connsiteY9" fmla="*/ 0 h 4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812" h="45815">
                    <a:moveTo>
                      <a:pt x="17145" y="0"/>
                    </a:moveTo>
                    <a:lnTo>
                      <a:pt x="6668" y="3905"/>
                    </a:lnTo>
                    <a:lnTo>
                      <a:pt x="0" y="10573"/>
                    </a:lnTo>
                    <a:lnTo>
                      <a:pt x="0" y="24860"/>
                    </a:lnTo>
                    <a:lnTo>
                      <a:pt x="0" y="39148"/>
                    </a:lnTo>
                    <a:lnTo>
                      <a:pt x="10477" y="45815"/>
                    </a:lnTo>
                    <a:lnTo>
                      <a:pt x="17145" y="31528"/>
                    </a:lnTo>
                    <a:lnTo>
                      <a:pt x="13335" y="20955"/>
                    </a:lnTo>
                    <a:lnTo>
                      <a:pt x="23813" y="18193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5" name="Freeform: Shape 274">
                <a:extLst>
                  <a:ext uri="{FF2B5EF4-FFF2-40B4-BE49-F238E27FC236}">
                    <a16:creationId xmlns:a16="http://schemas.microsoft.com/office/drawing/2014/main" id="{33EF4B10-2819-3847-E989-FB039EA77C22}"/>
                  </a:ext>
                </a:extLst>
              </p:cNvPr>
              <p:cNvSpPr/>
              <p:nvPr/>
            </p:nvSpPr>
            <p:spPr>
              <a:xfrm>
                <a:off x="6227283" y="3355097"/>
                <a:ext cx="34547" cy="65361"/>
              </a:xfrm>
              <a:custGeom>
                <a:avLst/>
                <a:gdLst>
                  <a:gd name="connsiteX0" fmla="*/ 18098 w 35242"/>
                  <a:gd name="connsiteY0" fmla="*/ 0 h 66675"/>
                  <a:gd name="connsiteX1" fmla="*/ 14288 w 35242"/>
                  <a:gd name="connsiteY1" fmla="*/ 6572 h 66675"/>
                  <a:gd name="connsiteX2" fmla="*/ 3810 w 35242"/>
                  <a:gd name="connsiteY2" fmla="*/ 6572 h 66675"/>
                  <a:gd name="connsiteX3" fmla="*/ 0 w 35242"/>
                  <a:gd name="connsiteY3" fmla="*/ 20860 h 66675"/>
                  <a:gd name="connsiteX4" fmla="*/ 7620 w 35242"/>
                  <a:gd name="connsiteY4" fmla="*/ 28575 h 66675"/>
                  <a:gd name="connsiteX5" fmla="*/ 7620 w 35242"/>
                  <a:gd name="connsiteY5" fmla="*/ 45720 h 66675"/>
                  <a:gd name="connsiteX6" fmla="*/ 7620 w 35242"/>
                  <a:gd name="connsiteY6" fmla="*/ 63722 h 66675"/>
                  <a:gd name="connsiteX7" fmla="*/ 18098 w 35242"/>
                  <a:gd name="connsiteY7" fmla="*/ 66675 h 66675"/>
                  <a:gd name="connsiteX8" fmla="*/ 24765 w 35242"/>
                  <a:gd name="connsiteY8" fmla="*/ 60008 h 66675"/>
                  <a:gd name="connsiteX9" fmla="*/ 35243 w 35242"/>
                  <a:gd name="connsiteY9" fmla="*/ 49435 h 66675"/>
                  <a:gd name="connsiteX10" fmla="*/ 32385 w 35242"/>
                  <a:gd name="connsiteY10" fmla="*/ 24765 h 66675"/>
                  <a:gd name="connsiteX11" fmla="*/ 35243 w 35242"/>
                  <a:gd name="connsiteY11" fmla="*/ 10477 h 66675"/>
                  <a:gd name="connsiteX12" fmla="*/ 32385 w 35242"/>
                  <a:gd name="connsiteY12" fmla="*/ 3715 h 66675"/>
                  <a:gd name="connsiteX13" fmla="*/ 18098 w 35242"/>
                  <a:gd name="connsiteY13" fmla="*/ 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5242" h="66675">
                    <a:moveTo>
                      <a:pt x="18098" y="0"/>
                    </a:moveTo>
                    <a:lnTo>
                      <a:pt x="14288" y="6572"/>
                    </a:lnTo>
                    <a:lnTo>
                      <a:pt x="3810" y="6572"/>
                    </a:lnTo>
                    <a:lnTo>
                      <a:pt x="0" y="20860"/>
                    </a:lnTo>
                    <a:lnTo>
                      <a:pt x="7620" y="28575"/>
                    </a:lnTo>
                    <a:lnTo>
                      <a:pt x="7620" y="45720"/>
                    </a:lnTo>
                    <a:lnTo>
                      <a:pt x="7620" y="63722"/>
                    </a:lnTo>
                    <a:lnTo>
                      <a:pt x="18098" y="66675"/>
                    </a:lnTo>
                    <a:lnTo>
                      <a:pt x="24765" y="60008"/>
                    </a:lnTo>
                    <a:lnTo>
                      <a:pt x="35243" y="49435"/>
                    </a:lnTo>
                    <a:lnTo>
                      <a:pt x="32385" y="24765"/>
                    </a:lnTo>
                    <a:lnTo>
                      <a:pt x="35243" y="10477"/>
                    </a:lnTo>
                    <a:lnTo>
                      <a:pt x="32385" y="3715"/>
                    </a:lnTo>
                    <a:lnTo>
                      <a:pt x="1809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554FA6A0-2401-F608-FD2E-54F2F2FF8FF4}"/>
                  </a:ext>
                </a:extLst>
              </p:cNvPr>
              <p:cNvSpPr/>
              <p:nvPr/>
            </p:nvSpPr>
            <p:spPr>
              <a:xfrm>
                <a:off x="6329993" y="3009617"/>
                <a:ext cx="189546" cy="85809"/>
              </a:xfrm>
              <a:custGeom>
                <a:avLst/>
                <a:gdLst>
                  <a:gd name="connsiteX0" fmla="*/ 83820 w 193357"/>
                  <a:gd name="connsiteY0" fmla="*/ 0 h 87534"/>
                  <a:gd name="connsiteX1" fmla="*/ 98107 w 193357"/>
                  <a:gd name="connsiteY1" fmla="*/ 6572 h 87534"/>
                  <a:gd name="connsiteX2" fmla="*/ 119063 w 193357"/>
                  <a:gd name="connsiteY2" fmla="*/ 14288 h 87534"/>
                  <a:gd name="connsiteX3" fmla="*/ 122873 w 193357"/>
                  <a:gd name="connsiteY3" fmla="*/ 27527 h 87534"/>
                  <a:gd name="connsiteX4" fmla="*/ 137160 w 193357"/>
                  <a:gd name="connsiteY4" fmla="*/ 31433 h 87534"/>
                  <a:gd name="connsiteX5" fmla="*/ 140018 w 193357"/>
                  <a:gd name="connsiteY5" fmla="*/ 24765 h 87534"/>
                  <a:gd name="connsiteX6" fmla="*/ 154305 w 193357"/>
                  <a:gd name="connsiteY6" fmla="*/ 27527 h 87534"/>
                  <a:gd name="connsiteX7" fmla="*/ 164782 w 193357"/>
                  <a:gd name="connsiteY7" fmla="*/ 35147 h 87534"/>
                  <a:gd name="connsiteX8" fmla="*/ 179070 w 193357"/>
                  <a:gd name="connsiteY8" fmla="*/ 41815 h 87534"/>
                  <a:gd name="connsiteX9" fmla="*/ 193357 w 193357"/>
                  <a:gd name="connsiteY9" fmla="*/ 52388 h 87534"/>
                  <a:gd name="connsiteX10" fmla="*/ 175260 w 193357"/>
                  <a:gd name="connsiteY10" fmla="*/ 62865 h 87534"/>
                  <a:gd name="connsiteX11" fmla="*/ 161925 w 193357"/>
                  <a:gd name="connsiteY11" fmla="*/ 77152 h 87534"/>
                  <a:gd name="connsiteX12" fmla="*/ 143828 w 193357"/>
                  <a:gd name="connsiteY12" fmla="*/ 80963 h 87534"/>
                  <a:gd name="connsiteX13" fmla="*/ 133350 w 193357"/>
                  <a:gd name="connsiteY13" fmla="*/ 87535 h 87534"/>
                  <a:gd name="connsiteX14" fmla="*/ 116205 w 193357"/>
                  <a:gd name="connsiteY14" fmla="*/ 87535 h 87534"/>
                  <a:gd name="connsiteX15" fmla="*/ 80963 w 193357"/>
                  <a:gd name="connsiteY15" fmla="*/ 74295 h 87534"/>
                  <a:gd name="connsiteX16" fmla="*/ 77153 w 193357"/>
                  <a:gd name="connsiteY16" fmla="*/ 84677 h 87534"/>
                  <a:gd name="connsiteX17" fmla="*/ 48578 w 193357"/>
                  <a:gd name="connsiteY17" fmla="*/ 80963 h 87534"/>
                  <a:gd name="connsiteX18" fmla="*/ 35243 w 193357"/>
                  <a:gd name="connsiteY18" fmla="*/ 70390 h 87534"/>
                  <a:gd name="connsiteX19" fmla="*/ 23813 w 193357"/>
                  <a:gd name="connsiteY19" fmla="*/ 60008 h 87534"/>
                  <a:gd name="connsiteX20" fmla="*/ 0 w 193357"/>
                  <a:gd name="connsiteY20" fmla="*/ 31433 h 87534"/>
                  <a:gd name="connsiteX21" fmla="*/ 20955 w 193357"/>
                  <a:gd name="connsiteY21" fmla="*/ 20860 h 87534"/>
                  <a:gd name="connsiteX22" fmla="*/ 41910 w 193357"/>
                  <a:gd name="connsiteY22" fmla="*/ 14288 h 87534"/>
                  <a:gd name="connsiteX23" fmla="*/ 59055 w 193357"/>
                  <a:gd name="connsiteY23" fmla="*/ 6572 h 87534"/>
                  <a:gd name="connsiteX24" fmla="*/ 73343 w 193357"/>
                  <a:gd name="connsiteY24" fmla="*/ 3715 h 87534"/>
                  <a:gd name="connsiteX25" fmla="*/ 83820 w 193357"/>
                  <a:gd name="connsiteY25" fmla="*/ 0 h 87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93357" h="87534">
                    <a:moveTo>
                      <a:pt x="83820" y="0"/>
                    </a:moveTo>
                    <a:lnTo>
                      <a:pt x="98107" y="6572"/>
                    </a:lnTo>
                    <a:lnTo>
                      <a:pt x="119063" y="14288"/>
                    </a:lnTo>
                    <a:lnTo>
                      <a:pt x="122873" y="27527"/>
                    </a:lnTo>
                    <a:lnTo>
                      <a:pt x="137160" y="31433"/>
                    </a:lnTo>
                    <a:lnTo>
                      <a:pt x="140018" y="24765"/>
                    </a:lnTo>
                    <a:lnTo>
                      <a:pt x="154305" y="27527"/>
                    </a:lnTo>
                    <a:lnTo>
                      <a:pt x="164782" y="35147"/>
                    </a:lnTo>
                    <a:lnTo>
                      <a:pt x="179070" y="41815"/>
                    </a:lnTo>
                    <a:lnTo>
                      <a:pt x="193357" y="52388"/>
                    </a:lnTo>
                    <a:lnTo>
                      <a:pt x="175260" y="62865"/>
                    </a:lnTo>
                    <a:lnTo>
                      <a:pt x="161925" y="77152"/>
                    </a:lnTo>
                    <a:lnTo>
                      <a:pt x="143828" y="80963"/>
                    </a:lnTo>
                    <a:lnTo>
                      <a:pt x="133350" y="87535"/>
                    </a:lnTo>
                    <a:lnTo>
                      <a:pt x="116205" y="87535"/>
                    </a:lnTo>
                    <a:lnTo>
                      <a:pt x="80963" y="74295"/>
                    </a:lnTo>
                    <a:lnTo>
                      <a:pt x="77153" y="84677"/>
                    </a:lnTo>
                    <a:lnTo>
                      <a:pt x="48578" y="80963"/>
                    </a:lnTo>
                    <a:lnTo>
                      <a:pt x="35243" y="70390"/>
                    </a:lnTo>
                    <a:lnTo>
                      <a:pt x="23813" y="60008"/>
                    </a:lnTo>
                    <a:lnTo>
                      <a:pt x="0" y="31433"/>
                    </a:lnTo>
                    <a:lnTo>
                      <a:pt x="20955" y="20860"/>
                    </a:lnTo>
                    <a:lnTo>
                      <a:pt x="41910" y="14288"/>
                    </a:lnTo>
                    <a:lnTo>
                      <a:pt x="59055" y="6572"/>
                    </a:lnTo>
                    <a:lnTo>
                      <a:pt x="73343" y="3715"/>
                    </a:lnTo>
                    <a:lnTo>
                      <a:pt x="8382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1812FBEC-D222-2331-71BE-6E245292EAEE}"/>
                  </a:ext>
                </a:extLst>
              </p:cNvPr>
              <p:cNvSpPr/>
              <p:nvPr/>
            </p:nvSpPr>
            <p:spPr>
              <a:xfrm>
                <a:off x="6460714" y="3060971"/>
                <a:ext cx="154998" cy="66294"/>
              </a:xfrm>
              <a:custGeom>
                <a:avLst/>
                <a:gdLst>
                  <a:gd name="connsiteX0" fmla="*/ 77153 w 158115"/>
                  <a:gd name="connsiteY0" fmla="*/ 3715 h 67627"/>
                  <a:gd name="connsiteX1" fmla="*/ 84773 w 158115"/>
                  <a:gd name="connsiteY1" fmla="*/ 18002 h 67627"/>
                  <a:gd name="connsiteX2" fmla="*/ 101918 w 158115"/>
                  <a:gd name="connsiteY2" fmla="*/ 14288 h 67627"/>
                  <a:gd name="connsiteX3" fmla="*/ 120015 w 158115"/>
                  <a:gd name="connsiteY3" fmla="*/ 7620 h 67627"/>
                  <a:gd name="connsiteX4" fmla="*/ 134303 w 158115"/>
                  <a:gd name="connsiteY4" fmla="*/ 7620 h 67627"/>
                  <a:gd name="connsiteX5" fmla="*/ 151448 w 158115"/>
                  <a:gd name="connsiteY5" fmla="*/ 14288 h 67627"/>
                  <a:gd name="connsiteX6" fmla="*/ 158115 w 158115"/>
                  <a:gd name="connsiteY6" fmla="*/ 21908 h 67627"/>
                  <a:gd name="connsiteX7" fmla="*/ 151448 w 158115"/>
                  <a:gd name="connsiteY7" fmla="*/ 35147 h 67627"/>
                  <a:gd name="connsiteX8" fmla="*/ 144780 w 158115"/>
                  <a:gd name="connsiteY8" fmla="*/ 45720 h 67627"/>
                  <a:gd name="connsiteX9" fmla="*/ 126682 w 158115"/>
                  <a:gd name="connsiteY9" fmla="*/ 42863 h 67627"/>
                  <a:gd name="connsiteX10" fmla="*/ 109538 w 158115"/>
                  <a:gd name="connsiteY10" fmla="*/ 39052 h 67627"/>
                  <a:gd name="connsiteX11" fmla="*/ 99060 w 158115"/>
                  <a:gd name="connsiteY11" fmla="*/ 45720 h 67627"/>
                  <a:gd name="connsiteX12" fmla="*/ 95250 w 158115"/>
                  <a:gd name="connsiteY12" fmla="*/ 49435 h 67627"/>
                  <a:gd name="connsiteX13" fmla="*/ 77153 w 158115"/>
                  <a:gd name="connsiteY13" fmla="*/ 49435 h 67627"/>
                  <a:gd name="connsiteX14" fmla="*/ 66675 w 158115"/>
                  <a:gd name="connsiteY14" fmla="*/ 57150 h 67627"/>
                  <a:gd name="connsiteX15" fmla="*/ 53340 w 158115"/>
                  <a:gd name="connsiteY15" fmla="*/ 57150 h 67627"/>
                  <a:gd name="connsiteX16" fmla="*/ 45720 w 158115"/>
                  <a:gd name="connsiteY16" fmla="*/ 67627 h 67627"/>
                  <a:gd name="connsiteX17" fmla="*/ 31432 w 158115"/>
                  <a:gd name="connsiteY17" fmla="*/ 67627 h 67627"/>
                  <a:gd name="connsiteX18" fmla="*/ 18098 w 158115"/>
                  <a:gd name="connsiteY18" fmla="*/ 63722 h 67627"/>
                  <a:gd name="connsiteX19" fmla="*/ 6668 w 158115"/>
                  <a:gd name="connsiteY19" fmla="*/ 57150 h 67627"/>
                  <a:gd name="connsiteX20" fmla="*/ 3810 w 158115"/>
                  <a:gd name="connsiteY20" fmla="*/ 42863 h 67627"/>
                  <a:gd name="connsiteX21" fmla="*/ 0 w 158115"/>
                  <a:gd name="connsiteY21" fmla="*/ 35147 h 67627"/>
                  <a:gd name="connsiteX22" fmla="*/ 10478 w 158115"/>
                  <a:gd name="connsiteY22" fmla="*/ 28575 h 67627"/>
                  <a:gd name="connsiteX23" fmla="*/ 28575 w 158115"/>
                  <a:gd name="connsiteY23" fmla="*/ 24765 h 67627"/>
                  <a:gd name="connsiteX24" fmla="*/ 41910 w 158115"/>
                  <a:gd name="connsiteY24" fmla="*/ 10477 h 67627"/>
                  <a:gd name="connsiteX25" fmla="*/ 60007 w 158115"/>
                  <a:gd name="connsiteY25" fmla="*/ 0 h 67627"/>
                  <a:gd name="connsiteX26" fmla="*/ 77153 w 158115"/>
                  <a:gd name="connsiteY26" fmla="*/ 3715 h 676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58115" h="67627">
                    <a:moveTo>
                      <a:pt x="77153" y="3715"/>
                    </a:moveTo>
                    <a:lnTo>
                      <a:pt x="84773" y="18002"/>
                    </a:lnTo>
                    <a:lnTo>
                      <a:pt x="101918" y="14288"/>
                    </a:lnTo>
                    <a:lnTo>
                      <a:pt x="120015" y="7620"/>
                    </a:lnTo>
                    <a:lnTo>
                      <a:pt x="134303" y="7620"/>
                    </a:lnTo>
                    <a:lnTo>
                      <a:pt x="151448" y="14288"/>
                    </a:lnTo>
                    <a:lnTo>
                      <a:pt x="158115" y="21908"/>
                    </a:lnTo>
                    <a:lnTo>
                      <a:pt x="151448" y="35147"/>
                    </a:lnTo>
                    <a:lnTo>
                      <a:pt x="144780" y="45720"/>
                    </a:lnTo>
                    <a:lnTo>
                      <a:pt x="126682" y="42863"/>
                    </a:lnTo>
                    <a:lnTo>
                      <a:pt x="109538" y="39052"/>
                    </a:lnTo>
                    <a:lnTo>
                      <a:pt x="99060" y="45720"/>
                    </a:lnTo>
                    <a:lnTo>
                      <a:pt x="95250" y="49435"/>
                    </a:lnTo>
                    <a:lnTo>
                      <a:pt x="77153" y="49435"/>
                    </a:lnTo>
                    <a:lnTo>
                      <a:pt x="66675" y="57150"/>
                    </a:lnTo>
                    <a:lnTo>
                      <a:pt x="53340" y="57150"/>
                    </a:lnTo>
                    <a:lnTo>
                      <a:pt x="45720" y="67627"/>
                    </a:lnTo>
                    <a:lnTo>
                      <a:pt x="31432" y="67627"/>
                    </a:lnTo>
                    <a:lnTo>
                      <a:pt x="18098" y="63722"/>
                    </a:lnTo>
                    <a:lnTo>
                      <a:pt x="6668" y="57150"/>
                    </a:lnTo>
                    <a:lnTo>
                      <a:pt x="3810" y="42863"/>
                    </a:lnTo>
                    <a:lnTo>
                      <a:pt x="0" y="35147"/>
                    </a:lnTo>
                    <a:lnTo>
                      <a:pt x="10478" y="28575"/>
                    </a:lnTo>
                    <a:lnTo>
                      <a:pt x="28575" y="24765"/>
                    </a:lnTo>
                    <a:lnTo>
                      <a:pt x="41910" y="10477"/>
                    </a:lnTo>
                    <a:lnTo>
                      <a:pt x="60007" y="0"/>
                    </a:lnTo>
                    <a:lnTo>
                      <a:pt x="77153" y="371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2C7E80FC-6498-1B1D-980F-6C74E7658A61}"/>
                  </a:ext>
                </a:extLst>
              </p:cNvPr>
              <p:cNvSpPr/>
              <p:nvPr/>
            </p:nvSpPr>
            <p:spPr>
              <a:xfrm>
                <a:off x="6259030" y="3082448"/>
                <a:ext cx="219425" cy="89544"/>
              </a:xfrm>
              <a:custGeom>
                <a:avLst/>
                <a:gdLst>
                  <a:gd name="connsiteX0" fmla="*/ 24765 w 223837"/>
                  <a:gd name="connsiteY0" fmla="*/ 80963 h 91344"/>
                  <a:gd name="connsiteX1" fmla="*/ 20955 w 223837"/>
                  <a:gd name="connsiteY1" fmla="*/ 73342 h 91344"/>
                  <a:gd name="connsiteX2" fmla="*/ 14288 w 223837"/>
                  <a:gd name="connsiteY2" fmla="*/ 73342 h 91344"/>
                  <a:gd name="connsiteX3" fmla="*/ 0 w 223837"/>
                  <a:gd name="connsiteY3" fmla="*/ 70390 h 91344"/>
                  <a:gd name="connsiteX4" fmla="*/ 2857 w 223837"/>
                  <a:gd name="connsiteY4" fmla="*/ 60007 h 91344"/>
                  <a:gd name="connsiteX5" fmla="*/ 31432 w 223837"/>
                  <a:gd name="connsiteY5" fmla="*/ 60007 h 91344"/>
                  <a:gd name="connsiteX6" fmla="*/ 54293 w 223837"/>
                  <a:gd name="connsiteY6" fmla="*/ 56102 h 91344"/>
                  <a:gd name="connsiteX7" fmla="*/ 72390 w 223837"/>
                  <a:gd name="connsiteY7" fmla="*/ 45720 h 91344"/>
                  <a:gd name="connsiteX8" fmla="*/ 93345 w 223837"/>
                  <a:gd name="connsiteY8" fmla="*/ 45720 h 91344"/>
                  <a:gd name="connsiteX9" fmla="*/ 93345 w 223837"/>
                  <a:gd name="connsiteY9" fmla="*/ 31432 h 91344"/>
                  <a:gd name="connsiteX10" fmla="*/ 120968 w 223837"/>
                  <a:gd name="connsiteY10" fmla="*/ 17145 h 91344"/>
                  <a:gd name="connsiteX11" fmla="*/ 120968 w 223837"/>
                  <a:gd name="connsiteY11" fmla="*/ 6667 h 91344"/>
                  <a:gd name="connsiteX12" fmla="*/ 149543 w 223837"/>
                  <a:gd name="connsiteY12" fmla="*/ 10382 h 91344"/>
                  <a:gd name="connsiteX13" fmla="*/ 153352 w 223837"/>
                  <a:gd name="connsiteY13" fmla="*/ 0 h 91344"/>
                  <a:gd name="connsiteX14" fmla="*/ 188595 w 223837"/>
                  <a:gd name="connsiteY14" fmla="*/ 13240 h 91344"/>
                  <a:gd name="connsiteX15" fmla="*/ 205740 w 223837"/>
                  <a:gd name="connsiteY15" fmla="*/ 13240 h 91344"/>
                  <a:gd name="connsiteX16" fmla="*/ 209550 w 223837"/>
                  <a:gd name="connsiteY16" fmla="*/ 20955 h 91344"/>
                  <a:gd name="connsiteX17" fmla="*/ 212407 w 223837"/>
                  <a:gd name="connsiteY17" fmla="*/ 35242 h 91344"/>
                  <a:gd name="connsiteX18" fmla="*/ 223838 w 223837"/>
                  <a:gd name="connsiteY18" fmla="*/ 41815 h 91344"/>
                  <a:gd name="connsiteX19" fmla="*/ 205740 w 223837"/>
                  <a:gd name="connsiteY19" fmla="*/ 48482 h 91344"/>
                  <a:gd name="connsiteX20" fmla="*/ 195263 w 223837"/>
                  <a:gd name="connsiteY20" fmla="*/ 60007 h 91344"/>
                  <a:gd name="connsiteX21" fmla="*/ 191452 w 223837"/>
                  <a:gd name="connsiteY21" fmla="*/ 70390 h 91344"/>
                  <a:gd name="connsiteX22" fmla="*/ 180975 w 223837"/>
                  <a:gd name="connsiteY22" fmla="*/ 77057 h 91344"/>
                  <a:gd name="connsiteX23" fmla="*/ 156210 w 223837"/>
                  <a:gd name="connsiteY23" fmla="*/ 87630 h 91344"/>
                  <a:gd name="connsiteX24" fmla="*/ 135255 w 223837"/>
                  <a:gd name="connsiteY24" fmla="*/ 91345 h 91344"/>
                  <a:gd name="connsiteX25" fmla="*/ 118110 w 223837"/>
                  <a:gd name="connsiteY25" fmla="*/ 83820 h 91344"/>
                  <a:gd name="connsiteX26" fmla="*/ 89535 w 223837"/>
                  <a:gd name="connsiteY26" fmla="*/ 87630 h 91344"/>
                  <a:gd name="connsiteX27" fmla="*/ 72390 w 223837"/>
                  <a:gd name="connsiteY27" fmla="*/ 80963 h 91344"/>
                  <a:gd name="connsiteX28" fmla="*/ 72390 w 223837"/>
                  <a:gd name="connsiteY28" fmla="*/ 70390 h 91344"/>
                  <a:gd name="connsiteX29" fmla="*/ 45720 w 223837"/>
                  <a:gd name="connsiteY29" fmla="*/ 70390 h 91344"/>
                  <a:gd name="connsiteX30" fmla="*/ 41910 w 223837"/>
                  <a:gd name="connsiteY30" fmla="*/ 80963 h 91344"/>
                  <a:gd name="connsiteX31" fmla="*/ 24765 w 223837"/>
                  <a:gd name="connsiteY31" fmla="*/ 80963 h 91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23837" h="91344">
                    <a:moveTo>
                      <a:pt x="24765" y="80963"/>
                    </a:moveTo>
                    <a:lnTo>
                      <a:pt x="20955" y="73342"/>
                    </a:lnTo>
                    <a:lnTo>
                      <a:pt x="14288" y="73342"/>
                    </a:lnTo>
                    <a:lnTo>
                      <a:pt x="0" y="70390"/>
                    </a:lnTo>
                    <a:lnTo>
                      <a:pt x="2857" y="60007"/>
                    </a:lnTo>
                    <a:lnTo>
                      <a:pt x="31432" y="60007"/>
                    </a:lnTo>
                    <a:lnTo>
                      <a:pt x="54293" y="56102"/>
                    </a:lnTo>
                    <a:lnTo>
                      <a:pt x="72390" y="45720"/>
                    </a:lnTo>
                    <a:lnTo>
                      <a:pt x="93345" y="45720"/>
                    </a:lnTo>
                    <a:lnTo>
                      <a:pt x="93345" y="31432"/>
                    </a:lnTo>
                    <a:lnTo>
                      <a:pt x="120968" y="17145"/>
                    </a:lnTo>
                    <a:lnTo>
                      <a:pt x="120968" y="6667"/>
                    </a:lnTo>
                    <a:lnTo>
                      <a:pt x="149543" y="10382"/>
                    </a:lnTo>
                    <a:lnTo>
                      <a:pt x="153352" y="0"/>
                    </a:lnTo>
                    <a:lnTo>
                      <a:pt x="188595" y="13240"/>
                    </a:lnTo>
                    <a:lnTo>
                      <a:pt x="205740" y="13240"/>
                    </a:lnTo>
                    <a:lnTo>
                      <a:pt x="209550" y="20955"/>
                    </a:lnTo>
                    <a:lnTo>
                      <a:pt x="212407" y="35242"/>
                    </a:lnTo>
                    <a:lnTo>
                      <a:pt x="223838" y="41815"/>
                    </a:lnTo>
                    <a:lnTo>
                      <a:pt x="205740" y="48482"/>
                    </a:lnTo>
                    <a:lnTo>
                      <a:pt x="195263" y="60007"/>
                    </a:lnTo>
                    <a:lnTo>
                      <a:pt x="191452" y="70390"/>
                    </a:lnTo>
                    <a:lnTo>
                      <a:pt x="180975" y="77057"/>
                    </a:lnTo>
                    <a:lnTo>
                      <a:pt x="156210" y="87630"/>
                    </a:lnTo>
                    <a:lnTo>
                      <a:pt x="135255" y="91345"/>
                    </a:lnTo>
                    <a:lnTo>
                      <a:pt x="118110" y="83820"/>
                    </a:lnTo>
                    <a:lnTo>
                      <a:pt x="89535" y="87630"/>
                    </a:lnTo>
                    <a:lnTo>
                      <a:pt x="72390" y="80963"/>
                    </a:lnTo>
                    <a:lnTo>
                      <a:pt x="72390" y="70390"/>
                    </a:lnTo>
                    <a:lnTo>
                      <a:pt x="45720" y="70390"/>
                    </a:lnTo>
                    <a:lnTo>
                      <a:pt x="41910" y="80963"/>
                    </a:lnTo>
                    <a:lnTo>
                      <a:pt x="24765" y="809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79" name="Freeform: Shape 278">
                <a:extLst>
                  <a:ext uri="{FF2B5EF4-FFF2-40B4-BE49-F238E27FC236}">
                    <a16:creationId xmlns:a16="http://schemas.microsoft.com/office/drawing/2014/main" id="{191CF953-5289-BD2A-ECC1-35C00DCFDEEF}"/>
                  </a:ext>
                </a:extLst>
              </p:cNvPr>
              <p:cNvSpPr/>
              <p:nvPr/>
            </p:nvSpPr>
            <p:spPr>
              <a:xfrm>
                <a:off x="6446708" y="3099255"/>
                <a:ext cx="172739" cy="97108"/>
              </a:xfrm>
              <a:custGeom>
                <a:avLst/>
                <a:gdLst>
                  <a:gd name="connsiteX0" fmla="*/ 0 w 176212"/>
                  <a:gd name="connsiteY0" fmla="*/ 53245 h 99060"/>
                  <a:gd name="connsiteX1" fmla="*/ 3810 w 176212"/>
                  <a:gd name="connsiteY1" fmla="*/ 42863 h 99060"/>
                  <a:gd name="connsiteX2" fmla="*/ 14288 w 176212"/>
                  <a:gd name="connsiteY2" fmla="*/ 31337 h 99060"/>
                  <a:gd name="connsiteX3" fmla="*/ 32385 w 176212"/>
                  <a:gd name="connsiteY3" fmla="*/ 24670 h 99060"/>
                  <a:gd name="connsiteX4" fmla="*/ 60007 w 176212"/>
                  <a:gd name="connsiteY4" fmla="*/ 28575 h 99060"/>
                  <a:gd name="connsiteX5" fmla="*/ 67628 w 176212"/>
                  <a:gd name="connsiteY5" fmla="*/ 18098 h 99060"/>
                  <a:gd name="connsiteX6" fmla="*/ 80963 w 176212"/>
                  <a:gd name="connsiteY6" fmla="*/ 18098 h 99060"/>
                  <a:gd name="connsiteX7" fmla="*/ 91440 w 176212"/>
                  <a:gd name="connsiteY7" fmla="*/ 10382 h 99060"/>
                  <a:gd name="connsiteX8" fmla="*/ 109538 w 176212"/>
                  <a:gd name="connsiteY8" fmla="*/ 10382 h 99060"/>
                  <a:gd name="connsiteX9" fmla="*/ 113348 w 176212"/>
                  <a:gd name="connsiteY9" fmla="*/ 6668 h 99060"/>
                  <a:gd name="connsiteX10" fmla="*/ 123825 w 176212"/>
                  <a:gd name="connsiteY10" fmla="*/ 0 h 99060"/>
                  <a:gd name="connsiteX11" fmla="*/ 159068 w 176212"/>
                  <a:gd name="connsiteY11" fmla="*/ 6668 h 99060"/>
                  <a:gd name="connsiteX12" fmla="*/ 169545 w 176212"/>
                  <a:gd name="connsiteY12" fmla="*/ 14288 h 99060"/>
                  <a:gd name="connsiteX13" fmla="*/ 176213 w 176212"/>
                  <a:gd name="connsiteY13" fmla="*/ 24670 h 99060"/>
                  <a:gd name="connsiteX14" fmla="*/ 161925 w 176212"/>
                  <a:gd name="connsiteY14" fmla="*/ 38957 h 99060"/>
                  <a:gd name="connsiteX15" fmla="*/ 144780 w 176212"/>
                  <a:gd name="connsiteY15" fmla="*/ 63818 h 99060"/>
                  <a:gd name="connsiteX16" fmla="*/ 120015 w 176212"/>
                  <a:gd name="connsiteY16" fmla="*/ 88487 h 99060"/>
                  <a:gd name="connsiteX17" fmla="*/ 84773 w 176212"/>
                  <a:gd name="connsiteY17" fmla="*/ 88487 h 99060"/>
                  <a:gd name="connsiteX18" fmla="*/ 70485 w 176212"/>
                  <a:gd name="connsiteY18" fmla="*/ 95250 h 99060"/>
                  <a:gd name="connsiteX19" fmla="*/ 39053 w 176212"/>
                  <a:gd name="connsiteY19" fmla="*/ 99060 h 99060"/>
                  <a:gd name="connsiteX20" fmla="*/ 18098 w 176212"/>
                  <a:gd name="connsiteY20" fmla="*/ 80963 h 99060"/>
                  <a:gd name="connsiteX21" fmla="*/ 3810 w 176212"/>
                  <a:gd name="connsiteY21" fmla="*/ 66675 h 99060"/>
                  <a:gd name="connsiteX22" fmla="*/ 0 w 176212"/>
                  <a:gd name="connsiteY22" fmla="*/ 53245 h 99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76212" h="99060">
                    <a:moveTo>
                      <a:pt x="0" y="53245"/>
                    </a:moveTo>
                    <a:lnTo>
                      <a:pt x="3810" y="42863"/>
                    </a:lnTo>
                    <a:lnTo>
                      <a:pt x="14288" y="31337"/>
                    </a:lnTo>
                    <a:lnTo>
                      <a:pt x="32385" y="24670"/>
                    </a:lnTo>
                    <a:lnTo>
                      <a:pt x="60007" y="28575"/>
                    </a:lnTo>
                    <a:lnTo>
                      <a:pt x="67628" y="18098"/>
                    </a:lnTo>
                    <a:lnTo>
                      <a:pt x="80963" y="18098"/>
                    </a:lnTo>
                    <a:lnTo>
                      <a:pt x="91440" y="10382"/>
                    </a:lnTo>
                    <a:lnTo>
                      <a:pt x="109538" y="10382"/>
                    </a:lnTo>
                    <a:lnTo>
                      <a:pt x="113348" y="6668"/>
                    </a:lnTo>
                    <a:lnTo>
                      <a:pt x="123825" y="0"/>
                    </a:lnTo>
                    <a:lnTo>
                      <a:pt x="159068" y="6668"/>
                    </a:lnTo>
                    <a:lnTo>
                      <a:pt x="169545" y="14288"/>
                    </a:lnTo>
                    <a:lnTo>
                      <a:pt x="176213" y="24670"/>
                    </a:lnTo>
                    <a:lnTo>
                      <a:pt x="161925" y="38957"/>
                    </a:lnTo>
                    <a:lnTo>
                      <a:pt x="144780" y="63818"/>
                    </a:lnTo>
                    <a:lnTo>
                      <a:pt x="120015" y="88487"/>
                    </a:lnTo>
                    <a:lnTo>
                      <a:pt x="84773" y="88487"/>
                    </a:lnTo>
                    <a:lnTo>
                      <a:pt x="70485" y="95250"/>
                    </a:lnTo>
                    <a:lnTo>
                      <a:pt x="39053" y="99060"/>
                    </a:lnTo>
                    <a:lnTo>
                      <a:pt x="18098" y="80963"/>
                    </a:lnTo>
                    <a:lnTo>
                      <a:pt x="3810" y="66675"/>
                    </a:lnTo>
                    <a:lnTo>
                      <a:pt x="0" y="5324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id="{9606CF72-78F6-D9FF-83F9-E40396667A84}"/>
                  </a:ext>
                </a:extLst>
              </p:cNvPr>
              <p:cNvSpPr/>
              <p:nvPr/>
            </p:nvSpPr>
            <p:spPr>
              <a:xfrm>
                <a:off x="6360805" y="3151451"/>
                <a:ext cx="89638" cy="51355"/>
              </a:xfrm>
              <a:custGeom>
                <a:avLst/>
                <a:gdLst>
                  <a:gd name="connsiteX0" fmla="*/ 17145 w 91440"/>
                  <a:gd name="connsiteY0" fmla="*/ 48673 h 52387"/>
                  <a:gd name="connsiteX1" fmla="*/ 35243 w 91440"/>
                  <a:gd name="connsiteY1" fmla="*/ 52388 h 52387"/>
                  <a:gd name="connsiteX2" fmla="*/ 56198 w 91440"/>
                  <a:gd name="connsiteY2" fmla="*/ 48673 h 52387"/>
                  <a:gd name="connsiteX3" fmla="*/ 66675 w 91440"/>
                  <a:gd name="connsiteY3" fmla="*/ 38100 h 52387"/>
                  <a:gd name="connsiteX4" fmla="*/ 77153 w 91440"/>
                  <a:gd name="connsiteY4" fmla="*/ 27718 h 52387"/>
                  <a:gd name="connsiteX5" fmla="*/ 91440 w 91440"/>
                  <a:gd name="connsiteY5" fmla="*/ 13430 h 52387"/>
                  <a:gd name="connsiteX6" fmla="*/ 87630 w 91440"/>
                  <a:gd name="connsiteY6" fmla="*/ 0 h 52387"/>
                  <a:gd name="connsiteX7" fmla="*/ 77153 w 91440"/>
                  <a:gd name="connsiteY7" fmla="*/ 6667 h 52387"/>
                  <a:gd name="connsiteX8" fmla="*/ 52388 w 91440"/>
                  <a:gd name="connsiteY8" fmla="*/ 17240 h 52387"/>
                  <a:gd name="connsiteX9" fmla="*/ 31433 w 91440"/>
                  <a:gd name="connsiteY9" fmla="*/ 20955 h 52387"/>
                  <a:gd name="connsiteX10" fmla="*/ 14288 w 91440"/>
                  <a:gd name="connsiteY10" fmla="*/ 13430 h 52387"/>
                  <a:gd name="connsiteX11" fmla="*/ 3810 w 91440"/>
                  <a:gd name="connsiteY11" fmla="*/ 27718 h 52387"/>
                  <a:gd name="connsiteX12" fmla="*/ 0 w 91440"/>
                  <a:gd name="connsiteY12" fmla="*/ 42005 h 52387"/>
                  <a:gd name="connsiteX13" fmla="*/ 17145 w 91440"/>
                  <a:gd name="connsiteY13" fmla="*/ 48673 h 5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91440" h="52387">
                    <a:moveTo>
                      <a:pt x="17145" y="48673"/>
                    </a:moveTo>
                    <a:lnTo>
                      <a:pt x="35243" y="52388"/>
                    </a:lnTo>
                    <a:lnTo>
                      <a:pt x="56198" y="48673"/>
                    </a:lnTo>
                    <a:lnTo>
                      <a:pt x="66675" y="38100"/>
                    </a:lnTo>
                    <a:lnTo>
                      <a:pt x="77153" y="27718"/>
                    </a:lnTo>
                    <a:lnTo>
                      <a:pt x="91440" y="13430"/>
                    </a:lnTo>
                    <a:lnTo>
                      <a:pt x="87630" y="0"/>
                    </a:lnTo>
                    <a:lnTo>
                      <a:pt x="77153" y="6667"/>
                    </a:lnTo>
                    <a:lnTo>
                      <a:pt x="52388" y="17240"/>
                    </a:lnTo>
                    <a:lnTo>
                      <a:pt x="31433" y="20955"/>
                    </a:lnTo>
                    <a:lnTo>
                      <a:pt x="14288" y="13430"/>
                    </a:lnTo>
                    <a:lnTo>
                      <a:pt x="3810" y="27718"/>
                    </a:lnTo>
                    <a:lnTo>
                      <a:pt x="0" y="42005"/>
                    </a:lnTo>
                    <a:lnTo>
                      <a:pt x="17145" y="4867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id="{25402C72-34BC-3673-EB2D-1123C86B2BFF}"/>
                  </a:ext>
                </a:extLst>
              </p:cNvPr>
              <p:cNvSpPr/>
              <p:nvPr/>
            </p:nvSpPr>
            <p:spPr>
              <a:xfrm>
                <a:off x="6371077" y="3164616"/>
                <a:ext cx="154997" cy="127921"/>
              </a:xfrm>
              <a:custGeom>
                <a:avLst/>
                <a:gdLst>
                  <a:gd name="connsiteX0" fmla="*/ 147638 w 158114"/>
                  <a:gd name="connsiteY0" fmla="*/ 28575 h 130492"/>
                  <a:gd name="connsiteX1" fmla="*/ 151447 w 158114"/>
                  <a:gd name="connsiteY1" fmla="*/ 42863 h 130492"/>
                  <a:gd name="connsiteX2" fmla="*/ 158115 w 158114"/>
                  <a:gd name="connsiteY2" fmla="*/ 53245 h 130492"/>
                  <a:gd name="connsiteX3" fmla="*/ 151447 w 158114"/>
                  <a:gd name="connsiteY3" fmla="*/ 59912 h 130492"/>
                  <a:gd name="connsiteX4" fmla="*/ 122872 w 158114"/>
                  <a:gd name="connsiteY4" fmla="*/ 57150 h 130492"/>
                  <a:gd name="connsiteX5" fmla="*/ 95250 w 158114"/>
                  <a:gd name="connsiteY5" fmla="*/ 53245 h 130492"/>
                  <a:gd name="connsiteX6" fmla="*/ 84772 w 158114"/>
                  <a:gd name="connsiteY6" fmla="*/ 49530 h 130492"/>
                  <a:gd name="connsiteX7" fmla="*/ 62865 w 158114"/>
                  <a:gd name="connsiteY7" fmla="*/ 53245 h 130492"/>
                  <a:gd name="connsiteX8" fmla="*/ 66675 w 158114"/>
                  <a:gd name="connsiteY8" fmla="*/ 67532 h 130492"/>
                  <a:gd name="connsiteX9" fmla="*/ 74295 w 158114"/>
                  <a:gd name="connsiteY9" fmla="*/ 88487 h 130492"/>
                  <a:gd name="connsiteX10" fmla="*/ 80963 w 158114"/>
                  <a:gd name="connsiteY10" fmla="*/ 99060 h 130492"/>
                  <a:gd name="connsiteX11" fmla="*/ 98107 w 158114"/>
                  <a:gd name="connsiteY11" fmla="*/ 113348 h 130492"/>
                  <a:gd name="connsiteX12" fmla="*/ 109538 w 158114"/>
                  <a:gd name="connsiteY12" fmla="*/ 119920 h 130492"/>
                  <a:gd name="connsiteX13" fmla="*/ 105727 w 158114"/>
                  <a:gd name="connsiteY13" fmla="*/ 130493 h 130492"/>
                  <a:gd name="connsiteX14" fmla="*/ 84772 w 158114"/>
                  <a:gd name="connsiteY14" fmla="*/ 113348 h 130492"/>
                  <a:gd name="connsiteX15" fmla="*/ 62865 w 158114"/>
                  <a:gd name="connsiteY15" fmla="*/ 99060 h 130492"/>
                  <a:gd name="connsiteX16" fmla="*/ 49530 w 158114"/>
                  <a:gd name="connsiteY16" fmla="*/ 84773 h 130492"/>
                  <a:gd name="connsiteX17" fmla="*/ 41910 w 158114"/>
                  <a:gd name="connsiteY17" fmla="*/ 70485 h 130492"/>
                  <a:gd name="connsiteX18" fmla="*/ 39052 w 158114"/>
                  <a:gd name="connsiteY18" fmla="*/ 57150 h 130492"/>
                  <a:gd name="connsiteX19" fmla="*/ 27622 w 158114"/>
                  <a:gd name="connsiteY19" fmla="*/ 57150 h 130492"/>
                  <a:gd name="connsiteX20" fmla="*/ 14288 w 158114"/>
                  <a:gd name="connsiteY20" fmla="*/ 63818 h 130492"/>
                  <a:gd name="connsiteX21" fmla="*/ 0 w 158114"/>
                  <a:gd name="connsiteY21" fmla="*/ 57150 h 130492"/>
                  <a:gd name="connsiteX22" fmla="*/ 0 w 158114"/>
                  <a:gd name="connsiteY22" fmla="*/ 42863 h 130492"/>
                  <a:gd name="connsiteX23" fmla="*/ 6668 w 158114"/>
                  <a:gd name="connsiteY23" fmla="*/ 35243 h 130492"/>
                  <a:gd name="connsiteX24" fmla="*/ 14288 w 158114"/>
                  <a:gd name="connsiteY24" fmla="*/ 38957 h 130492"/>
                  <a:gd name="connsiteX25" fmla="*/ 24765 w 158114"/>
                  <a:gd name="connsiteY25" fmla="*/ 38957 h 130492"/>
                  <a:gd name="connsiteX26" fmla="*/ 45720 w 158114"/>
                  <a:gd name="connsiteY26" fmla="*/ 35243 h 130492"/>
                  <a:gd name="connsiteX27" fmla="*/ 56197 w 158114"/>
                  <a:gd name="connsiteY27" fmla="*/ 24670 h 130492"/>
                  <a:gd name="connsiteX28" fmla="*/ 66675 w 158114"/>
                  <a:gd name="connsiteY28" fmla="*/ 14288 h 130492"/>
                  <a:gd name="connsiteX29" fmla="*/ 80963 w 158114"/>
                  <a:gd name="connsiteY29" fmla="*/ 0 h 130492"/>
                  <a:gd name="connsiteX30" fmla="*/ 95250 w 158114"/>
                  <a:gd name="connsiteY30" fmla="*/ 14288 h 130492"/>
                  <a:gd name="connsiteX31" fmla="*/ 116205 w 158114"/>
                  <a:gd name="connsiteY31" fmla="*/ 32385 h 130492"/>
                  <a:gd name="connsiteX32" fmla="*/ 130493 w 158114"/>
                  <a:gd name="connsiteY32" fmla="*/ 32385 h 130492"/>
                  <a:gd name="connsiteX33" fmla="*/ 147638 w 158114"/>
                  <a:gd name="connsiteY33" fmla="*/ 28575 h 13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58114" h="130492">
                    <a:moveTo>
                      <a:pt x="147638" y="28575"/>
                    </a:moveTo>
                    <a:lnTo>
                      <a:pt x="151447" y="42863"/>
                    </a:lnTo>
                    <a:lnTo>
                      <a:pt x="158115" y="53245"/>
                    </a:lnTo>
                    <a:lnTo>
                      <a:pt x="151447" y="59912"/>
                    </a:lnTo>
                    <a:lnTo>
                      <a:pt x="122872" y="57150"/>
                    </a:lnTo>
                    <a:lnTo>
                      <a:pt x="95250" y="53245"/>
                    </a:lnTo>
                    <a:lnTo>
                      <a:pt x="84772" y="49530"/>
                    </a:lnTo>
                    <a:lnTo>
                      <a:pt x="62865" y="53245"/>
                    </a:lnTo>
                    <a:lnTo>
                      <a:pt x="66675" y="67532"/>
                    </a:lnTo>
                    <a:lnTo>
                      <a:pt x="74295" y="88487"/>
                    </a:lnTo>
                    <a:lnTo>
                      <a:pt x="80963" y="99060"/>
                    </a:lnTo>
                    <a:lnTo>
                      <a:pt x="98107" y="113348"/>
                    </a:lnTo>
                    <a:lnTo>
                      <a:pt x="109538" y="119920"/>
                    </a:lnTo>
                    <a:lnTo>
                      <a:pt x="105727" y="130493"/>
                    </a:lnTo>
                    <a:lnTo>
                      <a:pt x="84772" y="113348"/>
                    </a:lnTo>
                    <a:lnTo>
                      <a:pt x="62865" y="99060"/>
                    </a:lnTo>
                    <a:lnTo>
                      <a:pt x="49530" y="84773"/>
                    </a:lnTo>
                    <a:lnTo>
                      <a:pt x="41910" y="70485"/>
                    </a:lnTo>
                    <a:lnTo>
                      <a:pt x="39052" y="57150"/>
                    </a:lnTo>
                    <a:lnTo>
                      <a:pt x="27622" y="57150"/>
                    </a:lnTo>
                    <a:lnTo>
                      <a:pt x="14288" y="63818"/>
                    </a:lnTo>
                    <a:lnTo>
                      <a:pt x="0" y="57150"/>
                    </a:lnTo>
                    <a:lnTo>
                      <a:pt x="0" y="42863"/>
                    </a:lnTo>
                    <a:lnTo>
                      <a:pt x="6668" y="35243"/>
                    </a:lnTo>
                    <a:lnTo>
                      <a:pt x="14288" y="38957"/>
                    </a:lnTo>
                    <a:lnTo>
                      <a:pt x="24765" y="38957"/>
                    </a:lnTo>
                    <a:lnTo>
                      <a:pt x="45720" y="35243"/>
                    </a:lnTo>
                    <a:lnTo>
                      <a:pt x="56197" y="24670"/>
                    </a:lnTo>
                    <a:lnTo>
                      <a:pt x="66675" y="14288"/>
                    </a:lnTo>
                    <a:lnTo>
                      <a:pt x="80963" y="0"/>
                    </a:lnTo>
                    <a:lnTo>
                      <a:pt x="95250" y="14288"/>
                    </a:lnTo>
                    <a:lnTo>
                      <a:pt x="116205" y="32385"/>
                    </a:lnTo>
                    <a:lnTo>
                      <a:pt x="130493" y="32385"/>
                    </a:lnTo>
                    <a:lnTo>
                      <a:pt x="147638" y="2857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2" name="Freeform: Shape 281">
                <a:extLst>
                  <a:ext uri="{FF2B5EF4-FFF2-40B4-BE49-F238E27FC236}">
                    <a16:creationId xmlns:a16="http://schemas.microsoft.com/office/drawing/2014/main" id="{7CDCE9B8-9658-EF4B-DE4D-D7B9A5FD8E0D}"/>
                  </a:ext>
                </a:extLst>
              </p:cNvPr>
              <p:cNvSpPr/>
              <p:nvPr/>
            </p:nvSpPr>
            <p:spPr>
              <a:xfrm>
                <a:off x="6371077" y="3164616"/>
                <a:ext cx="154997" cy="127921"/>
              </a:xfrm>
              <a:custGeom>
                <a:avLst/>
                <a:gdLst>
                  <a:gd name="connsiteX0" fmla="*/ 147638 w 158114"/>
                  <a:gd name="connsiteY0" fmla="*/ 28575 h 130492"/>
                  <a:gd name="connsiteX1" fmla="*/ 151447 w 158114"/>
                  <a:gd name="connsiteY1" fmla="*/ 42863 h 130492"/>
                  <a:gd name="connsiteX2" fmla="*/ 158115 w 158114"/>
                  <a:gd name="connsiteY2" fmla="*/ 53245 h 130492"/>
                  <a:gd name="connsiteX3" fmla="*/ 151447 w 158114"/>
                  <a:gd name="connsiteY3" fmla="*/ 59912 h 130492"/>
                  <a:gd name="connsiteX4" fmla="*/ 122872 w 158114"/>
                  <a:gd name="connsiteY4" fmla="*/ 57150 h 130492"/>
                  <a:gd name="connsiteX5" fmla="*/ 95250 w 158114"/>
                  <a:gd name="connsiteY5" fmla="*/ 53245 h 130492"/>
                  <a:gd name="connsiteX6" fmla="*/ 84772 w 158114"/>
                  <a:gd name="connsiteY6" fmla="*/ 49530 h 130492"/>
                  <a:gd name="connsiteX7" fmla="*/ 62865 w 158114"/>
                  <a:gd name="connsiteY7" fmla="*/ 53245 h 130492"/>
                  <a:gd name="connsiteX8" fmla="*/ 66675 w 158114"/>
                  <a:gd name="connsiteY8" fmla="*/ 67532 h 130492"/>
                  <a:gd name="connsiteX9" fmla="*/ 74295 w 158114"/>
                  <a:gd name="connsiteY9" fmla="*/ 88487 h 130492"/>
                  <a:gd name="connsiteX10" fmla="*/ 80963 w 158114"/>
                  <a:gd name="connsiteY10" fmla="*/ 99060 h 130492"/>
                  <a:gd name="connsiteX11" fmla="*/ 98107 w 158114"/>
                  <a:gd name="connsiteY11" fmla="*/ 113348 h 130492"/>
                  <a:gd name="connsiteX12" fmla="*/ 109538 w 158114"/>
                  <a:gd name="connsiteY12" fmla="*/ 119920 h 130492"/>
                  <a:gd name="connsiteX13" fmla="*/ 105727 w 158114"/>
                  <a:gd name="connsiteY13" fmla="*/ 130493 h 130492"/>
                  <a:gd name="connsiteX14" fmla="*/ 84772 w 158114"/>
                  <a:gd name="connsiteY14" fmla="*/ 113348 h 130492"/>
                  <a:gd name="connsiteX15" fmla="*/ 62865 w 158114"/>
                  <a:gd name="connsiteY15" fmla="*/ 99060 h 130492"/>
                  <a:gd name="connsiteX16" fmla="*/ 49530 w 158114"/>
                  <a:gd name="connsiteY16" fmla="*/ 84773 h 130492"/>
                  <a:gd name="connsiteX17" fmla="*/ 41910 w 158114"/>
                  <a:gd name="connsiteY17" fmla="*/ 70485 h 130492"/>
                  <a:gd name="connsiteX18" fmla="*/ 39052 w 158114"/>
                  <a:gd name="connsiteY18" fmla="*/ 57150 h 130492"/>
                  <a:gd name="connsiteX19" fmla="*/ 27622 w 158114"/>
                  <a:gd name="connsiteY19" fmla="*/ 57150 h 130492"/>
                  <a:gd name="connsiteX20" fmla="*/ 14288 w 158114"/>
                  <a:gd name="connsiteY20" fmla="*/ 63818 h 130492"/>
                  <a:gd name="connsiteX21" fmla="*/ 0 w 158114"/>
                  <a:gd name="connsiteY21" fmla="*/ 57150 h 130492"/>
                  <a:gd name="connsiteX22" fmla="*/ 0 w 158114"/>
                  <a:gd name="connsiteY22" fmla="*/ 42863 h 130492"/>
                  <a:gd name="connsiteX23" fmla="*/ 6668 w 158114"/>
                  <a:gd name="connsiteY23" fmla="*/ 35243 h 130492"/>
                  <a:gd name="connsiteX24" fmla="*/ 14288 w 158114"/>
                  <a:gd name="connsiteY24" fmla="*/ 38957 h 130492"/>
                  <a:gd name="connsiteX25" fmla="*/ 24765 w 158114"/>
                  <a:gd name="connsiteY25" fmla="*/ 38957 h 130492"/>
                  <a:gd name="connsiteX26" fmla="*/ 45720 w 158114"/>
                  <a:gd name="connsiteY26" fmla="*/ 35243 h 130492"/>
                  <a:gd name="connsiteX27" fmla="*/ 56197 w 158114"/>
                  <a:gd name="connsiteY27" fmla="*/ 24670 h 130492"/>
                  <a:gd name="connsiteX28" fmla="*/ 66675 w 158114"/>
                  <a:gd name="connsiteY28" fmla="*/ 14288 h 130492"/>
                  <a:gd name="connsiteX29" fmla="*/ 80963 w 158114"/>
                  <a:gd name="connsiteY29" fmla="*/ 0 h 130492"/>
                  <a:gd name="connsiteX30" fmla="*/ 95250 w 158114"/>
                  <a:gd name="connsiteY30" fmla="*/ 14288 h 130492"/>
                  <a:gd name="connsiteX31" fmla="*/ 116205 w 158114"/>
                  <a:gd name="connsiteY31" fmla="*/ 32385 h 130492"/>
                  <a:gd name="connsiteX32" fmla="*/ 130493 w 158114"/>
                  <a:gd name="connsiteY32" fmla="*/ 32385 h 130492"/>
                  <a:gd name="connsiteX33" fmla="*/ 147638 w 158114"/>
                  <a:gd name="connsiteY33" fmla="*/ 28575 h 13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158114" h="130492">
                    <a:moveTo>
                      <a:pt x="147638" y="28575"/>
                    </a:moveTo>
                    <a:lnTo>
                      <a:pt x="151447" y="42863"/>
                    </a:lnTo>
                    <a:lnTo>
                      <a:pt x="158115" y="53245"/>
                    </a:lnTo>
                    <a:lnTo>
                      <a:pt x="151447" y="59912"/>
                    </a:lnTo>
                    <a:lnTo>
                      <a:pt x="122872" y="57150"/>
                    </a:lnTo>
                    <a:lnTo>
                      <a:pt x="95250" y="53245"/>
                    </a:lnTo>
                    <a:lnTo>
                      <a:pt x="84772" y="49530"/>
                    </a:lnTo>
                    <a:lnTo>
                      <a:pt x="62865" y="53245"/>
                    </a:lnTo>
                    <a:lnTo>
                      <a:pt x="66675" y="67532"/>
                    </a:lnTo>
                    <a:lnTo>
                      <a:pt x="74295" y="88487"/>
                    </a:lnTo>
                    <a:lnTo>
                      <a:pt x="80963" y="99060"/>
                    </a:lnTo>
                    <a:lnTo>
                      <a:pt x="98107" y="113348"/>
                    </a:lnTo>
                    <a:lnTo>
                      <a:pt x="109538" y="119920"/>
                    </a:lnTo>
                    <a:lnTo>
                      <a:pt x="105727" y="130493"/>
                    </a:lnTo>
                    <a:lnTo>
                      <a:pt x="84772" y="113348"/>
                    </a:lnTo>
                    <a:lnTo>
                      <a:pt x="62865" y="99060"/>
                    </a:lnTo>
                    <a:lnTo>
                      <a:pt x="49530" y="84773"/>
                    </a:lnTo>
                    <a:lnTo>
                      <a:pt x="41910" y="70485"/>
                    </a:lnTo>
                    <a:lnTo>
                      <a:pt x="39052" y="57150"/>
                    </a:lnTo>
                    <a:lnTo>
                      <a:pt x="27622" y="57150"/>
                    </a:lnTo>
                    <a:lnTo>
                      <a:pt x="14288" y="63818"/>
                    </a:lnTo>
                    <a:lnTo>
                      <a:pt x="0" y="57150"/>
                    </a:lnTo>
                    <a:lnTo>
                      <a:pt x="0" y="42863"/>
                    </a:lnTo>
                    <a:lnTo>
                      <a:pt x="6668" y="35243"/>
                    </a:lnTo>
                    <a:lnTo>
                      <a:pt x="14288" y="38957"/>
                    </a:lnTo>
                    <a:lnTo>
                      <a:pt x="24765" y="38957"/>
                    </a:lnTo>
                    <a:lnTo>
                      <a:pt x="45720" y="35243"/>
                    </a:lnTo>
                    <a:lnTo>
                      <a:pt x="56197" y="24670"/>
                    </a:lnTo>
                    <a:lnTo>
                      <a:pt x="66675" y="14288"/>
                    </a:lnTo>
                    <a:lnTo>
                      <a:pt x="80963" y="0"/>
                    </a:lnTo>
                    <a:lnTo>
                      <a:pt x="95250" y="14288"/>
                    </a:lnTo>
                    <a:lnTo>
                      <a:pt x="116205" y="32385"/>
                    </a:lnTo>
                    <a:lnTo>
                      <a:pt x="130493" y="32385"/>
                    </a:lnTo>
                    <a:lnTo>
                      <a:pt x="147638" y="2857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3574E6B3-3FF0-557C-66E9-3AEAA41DE8D0}"/>
                  </a:ext>
                </a:extLst>
              </p:cNvPr>
              <p:cNvSpPr/>
              <p:nvPr/>
            </p:nvSpPr>
            <p:spPr>
              <a:xfrm>
                <a:off x="6432702" y="3213170"/>
                <a:ext cx="103643" cy="90572"/>
              </a:xfrm>
              <a:custGeom>
                <a:avLst/>
                <a:gdLst>
                  <a:gd name="connsiteX0" fmla="*/ 0 w 105727"/>
                  <a:gd name="connsiteY0" fmla="*/ 3715 h 92392"/>
                  <a:gd name="connsiteX1" fmla="*/ 21907 w 105727"/>
                  <a:gd name="connsiteY1" fmla="*/ 0 h 92392"/>
                  <a:gd name="connsiteX2" fmla="*/ 46673 w 105727"/>
                  <a:gd name="connsiteY2" fmla="*/ 3715 h 92392"/>
                  <a:gd name="connsiteX3" fmla="*/ 88582 w 105727"/>
                  <a:gd name="connsiteY3" fmla="*/ 10382 h 92392"/>
                  <a:gd name="connsiteX4" fmla="*/ 99060 w 105727"/>
                  <a:gd name="connsiteY4" fmla="*/ 10382 h 92392"/>
                  <a:gd name="connsiteX5" fmla="*/ 102870 w 105727"/>
                  <a:gd name="connsiteY5" fmla="*/ 24670 h 92392"/>
                  <a:gd name="connsiteX6" fmla="*/ 95250 w 105727"/>
                  <a:gd name="connsiteY6" fmla="*/ 32290 h 92392"/>
                  <a:gd name="connsiteX7" fmla="*/ 105728 w 105727"/>
                  <a:gd name="connsiteY7" fmla="*/ 45720 h 92392"/>
                  <a:gd name="connsiteX8" fmla="*/ 92393 w 105727"/>
                  <a:gd name="connsiteY8" fmla="*/ 56102 h 92392"/>
                  <a:gd name="connsiteX9" fmla="*/ 88582 w 105727"/>
                  <a:gd name="connsiteY9" fmla="*/ 70390 h 92392"/>
                  <a:gd name="connsiteX10" fmla="*/ 78105 w 105727"/>
                  <a:gd name="connsiteY10" fmla="*/ 70390 h 92392"/>
                  <a:gd name="connsiteX11" fmla="*/ 74295 w 105727"/>
                  <a:gd name="connsiteY11" fmla="*/ 92392 h 92392"/>
                  <a:gd name="connsiteX12" fmla="*/ 60007 w 105727"/>
                  <a:gd name="connsiteY12" fmla="*/ 80963 h 92392"/>
                  <a:gd name="connsiteX13" fmla="*/ 46673 w 105727"/>
                  <a:gd name="connsiteY13" fmla="*/ 70390 h 92392"/>
                  <a:gd name="connsiteX14" fmla="*/ 28575 w 105727"/>
                  <a:gd name="connsiteY14" fmla="*/ 56102 h 92392"/>
                  <a:gd name="connsiteX15" fmla="*/ 18098 w 105727"/>
                  <a:gd name="connsiteY15" fmla="*/ 49530 h 92392"/>
                  <a:gd name="connsiteX16" fmla="*/ 11430 w 105727"/>
                  <a:gd name="connsiteY16" fmla="*/ 38957 h 92392"/>
                  <a:gd name="connsiteX17" fmla="*/ 3810 w 105727"/>
                  <a:gd name="connsiteY17" fmla="*/ 18002 h 92392"/>
                  <a:gd name="connsiteX18" fmla="*/ 0 w 105727"/>
                  <a:gd name="connsiteY18" fmla="*/ 3715 h 923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5727" h="92392">
                    <a:moveTo>
                      <a:pt x="0" y="3715"/>
                    </a:moveTo>
                    <a:lnTo>
                      <a:pt x="21907" y="0"/>
                    </a:lnTo>
                    <a:lnTo>
                      <a:pt x="46673" y="3715"/>
                    </a:lnTo>
                    <a:lnTo>
                      <a:pt x="88582" y="10382"/>
                    </a:lnTo>
                    <a:lnTo>
                      <a:pt x="99060" y="10382"/>
                    </a:lnTo>
                    <a:lnTo>
                      <a:pt x="102870" y="24670"/>
                    </a:lnTo>
                    <a:lnTo>
                      <a:pt x="95250" y="32290"/>
                    </a:lnTo>
                    <a:lnTo>
                      <a:pt x="105728" y="45720"/>
                    </a:lnTo>
                    <a:lnTo>
                      <a:pt x="92393" y="56102"/>
                    </a:lnTo>
                    <a:lnTo>
                      <a:pt x="88582" y="70390"/>
                    </a:lnTo>
                    <a:lnTo>
                      <a:pt x="78105" y="70390"/>
                    </a:lnTo>
                    <a:lnTo>
                      <a:pt x="74295" y="92392"/>
                    </a:lnTo>
                    <a:lnTo>
                      <a:pt x="60007" y="80963"/>
                    </a:lnTo>
                    <a:lnTo>
                      <a:pt x="46673" y="70390"/>
                    </a:lnTo>
                    <a:lnTo>
                      <a:pt x="28575" y="56102"/>
                    </a:lnTo>
                    <a:lnTo>
                      <a:pt x="18098" y="49530"/>
                    </a:lnTo>
                    <a:lnTo>
                      <a:pt x="11430" y="38957"/>
                    </a:lnTo>
                    <a:lnTo>
                      <a:pt x="3810" y="18002"/>
                    </a:lnTo>
                    <a:lnTo>
                      <a:pt x="0" y="371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4" name="Freeform: Shape 283">
                <a:extLst>
                  <a:ext uri="{FF2B5EF4-FFF2-40B4-BE49-F238E27FC236}">
                    <a16:creationId xmlns:a16="http://schemas.microsoft.com/office/drawing/2014/main" id="{57E18765-F772-C261-35D5-7C826F3B6DC6}"/>
                  </a:ext>
                </a:extLst>
              </p:cNvPr>
              <p:cNvSpPr/>
              <p:nvPr/>
            </p:nvSpPr>
            <p:spPr>
              <a:xfrm>
                <a:off x="6505533" y="3185998"/>
                <a:ext cx="121384" cy="134551"/>
              </a:xfrm>
              <a:custGeom>
                <a:avLst/>
                <a:gdLst>
                  <a:gd name="connsiteX0" fmla="*/ 24765 w 123825"/>
                  <a:gd name="connsiteY0" fmla="*/ 137255 h 137255"/>
                  <a:gd name="connsiteX1" fmla="*/ 10478 w 123825"/>
                  <a:gd name="connsiteY1" fmla="*/ 126683 h 137255"/>
                  <a:gd name="connsiteX2" fmla="*/ 0 w 123825"/>
                  <a:gd name="connsiteY2" fmla="*/ 120110 h 137255"/>
                  <a:gd name="connsiteX3" fmla="*/ 3810 w 123825"/>
                  <a:gd name="connsiteY3" fmla="*/ 98108 h 137255"/>
                  <a:gd name="connsiteX4" fmla="*/ 14288 w 123825"/>
                  <a:gd name="connsiteY4" fmla="*/ 98108 h 137255"/>
                  <a:gd name="connsiteX5" fmla="*/ 18098 w 123825"/>
                  <a:gd name="connsiteY5" fmla="*/ 83820 h 137255"/>
                  <a:gd name="connsiteX6" fmla="*/ 31433 w 123825"/>
                  <a:gd name="connsiteY6" fmla="*/ 73438 h 137255"/>
                  <a:gd name="connsiteX7" fmla="*/ 20955 w 123825"/>
                  <a:gd name="connsiteY7" fmla="*/ 60008 h 137255"/>
                  <a:gd name="connsiteX8" fmla="*/ 28575 w 123825"/>
                  <a:gd name="connsiteY8" fmla="*/ 52388 h 137255"/>
                  <a:gd name="connsiteX9" fmla="*/ 24765 w 123825"/>
                  <a:gd name="connsiteY9" fmla="*/ 38100 h 137255"/>
                  <a:gd name="connsiteX10" fmla="*/ 14288 w 123825"/>
                  <a:gd name="connsiteY10" fmla="*/ 38100 h 137255"/>
                  <a:gd name="connsiteX11" fmla="*/ 20955 w 123825"/>
                  <a:gd name="connsiteY11" fmla="*/ 31433 h 137255"/>
                  <a:gd name="connsiteX12" fmla="*/ 10478 w 123825"/>
                  <a:gd name="connsiteY12" fmla="*/ 6763 h 137255"/>
                  <a:gd name="connsiteX13" fmla="*/ 24765 w 123825"/>
                  <a:gd name="connsiteY13" fmla="*/ 0 h 137255"/>
                  <a:gd name="connsiteX14" fmla="*/ 60008 w 123825"/>
                  <a:gd name="connsiteY14" fmla="*/ 0 h 137255"/>
                  <a:gd name="connsiteX15" fmla="*/ 63818 w 123825"/>
                  <a:gd name="connsiteY15" fmla="*/ 13430 h 137255"/>
                  <a:gd name="connsiteX16" fmla="*/ 74295 w 123825"/>
                  <a:gd name="connsiteY16" fmla="*/ 27718 h 137255"/>
                  <a:gd name="connsiteX17" fmla="*/ 88583 w 123825"/>
                  <a:gd name="connsiteY17" fmla="*/ 48673 h 137255"/>
                  <a:gd name="connsiteX18" fmla="*/ 116205 w 123825"/>
                  <a:gd name="connsiteY18" fmla="*/ 52388 h 137255"/>
                  <a:gd name="connsiteX19" fmla="*/ 116205 w 123825"/>
                  <a:gd name="connsiteY19" fmla="*/ 70580 h 137255"/>
                  <a:gd name="connsiteX20" fmla="*/ 105728 w 123825"/>
                  <a:gd name="connsiteY20" fmla="*/ 77248 h 137255"/>
                  <a:gd name="connsiteX21" fmla="*/ 116205 w 123825"/>
                  <a:gd name="connsiteY21" fmla="*/ 91535 h 137255"/>
                  <a:gd name="connsiteX22" fmla="*/ 123825 w 123825"/>
                  <a:gd name="connsiteY22" fmla="*/ 102013 h 137255"/>
                  <a:gd name="connsiteX23" fmla="*/ 112395 w 123825"/>
                  <a:gd name="connsiteY23" fmla="*/ 122968 h 137255"/>
                  <a:gd name="connsiteX24" fmla="*/ 95250 w 123825"/>
                  <a:gd name="connsiteY24" fmla="*/ 126683 h 137255"/>
                  <a:gd name="connsiteX25" fmla="*/ 77153 w 123825"/>
                  <a:gd name="connsiteY25" fmla="*/ 133350 h 137255"/>
                  <a:gd name="connsiteX26" fmla="*/ 63818 w 123825"/>
                  <a:gd name="connsiteY26" fmla="*/ 133350 h 137255"/>
                  <a:gd name="connsiteX27" fmla="*/ 49530 w 123825"/>
                  <a:gd name="connsiteY27" fmla="*/ 122968 h 137255"/>
                  <a:gd name="connsiteX28" fmla="*/ 35243 w 123825"/>
                  <a:gd name="connsiteY28" fmla="*/ 120110 h 137255"/>
                  <a:gd name="connsiteX29" fmla="*/ 28575 w 123825"/>
                  <a:gd name="connsiteY29" fmla="*/ 126683 h 137255"/>
                  <a:gd name="connsiteX30" fmla="*/ 24765 w 123825"/>
                  <a:gd name="connsiteY30" fmla="*/ 137255 h 137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123825" h="137255">
                    <a:moveTo>
                      <a:pt x="24765" y="137255"/>
                    </a:moveTo>
                    <a:lnTo>
                      <a:pt x="10478" y="126683"/>
                    </a:lnTo>
                    <a:lnTo>
                      <a:pt x="0" y="120110"/>
                    </a:lnTo>
                    <a:lnTo>
                      <a:pt x="3810" y="98108"/>
                    </a:lnTo>
                    <a:lnTo>
                      <a:pt x="14288" y="98108"/>
                    </a:lnTo>
                    <a:lnTo>
                      <a:pt x="18098" y="83820"/>
                    </a:lnTo>
                    <a:lnTo>
                      <a:pt x="31433" y="73438"/>
                    </a:lnTo>
                    <a:lnTo>
                      <a:pt x="20955" y="60008"/>
                    </a:lnTo>
                    <a:lnTo>
                      <a:pt x="28575" y="52388"/>
                    </a:lnTo>
                    <a:lnTo>
                      <a:pt x="24765" y="38100"/>
                    </a:lnTo>
                    <a:lnTo>
                      <a:pt x="14288" y="38100"/>
                    </a:lnTo>
                    <a:lnTo>
                      <a:pt x="20955" y="31433"/>
                    </a:lnTo>
                    <a:lnTo>
                      <a:pt x="10478" y="6763"/>
                    </a:lnTo>
                    <a:lnTo>
                      <a:pt x="24765" y="0"/>
                    </a:lnTo>
                    <a:lnTo>
                      <a:pt x="60008" y="0"/>
                    </a:lnTo>
                    <a:lnTo>
                      <a:pt x="63818" y="13430"/>
                    </a:lnTo>
                    <a:lnTo>
                      <a:pt x="74295" y="27718"/>
                    </a:lnTo>
                    <a:lnTo>
                      <a:pt x="88583" y="48673"/>
                    </a:lnTo>
                    <a:lnTo>
                      <a:pt x="116205" y="52388"/>
                    </a:lnTo>
                    <a:lnTo>
                      <a:pt x="116205" y="70580"/>
                    </a:lnTo>
                    <a:lnTo>
                      <a:pt x="105728" y="77248"/>
                    </a:lnTo>
                    <a:lnTo>
                      <a:pt x="116205" y="91535"/>
                    </a:lnTo>
                    <a:lnTo>
                      <a:pt x="123825" y="102013"/>
                    </a:lnTo>
                    <a:lnTo>
                      <a:pt x="112395" y="122968"/>
                    </a:lnTo>
                    <a:lnTo>
                      <a:pt x="95250" y="126683"/>
                    </a:lnTo>
                    <a:lnTo>
                      <a:pt x="77153" y="133350"/>
                    </a:lnTo>
                    <a:lnTo>
                      <a:pt x="63818" y="133350"/>
                    </a:lnTo>
                    <a:lnTo>
                      <a:pt x="49530" y="122968"/>
                    </a:lnTo>
                    <a:lnTo>
                      <a:pt x="35243" y="120110"/>
                    </a:lnTo>
                    <a:lnTo>
                      <a:pt x="28575" y="126683"/>
                    </a:lnTo>
                    <a:lnTo>
                      <a:pt x="24765" y="13725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5" name="Freeform: Shape 284">
                <a:extLst>
                  <a:ext uri="{FF2B5EF4-FFF2-40B4-BE49-F238E27FC236}">
                    <a16:creationId xmlns:a16="http://schemas.microsoft.com/office/drawing/2014/main" id="{F6A2C4B4-10D6-D025-7890-40E98F48C474}"/>
                  </a:ext>
                </a:extLst>
              </p:cNvPr>
              <p:cNvSpPr/>
              <p:nvPr/>
            </p:nvSpPr>
            <p:spPr>
              <a:xfrm>
                <a:off x="6564358" y="3306543"/>
                <a:ext cx="69095" cy="54997"/>
              </a:xfrm>
              <a:custGeom>
                <a:avLst/>
                <a:gdLst>
                  <a:gd name="connsiteX0" fmla="*/ 52388 w 70484"/>
                  <a:gd name="connsiteY0" fmla="*/ 0 h 56102"/>
                  <a:gd name="connsiteX1" fmla="*/ 56197 w 70484"/>
                  <a:gd name="connsiteY1" fmla="*/ 14288 h 56102"/>
                  <a:gd name="connsiteX2" fmla="*/ 66675 w 70484"/>
                  <a:gd name="connsiteY2" fmla="*/ 24670 h 56102"/>
                  <a:gd name="connsiteX3" fmla="*/ 70485 w 70484"/>
                  <a:gd name="connsiteY3" fmla="*/ 35242 h 56102"/>
                  <a:gd name="connsiteX4" fmla="*/ 56197 w 70484"/>
                  <a:gd name="connsiteY4" fmla="*/ 45720 h 56102"/>
                  <a:gd name="connsiteX5" fmla="*/ 35242 w 70484"/>
                  <a:gd name="connsiteY5" fmla="*/ 49530 h 56102"/>
                  <a:gd name="connsiteX6" fmla="*/ 10477 w 70484"/>
                  <a:gd name="connsiteY6" fmla="*/ 56102 h 56102"/>
                  <a:gd name="connsiteX7" fmla="*/ 0 w 70484"/>
                  <a:gd name="connsiteY7" fmla="*/ 35242 h 56102"/>
                  <a:gd name="connsiteX8" fmla="*/ 3810 w 70484"/>
                  <a:gd name="connsiteY8" fmla="*/ 10382 h 56102"/>
                  <a:gd name="connsiteX9" fmla="*/ 17145 w 70484"/>
                  <a:gd name="connsiteY9" fmla="*/ 10382 h 56102"/>
                  <a:gd name="connsiteX10" fmla="*/ 35242 w 70484"/>
                  <a:gd name="connsiteY10" fmla="*/ 3715 h 56102"/>
                  <a:gd name="connsiteX11" fmla="*/ 52388 w 70484"/>
                  <a:gd name="connsiteY11" fmla="*/ 0 h 56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0484" h="56102">
                    <a:moveTo>
                      <a:pt x="52388" y="0"/>
                    </a:moveTo>
                    <a:lnTo>
                      <a:pt x="56197" y="14288"/>
                    </a:lnTo>
                    <a:lnTo>
                      <a:pt x="66675" y="24670"/>
                    </a:lnTo>
                    <a:lnTo>
                      <a:pt x="70485" y="35242"/>
                    </a:lnTo>
                    <a:lnTo>
                      <a:pt x="56197" y="45720"/>
                    </a:lnTo>
                    <a:lnTo>
                      <a:pt x="35242" y="49530"/>
                    </a:lnTo>
                    <a:lnTo>
                      <a:pt x="10477" y="56102"/>
                    </a:lnTo>
                    <a:lnTo>
                      <a:pt x="0" y="35242"/>
                    </a:lnTo>
                    <a:lnTo>
                      <a:pt x="3810" y="10382"/>
                    </a:lnTo>
                    <a:lnTo>
                      <a:pt x="17145" y="10382"/>
                    </a:lnTo>
                    <a:lnTo>
                      <a:pt x="35242" y="3715"/>
                    </a:lnTo>
                    <a:lnTo>
                      <a:pt x="52388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30B172FC-D039-15F0-EFFE-9FF21B726E9F}"/>
                  </a:ext>
                </a:extLst>
              </p:cNvPr>
              <p:cNvSpPr/>
              <p:nvPr/>
            </p:nvSpPr>
            <p:spPr>
              <a:xfrm>
                <a:off x="6740831" y="3102990"/>
                <a:ext cx="89638" cy="103644"/>
              </a:xfrm>
              <a:custGeom>
                <a:avLst/>
                <a:gdLst>
                  <a:gd name="connsiteX0" fmla="*/ 35243 w 91440"/>
                  <a:gd name="connsiteY0" fmla="*/ 105727 h 105727"/>
                  <a:gd name="connsiteX1" fmla="*/ 27623 w 91440"/>
                  <a:gd name="connsiteY1" fmla="*/ 84677 h 105727"/>
                  <a:gd name="connsiteX2" fmla="*/ 35243 w 91440"/>
                  <a:gd name="connsiteY2" fmla="*/ 62865 h 105727"/>
                  <a:gd name="connsiteX3" fmla="*/ 31432 w 91440"/>
                  <a:gd name="connsiteY3" fmla="*/ 56102 h 105727"/>
                  <a:gd name="connsiteX4" fmla="*/ 23813 w 91440"/>
                  <a:gd name="connsiteY4" fmla="*/ 45720 h 105727"/>
                  <a:gd name="connsiteX5" fmla="*/ 6668 w 91440"/>
                  <a:gd name="connsiteY5" fmla="*/ 31433 h 105727"/>
                  <a:gd name="connsiteX6" fmla="*/ 2857 w 91440"/>
                  <a:gd name="connsiteY6" fmla="*/ 17145 h 105727"/>
                  <a:gd name="connsiteX7" fmla="*/ 0 w 91440"/>
                  <a:gd name="connsiteY7" fmla="*/ 6572 h 105727"/>
                  <a:gd name="connsiteX8" fmla="*/ 6668 w 91440"/>
                  <a:gd name="connsiteY8" fmla="*/ 0 h 105727"/>
                  <a:gd name="connsiteX9" fmla="*/ 31432 w 91440"/>
                  <a:gd name="connsiteY9" fmla="*/ 2858 h 105727"/>
                  <a:gd name="connsiteX10" fmla="*/ 52388 w 91440"/>
                  <a:gd name="connsiteY10" fmla="*/ 10477 h 105727"/>
                  <a:gd name="connsiteX11" fmla="*/ 59055 w 91440"/>
                  <a:gd name="connsiteY11" fmla="*/ 24765 h 105727"/>
                  <a:gd name="connsiteX12" fmla="*/ 66675 w 91440"/>
                  <a:gd name="connsiteY12" fmla="*/ 39052 h 105727"/>
                  <a:gd name="connsiteX13" fmla="*/ 83820 w 91440"/>
                  <a:gd name="connsiteY13" fmla="*/ 49435 h 105727"/>
                  <a:gd name="connsiteX14" fmla="*/ 91440 w 91440"/>
                  <a:gd name="connsiteY14" fmla="*/ 62865 h 105727"/>
                  <a:gd name="connsiteX15" fmla="*/ 83820 w 91440"/>
                  <a:gd name="connsiteY15" fmla="*/ 74295 h 105727"/>
                  <a:gd name="connsiteX16" fmla="*/ 69532 w 91440"/>
                  <a:gd name="connsiteY16" fmla="*/ 74295 h 105727"/>
                  <a:gd name="connsiteX17" fmla="*/ 52388 w 91440"/>
                  <a:gd name="connsiteY17" fmla="*/ 70390 h 105727"/>
                  <a:gd name="connsiteX18" fmla="*/ 52388 w 91440"/>
                  <a:gd name="connsiteY18" fmla="*/ 84677 h 105727"/>
                  <a:gd name="connsiteX19" fmla="*/ 41910 w 91440"/>
                  <a:gd name="connsiteY19" fmla="*/ 98108 h 105727"/>
                  <a:gd name="connsiteX20" fmla="*/ 35243 w 91440"/>
                  <a:gd name="connsiteY20" fmla="*/ 105727 h 105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91440" h="105727">
                    <a:moveTo>
                      <a:pt x="35243" y="105727"/>
                    </a:moveTo>
                    <a:lnTo>
                      <a:pt x="27623" y="84677"/>
                    </a:lnTo>
                    <a:lnTo>
                      <a:pt x="35243" y="62865"/>
                    </a:lnTo>
                    <a:lnTo>
                      <a:pt x="31432" y="56102"/>
                    </a:lnTo>
                    <a:lnTo>
                      <a:pt x="23813" y="45720"/>
                    </a:lnTo>
                    <a:lnTo>
                      <a:pt x="6668" y="31433"/>
                    </a:lnTo>
                    <a:lnTo>
                      <a:pt x="2857" y="17145"/>
                    </a:lnTo>
                    <a:lnTo>
                      <a:pt x="0" y="6572"/>
                    </a:lnTo>
                    <a:lnTo>
                      <a:pt x="6668" y="0"/>
                    </a:lnTo>
                    <a:lnTo>
                      <a:pt x="31432" y="2858"/>
                    </a:lnTo>
                    <a:lnTo>
                      <a:pt x="52388" y="10477"/>
                    </a:lnTo>
                    <a:lnTo>
                      <a:pt x="59055" y="24765"/>
                    </a:lnTo>
                    <a:lnTo>
                      <a:pt x="66675" y="39052"/>
                    </a:lnTo>
                    <a:lnTo>
                      <a:pt x="83820" y="49435"/>
                    </a:lnTo>
                    <a:lnTo>
                      <a:pt x="91440" y="62865"/>
                    </a:lnTo>
                    <a:lnTo>
                      <a:pt x="83820" y="74295"/>
                    </a:lnTo>
                    <a:lnTo>
                      <a:pt x="69532" y="74295"/>
                    </a:lnTo>
                    <a:lnTo>
                      <a:pt x="52388" y="70390"/>
                    </a:lnTo>
                    <a:lnTo>
                      <a:pt x="52388" y="84677"/>
                    </a:lnTo>
                    <a:lnTo>
                      <a:pt x="41910" y="98108"/>
                    </a:lnTo>
                    <a:lnTo>
                      <a:pt x="35243" y="10572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1194E263-0D9A-7608-0304-F4D432DC51C9}"/>
                  </a:ext>
                </a:extLst>
              </p:cNvPr>
              <p:cNvSpPr/>
              <p:nvPr/>
            </p:nvSpPr>
            <p:spPr>
              <a:xfrm>
                <a:off x="6740831" y="3102990"/>
                <a:ext cx="89638" cy="103644"/>
              </a:xfrm>
              <a:custGeom>
                <a:avLst/>
                <a:gdLst>
                  <a:gd name="connsiteX0" fmla="*/ 35243 w 91440"/>
                  <a:gd name="connsiteY0" fmla="*/ 105727 h 105727"/>
                  <a:gd name="connsiteX1" fmla="*/ 27623 w 91440"/>
                  <a:gd name="connsiteY1" fmla="*/ 84677 h 105727"/>
                  <a:gd name="connsiteX2" fmla="*/ 35243 w 91440"/>
                  <a:gd name="connsiteY2" fmla="*/ 62865 h 105727"/>
                  <a:gd name="connsiteX3" fmla="*/ 31432 w 91440"/>
                  <a:gd name="connsiteY3" fmla="*/ 56102 h 105727"/>
                  <a:gd name="connsiteX4" fmla="*/ 23813 w 91440"/>
                  <a:gd name="connsiteY4" fmla="*/ 45720 h 105727"/>
                  <a:gd name="connsiteX5" fmla="*/ 6668 w 91440"/>
                  <a:gd name="connsiteY5" fmla="*/ 31433 h 105727"/>
                  <a:gd name="connsiteX6" fmla="*/ 2857 w 91440"/>
                  <a:gd name="connsiteY6" fmla="*/ 17145 h 105727"/>
                  <a:gd name="connsiteX7" fmla="*/ 0 w 91440"/>
                  <a:gd name="connsiteY7" fmla="*/ 6572 h 105727"/>
                  <a:gd name="connsiteX8" fmla="*/ 6668 w 91440"/>
                  <a:gd name="connsiteY8" fmla="*/ 0 h 105727"/>
                  <a:gd name="connsiteX9" fmla="*/ 31432 w 91440"/>
                  <a:gd name="connsiteY9" fmla="*/ 2858 h 105727"/>
                  <a:gd name="connsiteX10" fmla="*/ 52388 w 91440"/>
                  <a:gd name="connsiteY10" fmla="*/ 10477 h 105727"/>
                  <a:gd name="connsiteX11" fmla="*/ 59055 w 91440"/>
                  <a:gd name="connsiteY11" fmla="*/ 24765 h 105727"/>
                  <a:gd name="connsiteX12" fmla="*/ 66675 w 91440"/>
                  <a:gd name="connsiteY12" fmla="*/ 39052 h 105727"/>
                  <a:gd name="connsiteX13" fmla="*/ 83820 w 91440"/>
                  <a:gd name="connsiteY13" fmla="*/ 49435 h 105727"/>
                  <a:gd name="connsiteX14" fmla="*/ 91440 w 91440"/>
                  <a:gd name="connsiteY14" fmla="*/ 62865 h 105727"/>
                  <a:gd name="connsiteX15" fmla="*/ 83820 w 91440"/>
                  <a:gd name="connsiteY15" fmla="*/ 74295 h 105727"/>
                  <a:gd name="connsiteX16" fmla="*/ 69532 w 91440"/>
                  <a:gd name="connsiteY16" fmla="*/ 74295 h 105727"/>
                  <a:gd name="connsiteX17" fmla="*/ 52388 w 91440"/>
                  <a:gd name="connsiteY17" fmla="*/ 70390 h 105727"/>
                  <a:gd name="connsiteX18" fmla="*/ 52388 w 91440"/>
                  <a:gd name="connsiteY18" fmla="*/ 84677 h 105727"/>
                  <a:gd name="connsiteX19" fmla="*/ 41910 w 91440"/>
                  <a:gd name="connsiteY19" fmla="*/ 98108 h 105727"/>
                  <a:gd name="connsiteX20" fmla="*/ 35243 w 91440"/>
                  <a:gd name="connsiteY20" fmla="*/ 105727 h 1057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91440" h="105727">
                    <a:moveTo>
                      <a:pt x="35243" y="105727"/>
                    </a:moveTo>
                    <a:lnTo>
                      <a:pt x="27623" y="84677"/>
                    </a:lnTo>
                    <a:lnTo>
                      <a:pt x="35243" y="62865"/>
                    </a:lnTo>
                    <a:lnTo>
                      <a:pt x="31432" y="56102"/>
                    </a:lnTo>
                    <a:lnTo>
                      <a:pt x="23813" y="45720"/>
                    </a:lnTo>
                    <a:lnTo>
                      <a:pt x="6668" y="31433"/>
                    </a:lnTo>
                    <a:lnTo>
                      <a:pt x="2857" y="17145"/>
                    </a:lnTo>
                    <a:lnTo>
                      <a:pt x="0" y="6572"/>
                    </a:lnTo>
                    <a:lnTo>
                      <a:pt x="6668" y="0"/>
                    </a:lnTo>
                    <a:lnTo>
                      <a:pt x="31432" y="2858"/>
                    </a:lnTo>
                    <a:lnTo>
                      <a:pt x="52388" y="10477"/>
                    </a:lnTo>
                    <a:lnTo>
                      <a:pt x="59055" y="24765"/>
                    </a:lnTo>
                    <a:lnTo>
                      <a:pt x="66675" y="39052"/>
                    </a:lnTo>
                    <a:lnTo>
                      <a:pt x="83820" y="49435"/>
                    </a:lnTo>
                    <a:lnTo>
                      <a:pt x="91440" y="62865"/>
                    </a:lnTo>
                    <a:lnTo>
                      <a:pt x="83820" y="74295"/>
                    </a:lnTo>
                    <a:lnTo>
                      <a:pt x="69532" y="74295"/>
                    </a:lnTo>
                    <a:lnTo>
                      <a:pt x="52388" y="70390"/>
                    </a:lnTo>
                    <a:lnTo>
                      <a:pt x="52388" y="84677"/>
                    </a:lnTo>
                    <a:lnTo>
                      <a:pt x="41910" y="98108"/>
                    </a:lnTo>
                    <a:lnTo>
                      <a:pt x="35243" y="10572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94A8C574-0771-979F-FD82-5F5BF1CBED70}"/>
                  </a:ext>
                </a:extLst>
              </p:cNvPr>
              <p:cNvSpPr/>
              <p:nvPr/>
            </p:nvSpPr>
            <p:spPr>
              <a:xfrm>
                <a:off x="6602640" y="2964704"/>
                <a:ext cx="493005" cy="276478"/>
              </a:xfrm>
              <a:custGeom>
                <a:avLst/>
                <a:gdLst>
                  <a:gd name="connsiteX0" fmla="*/ 263843 w 502919"/>
                  <a:gd name="connsiteY0" fmla="*/ 2953 h 282035"/>
                  <a:gd name="connsiteX1" fmla="*/ 278130 w 502919"/>
                  <a:gd name="connsiteY1" fmla="*/ 10573 h 282035"/>
                  <a:gd name="connsiteX2" fmla="*/ 288607 w 502919"/>
                  <a:gd name="connsiteY2" fmla="*/ 6667 h 282035"/>
                  <a:gd name="connsiteX3" fmla="*/ 295275 w 502919"/>
                  <a:gd name="connsiteY3" fmla="*/ 0 h 282035"/>
                  <a:gd name="connsiteX4" fmla="*/ 309563 w 502919"/>
                  <a:gd name="connsiteY4" fmla="*/ 0 h 282035"/>
                  <a:gd name="connsiteX5" fmla="*/ 338138 w 502919"/>
                  <a:gd name="connsiteY5" fmla="*/ 0 h 282035"/>
                  <a:gd name="connsiteX6" fmla="*/ 344805 w 502919"/>
                  <a:gd name="connsiteY6" fmla="*/ 17240 h 282035"/>
                  <a:gd name="connsiteX7" fmla="*/ 340995 w 502919"/>
                  <a:gd name="connsiteY7" fmla="*/ 38100 h 282035"/>
                  <a:gd name="connsiteX8" fmla="*/ 373380 w 502919"/>
                  <a:gd name="connsiteY8" fmla="*/ 45815 h 282035"/>
                  <a:gd name="connsiteX9" fmla="*/ 380048 w 502919"/>
                  <a:gd name="connsiteY9" fmla="*/ 70580 h 282035"/>
                  <a:gd name="connsiteX10" fmla="*/ 436245 w 502919"/>
                  <a:gd name="connsiteY10" fmla="*/ 73342 h 282035"/>
                  <a:gd name="connsiteX11" fmla="*/ 440055 w 502919"/>
                  <a:gd name="connsiteY11" fmla="*/ 84868 h 282035"/>
                  <a:gd name="connsiteX12" fmla="*/ 475298 w 502919"/>
                  <a:gd name="connsiteY12" fmla="*/ 84868 h 282035"/>
                  <a:gd name="connsiteX13" fmla="*/ 502920 w 502919"/>
                  <a:gd name="connsiteY13" fmla="*/ 101917 h 282035"/>
                  <a:gd name="connsiteX14" fmla="*/ 502920 w 502919"/>
                  <a:gd name="connsiteY14" fmla="*/ 137255 h 282035"/>
                  <a:gd name="connsiteX15" fmla="*/ 500063 w 502919"/>
                  <a:gd name="connsiteY15" fmla="*/ 158210 h 282035"/>
                  <a:gd name="connsiteX16" fmla="*/ 471488 w 502919"/>
                  <a:gd name="connsiteY16" fmla="*/ 165830 h 282035"/>
                  <a:gd name="connsiteX17" fmla="*/ 454343 w 502919"/>
                  <a:gd name="connsiteY17" fmla="*/ 172498 h 282035"/>
                  <a:gd name="connsiteX18" fmla="*/ 450532 w 502919"/>
                  <a:gd name="connsiteY18" fmla="*/ 186785 h 282035"/>
                  <a:gd name="connsiteX19" fmla="*/ 425768 w 502919"/>
                  <a:gd name="connsiteY19" fmla="*/ 197167 h 282035"/>
                  <a:gd name="connsiteX20" fmla="*/ 394335 w 502919"/>
                  <a:gd name="connsiteY20" fmla="*/ 203930 h 282035"/>
                  <a:gd name="connsiteX21" fmla="*/ 365760 w 502919"/>
                  <a:gd name="connsiteY21" fmla="*/ 218218 h 282035"/>
                  <a:gd name="connsiteX22" fmla="*/ 338138 w 502919"/>
                  <a:gd name="connsiteY22" fmla="*/ 225742 h 282035"/>
                  <a:gd name="connsiteX23" fmla="*/ 334327 w 502919"/>
                  <a:gd name="connsiteY23" fmla="*/ 232505 h 282035"/>
                  <a:gd name="connsiteX24" fmla="*/ 351473 w 502919"/>
                  <a:gd name="connsiteY24" fmla="*/ 236315 h 282035"/>
                  <a:gd name="connsiteX25" fmla="*/ 361950 w 502919"/>
                  <a:gd name="connsiteY25" fmla="*/ 246793 h 282035"/>
                  <a:gd name="connsiteX26" fmla="*/ 369570 w 502919"/>
                  <a:gd name="connsiteY26" fmla="*/ 250603 h 282035"/>
                  <a:gd name="connsiteX27" fmla="*/ 380048 w 502919"/>
                  <a:gd name="connsiteY27" fmla="*/ 253460 h 282035"/>
                  <a:gd name="connsiteX28" fmla="*/ 408623 w 502919"/>
                  <a:gd name="connsiteY28" fmla="*/ 250603 h 282035"/>
                  <a:gd name="connsiteX29" fmla="*/ 419100 w 502919"/>
                  <a:gd name="connsiteY29" fmla="*/ 253460 h 282035"/>
                  <a:gd name="connsiteX30" fmla="*/ 421957 w 502919"/>
                  <a:gd name="connsiteY30" fmla="*/ 263842 h 282035"/>
                  <a:gd name="connsiteX31" fmla="*/ 411480 w 502919"/>
                  <a:gd name="connsiteY31" fmla="*/ 263842 h 282035"/>
                  <a:gd name="connsiteX32" fmla="*/ 386715 w 502919"/>
                  <a:gd name="connsiteY32" fmla="*/ 263842 h 282035"/>
                  <a:gd name="connsiteX33" fmla="*/ 369570 w 502919"/>
                  <a:gd name="connsiteY33" fmla="*/ 263842 h 282035"/>
                  <a:gd name="connsiteX34" fmla="*/ 355282 w 502919"/>
                  <a:gd name="connsiteY34" fmla="*/ 271463 h 282035"/>
                  <a:gd name="connsiteX35" fmla="*/ 340995 w 502919"/>
                  <a:gd name="connsiteY35" fmla="*/ 282035 h 282035"/>
                  <a:gd name="connsiteX36" fmla="*/ 323850 w 502919"/>
                  <a:gd name="connsiteY36" fmla="*/ 282035 h 282035"/>
                  <a:gd name="connsiteX37" fmla="*/ 323850 w 502919"/>
                  <a:gd name="connsiteY37" fmla="*/ 267748 h 282035"/>
                  <a:gd name="connsiteX38" fmla="*/ 316230 w 502919"/>
                  <a:gd name="connsiteY38" fmla="*/ 257175 h 282035"/>
                  <a:gd name="connsiteX39" fmla="*/ 299085 w 502919"/>
                  <a:gd name="connsiteY39" fmla="*/ 246793 h 282035"/>
                  <a:gd name="connsiteX40" fmla="*/ 309563 w 502919"/>
                  <a:gd name="connsiteY40" fmla="*/ 239173 h 282035"/>
                  <a:gd name="connsiteX41" fmla="*/ 323850 w 502919"/>
                  <a:gd name="connsiteY41" fmla="*/ 232505 h 282035"/>
                  <a:gd name="connsiteX42" fmla="*/ 323850 w 502919"/>
                  <a:gd name="connsiteY42" fmla="*/ 225742 h 282035"/>
                  <a:gd name="connsiteX43" fmla="*/ 284798 w 502919"/>
                  <a:gd name="connsiteY43" fmla="*/ 225742 h 282035"/>
                  <a:gd name="connsiteX44" fmla="*/ 278130 w 502919"/>
                  <a:gd name="connsiteY44" fmla="*/ 203930 h 282035"/>
                  <a:gd name="connsiteX45" fmla="*/ 257175 w 502919"/>
                  <a:gd name="connsiteY45" fmla="*/ 203930 h 282035"/>
                  <a:gd name="connsiteX46" fmla="*/ 242888 w 502919"/>
                  <a:gd name="connsiteY46" fmla="*/ 207740 h 282035"/>
                  <a:gd name="connsiteX47" fmla="*/ 242888 w 502919"/>
                  <a:gd name="connsiteY47" fmla="*/ 222028 h 282035"/>
                  <a:gd name="connsiteX48" fmla="*/ 221932 w 502919"/>
                  <a:gd name="connsiteY48" fmla="*/ 236315 h 282035"/>
                  <a:gd name="connsiteX49" fmla="*/ 210502 w 502919"/>
                  <a:gd name="connsiteY49" fmla="*/ 257175 h 282035"/>
                  <a:gd name="connsiteX50" fmla="*/ 200025 w 502919"/>
                  <a:gd name="connsiteY50" fmla="*/ 246793 h 282035"/>
                  <a:gd name="connsiteX51" fmla="*/ 193357 w 502919"/>
                  <a:gd name="connsiteY51" fmla="*/ 253460 h 282035"/>
                  <a:gd name="connsiteX52" fmla="*/ 176213 w 502919"/>
                  <a:gd name="connsiteY52" fmla="*/ 250603 h 282035"/>
                  <a:gd name="connsiteX53" fmla="*/ 176213 w 502919"/>
                  <a:gd name="connsiteY53" fmla="*/ 246793 h 282035"/>
                  <a:gd name="connsiteX54" fmla="*/ 193357 w 502919"/>
                  <a:gd name="connsiteY54" fmla="*/ 225742 h 282035"/>
                  <a:gd name="connsiteX55" fmla="*/ 193357 w 502919"/>
                  <a:gd name="connsiteY55" fmla="*/ 211455 h 282035"/>
                  <a:gd name="connsiteX56" fmla="*/ 224790 w 502919"/>
                  <a:gd name="connsiteY56" fmla="*/ 215360 h 282035"/>
                  <a:gd name="connsiteX57" fmla="*/ 232410 w 502919"/>
                  <a:gd name="connsiteY57" fmla="*/ 203930 h 282035"/>
                  <a:gd name="connsiteX58" fmla="*/ 224790 w 502919"/>
                  <a:gd name="connsiteY58" fmla="*/ 190500 h 282035"/>
                  <a:gd name="connsiteX59" fmla="*/ 207645 w 502919"/>
                  <a:gd name="connsiteY59" fmla="*/ 180118 h 282035"/>
                  <a:gd name="connsiteX60" fmla="*/ 193357 w 502919"/>
                  <a:gd name="connsiteY60" fmla="*/ 151543 h 282035"/>
                  <a:gd name="connsiteX61" fmla="*/ 172402 w 502919"/>
                  <a:gd name="connsiteY61" fmla="*/ 143923 h 282035"/>
                  <a:gd name="connsiteX62" fmla="*/ 154305 w 502919"/>
                  <a:gd name="connsiteY62" fmla="*/ 141065 h 282035"/>
                  <a:gd name="connsiteX63" fmla="*/ 147638 w 502919"/>
                  <a:gd name="connsiteY63" fmla="*/ 141065 h 282035"/>
                  <a:gd name="connsiteX64" fmla="*/ 140970 w 502919"/>
                  <a:gd name="connsiteY64" fmla="*/ 147638 h 282035"/>
                  <a:gd name="connsiteX65" fmla="*/ 119063 w 502919"/>
                  <a:gd name="connsiteY65" fmla="*/ 147638 h 282035"/>
                  <a:gd name="connsiteX66" fmla="*/ 112395 w 502919"/>
                  <a:gd name="connsiteY66" fmla="*/ 161925 h 282035"/>
                  <a:gd name="connsiteX67" fmla="*/ 77152 w 502919"/>
                  <a:gd name="connsiteY67" fmla="*/ 161925 h 282035"/>
                  <a:gd name="connsiteX68" fmla="*/ 56198 w 502919"/>
                  <a:gd name="connsiteY68" fmla="*/ 151543 h 282035"/>
                  <a:gd name="connsiteX69" fmla="*/ 17145 w 502919"/>
                  <a:gd name="connsiteY69" fmla="*/ 165830 h 282035"/>
                  <a:gd name="connsiteX70" fmla="*/ 10477 w 502919"/>
                  <a:gd name="connsiteY70" fmla="*/ 151543 h 282035"/>
                  <a:gd name="connsiteX71" fmla="*/ 0 w 502919"/>
                  <a:gd name="connsiteY71" fmla="*/ 143923 h 282035"/>
                  <a:gd name="connsiteX72" fmla="*/ 6668 w 502919"/>
                  <a:gd name="connsiteY72" fmla="*/ 133350 h 282035"/>
                  <a:gd name="connsiteX73" fmla="*/ 13335 w 502919"/>
                  <a:gd name="connsiteY73" fmla="*/ 116205 h 282035"/>
                  <a:gd name="connsiteX74" fmla="*/ 17145 w 502919"/>
                  <a:gd name="connsiteY74" fmla="*/ 101917 h 282035"/>
                  <a:gd name="connsiteX75" fmla="*/ 31432 w 502919"/>
                  <a:gd name="connsiteY75" fmla="*/ 80963 h 282035"/>
                  <a:gd name="connsiteX76" fmla="*/ 38100 w 502919"/>
                  <a:gd name="connsiteY76" fmla="*/ 73342 h 282035"/>
                  <a:gd name="connsiteX77" fmla="*/ 56198 w 502919"/>
                  <a:gd name="connsiteY77" fmla="*/ 62960 h 282035"/>
                  <a:gd name="connsiteX78" fmla="*/ 48577 w 502919"/>
                  <a:gd name="connsiteY78" fmla="*/ 42005 h 282035"/>
                  <a:gd name="connsiteX79" fmla="*/ 48577 w 502919"/>
                  <a:gd name="connsiteY79" fmla="*/ 27718 h 282035"/>
                  <a:gd name="connsiteX80" fmla="*/ 62865 w 502919"/>
                  <a:gd name="connsiteY80" fmla="*/ 6667 h 282035"/>
                  <a:gd name="connsiteX81" fmla="*/ 147638 w 502919"/>
                  <a:gd name="connsiteY81" fmla="*/ 24860 h 282035"/>
                  <a:gd name="connsiteX82" fmla="*/ 197168 w 502919"/>
                  <a:gd name="connsiteY82" fmla="*/ 24860 h 282035"/>
                  <a:gd name="connsiteX83" fmla="*/ 200025 w 502919"/>
                  <a:gd name="connsiteY83" fmla="*/ 35242 h 282035"/>
                  <a:gd name="connsiteX84" fmla="*/ 235268 w 502919"/>
                  <a:gd name="connsiteY84" fmla="*/ 38100 h 282035"/>
                  <a:gd name="connsiteX85" fmla="*/ 242888 w 502919"/>
                  <a:gd name="connsiteY85" fmla="*/ 6667 h 282035"/>
                  <a:gd name="connsiteX86" fmla="*/ 263843 w 502919"/>
                  <a:gd name="connsiteY86" fmla="*/ 2953 h 2820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502919" h="282035">
                    <a:moveTo>
                      <a:pt x="263843" y="2953"/>
                    </a:moveTo>
                    <a:lnTo>
                      <a:pt x="278130" y="10573"/>
                    </a:lnTo>
                    <a:lnTo>
                      <a:pt x="288607" y="6667"/>
                    </a:lnTo>
                    <a:lnTo>
                      <a:pt x="295275" y="0"/>
                    </a:lnTo>
                    <a:lnTo>
                      <a:pt x="309563" y="0"/>
                    </a:lnTo>
                    <a:lnTo>
                      <a:pt x="338138" y="0"/>
                    </a:lnTo>
                    <a:lnTo>
                      <a:pt x="344805" y="17240"/>
                    </a:lnTo>
                    <a:lnTo>
                      <a:pt x="340995" y="38100"/>
                    </a:lnTo>
                    <a:lnTo>
                      <a:pt x="373380" y="45815"/>
                    </a:lnTo>
                    <a:lnTo>
                      <a:pt x="380048" y="70580"/>
                    </a:lnTo>
                    <a:lnTo>
                      <a:pt x="436245" y="73342"/>
                    </a:lnTo>
                    <a:lnTo>
                      <a:pt x="440055" y="84868"/>
                    </a:lnTo>
                    <a:lnTo>
                      <a:pt x="475298" y="84868"/>
                    </a:lnTo>
                    <a:lnTo>
                      <a:pt x="502920" y="101917"/>
                    </a:lnTo>
                    <a:lnTo>
                      <a:pt x="502920" y="137255"/>
                    </a:lnTo>
                    <a:lnTo>
                      <a:pt x="500063" y="158210"/>
                    </a:lnTo>
                    <a:lnTo>
                      <a:pt x="471488" y="165830"/>
                    </a:lnTo>
                    <a:lnTo>
                      <a:pt x="454343" y="172498"/>
                    </a:lnTo>
                    <a:lnTo>
                      <a:pt x="450532" y="186785"/>
                    </a:lnTo>
                    <a:lnTo>
                      <a:pt x="425768" y="197167"/>
                    </a:lnTo>
                    <a:lnTo>
                      <a:pt x="394335" y="203930"/>
                    </a:lnTo>
                    <a:lnTo>
                      <a:pt x="365760" y="218218"/>
                    </a:lnTo>
                    <a:lnTo>
                      <a:pt x="338138" y="225742"/>
                    </a:lnTo>
                    <a:lnTo>
                      <a:pt x="334327" y="232505"/>
                    </a:lnTo>
                    <a:lnTo>
                      <a:pt x="351473" y="236315"/>
                    </a:lnTo>
                    <a:lnTo>
                      <a:pt x="361950" y="246793"/>
                    </a:lnTo>
                    <a:lnTo>
                      <a:pt x="369570" y="250603"/>
                    </a:lnTo>
                    <a:lnTo>
                      <a:pt x="380048" y="253460"/>
                    </a:lnTo>
                    <a:lnTo>
                      <a:pt x="408623" y="250603"/>
                    </a:lnTo>
                    <a:lnTo>
                      <a:pt x="419100" y="253460"/>
                    </a:lnTo>
                    <a:lnTo>
                      <a:pt x="421957" y="263842"/>
                    </a:lnTo>
                    <a:lnTo>
                      <a:pt x="411480" y="263842"/>
                    </a:lnTo>
                    <a:lnTo>
                      <a:pt x="386715" y="263842"/>
                    </a:lnTo>
                    <a:lnTo>
                      <a:pt x="369570" y="263842"/>
                    </a:lnTo>
                    <a:lnTo>
                      <a:pt x="355282" y="271463"/>
                    </a:lnTo>
                    <a:lnTo>
                      <a:pt x="340995" y="282035"/>
                    </a:lnTo>
                    <a:lnTo>
                      <a:pt x="323850" y="282035"/>
                    </a:lnTo>
                    <a:lnTo>
                      <a:pt x="323850" y="267748"/>
                    </a:lnTo>
                    <a:lnTo>
                      <a:pt x="316230" y="257175"/>
                    </a:lnTo>
                    <a:lnTo>
                      <a:pt x="299085" y="246793"/>
                    </a:lnTo>
                    <a:lnTo>
                      <a:pt x="309563" y="239173"/>
                    </a:lnTo>
                    <a:lnTo>
                      <a:pt x="323850" y="232505"/>
                    </a:lnTo>
                    <a:lnTo>
                      <a:pt x="323850" y="225742"/>
                    </a:lnTo>
                    <a:lnTo>
                      <a:pt x="284798" y="225742"/>
                    </a:lnTo>
                    <a:lnTo>
                      <a:pt x="278130" y="203930"/>
                    </a:lnTo>
                    <a:lnTo>
                      <a:pt x="257175" y="203930"/>
                    </a:lnTo>
                    <a:lnTo>
                      <a:pt x="242888" y="207740"/>
                    </a:lnTo>
                    <a:lnTo>
                      <a:pt x="242888" y="222028"/>
                    </a:lnTo>
                    <a:lnTo>
                      <a:pt x="221932" y="236315"/>
                    </a:lnTo>
                    <a:lnTo>
                      <a:pt x="210502" y="257175"/>
                    </a:lnTo>
                    <a:lnTo>
                      <a:pt x="200025" y="246793"/>
                    </a:lnTo>
                    <a:lnTo>
                      <a:pt x="193357" y="253460"/>
                    </a:lnTo>
                    <a:lnTo>
                      <a:pt x="176213" y="250603"/>
                    </a:lnTo>
                    <a:lnTo>
                      <a:pt x="176213" y="246793"/>
                    </a:lnTo>
                    <a:lnTo>
                      <a:pt x="193357" y="225742"/>
                    </a:lnTo>
                    <a:lnTo>
                      <a:pt x="193357" y="211455"/>
                    </a:lnTo>
                    <a:lnTo>
                      <a:pt x="224790" y="215360"/>
                    </a:lnTo>
                    <a:lnTo>
                      <a:pt x="232410" y="203930"/>
                    </a:lnTo>
                    <a:lnTo>
                      <a:pt x="224790" y="190500"/>
                    </a:lnTo>
                    <a:lnTo>
                      <a:pt x="207645" y="180118"/>
                    </a:lnTo>
                    <a:lnTo>
                      <a:pt x="193357" y="151543"/>
                    </a:lnTo>
                    <a:lnTo>
                      <a:pt x="172402" y="143923"/>
                    </a:lnTo>
                    <a:lnTo>
                      <a:pt x="154305" y="141065"/>
                    </a:lnTo>
                    <a:lnTo>
                      <a:pt x="147638" y="141065"/>
                    </a:lnTo>
                    <a:lnTo>
                      <a:pt x="140970" y="147638"/>
                    </a:lnTo>
                    <a:lnTo>
                      <a:pt x="119063" y="147638"/>
                    </a:lnTo>
                    <a:lnTo>
                      <a:pt x="112395" y="161925"/>
                    </a:lnTo>
                    <a:lnTo>
                      <a:pt x="77152" y="161925"/>
                    </a:lnTo>
                    <a:lnTo>
                      <a:pt x="56198" y="151543"/>
                    </a:lnTo>
                    <a:lnTo>
                      <a:pt x="17145" y="165830"/>
                    </a:lnTo>
                    <a:lnTo>
                      <a:pt x="10477" y="151543"/>
                    </a:lnTo>
                    <a:lnTo>
                      <a:pt x="0" y="143923"/>
                    </a:lnTo>
                    <a:lnTo>
                      <a:pt x="6668" y="133350"/>
                    </a:lnTo>
                    <a:lnTo>
                      <a:pt x="13335" y="116205"/>
                    </a:lnTo>
                    <a:lnTo>
                      <a:pt x="17145" y="101917"/>
                    </a:lnTo>
                    <a:lnTo>
                      <a:pt x="31432" y="80963"/>
                    </a:lnTo>
                    <a:lnTo>
                      <a:pt x="38100" y="73342"/>
                    </a:lnTo>
                    <a:lnTo>
                      <a:pt x="56198" y="62960"/>
                    </a:lnTo>
                    <a:lnTo>
                      <a:pt x="48577" y="42005"/>
                    </a:lnTo>
                    <a:lnTo>
                      <a:pt x="48577" y="27718"/>
                    </a:lnTo>
                    <a:lnTo>
                      <a:pt x="62865" y="6667"/>
                    </a:lnTo>
                    <a:lnTo>
                      <a:pt x="147638" y="24860"/>
                    </a:lnTo>
                    <a:lnTo>
                      <a:pt x="197168" y="24860"/>
                    </a:lnTo>
                    <a:lnTo>
                      <a:pt x="200025" y="35242"/>
                    </a:lnTo>
                    <a:lnTo>
                      <a:pt x="235268" y="38100"/>
                    </a:lnTo>
                    <a:lnTo>
                      <a:pt x="242888" y="6667"/>
                    </a:lnTo>
                    <a:lnTo>
                      <a:pt x="263843" y="295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30C70AA4-0AB5-71AA-8700-C930324049C5}"/>
                  </a:ext>
                </a:extLst>
              </p:cNvPr>
              <p:cNvSpPr/>
              <p:nvPr/>
            </p:nvSpPr>
            <p:spPr>
              <a:xfrm>
                <a:off x="6564358" y="3109432"/>
                <a:ext cx="244635" cy="155933"/>
              </a:xfrm>
              <a:custGeom>
                <a:avLst/>
                <a:gdLst>
                  <a:gd name="connsiteX0" fmla="*/ 56197 w 249554"/>
                  <a:gd name="connsiteY0" fmla="*/ 18193 h 159067"/>
                  <a:gd name="connsiteX1" fmla="*/ 80963 w 249554"/>
                  <a:gd name="connsiteY1" fmla="*/ 7715 h 159067"/>
                  <a:gd name="connsiteX2" fmla="*/ 95250 w 249554"/>
                  <a:gd name="connsiteY2" fmla="*/ 3905 h 159067"/>
                  <a:gd name="connsiteX3" fmla="*/ 116205 w 249554"/>
                  <a:gd name="connsiteY3" fmla="*/ 14288 h 159067"/>
                  <a:gd name="connsiteX4" fmla="*/ 151447 w 249554"/>
                  <a:gd name="connsiteY4" fmla="*/ 14288 h 159067"/>
                  <a:gd name="connsiteX5" fmla="*/ 158115 w 249554"/>
                  <a:gd name="connsiteY5" fmla="*/ 0 h 159067"/>
                  <a:gd name="connsiteX6" fmla="*/ 180022 w 249554"/>
                  <a:gd name="connsiteY6" fmla="*/ 0 h 159067"/>
                  <a:gd name="connsiteX7" fmla="*/ 186690 w 249554"/>
                  <a:gd name="connsiteY7" fmla="*/ 18193 h 159067"/>
                  <a:gd name="connsiteX8" fmla="*/ 190500 w 249554"/>
                  <a:gd name="connsiteY8" fmla="*/ 28575 h 159067"/>
                  <a:gd name="connsiteX9" fmla="*/ 211455 w 249554"/>
                  <a:gd name="connsiteY9" fmla="*/ 49530 h 159067"/>
                  <a:gd name="connsiteX10" fmla="*/ 215265 w 249554"/>
                  <a:gd name="connsiteY10" fmla="*/ 56293 h 159067"/>
                  <a:gd name="connsiteX11" fmla="*/ 207645 w 249554"/>
                  <a:gd name="connsiteY11" fmla="*/ 74390 h 159067"/>
                  <a:gd name="connsiteX12" fmla="*/ 211455 w 249554"/>
                  <a:gd name="connsiteY12" fmla="*/ 91535 h 159067"/>
                  <a:gd name="connsiteX13" fmla="*/ 215265 w 249554"/>
                  <a:gd name="connsiteY13" fmla="*/ 102965 h 159067"/>
                  <a:gd name="connsiteX14" fmla="*/ 232410 w 249554"/>
                  <a:gd name="connsiteY14" fmla="*/ 105823 h 159067"/>
                  <a:gd name="connsiteX15" fmla="*/ 239077 w 249554"/>
                  <a:gd name="connsiteY15" fmla="*/ 99155 h 159067"/>
                  <a:gd name="connsiteX16" fmla="*/ 249555 w 249554"/>
                  <a:gd name="connsiteY16" fmla="*/ 109538 h 159067"/>
                  <a:gd name="connsiteX17" fmla="*/ 242888 w 249554"/>
                  <a:gd name="connsiteY17" fmla="*/ 120110 h 159067"/>
                  <a:gd name="connsiteX18" fmla="*/ 228600 w 249554"/>
                  <a:gd name="connsiteY18" fmla="*/ 126778 h 159067"/>
                  <a:gd name="connsiteX19" fmla="*/ 221932 w 249554"/>
                  <a:gd name="connsiteY19" fmla="*/ 138113 h 159067"/>
                  <a:gd name="connsiteX20" fmla="*/ 218122 w 249554"/>
                  <a:gd name="connsiteY20" fmla="*/ 159067 h 159067"/>
                  <a:gd name="connsiteX21" fmla="*/ 207645 w 249554"/>
                  <a:gd name="connsiteY21" fmla="*/ 159067 h 159067"/>
                  <a:gd name="connsiteX22" fmla="*/ 186690 w 249554"/>
                  <a:gd name="connsiteY22" fmla="*/ 148685 h 159067"/>
                  <a:gd name="connsiteX23" fmla="*/ 161925 w 249554"/>
                  <a:gd name="connsiteY23" fmla="*/ 141065 h 159067"/>
                  <a:gd name="connsiteX24" fmla="*/ 147638 w 249554"/>
                  <a:gd name="connsiteY24" fmla="*/ 155353 h 159067"/>
                  <a:gd name="connsiteX25" fmla="*/ 126682 w 249554"/>
                  <a:gd name="connsiteY25" fmla="*/ 155353 h 159067"/>
                  <a:gd name="connsiteX26" fmla="*/ 77152 w 249554"/>
                  <a:gd name="connsiteY26" fmla="*/ 155353 h 159067"/>
                  <a:gd name="connsiteX27" fmla="*/ 56197 w 249554"/>
                  <a:gd name="connsiteY27" fmla="*/ 148685 h 159067"/>
                  <a:gd name="connsiteX28" fmla="*/ 56197 w 249554"/>
                  <a:gd name="connsiteY28" fmla="*/ 130492 h 159067"/>
                  <a:gd name="connsiteX29" fmla="*/ 28575 w 249554"/>
                  <a:gd name="connsiteY29" fmla="*/ 126778 h 159067"/>
                  <a:gd name="connsiteX30" fmla="*/ 14288 w 249554"/>
                  <a:gd name="connsiteY30" fmla="*/ 105823 h 159067"/>
                  <a:gd name="connsiteX31" fmla="*/ 3810 w 249554"/>
                  <a:gd name="connsiteY31" fmla="*/ 91535 h 159067"/>
                  <a:gd name="connsiteX32" fmla="*/ 0 w 249554"/>
                  <a:gd name="connsiteY32" fmla="*/ 78105 h 159067"/>
                  <a:gd name="connsiteX33" fmla="*/ 24765 w 249554"/>
                  <a:gd name="connsiteY33" fmla="*/ 53435 h 159067"/>
                  <a:gd name="connsiteX34" fmla="*/ 41910 w 249554"/>
                  <a:gd name="connsiteY34" fmla="*/ 28575 h 159067"/>
                  <a:gd name="connsiteX35" fmla="*/ 56197 w 249554"/>
                  <a:gd name="connsiteY35" fmla="*/ 18193 h 159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49554" h="159067">
                    <a:moveTo>
                      <a:pt x="56197" y="18193"/>
                    </a:moveTo>
                    <a:lnTo>
                      <a:pt x="80963" y="7715"/>
                    </a:lnTo>
                    <a:lnTo>
                      <a:pt x="95250" y="3905"/>
                    </a:lnTo>
                    <a:lnTo>
                      <a:pt x="116205" y="14288"/>
                    </a:lnTo>
                    <a:lnTo>
                      <a:pt x="151447" y="14288"/>
                    </a:lnTo>
                    <a:lnTo>
                      <a:pt x="158115" y="0"/>
                    </a:lnTo>
                    <a:lnTo>
                      <a:pt x="180022" y="0"/>
                    </a:lnTo>
                    <a:lnTo>
                      <a:pt x="186690" y="18193"/>
                    </a:lnTo>
                    <a:lnTo>
                      <a:pt x="190500" y="28575"/>
                    </a:lnTo>
                    <a:lnTo>
                      <a:pt x="211455" y="49530"/>
                    </a:lnTo>
                    <a:lnTo>
                      <a:pt x="215265" y="56293"/>
                    </a:lnTo>
                    <a:lnTo>
                      <a:pt x="207645" y="74390"/>
                    </a:lnTo>
                    <a:lnTo>
                      <a:pt x="211455" y="91535"/>
                    </a:lnTo>
                    <a:lnTo>
                      <a:pt x="215265" y="102965"/>
                    </a:lnTo>
                    <a:lnTo>
                      <a:pt x="232410" y="105823"/>
                    </a:lnTo>
                    <a:lnTo>
                      <a:pt x="239077" y="99155"/>
                    </a:lnTo>
                    <a:lnTo>
                      <a:pt x="249555" y="109538"/>
                    </a:lnTo>
                    <a:lnTo>
                      <a:pt x="242888" y="120110"/>
                    </a:lnTo>
                    <a:lnTo>
                      <a:pt x="228600" y="126778"/>
                    </a:lnTo>
                    <a:lnTo>
                      <a:pt x="221932" y="138113"/>
                    </a:lnTo>
                    <a:lnTo>
                      <a:pt x="218122" y="159067"/>
                    </a:lnTo>
                    <a:lnTo>
                      <a:pt x="207645" y="159067"/>
                    </a:lnTo>
                    <a:lnTo>
                      <a:pt x="186690" y="148685"/>
                    </a:lnTo>
                    <a:lnTo>
                      <a:pt x="161925" y="141065"/>
                    </a:lnTo>
                    <a:lnTo>
                      <a:pt x="147638" y="155353"/>
                    </a:lnTo>
                    <a:lnTo>
                      <a:pt x="126682" y="155353"/>
                    </a:lnTo>
                    <a:lnTo>
                      <a:pt x="77152" y="155353"/>
                    </a:lnTo>
                    <a:lnTo>
                      <a:pt x="56197" y="148685"/>
                    </a:lnTo>
                    <a:lnTo>
                      <a:pt x="56197" y="130492"/>
                    </a:lnTo>
                    <a:lnTo>
                      <a:pt x="28575" y="126778"/>
                    </a:lnTo>
                    <a:lnTo>
                      <a:pt x="14288" y="105823"/>
                    </a:lnTo>
                    <a:lnTo>
                      <a:pt x="3810" y="91535"/>
                    </a:lnTo>
                    <a:lnTo>
                      <a:pt x="0" y="78105"/>
                    </a:lnTo>
                    <a:lnTo>
                      <a:pt x="24765" y="53435"/>
                    </a:lnTo>
                    <a:lnTo>
                      <a:pt x="41910" y="28575"/>
                    </a:lnTo>
                    <a:lnTo>
                      <a:pt x="56197" y="1819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0" name="Freeform: Shape 289">
                <a:extLst>
                  <a:ext uri="{FF2B5EF4-FFF2-40B4-BE49-F238E27FC236}">
                    <a16:creationId xmlns:a16="http://schemas.microsoft.com/office/drawing/2014/main" id="{FCB6A010-A582-8C96-8E68-7F8B03D99C16}"/>
                  </a:ext>
                </a:extLst>
              </p:cNvPr>
              <p:cNvSpPr/>
              <p:nvPr/>
            </p:nvSpPr>
            <p:spPr>
              <a:xfrm>
                <a:off x="6609177" y="3247718"/>
                <a:ext cx="169004" cy="97014"/>
              </a:xfrm>
              <a:custGeom>
                <a:avLst/>
                <a:gdLst>
                  <a:gd name="connsiteX0" fmla="*/ 31432 w 172402"/>
                  <a:gd name="connsiteY0" fmla="*/ 14288 h 98964"/>
                  <a:gd name="connsiteX1" fmla="*/ 80963 w 172402"/>
                  <a:gd name="connsiteY1" fmla="*/ 14288 h 98964"/>
                  <a:gd name="connsiteX2" fmla="*/ 101918 w 172402"/>
                  <a:gd name="connsiteY2" fmla="*/ 14288 h 98964"/>
                  <a:gd name="connsiteX3" fmla="*/ 116205 w 172402"/>
                  <a:gd name="connsiteY3" fmla="*/ 0 h 98964"/>
                  <a:gd name="connsiteX4" fmla="*/ 140970 w 172402"/>
                  <a:gd name="connsiteY4" fmla="*/ 7620 h 98964"/>
                  <a:gd name="connsiteX5" fmla="*/ 161925 w 172402"/>
                  <a:gd name="connsiteY5" fmla="*/ 18002 h 98964"/>
                  <a:gd name="connsiteX6" fmla="*/ 172402 w 172402"/>
                  <a:gd name="connsiteY6" fmla="*/ 18002 h 98964"/>
                  <a:gd name="connsiteX7" fmla="*/ 172402 w 172402"/>
                  <a:gd name="connsiteY7" fmla="*/ 24765 h 98964"/>
                  <a:gd name="connsiteX8" fmla="*/ 158115 w 172402"/>
                  <a:gd name="connsiteY8" fmla="*/ 28575 h 98964"/>
                  <a:gd name="connsiteX9" fmla="*/ 158115 w 172402"/>
                  <a:gd name="connsiteY9" fmla="*/ 49435 h 98964"/>
                  <a:gd name="connsiteX10" fmla="*/ 144780 w 172402"/>
                  <a:gd name="connsiteY10" fmla="*/ 63722 h 98964"/>
                  <a:gd name="connsiteX11" fmla="*/ 147638 w 172402"/>
                  <a:gd name="connsiteY11" fmla="*/ 67627 h 98964"/>
                  <a:gd name="connsiteX12" fmla="*/ 161925 w 172402"/>
                  <a:gd name="connsiteY12" fmla="*/ 74295 h 98964"/>
                  <a:gd name="connsiteX13" fmla="*/ 158115 w 172402"/>
                  <a:gd name="connsiteY13" fmla="*/ 80963 h 98964"/>
                  <a:gd name="connsiteX14" fmla="*/ 140970 w 172402"/>
                  <a:gd name="connsiteY14" fmla="*/ 78010 h 98964"/>
                  <a:gd name="connsiteX15" fmla="*/ 126682 w 172402"/>
                  <a:gd name="connsiteY15" fmla="*/ 74295 h 98964"/>
                  <a:gd name="connsiteX16" fmla="*/ 112395 w 172402"/>
                  <a:gd name="connsiteY16" fmla="*/ 80963 h 98964"/>
                  <a:gd name="connsiteX17" fmla="*/ 105727 w 172402"/>
                  <a:gd name="connsiteY17" fmla="*/ 92297 h 98964"/>
                  <a:gd name="connsiteX18" fmla="*/ 105727 w 172402"/>
                  <a:gd name="connsiteY18" fmla="*/ 98965 h 98964"/>
                  <a:gd name="connsiteX19" fmla="*/ 91440 w 172402"/>
                  <a:gd name="connsiteY19" fmla="*/ 98965 h 98964"/>
                  <a:gd name="connsiteX20" fmla="*/ 70485 w 172402"/>
                  <a:gd name="connsiteY20" fmla="*/ 98965 h 98964"/>
                  <a:gd name="connsiteX21" fmla="*/ 52388 w 172402"/>
                  <a:gd name="connsiteY21" fmla="*/ 92297 h 98964"/>
                  <a:gd name="connsiteX22" fmla="*/ 41910 w 172402"/>
                  <a:gd name="connsiteY22" fmla="*/ 92297 h 98964"/>
                  <a:gd name="connsiteX23" fmla="*/ 24765 w 172402"/>
                  <a:gd name="connsiteY23" fmla="*/ 95250 h 98964"/>
                  <a:gd name="connsiteX24" fmla="*/ 20955 w 172402"/>
                  <a:gd name="connsiteY24" fmla="*/ 84677 h 98964"/>
                  <a:gd name="connsiteX25" fmla="*/ 10477 w 172402"/>
                  <a:gd name="connsiteY25" fmla="*/ 74295 h 98964"/>
                  <a:gd name="connsiteX26" fmla="*/ 6668 w 172402"/>
                  <a:gd name="connsiteY26" fmla="*/ 60008 h 98964"/>
                  <a:gd name="connsiteX27" fmla="*/ 18097 w 172402"/>
                  <a:gd name="connsiteY27" fmla="*/ 39052 h 98964"/>
                  <a:gd name="connsiteX28" fmla="*/ 6668 w 172402"/>
                  <a:gd name="connsiteY28" fmla="*/ 24765 h 98964"/>
                  <a:gd name="connsiteX29" fmla="*/ 0 w 172402"/>
                  <a:gd name="connsiteY29" fmla="*/ 14288 h 98964"/>
                  <a:gd name="connsiteX30" fmla="*/ 10477 w 172402"/>
                  <a:gd name="connsiteY30" fmla="*/ 7620 h 98964"/>
                  <a:gd name="connsiteX31" fmla="*/ 31432 w 172402"/>
                  <a:gd name="connsiteY31" fmla="*/ 14288 h 98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172402" h="98964">
                    <a:moveTo>
                      <a:pt x="31432" y="14288"/>
                    </a:moveTo>
                    <a:lnTo>
                      <a:pt x="80963" y="14288"/>
                    </a:lnTo>
                    <a:lnTo>
                      <a:pt x="101918" y="14288"/>
                    </a:lnTo>
                    <a:lnTo>
                      <a:pt x="116205" y="0"/>
                    </a:lnTo>
                    <a:lnTo>
                      <a:pt x="140970" y="7620"/>
                    </a:lnTo>
                    <a:lnTo>
                      <a:pt x="161925" y="18002"/>
                    </a:lnTo>
                    <a:lnTo>
                      <a:pt x="172402" y="18002"/>
                    </a:lnTo>
                    <a:lnTo>
                      <a:pt x="172402" y="24765"/>
                    </a:lnTo>
                    <a:lnTo>
                      <a:pt x="158115" y="28575"/>
                    </a:lnTo>
                    <a:lnTo>
                      <a:pt x="158115" y="49435"/>
                    </a:lnTo>
                    <a:lnTo>
                      <a:pt x="144780" y="63722"/>
                    </a:lnTo>
                    <a:lnTo>
                      <a:pt x="147638" y="67627"/>
                    </a:lnTo>
                    <a:lnTo>
                      <a:pt x="161925" y="74295"/>
                    </a:lnTo>
                    <a:lnTo>
                      <a:pt x="158115" y="80963"/>
                    </a:lnTo>
                    <a:lnTo>
                      <a:pt x="140970" y="78010"/>
                    </a:lnTo>
                    <a:lnTo>
                      <a:pt x="126682" y="74295"/>
                    </a:lnTo>
                    <a:lnTo>
                      <a:pt x="112395" y="80963"/>
                    </a:lnTo>
                    <a:lnTo>
                      <a:pt x="105727" y="92297"/>
                    </a:lnTo>
                    <a:lnTo>
                      <a:pt x="105727" y="98965"/>
                    </a:lnTo>
                    <a:lnTo>
                      <a:pt x="91440" y="98965"/>
                    </a:lnTo>
                    <a:lnTo>
                      <a:pt x="70485" y="98965"/>
                    </a:lnTo>
                    <a:lnTo>
                      <a:pt x="52388" y="92297"/>
                    </a:lnTo>
                    <a:lnTo>
                      <a:pt x="41910" y="92297"/>
                    </a:lnTo>
                    <a:lnTo>
                      <a:pt x="24765" y="95250"/>
                    </a:lnTo>
                    <a:lnTo>
                      <a:pt x="20955" y="84677"/>
                    </a:lnTo>
                    <a:lnTo>
                      <a:pt x="10477" y="74295"/>
                    </a:lnTo>
                    <a:lnTo>
                      <a:pt x="6668" y="60008"/>
                    </a:lnTo>
                    <a:lnTo>
                      <a:pt x="18097" y="39052"/>
                    </a:lnTo>
                    <a:lnTo>
                      <a:pt x="6668" y="24765"/>
                    </a:lnTo>
                    <a:lnTo>
                      <a:pt x="0" y="14288"/>
                    </a:lnTo>
                    <a:lnTo>
                      <a:pt x="10477" y="7620"/>
                    </a:lnTo>
                    <a:lnTo>
                      <a:pt x="31432" y="142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1" name="Freeform: Shape 290">
                <a:extLst>
                  <a:ext uri="{FF2B5EF4-FFF2-40B4-BE49-F238E27FC236}">
                    <a16:creationId xmlns:a16="http://schemas.microsoft.com/office/drawing/2014/main" id="{85DBE89C-9CCF-461A-A6A6-53AB731C7488}"/>
                  </a:ext>
                </a:extLst>
              </p:cNvPr>
              <p:cNvSpPr/>
              <p:nvPr/>
            </p:nvSpPr>
            <p:spPr>
              <a:xfrm>
                <a:off x="6712820" y="3320549"/>
                <a:ext cx="72830" cy="52195"/>
              </a:xfrm>
              <a:custGeom>
                <a:avLst/>
                <a:gdLst>
                  <a:gd name="connsiteX0" fmla="*/ 0 w 74294"/>
                  <a:gd name="connsiteY0" fmla="*/ 24670 h 53244"/>
                  <a:gd name="connsiteX1" fmla="*/ 0 w 74294"/>
                  <a:gd name="connsiteY1" fmla="*/ 35242 h 53244"/>
                  <a:gd name="connsiteX2" fmla="*/ 3810 w 74294"/>
                  <a:gd name="connsiteY2" fmla="*/ 45720 h 53244"/>
                  <a:gd name="connsiteX3" fmla="*/ 17145 w 74294"/>
                  <a:gd name="connsiteY3" fmla="*/ 45720 h 53244"/>
                  <a:gd name="connsiteX4" fmla="*/ 6668 w 74294"/>
                  <a:gd name="connsiteY4" fmla="*/ 53245 h 53244"/>
                  <a:gd name="connsiteX5" fmla="*/ 24765 w 74294"/>
                  <a:gd name="connsiteY5" fmla="*/ 49530 h 53244"/>
                  <a:gd name="connsiteX6" fmla="*/ 45720 w 74294"/>
                  <a:gd name="connsiteY6" fmla="*/ 35242 h 53244"/>
                  <a:gd name="connsiteX7" fmla="*/ 60007 w 74294"/>
                  <a:gd name="connsiteY7" fmla="*/ 28575 h 53244"/>
                  <a:gd name="connsiteX8" fmla="*/ 74295 w 74294"/>
                  <a:gd name="connsiteY8" fmla="*/ 31432 h 53244"/>
                  <a:gd name="connsiteX9" fmla="*/ 66675 w 74294"/>
                  <a:gd name="connsiteY9" fmla="*/ 24670 h 53244"/>
                  <a:gd name="connsiteX10" fmla="*/ 56198 w 74294"/>
                  <a:gd name="connsiteY10" fmla="*/ 18002 h 53244"/>
                  <a:gd name="connsiteX11" fmla="*/ 52388 w 74294"/>
                  <a:gd name="connsiteY11" fmla="*/ 6667 h 53244"/>
                  <a:gd name="connsiteX12" fmla="*/ 39053 w 74294"/>
                  <a:gd name="connsiteY12" fmla="*/ 6667 h 53244"/>
                  <a:gd name="connsiteX13" fmla="*/ 20955 w 74294"/>
                  <a:gd name="connsiteY13" fmla="*/ 0 h 53244"/>
                  <a:gd name="connsiteX14" fmla="*/ 6668 w 74294"/>
                  <a:gd name="connsiteY14" fmla="*/ 6667 h 53244"/>
                  <a:gd name="connsiteX15" fmla="*/ 0 w 74294"/>
                  <a:gd name="connsiteY15" fmla="*/ 18002 h 53244"/>
                  <a:gd name="connsiteX16" fmla="*/ 0 w 74294"/>
                  <a:gd name="connsiteY16" fmla="*/ 24670 h 5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294" h="53244">
                    <a:moveTo>
                      <a:pt x="0" y="24670"/>
                    </a:moveTo>
                    <a:lnTo>
                      <a:pt x="0" y="35242"/>
                    </a:lnTo>
                    <a:lnTo>
                      <a:pt x="3810" y="45720"/>
                    </a:lnTo>
                    <a:lnTo>
                      <a:pt x="17145" y="45720"/>
                    </a:lnTo>
                    <a:lnTo>
                      <a:pt x="6668" y="53245"/>
                    </a:lnTo>
                    <a:lnTo>
                      <a:pt x="24765" y="49530"/>
                    </a:lnTo>
                    <a:lnTo>
                      <a:pt x="45720" y="35242"/>
                    </a:lnTo>
                    <a:lnTo>
                      <a:pt x="60007" y="28575"/>
                    </a:lnTo>
                    <a:lnTo>
                      <a:pt x="74295" y="31432"/>
                    </a:lnTo>
                    <a:lnTo>
                      <a:pt x="66675" y="24670"/>
                    </a:lnTo>
                    <a:lnTo>
                      <a:pt x="56198" y="18002"/>
                    </a:lnTo>
                    <a:lnTo>
                      <a:pt x="52388" y="6667"/>
                    </a:lnTo>
                    <a:lnTo>
                      <a:pt x="39053" y="6667"/>
                    </a:lnTo>
                    <a:lnTo>
                      <a:pt x="20955" y="0"/>
                    </a:lnTo>
                    <a:lnTo>
                      <a:pt x="6668" y="6667"/>
                    </a:lnTo>
                    <a:lnTo>
                      <a:pt x="0" y="18002"/>
                    </a:lnTo>
                    <a:lnTo>
                      <a:pt x="0" y="246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2" name="Freeform: Shape 291">
                <a:extLst>
                  <a:ext uri="{FF2B5EF4-FFF2-40B4-BE49-F238E27FC236}">
                    <a16:creationId xmlns:a16="http://schemas.microsoft.com/office/drawing/2014/main" id="{BDD67E9E-C23C-67B5-5940-105A2839D577}"/>
                  </a:ext>
                </a:extLst>
              </p:cNvPr>
              <p:cNvSpPr/>
              <p:nvPr/>
            </p:nvSpPr>
            <p:spPr>
              <a:xfrm>
                <a:off x="6712820" y="3320549"/>
                <a:ext cx="72830" cy="52195"/>
              </a:xfrm>
              <a:custGeom>
                <a:avLst/>
                <a:gdLst>
                  <a:gd name="connsiteX0" fmla="*/ 0 w 74294"/>
                  <a:gd name="connsiteY0" fmla="*/ 24670 h 53244"/>
                  <a:gd name="connsiteX1" fmla="*/ 0 w 74294"/>
                  <a:gd name="connsiteY1" fmla="*/ 35242 h 53244"/>
                  <a:gd name="connsiteX2" fmla="*/ 3810 w 74294"/>
                  <a:gd name="connsiteY2" fmla="*/ 45720 h 53244"/>
                  <a:gd name="connsiteX3" fmla="*/ 17145 w 74294"/>
                  <a:gd name="connsiteY3" fmla="*/ 45720 h 53244"/>
                  <a:gd name="connsiteX4" fmla="*/ 6668 w 74294"/>
                  <a:gd name="connsiteY4" fmla="*/ 53245 h 53244"/>
                  <a:gd name="connsiteX5" fmla="*/ 24765 w 74294"/>
                  <a:gd name="connsiteY5" fmla="*/ 49530 h 53244"/>
                  <a:gd name="connsiteX6" fmla="*/ 45720 w 74294"/>
                  <a:gd name="connsiteY6" fmla="*/ 35242 h 53244"/>
                  <a:gd name="connsiteX7" fmla="*/ 60007 w 74294"/>
                  <a:gd name="connsiteY7" fmla="*/ 28575 h 53244"/>
                  <a:gd name="connsiteX8" fmla="*/ 74295 w 74294"/>
                  <a:gd name="connsiteY8" fmla="*/ 31432 h 53244"/>
                  <a:gd name="connsiteX9" fmla="*/ 66675 w 74294"/>
                  <a:gd name="connsiteY9" fmla="*/ 24670 h 53244"/>
                  <a:gd name="connsiteX10" fmla="*/ 56198 w 74294"/>
                  <a:gd name="connsiteY10" fmla="*/ 18002 h 53244"/>
                  <a:gd name="connsiteX11" fmla="*/ 52388 w 74294"/>
                  <a:gd name="connsiteY11" fmla="*/ 6667 h 53244"/>
                  <a:gd name="connsiteX12" fmla="*/ 39053 w 74294"/>
                  <a:gd name="connsiteY12" fmla="*/ 6667 h 53244"/>
                  <a:gd name="connsiteX13" fmla="*/ 20955 w 74294"/>
                  <a:gd name="connsiteY13" fmla="*/ 0 h 53244"/>
                  <a:gd name="connsiteX14" fmla="*/ 6668 w 74294"/>
                  <a:gd name="connsiteY14" fmla="*/ 6667 h 53244"/>
                  <a:gd name="connsiteX15" fmla="*/ 0 w 74294"/>
                  <a:gd name="connsiteY15" fmla="*/ 18002 h 53244"/>
                  <a:gd name="connsiteX16" fmla="*/ 0 w 74294"/>
                  <a:gd name="connsiteY16" fmla="*/ 24670 h 5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74294" h="53244">
                    <a:moveTo>
                      <a:pt x="0" y="24670"/>
                    </a:moveTo>
                    <a:lnTo>
                      <a:pt x="0" y="35242"/>
                    </a:lnTo>
                    <a:lnTo>
                      <a:pt x="3810" y="45720"/>
                    </a:lnTo>
                    <a:lnTo>
                      <a:pt x="17145" y="45720"/>
                    </a:lnTo>
                    <a:lnTo>
                      <a:pt x="6668" y="53245"/>
                    </a:lnTo>
                    <a:lnTo>
                      <a:pt x="24765" y="49530"/>
                    </a:lnTo>
                    <a:lnTo>
                      <a:pt x="45720" y="35242"/>
                    </a:lnTo>
                    <a:lnTo>
                      <a:pt x="60007" y="28575"/>
                    </a:lnTo>
                    <a:lnTo>
                      <a:pt x="74295" y="31432"/>
                    </a:lnTo>
                    <a:lnTo>
                      <a:pt x="66675" y="24670"/>
                    </a:lnTo>
                    <a:lnTo>
                      <a:pt x="56198" y="18002"/>
                    </a:lnTo>
                    <a:lnTo>
                      <a:pt x="52388" y="6667"/>
                    </a:lnTo>
                    <a:lnTo>
                      <a:pt x="39053" y="6667"/>
                    </a:lnTo>
                    <a:lnTo>
                      <a:pt x="20955" y="0"/>
                    </a:lnTo>
                    <a:lnTo>
                      <a:pt x="6668" y="6667"/>
                    </a:lnTo>
                    <a:lnTo>
                      <a:pt x="0" y="18002"/>
                    </a:lnTo>
                    <a:lnTo>
                      <a:pt x="0" y="246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3" name="Freeform: Shape 292">
                <a:extLst>
                  <a:ext uri="{FF2B5EF4-FFF2-40B4-BE49-F238E27FC236}">
                    <a16:creationId xmlns:a16="http://schemas.microsoft.com/office/drawing/2014/main" id="{970FD7D7-A91F-033D-F199-D16E8B52468A}"/>
                  </a:ext>
                </a:extLst>
              </p:cNvPr>
              <p:cNvSpPr/>
              <p:nvPr/>
            </p:nvSpPr>
            <p:spPr>
              <a:xfrm>
                <a:off x="6643724" y="3531479"/>
                <a:ext cx="75631" cy="16807"/>
              </a:xfrm>
              <a:custGeom>
                <a:avLst/>
                <a:gdLst>
                  <a:gd name="connsiteX0" fmla="*/ 6667 w 77152"/>
                  <a:gd name="connsiteY0" fmla="*/ 0 h 17145"/>
                  <a:gd name="connsiteX1" fmla="*/ 17145 w 77152"/>
                  <a:gd name="connsiteY1" fmla="*/ 0 h 17145"/>
                  <a:gd name="connsiteX2" fmla="*/ 28575 w 77152"/>
                  <a:gd name="connsiteY2" fmla="*/ 3905 h 17145"/>
                  <a:gd name="connsiteX3" fmla="*/ 39052 w 77152"/>
                  <a:gd name="connsiteY3" fmla="*/ 3905 h 17145"/>
                  <a:gd name="connsiteX4" fmla="*/ 52388 w 77152"/>
                  <a:gd name="connsiteY4" fmla="*/ 3905 h 17145"/>
                  <a:gd name="connsiteX5" fmla="*/ 60007 w 77152"/>
                  <a:gd name="connsiteY5" fmla="*/ 3905 h 17145"/>
                  <a:gd name="connsiteX6" fmla="*/ 74295 w 77152"/>
                  <a:gd name="connsiteY6" fmla="*/ 6763 h 17145"/>
                  <a:gd name="connsiteX7" fmla="*/ 77152 w 77152"/>
                  <a:gd name="connsiteY7" fmla="*/ 14288 h 17145"/>
                  <a:gd name="connsiteX8" fmla="*/ 70485 w 77152"/>
                  <a:gd name="connsiteY8" fmla="*/ 17145 h 17145"/>
                  <a:gd name="connsiteX9" fmla="*/ 56197 w 77152"/>
                  <a:gd name="connsiteY9" fmla="*/ 14288 h 17145"/>
                  <a:gd name="connsiteX10" fmla="*/ 41910 w 77152"/>
                  <a:gd name="connsiteY10" fmla="*/ 14288 h 17145"/>
                  <a:gd name="connsiteX11" fmla="*/ 31432 w 77152"/>
                  <a:gd name="connsiteY11" fmla="*/ 17145 h 17145"/>
                  <a:gd name="connsiteX12" fmla="*/ 28575 w 77152"/>
                  <a:gd name="connsiteY12" fmla="*/ 10573 h 17145"/>
                  <a:gd name="connsiteX13" fmla="*/ 14288 w 77152"/>
                  <a:gd name="connsiteY13" fmla="*/ 10573 h 17145"/>
                  <a:gd name="connsiteX14" fmla="*/ 0 w 77152"/>
                  <a:gd name="connsiteY14" fmla="*/ 6763 h 17145"/>
                  <a:gd name="connsiteX15" fmla="*/ 6667 w 77152"/>
                  <a:gd name="connsiteY15" fmla="*/ 0 h 1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7152" h="17145">
                    <a:moveTo>
                      <a:pt x="6667" y="0"/>
                    </a:moveTo>
                    <a:lnTo>
                      <a:pt x="17145" y="0"/>
                    </a:lnTo>
                    <a:lnTo>
                      <a:pt x="28575" y="3905"/>
                    </a:lnTo>
                    <a:lnTo>
                      <a:pt x="39052" y="3905"/>
                    </a:lnTo>
                    <a:lnTo>
                      <a:pt x="52388" y="3905"/>
                    </a:lnTo>
                    <a:lnTo>
                      <a:pt x="60007" y="3905"/>
                    </a:lnTo>
                    <a:lnTo>
                      <a:pt x="74295" y="6763"/>
                    </a:lnTo>
                    <a:lnTo>
                      <a:pt x="77152" y="14288"/>
                    </a:lnTo>
                    <a:lnTo>
                      <a:pt x="70485" y="17145"/>
                    </a:lnTo>
                    <a:lnTo>
                      <a:pt x="56197" y="14288"/>
                    </a:lnTo>
                    <a:lnTo>
                      <a:pt x="41910" y="14288"/>
                    </a:lnTo>
                    <a:lnTo>
                      <a:pt x="31432" y="17145"/>
                    </a:lnTo>
                    <a:lnTo>
                      <a:pt x="28575" y="10573"/>
                    </a:lnTo>
                    <a:lnTo>
                      <a:pt x="14288" y="10573"/>
                    </a:lnTo>
                    <a:lnTo>
                      <a:pt x="0" y="6763"/>
                    </a:lnTo>
                    <a:lnTo>
                      <a:pt x="6667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4" name="Freeform: Shape 293">
                <a:extLst>
                  <a:ext uri="{FF2B5EF4-FFF2-40B4-BE49-F238E27FC236}">
                    <a16:creationId xmlns:a16="http://schemas.microsoft.com/office/drawing/2014/main" id="{532A693E-BDA0-E7F6-1391-69E65F74AE1A}"/>
                  </a:ext>
                </a:extLst>
              </p:cNvPr>
              <p:cNvSpPr/>
              <p:nvPr/>
            </p:nvSpPr>
            <p:spPr>
              <a:xfrm>
                <a:off x="6643724" y="3531479"/>
                <a:ext cx="75631" cy="16807"/>
              </a:xfrm>
              <a:custGeom>
                <a:avLst/>
                <a:gdLst>
                  <a:gd name="connsiteX0" fmla="*/ 6667 w 77152"/>
                  <a:gd name="connsiteY0" fmla="*/ 0 h 17145"/>
                  <a:gd name="connsiteX1" fmla="*/ 17145 w 77152"/>
                  <a:gd name="connsiteY1" fmla="*/ 0 h 17145"/>
                  <a:gd name="connsiteX2" fmla="*/ 28575 w 77152"/>
                  <a:gd name="connsiteY2" fmla="*/ 3905 h 17145"/>
                  <a:gd name="connsiteX3" fmla="*/ 39052 w 77152"/>
                  <a:gd name="connsiteY3" fmla="*/ 3905 h 17145"/>
                  <a:gd name="connsiteX4" fmla="*/ 52388 w 77152"/>
                  <a:gd name="connsiteY4" fmla="*/ 3905 h 17145"/>
                  <a:gd name="connsiteX5" fmla="*/ 60007 w 77152"/>
                  <a:gd name="connsiteY5" fmla="*/ 3905 h 17145"/>
                  <a:gd name="connsiteX6" fmla="*/ 74295 w 77152"/>
                  <a:gd name="connsiteY6" fmla="*/ 6763 h 17145"/>
                  <a:gd name="connsiteX7" fmla="*/ 77152 w 77152"/>
                  <a:gd name="connsiteY7" fmla="*/ 14288 h 17145"/>
                  <a:gd name="connsiteX8" fmla="*/ 70485 w 77152"/>
                  <a:gd name="connsiteY8" fmla="*/ 17145 h 17145"/>
                  <a:gd name="connsiteX9" fmla="*/ 56197 w 77152"/>
                  <a:gd name="connsiteY9" fmla="*/ 14288 h 17145"/>
                  <a:gd name="connsiteX10" fmla="*/ 41910 w 77152"/>
                  <a:gd name="connsiteY10" fmla="*/ 14288 h 17145"/>
                  <a:gd name="connsiteX11" fmla="*/ 31432 w 77152"/>
                  <a:gd name="connsiteY11" fmla="*/ 17145 h 17145"/>
                  <a:gd name="connsiteX12" fmla="*/ 28575 w 77152"/>
                  <a:gd name="connsiteY12" fmla="*/ 10573 h 17145"/>
                  <a:gd name="connsiteX13" fmla="*/ 14288 w 77152"/>
                  <a:gd name="connsiteY13" fmla="*/ 10573 h 17145"/>
                  <a:gd name="connsiteX14" fmla="*/ 0 w 77152"/>
                  <a:gd name="connsiteY14" fmla="*/ 6763 h 17145"/>
                  <a:gd name="connsiteX15" fmla="*/ 6667 w 77152"/>
                  <a:gd name="connsiteY15" fmla="*/ 0 h 171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7152" h="17145">
                    <a:moveTo>
                      <a:pt x="6667" y="0"/>
                    </a:moveTo>
                    <a:lnTo>
                      <a:pt x="17145" y="0"/>
                    </a:lnTo>
                    <a:lnTo>
                      <a:pt x="28575" y="3905"/>
                    </a:lnTo>
                    <a:lnTo>
                      <a:pt x="39052" y="3905"/>
                    </a:lnTo>
                    <a:lnTo>
                      <a:pt x="52388" y="3905"/>
                    </a:lnTo>
                    <a:lnTo>
                      <a:pt x="60007" y="3905"/>
                    </a:lnTo>
                    <a:lnTo>
                      <a:pt x="74295" y="6763"/>
                    </a:lnTo>
                    <a:lnTo>
                      <a:pt x="77152" y="14288"/>
                    </a:lnTo>
                    <a:lnTo>
                      <a:pt x="70485" y="17145"/>
                    </a:lnTo>
                    <a:lnTo>
                      <a:pt x="56197" y="14288"/>
                    </a:lnTo>
                    <a:lnTo>
                      <a:pt x="41910" y="14288"/>
                    </a:lnTo>
                    <a:lnTo>
                      <a:pt x="31432" y="17145"/>
                    </a:lnTo>
                    <a:lnTo>
                      <a:pt x="28575" y="10573"/>
                    </a:lnTo>
                    <a:lnTo>
                      <a:pt x="14288" y="10573"/>
                    </a:lnTo>
                    <a:lnTo>
                      <a:pt x="0" y="6763"/>
                    </a:lnTo>
                    <a:lnTo>
                      <a:pt x="6667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5" name="Freeform: Shape 294">
                <a:extLst>
                  <a:ext uri="{FF2B5EF4-FFF2-40B4-BE49-F238E27FC236}">
                    <a16:creationId xmlns:a16="http://schemas.microsoft.com/office/drawing/2014/main" id="{16E9AFEE-53EB-0C71-2D3D-785FD36E81EF}"/>
                  </a:ext>
                </a:extLst>
              </p:cNvPr>
              <p:cNvSpPr/>
              <p:nvPr/>
            </p:nvSpPr>
            <p:spPr>
              <a:xfrm>
                <a:off x="6550352" y="3334555"/>
                <a:ext cx="162467" cy="168912"/>
              </a:xfrm>
              <a:custGeom>
                <a:avLst/>
                <a:gdLst>
                  <a:gd name="connsiteX0" fmla="*/ 74295 w 165734"/>
                  <a:gd name="connsiteY0" fmla="*/ 109538 h 172307"/>
                  <a:gd name="connsiteX1" fmla="*/ 80963 w 165734"/>
                  <a:gd name="connsiteY1" fmla="*/ 112395 h 172307"/>
                  <a:gd name="connsiteX2" fmla="*/ 78105 w 165734"/>
                  <a:gd name="connsiteY2" fmla="*/ 119920 h 172307"/>
                  <a:gd name="connsiteX3" fmla="*/ 66675 w 165734"/>
                  <a:gd name="connsiteY3" fmla="*/ 119920 h 172307"/>
                  <a:gd name="connsiteX4" fmla="*/ 53340 w 165734"/>
                  <a:gd name="connsiteY4" fmla="*/ 116205 h 172307"/>
                  <a:gd name="connsiteX5" fmla="*/ 42863 w 165734"/>
                  <a:gd name="connsiteY5" fmla="*/ 116205 h 172307"/>
                  <a:gd name="connsiteX6" fmla="*/ 35242 w 165734"/>
                  <a:gd name="connsiteY6" fmla="*/ 122777 h 172307"/>
                  <a:gd name="connsiteX7" fmla="*/ 35242 w 165734"/>
                  <a:gd name="connsiteY7" fmla="*/ 137065 h 172307"/>
                  <a:gd name="connsiteX8" fmla="*/ 45720 w 165734"/>
                  <a:gd name="connsiteY8" fmla="*/ 144780 h 172307"/>
                  <a:gd name="connsiteX9" fmla="*/ 45720 w 165734"/>
                  <a:gd name="connsiteY9" fmla="*/ 155257 h 172307"/>
                  <a:gd name="connsiteX10" fmla="*/ 49530 w 165734"/>
                  <a:gd name="connsiteY10" fmla="*/ 161925 h 172307"/>
                  <a:gd name="connsiteX11" fmla="*/ 56197 w 165734"/>
                  <a:gd name="connsiteY11" fmla="*/ 151352 h 172307"/>
                  <a:gd name="connsiteX12" fmla="*/ 60007 w 165734"/>
                  <a:gd name="connsiteY12" fmla="*/ 158020 h 172307"/>
                  <a:gd name="connsiteX13" fmla="*/ 63817 w 165734"/>
                  <a:gd name="connsiteY13" fmla="*/ 172307 h 172307"/>
                  <a:gd name="connsiteX14" fmla="*/ 74295 w 165734"/>
                  <a:gd name="connsiteY14" fmla="*/ 169545 h 172307"/>
                  <a:gd name="connsiteX15" fmla="*/ 74295 w 165734"/>
                  <a:gd name="connsiteY15" fmla="*/ 161925 h 172307"/>
                  <a:gd name="connsiteX16" fmla="*/ 80963 w 165734"/>
                  <a:gd name="connsiteY16" fmla="*/ 172307 h 172307"/>
                  <a:gd name="connsiteX17" fmla="*/ 84772 w 165734"/>
                  <a:gd name="connsiteY17" fmla="*/ 165640 h 172307"/>
                  <a:gd name="connsiteX18" fmla="*/ 84772 w 165734"/>
                  <a:gd name="connsiteY18" fmla="*/ 158020 h 172307"/>
                  <a:gd name="connsiteX19" fmla="*/ 78105 w 165734"/>
                  <a:gd name="connsiteY19" fmla="*/ 151352 h 172307"/>
                  <a:gd name="connsiteX20" fmla="*/ 70485 w 165734"/>
                  <a:gd name="connsiteY20" fmla="*/ 140970 h 172307"/>
                  <a:gd name="connsiteX21" fmla="*/ 74295 w 165734"/>
                  <a:gd name="connsiteY21" fmla="*/ 134207 h 172307"/>
                  <a:gd name="connsiteX22" fmla="*/ 80963 w 165734"/>
                  <a:gd name="connsiteY22" fmla="*/ 134207 h 172307"/>
                  <a:gd name="connsiteX23" fmla="*/ 91440 w 165734"/>
                  <a:gd name="connsiteY23" fmla="*/ 130492 h 172307"/>
                  <a:gd name="connsiteX24" fmla="*/ 84772 w 165734"/>
                  <a:gd name="connsiteY24" fmla="*/ 122777 h 172307"/>
                  <a:gd name="connsiteX25" fmla="*/ 84772 w 165734"/>
                  <a:gd name="connsiteY25" fmla="*/ 112395 h 172307"/>
                  <a:gd name="connsiteX26" fmla="*/ 91440 w 165734"/>
                  <a:gd name="connsiteY26" fmla="*/ 119920 h 172307"/>
                  <a:gd name="connsiteX27" fmla="*/ 101917 w 165734"/>
                  <a:gd name="connsiteY27" fmla="*/ 122777 h 172307"/>
                  <a:gd name="connsiteX28" fmla="*/ 112395 w 165734"/>
                  <a:gd name="connsiteY28" fmla="*/ 116205 h 172307"/>
                  <a:gd name="connsiteX29" fmla="*/ 109538 w 165734"/>
                  <a:gd name="connsiteY29" fmla="*/ 105632 h 172307"/>
                  <a:gd name="connsiteX30" fmla="*/ 101917 w 165734"/>
                  <a:gd name="connsiteY30" fmla="*/ 98107 h 172307"/>
                  <a:gd name="connsiteX31" fmla="*/ 88582 w 165734"/>
                  <a:gd name="connsiteY31" fmla="*/ 95250 h 172307"/>
                  <a:gd name="connsiteX32" fmla="*/ 80963 w 165734"/>
                  <a:gd name="connsiteY32" fmla="*/ 87630 h 172307"/>
                  <a:gd name="connsiteX33" fmla="*/ 78105 w 165734"/>
                  <a:gd name="connsiteY33" fmla="*/ 77057 h 172307"/>
                  <a:gd name="connsiteX34" fmla="*/ 78105 w 165734"/>
                  <a:gd name="connsiteY34" fmla="*/ 70390 h 172307"/>
                  <a:gd name="connsiteX35" fmla="*/ 66675 w 165734"/>
                  <a:gd name="connsiteY35" fmla="*/ 56102 h 172307"/>
                  <a:gd name="connsiteX36" fmla="*/ 63817 w 165734"/>
                  <a:gd name="connsiteY36" fmla="*/ 49530 h 172307"/>
                  <a:gd name="connsiteX37" fmla="*/ 66675 w 165734"/>
                  <a:gd name="connsiteY37" fmla="*/ 38957 h 172307"/>
                  <a:gd name="connsiteX38" fmla="*/ 78105 w 165734"/>
                  <a:gd name="connsiteY38" fmla="*/ 35242 h 172307"/>
                  <a:gd name="connsiteX39" fmla="*/ 84772 w 165734"/>
                  <a:gd name="connsiteY39" fmla="*/ 45720 h 172307"/>
                  <a:gd name="connsiteX40" fmla="*/ 99060 w 165734"/>
                  <a:gd name="connsiteY40" fmla="*/ 49530 h 172307"/>
                  <a:gd name="connsiteX41" fmla="*/ 101917 w 165734"/>
                  <a:gd name="connsiteY41" fmla="*/ 45720 h 172307"/>
                  <a:gd name="connsiteX42" fmla="*/ 105727 w 165734"/>
                  <a:gd name="connsiteY42" fmla="*/ 38957 h 172307"/>
                  <a:gd name="connsiteX43" fmla="*/ 101917 w 165734"/>
                  <a:gd name="connsiteY43" fmla="*/ 27527 h 172307"/>
                  <a:gd name="connsiteX44" fmla="*/ 112395 w 165734"/>
                  <a:gd name="connsiteY44" fmla="*/ 27527 h 172307"/>
                  <a:gd name="connsiteX45" fmla="*/ 123825 w 165734"/>
                  <a:gd name="connsiteY45" fmla="*/ 24670 h 172307"/>
                  <a:gd name="connsiteX46" fmla="*/ 137160 w 165734"/>
                  <a:gd name="connsiteY46" fmla="*/ 24670 h 172307"/>
                  <a:gd name="connsiteX47" fmla="*/ 147638 w 165734"/>
                  <a:gd name="connsiteY47" fmla="*/ 24670 h 172307"/>
                  <a:gd name="connsiteX48" fmla="*/ 159067 w 165734"/>
                  <a:gd name="connsiteY48" fmla="*/ 24670 h 172307"/>
                  <a:gd name="connsiteX49" fmla="*/ 165735 w 165734"/>
                  <a:gd name="connsiteY49" fmla="*/ 20955 h 172307"/>
                  <a:gd name="connsiteX50" fmla="*/ 165735 w 165734"/>
                  <a:gd name="connsiteY50" fmla="*/ 10382 h 172307"/>
                  <a:gd name="connsiteX51" fmla="*/ 151447 w 165734"/>
                  <a:gd name="connsiteY51" fmla="*/ 10382 h 172307"/>
                  <a:gd name="connsiteX52" fmla="*/ 130492 w 165734"/>
                  <a:gd name="connsiteY52" fmla="*/ 10382 h 172307"/>
                  <a:gd name="connsiteX53" fmla="*/ 123825 w 165734"/>
                  <a:gd name="connsiteY53" fmla="*/ 6667 h 172307"/>
                  <a:gd name="connsiteX54" fmla="*/ 112395 w 165734"/>
                  <a:gd name="connsiteY54" fmla="*/ 3715 h 172307"/>
                  <a:gd name="connsiteX55" fmla="*/ 101917 w 165734"/>
                  <a:gd name="connsiteY55" fmla="*/ 0 h 172307"/>
                  <a:gd name="connsiteX56" fmla="*/ 84772 w 165734"/>
                  <a:gd name="connsiteY56" fmla="*/ 6667 h 172307"/>
                  <a:gd name="connsiteX57" fmla="*/ 70485 w 165734"/>
                  <a:gd name="connsiteY57" fmla="*/ 17145 h 172307"/>
                  <a:gd name="connsiteX58" fmla="*/ 60007 w 165734"/>
                  <a:gd name="connsiteY58" fmla="*/ 17145 h 172307"/>
                  <a:gd name="connsiteX59" fmla="*/ 45720 w 165734"/>
                  <a:gd name="connsiteY59" fmla="*/ 20955 h 172307"/>
                  <a:gd name="connsiteX60" fmla="*/ 31432 w 165734"/>
                  <a:gd name="connsiteY60" fmla="*/ 24670 h 172307"/>
                  <a:gd name="connsiteX61" fmla="*/ 24765 w 165734"/>
                  <a:gd name="connsiteY61" fmla="*/ 27527 h 172307"/>
                  <a:gd name="connsiteX62" fmla="*/ 24765 w 165734"/>
                  <a:gd name="connsiteY62" fmla="*/ 35242 h 172307"/>
                  <a:gd name="connsiteX63" fmla="*/ 18097 w 165734"/>
                  <a:gd name="connsiteY63" fmla="*/ 45720 h 172307"/>
                  <a:gd name="connsiteX64" fmla="*/ 3810 w 165734"/>
                  <a:gd name="connsiteY64" fmla="*/ 60007 h 172307"/>
                  <a:gd name="connsiteX65" fmla="*/ 0 w 165734"/>
                  <a:gd name="connsiteY65" fmla="*/ 66675 h 172307"/>
                  <a:gd name="connsiteX66" fmla="*/ 7620 w 165734"/>
                  <a:gd name="connsiteY66" fmla="*/ 74295 h 172307"/>
                  <a:gd name="connsiteX67" fmla="*/ 18097 w 165734"/>
                  <a:gd name="connsiteY67" fmla="*/ 80963 h 172307"/>
                  <a:gd name="connsiteX68" fmla="*/ 28575 w 165734"/>
                  <a:gd name="connsiteY68" fmla="*/ 80963 h 172307"/>
                  <a:gd name="connsiteX69" fmla="*/ 35242 w 165734"/>
                  <a:gd name="connsiteY69" fmla="*/ 84677 h 172307"/>
                  <a:gd name="connsiteX70" fmla="*/ 24765 w 165734"/>
                  <a:gd name="connsiteY70" fmla="*/ 91345 h 172307"/>
                  <a:gd name="connsiteX71" fmla="*/ 24765 w 165734"/>
                  <a:gd name="connsiteY71" fmla="*/ 101917 h 172307"/>
                  <a:gd name="connsiteX72" fmla="*/ 31432 w 165734"/>
                  <a:gd name="connsiteY72" fmla="*/ 105632 h 172307"/>
                  <a:gd name="connsiteX73" fmla="*/ 45720 w 165734"/>
                  <a:gd name="connsiteY73" fmla="*/ 101917 h 172307"/>
                  <a:gd name="connsiteX74" fmla="*/ 56197 w 165734"/>
                  <a:gd name="connsiteY74" fmla="*/ 105632 h 172307"/>
                  <a:gd name="connsiteX75" fmla="*/ 74295 w 165734"/>
                  <a:gd name="connsiteY75" fmla="*/ 109538 h 1723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165734" h="172307">
                    <a:moveTo>
                      <a:pt x="74295" y="109538"/>
                    </a:moveTo>
                    <a:lnTo>
                      <a:pt x="80963" y="112395"/>
                    </a:lnTo>
                    <a:lnTo>
                      <a:pt x="78105" y="119920"/>
                    </a:lnTo>
                    <a:lnTo>
                      <a:pt x="66675" y="119920"/>
                    </a:lnTo>
                    <a:lnTo>
                      <a:pt x="53340" y="116205"/>
                    </a:lnTo>
                    <a:lnTo>
                      <a:pt x="42863" y="116205"/>
                    </a:lnTo>
                    <a:lnTo>
                      <a:pt x="35242" y="122777"/>
                    </a:lnTo>
                    <a:lnTo>
                      <a:pt x="35242" y="137065"/>
                    </a:lnTo>
                    <a:lnTo>
                      <a:pt x="45720" y="144780"/>
                    </a:lnTo>
                    <a:lnTo>
                      <a:pt x="45720" y="155257"/>
                    </a:lnTo>
                    <a:lnTo>
                      <a:pt x="49530" y="161925"/>
                    </a:lnTo>
                    <a:lnTo>
                      <a:pt x="56197" y="151352"/>
                    </a:lnTo>
                    <a:lnTo>
                      <a:pt x="60007" y="158020"/>
                    </a:lnTo>
                    <a:lnTo>
                      <a:pt x="63817" y="172307"/>
                    </a:lnTo>
                    <a:lnTo>
                      <a:pt x="74295" y="169545"/>
                    </a:lnTo>
                    <a:lnTo>
                      <a:pt x="74295" y="161925"/>
                    </a:lnTo>
                    <a:lnTo>
                      <a:pt x="80963" y="172307"/>
                    </a:lnTo>
                    <a:lnTo>
                      <a:pt x="84772" y="165640"/>
                    </a:lnTo>
                    <a:lnTo>
                      <a:pt x="84772" y="158020"/>
                    </a:lnTo>
                    <a:lnTo>
                      <a:pt x="78105" y="151352"/>
                    </a:lnTo>
                    <a:lnTo>
                      <a:pt x="70485" y="140970"/>
                    </a:lnTo>
                    <a:lnTo>
                      <a:pt x="74295" y="134207"/>
                    </a:lnTo>
                    <a:lnTo>
                      <a:pt x="80963" y="134207"/>
                    </a:lnTo>
                    <a:lnTo>
                      <a:pt x="91440" y="130492"/>
                    </a:lnTo>
                    <a:lnTo>
                      <a:pt x="84772" y="122777"/>
                    </a:lnTo>
                    <a:lnTo>
                      <a:pt x="84772" y="112395"/>
                    </a:lnTo>
                    <a:lnTo>
                      <a:pt x="91440" y="119920"/>
                    </a:lnTo>
                    <a:lnTo>
                      <a:pt x="101917" y="122777"/>
                    </a:lnTo>
                    <a:lnTo>
                      <a:pt x="112395" y="116205"/>
                    </a:lnTo>
                    <a:lnTo>
                      <a:pt x="109538" y="105632"/>
                    </a:lnTo>
                    <a:lnTo>
                      <a:pt x="101917" y="98107"/>
                    </a:lnTo>
                    <a:lnTo>
                      <a:pt x="88582" y="95250"/>
                    </a:lnTo>
                    <a:lnTo>
                      <a:pt x="80963" y="87630"/>
                    </a:lnTo>
                    <a:lnTo>
                      <a:pt x="78105" y="77057"/>
                    </a:lnTo>
                    <a:lnTo>
                      <a:pt x="78105" y="70390"/>
                    </a:lnTo>
                    <a:lnTo>
                      <a:pt x="66675" y="56102"/>
                    </a:lnTo>
                    <a:lnTo>
                      <a:pt x="63817" y="49530"/>
                    </a:lnTo>
                    <a:lnTo>
                      <a:pt x="66675" y="38957"/>
                    </a:lnTo>
                    <a:lnTo>
                      <a:pt x="78105" y="35242"/>
                    </a:lnTo>
                    <a:lnTo>
                      <a:pt x="84772" y="45720"/>
                    </a:lnTo>
                    <a:lnTo>
                      <a:pt x="99060" y="49530"/>
                    </a:lnTo>
                    <a:lnTo>
                      <a:pt x="101917" y="45720"/>
                    </a:lnTo>
                    <a:lnTo>
                      <a:pt x="105727" y="38957"/>
                    </a:lnTo>
                    <a:lnTo>
                      <a:pt x="101917" y="27527"/>
                    </a:lnTo>
                    <a:lnTo>
                      <a:pt x="112395" y="27527"/>
                    </a:lnTo>
                    <a:lnTo>
                      <a:pt x="123825" y="24670"/>
                    </a:lnTo>
                    <a:lnTo>
                      <a:pt x="137160" y="24670"/>
                    </a:lnTo>
                    <a:lnTo>
                      <a:pt x="147638" y="24670"/>
                    </a:lnTo>
                    <a:lnTo>
                      <a:pt x="159067" y="24670"/>
                    </a:lnTo>
                    <a:lnTo>
                      <a:pt x="165735" y="20955"/>
                    </a:lnTo>
                    <a:lnTo>
                      <a:pt x="165735" y="10382"/>
                    </a:lnTo>
                    <a:lnTo>
                      <a:pt x="151447" y="10382"/>
                    </a:lnTo>
                    <a:lnTo>
                      <a:pt x="130492" y="10382"/>
                    </a:lnTo>
                    <a:lnTo>
                      <a:pt x="123825" y="6667"/>
                    </a:lnTo>
                    <a:lnTo>
                      <a:pt x="112395" y="3715"/>
                    </a:lnTo>
                    <a:lnTo>
                      <a:pt x="101917" y="0"/>
                    </a:lnTo>
                    <a:lnTo>
                      <a:pt x="84772" y="6667"/>
                    </a:lnTo>
                    <a:lnTo>
                      <a:pt x="70485" y="17145"/>
                    </a:lnTo>
                    <a:lnTo>
                      <a:pt x="60007" y="17145"/>
                    </a:lnTo>
                    <a:lnTo>
                      <a:pt x="45720" y="20955"/>
                    </a:lnTo>
                    <a:lnTo>
                      <a:pt x="31432" y="24670"/>
                    </a:lnTo>
                    <a:lnTo>
                      <a:pt x="24765" y="27527"/>
                    </a:lnTo>
                    <a:lnTo>
                      <a:pt x="24765" y="35242"/>
                    </a:lnTo>
                    <a:lnTo>
                      <a:pt x="18097" y="45720"/>
                    </a:lnTo>
                    <a:lnTo>
                      <a:pt x="3810" y="60007"/>
                    </a:lnTo>
                    <a:lnTo>
                      <a:pt x="0" y="66675"/>
                    </a:lnTo>
                    <a:lnTo>
                      <a:pt x="7620" y="74295"/>
                    </a:lnTo>
                    <a:lnTo>
                      <a:pt x="18097" y="80963"/>
                    </a:lnTo>
                    <a:lnTo>
                      <a:pt x="28575" y="80963"/>
                    </a:lnTo>
                    <a:lnTo>
                      <a:pt x="35242" y="84677"/>
                    </a:lnTo>
                    <a:lnTo>
                      <a:pt x="24765" y="91345"/>
                    </a:lnTo>
                    <a:lnTo>
                      <a:pt x="24765" y="101917"/>
                    </a:lnTo>
                    <a:lnTo>
                      <a:pt x="31432" y="105632"/>
                    </a:lnTo>
                    <a:lnTo>
                      <a:pt x="45720" y="101917"/>
                    </a:lnTo>
                    <a:lnTo>
                      <a:pt x="56197" y="105632"/>
                    </a:lnTo>
                    <a:lnTo>
                      <a:pt x="74295" y="10953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6" name="Freeform: Shape 295">
                <a:extLst>
                  <a:ext uri="{FF2B5EF4-FFF2-40B4-BE49-F238E27FC236}">
                    <a16:creationId xmlns:a16="http://schemas.microsoft.com/office/drawing/2014/main" id="{ACF8E666-F8A8-BCC0-1825-6C5326853DD3}"/>
                  </a:ext>
                </a:extLst>
              </p:cNvPr>
              <p:cNvSpPr/>
              <p:nvPr/>
            </p:nvSpPr>
            <p:spPr>
              <a:xfrm>
                <a:off x="6529810" y="3303742"/>
                <a:ext cx="44818" cy="96174"/>
              </a:xfrm>
              <a:custGeom>
                <a:avLst/>
                <a:gdLst>
                  <a:gd name="connsiteX0" fmla="*/ 0 w 45719"/>
                  <a:gd name="connsiteY0" fmla="*/ 20860 h 98107"/>
                  <a:gd name="connsiteX1" fmla="*/ 3810 w 45719"/>
                  <a:gd name="connsiteY1" fmla="*/ 6572 h 98107"/>
                  <a:gd name="connsiteX2" fmla="*/ 10477 w 45719"/>
                  <a:gd name="connsiteY2" fmla="*/ 0 h 98107"/>
                  <a:gd name="connsiteX3" fmla="*/ 24765 w 45719"/>
                  <a:gd name="connsiteY3" fmla="*/ 2858 h 98107"/>
                  <a:gd name="connsiteX4" fmla="*/ 39052 w 45719"/>
                  <a:gd name="connsiteY4" fmla="*/ 13240 h 98107"/>
                  <a:gd name="connsiteX5" fmla="*/ 35243 w 45719"/>
                  <a:gd name="connsiteY5" fmla="*/ 27527 h 98107"/>
                  <a:gd name="connsiteX6" fmla="*/ 35243 w 45719"/>
                  <a:gd name="connsiteY6" fmla="*/ 38100 h 98107"/>
                  <a:gd name="connsiteX7" fmla="*/ 41910 w 45719"/>
                  <a:gd name="connsiteY7" fmla="*/ 52388 h 98107"/>
                  <a:gd name="connsiteX8" fmla="*/ 45720 w 45719"/>
                  <a:gd name="connsiteY8" fmla="*/ 58960 h 98107"/>
                  <a:gd name="connsiteX9" fmla="*/ 45720 w 45719"/>
                  <a:gd name="connsiteY9" fmla="*/ 66675 h 98107"/>
                  <a:gd name="connsiteX10" fmla="*/ 39052 w 45719"/>
                  <a:gd name="connsiteY10" fmla="*/ 77152 h 98107"/>
                  <a:gd name="connsiteX11" fmla="*/ 20955 w 45719"/>
                  <a:gd name="connsiteY11" fmla="*/ 98108 h 98107"/>
                  <a:gd name="connsiteX12" fmla="*/ 3810 w 45719"/>
                  <a:gd name="connsiteY12" fmla="*/ 70390 h 98107"/>
                  <a:gd name="connsiteX13" fmla="*/ 6668 w 45719"/>
                  <a:gd name="connsiteY13" fmla="*/ 48577 h 98107"/>
                  <a:gd name="connsiteX14" fmla="*/ 3810 w 45719"/>
                  <a:gd name="connsiteY14" fmla="*/ 31433 h 98107"/>
                  <a:gd name="connsiteX15" fmla="*/ 0 w 45719"/>
                  <a:gd name="connsiteY15" fmla="*/ 20860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45719" h="98107">
                    <a:moveTo>
                      <a:pt x="0" y="20860"/>
                    </a:moveTo>
                    <a:lnTo>
                      <a:pt x="3810" y="6572"/>
                    </a:lnTo>
                    <a:lnTo>
                      <a:pt x="10477" y="0"/>
                    </a:lnTo>
                    <a:lnTo>
                      <a:pt x="24765" y="2858"/>
                    </a:lnTo>
                    <a:lnTo>
                      <a:pt x="39052" y="13240"/>
                    </a:lnTo>
                    <a:lnTo>
                      <a:pt x="35243" y="27527"/>
                    </a:lnTo>
                    <a:lnTo>
                      <a:pt x="35243" y="38100"/>
                    </a:lnTo>
                    <a:lnTo>
                      <a:pt x="41910" y="52388"/>
                    </a:lnTo>
                    <a:lnTo>
                      <a:pt x="45720" y="58960"/>
                    </a:lnTo>
                    <a:lnTo>
                      <a:pt x="45720" y="66675"/>
                    </a:lnTo>
                    <a:lnTo>
                      <a:pt x="39052" y="77152"/>
                    </a:lnTo>
                    <a:lnTo>
                      <a:pt x="20955" y="98108"/>
                    </a:lnTo>
                    <a:lnTo>
                      <a:pt x="3810" y="70390"/>
                    </a:lnTo>
                    <a:lnTo>
                      <a:pt x="6668" y="48577"/>
                    </a:lnTo>
                    <a:lnTo>
                      <a:pt x="3810" y="31433"/>
                    </a:lnTo>
                    <a:lnTo>
                      <a:pt x="0" y="2086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7" name="Freeform: Shape 296">
                <a:extLst>
                  <a:ext uri="{FF2B5EF4-FFF2-40B4-BE49-F238E27FC236}">
                    <a16:creationId xmlns:a16="http://schemas.microsoft.com/office/drawing/2014/main" id="{41A982D7-9481-082F-1035-C9EFD231FF77}"/>
                  </a:ext>
                </a:extLst>
              </p:cNvPr>
              <p:cNvSpPr/>
              <p:nvPr/>
            </p:nvSpPr>
            <p:spPr>
              <a:xfrm>
                <a:off x="8805297" y="4143074"/>
                <a:ext cx="137257" cy="117743"/>
              </a:xfrm>
              <a:custGeom>
                <a:avLst/>
                <a:gdLst>
                  <a:gd name="connsiteX0" fmla="*/ 70485 w 140017"/>
                  <a:gd name="connsiteY0" fmla="*/ 116300 h 120110"/>
                  <a:gd name="connsiteX1" fmla="*/ 59055 w 140017"/>
                  <a:gd name="connsiteY1" fmla="*/ 116300 h 120110"/>
                  <a:gd name="connsiteX2" fmla="*/ 56197 w 140017"/>
                  <a:gd name="connsiteY2" fmla="*/ 120110 h 120110"/>
                  <a:gd name="connsiteX3" fmla="*/ 31432 w 140017"/>
                  <a:gd name="connsiteY3" fmla="*/ 113347 h 120110"/>
                  <a:gd name="connsiteX4" fmla="*/ 20955 w 140017"/>
                  <a:gd name="connsiteY4" fmla="*/ 95250 h 120110"/>
                  <a:gd name="connsiteX5" fmla="*/ 13335 w 140017"/>
                  <a:gd name="connsiteY5" fmla="*/ 78200 h 120110"/>
                  <a:gd name="connsiteX6" fmla="*/ 0 w 140017"/>
                  <a:gd name="connsiteY6" fmla="*/ 42863 h 120110"/>
                  <a:gd name="connsiteX7" fmla="*/ 0 w 140017"/>
                  <a:gd name="connsiteY7" fmla="*/ 31528 h 120110"/>
                  <a:gd name="connsiteX8" fmla="*/ 13335 w 140017"/>
                  <a:gd name="connsiteY8" fmla="*/ 7715 h 120110"/>
                  <a:gd name="connsiteX9" fmla="*/ 83820 w 140017"/>
                  <a:gd name="connsiteY9" fmla="*/ 3810 h 120110"/>
                  <a:gd name="connsiteX10" fmla="*/ 83820 w 140017"/>
                  <a:gd name="connsiteY10" fmla="*/ 14288 h 120110"/>
                  <a:gd name="connsiteX11" fmla="*/ 101917 w 140017"/>
                  <a:gd name="connsiteY11" fmla="*/ 14288 h 120110"/>
                  <a:gd name="connsiteX12" fmla="*/ 108585 w 140017"/>
                  <a:gd name="connsiteY12" fmla="*/ 0 h 120110"/>
                  <a:gd name="connsiteX13" fmla="*/ 116205 w 140017"/>
                  <a:gd name="connsiteY13" fmla="*/ 3810 h 120110"/>
                  <a:gd name="connsiteX14" fmla="*/ 119063 w 140017"/>
                  <a:gd name="connsiteY14" fmla="*/ 10573 h 120110"/>
                  <a:gd name="connsiteX15" fmla="*/ 140017 w 140017"/>
                  <a:gd name="connsiteY15" fmla="*/ 10573 h 120110"/>
                  <a:gd name="connsiteX16" fmla="*/ 140017 w 140017"/>
                  <a:gd name="connsiteY16" fmla="*/ 28575 h 120110"/>
                  <a:gd name="connsiteX17" fmla="*/ 133350 w 140017"/>
                  <a:gd name="connsiteY17" fmla="*/ 45815 h 120110"/>
                  <a:gd name="connsiteX18" fmla="*/ 122872 w 140017"/>
                  <a:gd name="connsiteY18" fmla="*/ 66675 h 120110"/>
                  <a:gd name="connsiteX19" fmla="*/ 112395 w 140017"/>
                  <a:gd name="connsiteY19" fmla="*/ 80963 h 120110"/>
                  <a:gd name="connsiteX20" fmla="*/ 94297 w 140017"/>
                  <a:gd name="connsiteY20" fmla="*/ 88678 h 120110"/>
                  <a:gd name="connsiteX21" fmla="*/ 94297 w 140017"/>
                  <a:gd name="connsiteY21" fmla="*/ 102013 h 120110"/>
                  <a:gd name="connsiteX22" fmla="*/ 77152 w 140017"/>
                  <a:gd name="connsiteY22" fmla="*/ 109538 h 120110"/>
                  <a:gd name="connsiteX23" fmla="*/ 70485 w 140017"/>
                  <a:gd name="connsiteY23" fmla="*/ 116300 h 120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0017" h="120110">
                    <a:moveTo>
                      <a:pt x="70485" y="116300"/>
                    </a:moveTo>
                    <a:lnTo>
                      <a:pt x="59055" y="116300"/>
                    </a:lnTo>
                    <a:lnTo>
                      <a:pt x="56197" y="120110"/>
                    </a:lnTo>
                    <a:lnTo>
                      <a:pt x="31432" y="113347"/>
                    </a:lnTo>
                    <a:lnTo>
                      <a:pt x="20955" y="95250"/>
                    </a:lnTo>
                    <a:lnTo>
                      <a:pt x="13335" y="78200"/>
                    </a:lnTo>
                    <a:lnTo>
                      <a:pt x="0" y="42863"/>
                    </a:lnTo>
                    <a:lnTo>
                      <a:pt x="0" y="31528"/>
                    </a:lnTo>
                    <a:lnTo>
                      <a:pt x="13335" y="7715"/>
                    </a:lnTo>
                    <a:lnTo>
                      <a:pt x="83820" y="3810"/>
                    </a:lnTo>
                    <a:lnTo>
                      <a:pt x="83820" y="14288"/>
                    </a:lnTo>
                    <a:lnTo>
                      <a:pt x="101917" y="14288"/>
                    </a:lnTo>
                    <a:lnTo>
                      <a:pt x="108585" y="0"/>
                    </a:lnTo>
                    <a:lnTo>
                      <a:pt x="116205" y="3810"/>
                    </a:lnTo>
                    <a:lnTo>
                      <a:pt x="119063" y="10573"/>
                    </a:lnTo>
                    <a:lnTo>
                      <a:pt x="140017" y="10573"/>
                    </a:lnTo>
                    <a:lnTo>
                      <a:pt x="140017" y="28575"/>
                    </a:lnTo>
                    <a:lnTo>
                      <a:pt x="133350" y="45815"/>
                    </a:lnTo>
                    <a:lnTo>
                      <a:pt x="122872" y="66675"/>
                    </a:lnTo>
                    <a:lnTo>
                      <a:pt x="112395" y="80963"/>
                    </a:lnTo>
                    <a:lnTo>
                      <a:pt x="94297" y="88678"/>
                    </a:lnTo>
                    <a:lnTo>
                      <a:pt x="94297" y="102013"/>
                    </a:lnTo>
                    <a:lnTo>
                      <a:pt x="77152" y="109538"/>
                    </a:lnTo>
                    <a:lnTo>
                      <a:pt x="70485" y="11630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8" name="Freeform: Shape 297">
                <a:extLst>
                  <a:ext uri="{FF2B5EF4-FFF2-40B4-BE49-F238E27FC236}">
                    <a16:creationId xmlns:a16="http://schemas.microsoft.com/office/drawing/2014/main" id="{EE6F0EBF-AB76-685B-0651-89FE5FBF8D76}"/>
                  </a:ext>
                </a:extLst>
              </p:cNvPr>
              <p:cNvSpPr/>
              <p:nvPr/>
            </p:nvSpPr>
            <p:spPr>
              <a:xfrm>
                <a:off x="8805297" y="4143074"/>
                <a:ext cx="137257" cy="117743"/>
              </a:xfrm>
              <a:custGeom>
                <a:avLst/>
                <a:gdLst>
                  <a:gd name="connsiteX0" fmla="*/ 70485 w 140017"/>
                  <a:gd name="connsiteY0" fmla="*/ 116300 h 120110"/>
                  <a:gd name="connsiteX1" fmla="*/ 59055 w 140017"/>
                  <a:gd name="connsiteY1" fmla="*/ 116300 h 120110"/>
                  <a:gd name="connsiteX2" fmla="*/ 56197 w 140017"/>
                  <a:gd name="connsiteY2" fmla="*/ 120110 h 120110"/>
                  <a:gd name="connsiteX3" fmla="*/ 31432 w 140017"/>
                  <a:gd name="connsiteY3" fmla="*/ 113347 h 120110"/>
                  <a:gd name="connsiteX4" fmla="*/ 20955 w 140017"/>
                  <a:gd name="connsiteY4" fmla="*/ 95250 h 120110"/>
                  <a:gd name="connsiteX5" fmla="*/ 13335 w 140017"/>
                  <a:gd name="connsiteY5" fmla="*/ 78200 h 120110"/>
                  <a:gd name="connsiteX6" fmla="*/ 0 w 140017"/>
                  <a:gd name="connsiteY6" fmla="*/ 42863 h 120110"/>
                  <a:gd name="connsiteX7" fmla="*/ 0 w 140017"/>
                  <a:gd name="connsiteY7" fmla="*/ 31528 h 120110"/>
                  <a:gd name="connsiteX8" fmla="*/ 13335 w 140017"/>
                  <a:gd name="connsiteY8" fmla="*/ 7715 h 120110"/>
                  <a:gd name="connsiteX9" fmla="*/ 83820 w 140017"/>
                  <a:gd name="connsiteY9" fmla="*/ 3810 h 120110"/>
                  <a:gd name="connsiteX10" fmla="*/ 83820 w 140017"/>
                  <a:gd name="connsiteY10" fmla="*/ 14288 h 120110"/>
                  <a:gd name="connsiteX11" fmla="*/ 101917 w 140017"/>
                  <a:gd name="connsiteY11" fmla="*/ 14288 h 120110"/>
                  <a:gd name="connsiteX12" fmla="*/ 108585 w 140017"/>
                  <a:gd name="connsiteY12" fmla="*/ 0 h 120110"/>
                  <a:gd name="connsiteX13" fmla="*/ 116205 w 140017"/>
                  <a:gd name="connsiteY13" fmla="*/ 3810 h 120110"/>
                  <a:gd name="connsiteX14" fmla="*/ 119063 w 140017"/>
                  <a:gd name="connsiteY14" fmla="*/ 10573 h 120110"/>
                  <a:gd name="connsiteX15" fmla="*/ 140017 w 140017"/>
                  <a:gd name="connsiteY15" fmla="*/ 10573 h 120110"/>
                  <a:gd name="connsiteX16" fmla="*/ 140017 w 140017"/>
                  <a:gd name="connsiteY16" fmla="*/ 28575 h 120110"/>
                  <a:gd name="connsiteX17" fmla="*/ 133350 w 140017"/>
                  <a:gd name="connsiteY17" fmla="*/ 45815 h 120110"/>
                  <a:gd name="connsiteX18" fmla="*/ 122872 w 140017"/>
                  <a:gd name="connsiteY18" fmla="*/ 66675 h 120110"/>
                  <a:gd name="connsiteX19" fmla="*/ 112395 w 140017"/>
                  <a:gd name="connsiteY19" fmla="*/ 80963 h 120110"/>
                  <a:gd name="connsiteX20" fmla="*/ 94297 w 140017"/>
                  <a:gd name="connsiteY20" fmla="*/ 88678 h 120110"/>
                  <a:gd name="connsiteX21" fmla="*/ 94297 w 140017"/>
                  <a:gd name="connsiteY21" fmla="*/ 102013 h 120110"/>
                  <a:gd name="connsiteX22" fmla="*/ 77152 w 140017"/>
                  <a:gd name="connsiteY22" fmla="*/ 109538 h 120110"/>
                  <a:gd name="connsiteX23" fmla="*/ 70485 w 140017"/>
                  <a:gd name="connsiteY23" fmla="*/ 116300 h 1201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40017" h="120110">
                    <a:moveTo>
                      <a:pt x="70485" y="116300"/>
                    </a:moveTo>
                    <a:lnTo>
                      <a:pt x="59055" y="116300"/>
                    </a:lnTo>
                    <a:lnTo>
                      <a:pt x="56197" y="120110"/>
                    </a:lnTo>
                    <a:lnTo>
                      <a:pt x="31432" y="113347"/>
                    </a:lnTo>
                    <a:lnTo>
                      <a:pt x="20955" y="95250"/>
                    </a:lnTo>
                    <a:lnTo>
                      <a:pt x="13335" y="78200"/>
                    </a:lnTo>
                    <a:lnTo>
                      <a:pt x="0" y="42863"/>
                    </a:lnTo>
                    <a:lnTo>
                      <a:pt x="0" y="31528"/>
                    </a:lnTo>
                    <a:lnTo>
                      <a:pt x="13335" y="7715"/>
                    </a:lnTo>
                    <a:lnTo>
                      <a:pt x="83820" y="3810"/>
                    </a:lnTo>
                    <a:lnTo>
                      <a:pt x="83820" y="14288"/>
                    </a:lnTo>
                    <a:lnTo>
                      <a:pt x="101917" y="14288"/>
                    </a:lnTo>
                    <a:lnTo>
                      <a:pt x="108585" y="0"/>
                    </a:lnTo>
                    <a:lnTo>
                      <a:pt x="116205" y="3810"/>
                    </a:lnTo>
                    <a:lnTo>
                      <a:pt x="119063" y="10573"/>
                    </a:lnTo>
                    <a:lnTo>
                      <a:pt x="140017" y="10573"/>
                    </a:lnTo>
                    <a:lnTo>
                      <a:pt x="140017" y="28575"/>
                    </a:lnTo>
                    <a:lnTo>
                      <a:pt x="133350" y="45815"/>
                    </a:lnTo>
                    <a:lnTo>
                      <a:pt x="122872" y="66675"/>
                    </a:lnTo>
                    <a:lnTo>
                      <a:pt x="112395" y="80963"/>
                    </a:lnTo>
                    <a:lnTo>
                      <a:pt x="94297" y="88678"/>
                    </a:lnTo>
                    <a:lnTo>
                      <a:pt x="94297" y="102013"/>
                    </a:lnTo>
                    <a:lnTo>
                      <a:pt x="77152" y="109538"/>
                    </a:lnTo>
                    <a:lnTo>
                      <a:pt x="70485" y="11630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299" name="Freeform: Shape 298">
                <a:extLst>
                  <a:ext uri="{FF2B5EF4-FFF2-40B4-BE49-F238E27FC236}">
                    <a16:creationId xmlns:a16="http://schemas.microsoft.com/office/drawing/2014/main" id="{C943DE33-D23C-80B6-5C22-2023AE84DD25}"/>
                  </a:ext>
                </a:extLst>
              </p:cNvPr>
              <p:cNvSpPr/>
              <p:nvPr/>
            </p:nvSpPr>
            <p:spPr>
              <a:xfrm>
                <a:off x="8801561" y="3904972"/>
                <a:ext cx="193280" cy="404399"/>
              </a:xfrm>
              <a:custGeom>
                <a:avLst/>
                <a:gdLst>
                  <a:gd name="connsiteX0" fmla="*/ 74295 w 197167"/>
                  <a:gd name="connsiteY0" fmla="*/ 359188 h 412527"/>
                  <a:gd name="connsiteX1" fmla="*/ 77152 w 197167"/>
                  <a:gd name="connsiteY1" fmla="*/ 362998 h 412527"/>
                  <a:gd name="connsiteX2" fmla="*/ 77152 w 197167"/>
                  <a:gd name="connsiteY2" fmla="*/ 366713 h 412527"/>
                  <a:gd name="connsiteX3" fmla="*/ 77152 w 197167"/>
                  <a:gd name="connsiteY3" fmla="*/ 377285 h 412527"/>
                  <a:gd name="connsiteX4" fmla="*/ 74295 w 197167"/>
                  <a:gd name="connsiteY4" fmla="*/ 377285 h 412527"/>
                  <a:gd name="connsiteX5" fmla="*/ 70485 w 197167"/>
                  <a:gd name="connsiteY5" fmla="*/ 412528 h 412527"/>
                  <a:gd name="connsiteX6" fmla="*/ 91440 w 197167"/>
                  <a:gd name="connsiteY6" fmla="*/ 398240 h 412527"/>
                  <a:gd name="connsiteX7" fmla="*/ 116205 w 197167"/>
                  <a:gd name="connsiteY7" fmla="*/ 383953 h 412527"/>
                  <a:gd name="connsiteX8" fmla="*/ 116205 w 197167"/>
                  <a:gd name="connsiteY8" fmla="*/ 369665 h 412527"/>
                  <a:gd name="connsiteX9" fmla="*/ 122873 w 197167"/>
                  <a:gd name="connsiteY9" fmla="*/ 359188 h 412527"/>
                  <a:gd name="connsiteX10" fmla="*/ 143827 w 197167"/>
                  <a:gd name="connsiteY10" fmla="*/ 362998 h 412527"/>
                  <a:gd name="connsiteX11" fmla="*/ 165735 w 197167"/>
                  <a:gd name="connsiteY11" fmla="*/ 356235 h 412527"/>
                  <a:gd name="connsiteX12" fmla="*/ 190500 w 197167"/>
                  <a:gd name="connsiteY12" fmla="*/ 334423 h 412527"/>
                  <a:gd name="connsiteX13" fmla="*/ 197168 w 197167"/>
                  <a:gd name="connsiteY13" fmla="*/ 302990 h 412527"/>
                  <a:gd name="connsiteX14" fmla="*/ 190500 w 197167"/>
                  <a:gd name="connsiteY14" fmla="*/ 267748 h 412527"/>
                  <a:gd name="connsiteX15" fmla="*/ 182880 w 197167"/>
                  <a:gd name="connsiteY15" fmla="*/ 242888 h 412527"/>
                  <a:gd name="connsiteX16" fmla="*/ 176213 w 197167"/>
                  <a:gd name="connsiteY16" fmla="*/ 215360 h 412527"/>
                  <a:gd name="connsiteX17" fmla="*/ 105727 w 197167"/>
                  <a:gd name="connsiteY17" fmla="*/ 137160 h 412527"/>
                  <a:gd name="connsiteX18" fmla="*/ 95250 w 197167"/>
                  <a:gd name="connsiteY18" fmla="*/ 122872 h 412527"/>
                  <a:gd name="connsiteX19" fmla="*/ 109538 w 197167"/>
                  <a:gd name="connsiteY19" fmla="*/ 87725 h 412527"/>
                  <a:gd name="connsiteX20" fmla="*/ 130493 w 197167"/>
                  <a:gd name="connsiteY20" fmla="*/ 60103 h 412527"/>
                  <a:gd name="connsiteX21" fmla="*/ 143827 w 197167"/>
                  <a:gd name="connsiteY21" fmla="*/ 56197 h 412527"/>
                  <a:gd name="connsiteX22" fmla="*/ 140970 w 197167"/>
                  <a:gd name="connsiteY22" fmla="*/ 41910 h 412527"/>
                  <a:gd name="connsiteX23" fmla="*/ 122873 w 197167"/>
                  <a:gd name="connsiteY23" fmla="*/ 35338 h 412527"/>
                  <a:gd name="connsiteX24" fmla="*/ 120015 w 197167"/>
                  <a:gd name="connsiteY24" fmla="*/ 10573 h 412527"/>
                  <a:gd name="connsiteX25" fmla="*/ 101918 w 197167"/>
                  <a:gd name="connsiteY25" fmla="*/ 6763 h 412527"/>
                  <a:gd name="connsiteX26" fmla="*/ 87630 w 197167"/>
                  <a:gd name="connsiteY26" fmla="*/ 0 h 412527"/>
                  <a:gd name="connsiteX27" fmla="*/ 77152 w 197167"/>
                  <a:gd name="connsiteY27" fmla="*/ 0 h 412527"/>
                  <a:gd name="connsiteX28" fmla="*/ 60007 w 197167"/>
                  <a:gd name="connsiteY28" fmla="*/ 10573 h 412527"/>
                  <a:gd name="connsiteX29" fmla="*/ 3810 w 197167"/>
                  <a:gd name="connsiteY29" fmla="*/ 13335 h 412527"/>
                  <a:gd name="connsiteX30" fmla="*/ 0 w 197167"/>
                  <a:gd name="connsiteY30" fmla="*/ 24860 h 412527"/>
                  <a:gd name="connsiteX31" fmla="*/ 17145 w 197167"/>
                  <a:gd name="connsiteY31" fmla="*/ 41910 h 412527"/>
                  <a:gd name="connsiteX32" fmla="*/ 20955 w 197167"/>
                  <a:gd name="connsiteY32" fmla="*/ 66675 h 412527"/>
                  <a:gd name="connsiteX33" fmla="*/ 60007 w 197167"/>
                  <a:gd name="connsiteY33" fmla="*/ 62960 h 412527"/>
                  <a:gd name="connsiteX34" fmla="*/ 70485 w 197167"/>
                  <a:gd name="connsiteY34" fmla="*/ 80963 h 412527"/>
                  <a:gd name="connsiteX35" fmla="*/ 74295 w 197167"/>
                  <a:gd name="connsiteY35" fmla="*/ 98203 h 412527"/>
                  <a:gd name="connsiteX36" fmla="*/ 49530 w 197167"/>
                  <a:gd name="connsiteY36" fmla="*/ 98203 h 412527"/>
                  <a:gd name="connsiteX37" fmla="*/ 45720 w 197167"/>
                  <a:gd name="connsiteY37" fmla="*/ 116300 h 412527"/>
                  <a:gd name="connsiteX38" fmla="*/ 60007 w 197167"/>
                  <a:gd name="connsiteY38" fmla="*/ 122872 h 412527"/>
                  <a:gd name="connsiteX39" fmla="*/ 109538 w 197167"/>
                  <a:gd name="connsiteY39" fmla="*/ 168688 h 412527"/>
                  <a:gd name="connsiteX40" fmla="*/ 140970 w 197167"/>
                  <a:gd name="connsiteY40" fmla="*/ 203835 h 412527"/>
                  <a:gd name="connsiteX41" fmla="*/ 147638 w 197167"/>
                  <a:gd name="connsiteY41" fmla="*/ 228600 h 412527"/>
                  <a:gd name="connsiteX42" fmla="*/ 143827 w 197167"/>
                  <a:gd name="connsiteY42" fmla="*/ 253460 h 412527"/>
                  <a:gd name="connsiteX43" fmla="*/ 143827 w 197167"/>
                  <a:gd name="connsiteY43" fmla="*/ 267748 h 412527"/>
                  <a:gd name="connsiteX44" fmla="*/ 137160 w 197167"/>
                  <a:gd name="connsiteY44" fmla="*/ 288703 h 412527"/>
                  <a:gd name="connsiteX45" fmla="*/ 126682 w 197167"/>
                  <a:gd name="connsiteY45" fmla="*/ 309563 h 412527"/>
                  <a:gd name="connsiteX46" fmla="*/ 116205 w 197167"/>
                  <a:gd name="connsiteY46" fmla="*/ 323850 h 412527"/>
                  <a:gd name="connsiteX47" fmla="*/ 98107 w 197167"/>
                  <a:gd name="connsiteY47" fmla="*/ 331565 h 412527"/>
                  <a:gd name="connsiteX48" fmla="*/ 98107 w 197167"/>
                  <a:gd name="connsiteY48" fmla="*/ 344900 h 412527"/>
                  <a:gd name="connsiteX49" fmla="*/ 80963 w 197167"/>
                  <a:gd name="connsiteY49" fmla="*/ 352425 h 412527"/>
                  <a:gd name="connsiteX50" fmla="*/ 74295 w 197167"/>
                  <a:gd name="connsiteY50" fmla="*/ 359188 h 412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97167" h="412527">
                    <a:moveTo>
                      <a:pt x="74295" y="359188"/>
                    </a:moveTo>
                    <a:lnTo>
                      <a:pt x="77152" y="362998"/>
                    </a:lnTo>
                    <a:lnTo>
                      <a:pt x="77152" y="366713"/>
                    </a:lnTo>
                    <a:lnTo>
                      <a:pt x="77152" y="377285"/>
                    </a:lnTo>
                    <a:lnTo>
                      <a:pt x="74295" y="377285"/>
                    </a:lnTo>
                    <a:lnTo>
                      <a:pt x="70485" y="412528"/>
                    </a:lnTo>
                    <a:lnTo>
                      <a:pt x="91440" y="398240"/>
                    </a:lnTo>
                    <a:lnTo>
                      <a:pt x="116205" y="383953"/>
                    </a:lnTo>
                    <a:lnTo>
                      <a:pt x="116205" y="369665"/>
                    </a:lnTo>
                    <a:lnTo>
                      <a:pt x="122873" y="359188"/>
                    </a:lnTo>
                    <a:lnTo>
                      <a:pt x="143827" y="362998"/>
                    </a:lnTo>
                    <a:lnTo>
                      <a:pt x="165735" y="356235"/>
                    </a:lnTo>
                    <a:lnTo>
                      <a:pt x="190500" y="334423"/>
                    </a:lnTo>
                    <a:lnTo>
                      <a:pt x="197168" y="302990"/>
                    </a:lnTo>
                    <a:lnTo>
                      <a:pt x="190500" y="267748"/>
                    </a:lnTo>
                    <a:lnTo>
                      <a:pt x="182880" y="242888"/>
                    </a:lnTo>
                    <a:lnTo>
                      <a:pt x="176213" y="215360"/>
                    </a:lnTo>
                    <a:lnTo>
                      <a:pt x="105727" y="137160"/>
                    </a:lnTo>
                    <a:lnTo>
                      <a:pt x="95250" y="122872"/>
                    </a:lnTo>
                    <a:lnTo>
                      <a:pt x="109538" y="87725"/>
                    </a:lnTo>
                    <a:lnTo>
                      <a:pt x="130493" y="60103"/>
                    </a:lnTo>
                    <a:lnTo>
                      <a:pt x="143827" y="56197"/>
                    </a:lnTo>
                    <a:lnTo>
                      <a:pt x="140970" y="41910"/>
                    </a:lnTo>
                    <a:lnTo>
                      <a:pt x="122873" y="35338"/>
                    </a:lnTo>
                    <a:lnTo>
                      <a:pt x="120015" y="10573"/>
                    </a:lnTo>
                    <a:lnTo>
                      <a:pt x="101918" y="6763"/>
                    </a:lnTo>
                    <a:lnTo>
                      <a:pt x="87630" y="0"/>
                    </a:lnTo>
                    <a:lnTo>
                      <a:pt x="77152" y="0"/>
                    </a:lnTo>
                    <a:lnTo>
                      <a:pt x="60007" y="10573"/>
                    </a:lnTo>
                    <a:lnTo>
                      <a:pt x="3810" y="13335"/>
                    </a:lnTo>
                    <a:lnTo>
                      <a:pt x="0" y="24860"/>
                    </a:lnTo>
                    <a:lnTo>
                      <a:pt x="17145" y="41910"/>
                    </a:lnTo>
                    <a:lnTo>
                      <a:pt x="20955" y="66675"/>
                    </a:lnTo>
                    <a:lnTo>
                      <a:pt x="60007" y="62960"/>
                    </a:lnTo>
                    <a:lnTo>
                      <a:pt x="70485" y="80963"/>
                    </a:lnTo>
                    <a:lnTo>
                      <a:pt x="74295" y="98203"/>
                    </a:lnTo>
                    <a:lnTo>
                      <a:pt x="49530" y="98203"/>
                    </a:lnTo>
                    <a:lnTo>
                      <a:pt x="45720" y="116300"/>
                    </a:lnTo>
                    <a:lnTo>
                      <a:pt x="60007" y="122872"/>
                    </a:lnTo>
                    <a:lnTo>
                      <a:pt x="109538" y="168688"/>
                    </a:lnTo>
                    <a:lnTo>
                      <a:pt x="140970" y="203835"/>
                    </a:lnTo>
                    <a:lnTo>
                      <a:pt x="147638" y="228600"/>
                    </a:lnTo>
                    <a:lnTo>
                      <a:pt x="143827" y="253460"/>
                    </a:lnTo>
                    <a:lnTo>
                      <a:pt x="143827" y="267748"/>
                    </a:lnTo>
                    <a:lnTo>
                      <a:pt x="137160" y="288703"/>
                    </a:lnTo>
                    <a:lnTo>
                      <a:pt x="126682" y="309563"/>
                    </a:lnTo>
                    <a:lnTo>
                      <a:pt x="116205" y="323850"/>
                    </a:lnTo>
                    <a:lnTo>
                      <a:pt x="98107" y="331565"/>
                    </a:lnTo>
                    <a:lnTo>
                      <a:pt x="98107" y="344900"/>
                    </a:lnTo>
                    <a:lnTo>
                      <a:pt x="80963" y="352425"/>
                    </a:lnTo>
                    <a:lnTo>
                      <a:pt x="74295" y="3591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0" name="Freeform: Shape 299">
                <a:extLst>
                  <a:ext uri="{FF2B5EF4-FFF2-40B4-BE49-F238E27FC236}">
                    <a16:creationId xmlns:a16="http://schemas.microsoft.com/office/drawing/2014/main" id="{A2A545F8-5188-E8FD-EC12-E6334BA9E4F8}"/>
                  </a:ext>
                </a:extLst>
              </p:cNvPr>
              <p:cNvSpPr/>
              <p:nvPr/>
            </p:nvSpPr>
            <p:spPr>
              <a:xfrm>
                <a:off x="8669906" y="3976963"/>
                <a:ext cx="225027" cy="415510"/>
              </a:xfrm>
              <a:custGeom>
                <a:avLst/>
                <a:gdLst>
                  <a:gd name="connsiteX0" fmla="*/ 60007 w 229552"/>
                  <a:gd name="connsiteY0" fmla="*/ 378047 h 423862"/>
                  <a:gd name="connsiteX1" fmla="*/ 35242 w 229552"/>
                  <a:gd name="connsiteY1" fmla="*/ 349472 h 423862"/>
                  <a:gd name="connsiteX2" fmla="*/ 21907 w 229552"/>
                  <a:gd name="connsiteY2" fmla="*/ 342900 h 423862"/>
                  <a:gd name="connsiteX3" fmla="*/ 24765 w 229552"/>
                  <a:gd name="connsiteY3" fmla="*/ 307562 h 423862"/>
                  <a:gd name="connsiteX4" fmla="*/ 28575 w 229552"/>
                  <a:gd name="connsiteY4" fmla="*/ 285750 h 423862"/>
                  <a:gd name="connsiteX5" fmla="*/ 49530 w 229552"/>
                  <a:gd name="connsiteY5" fmla="*/ 268510 h 423862"/>
                  <a:gd name="connsiteX6" fmla="*/ 57150 w 229552"/>
                  <a:gd name="connsiteY6" fmla="*/ 247650 h 423862"/>
                  <a:gd name="connsiteX7" fmla="*/ 45720 w 229552"/>
                  <a:gd name="connsiteY7" fmla="*/ 229553 h 423862"/>
                  <a:gd name="connsiteX8" fmla="*/ 45720 w 229552"/>
                  <a:gd name="connsiteY8" fmla="*/ 200978 h 423862"/>
                  <a:gd name="connsiteX9" fmla="*/ 32385 w 229552"/>
                  <a:gd name="connsiteY9" fmla="*/ 180022 h 423862"/>
                  <a:gd name="connsiteX10" fmla="*/ 21907 w 229552"/>
                  <a:gd name="connsiteY10" fmla="*/ 165735 h 423862"/>
                  <a:gd name="connsiteX11" fmla="*/ 35242 w 229552"/>
                  <a:gd name="connsiteY11" fmla="*/ 130397 h 423862"/>
                  <a:gd name="connsiteX12" fmla="*/ 24765 w 229552"/>
                  <a:gd name="connsiteY12" fmla="*/ 102775 h 423862"/>
                  <a:gd name="connsiteX13" fmla="*/ 7620 w 229552"/>
                  <a:gd name="connsiteY13" fmla="*/ 88487 h 423862"/>
                  <a:gd name="connsiteX14" fmla="*/ 0 w 229552"/>
                  <a:gd name="connsiteY14" fmla="*/ 53340 h 423862"/>
                  <a:gd name="connsiteX15" fmla="*/ 7620 w 229552"/>
                  <a:gd name="connsiteY15" fmla="*/ 42863 h 423862"/>
                  <a:gd name="connsiteX16" fmla="*/ 7620 w 229552"/>
                  <a:gd name="connsiteY16" fmla="*/ 21812 h 423862"/>
                  <a:gd name="connsiteX17" fmla="*/ 39052 w 229552"/>
                  <a:gd name="connsiteY17" fmla="*/ 18097 h 423862"/>
                  <a:gd name="connsiteX18" fmla="*/ 63817 w 229552"/>
                  <a:gd name="connsiteY18" fmla="*/ 0 h 423862"/>
                  <a:gd name="connsiteX19" fmla="*/ 84772 w 229552"/>
                  <a:gd name="connsiteY19" fmla="*/ 11335 h 423862"/>
                  <a:gd name="connsiteX20" fmla="*/ 84772 w 229552"/>
                  <a:gd name="connsiteY20" fmla="*/ 24765 h 423862"/>
                  <a:gd name="connsiteX21" fmla="*/ 99060 w 229552"/>
                  <a:gd name="connsiteY21" fmla="*/ 28575 h 423862"/>
                  <a:gd name="connsiteX22" fmla="*/ 105727 w 229552"/>
                  <a:gd name="connsiteY22" fmla="*/ 53340 h 423862"/>
                  <a:gd name="connsiteX23" fmla="*/ 99060 w 229552"/>
                  <a:gd name="connsiteY23" fmla="*/ 59912 h 423862"/>
                  <a:gd name="connsiteX24" fmla="*/ 99060 w 229552"/>
                  <a:gd name="connsiteY24" fmla="*/ 84772 h 423862"/>
                  <a:gd name="connsiteX25" fmla="*/ 120015 w 229552"/>
                  <a:gd name="connsiteY25" fmla="*/ 74200 h 423862"/>
                  <a:gd name="connsiteX26" fmla="*/ 134302 w 229552"/>
                  <a:gd name="connsiteY26" fmla="*/ 63722 h 423862"/>
                  <a:gd name="connsiteX27" fmla="*/ 155257 w 229552"/>
                  <a:gd name="connsiteY27" fmla="*/ 70485 h 423862"/>
                  <a:gd name="connsiteX28" fmla="*/ 176213 w 229552"/>
                  <a:gd name="connsiteY28" fmla="*/ 57150 h 423862"/>
                  <a:gd name="connsiteX29" fmla="*/ 204788 w 229552"/>
                  <a:gd name="connsiteY29" fmla="*/ 88487 h 423862"/>
                  <a:gd name="connsiteX30" fmla="*/ 211455 w 229552"/>
                  <a:gd name="connsiteY30" fmla="*/ 117062 h 423862"/>
                  <a:gd name="connsiteX31" fmla="*/ 229552 w 229552"/>
                  <a:gd name="connsiteY31" fmla="*/ 134303 h 423862"/>
                  <a:gd name="connsiteX32" fmla="*/ 229552 w 229552"/>
                  <a:gd name="connsiteY32" fmla="*/ 152400 h 423862"/>
                  <a:gd name="connsiteX33" fmla="*/ 221932 w 229552"/>
                  <a:gd name="connsiteY33" fmla="*/ 173260 h 423862"/>
                  <a:gd name="connsiteX34" fmla="*/ 151447 w 229552"/>
                  <a:gd name="connsiteY34" fmla="*/ 177165 h 423862"/>
                  <a:gd name="connsiteX35" fmla="*/ 138113 w 229552"/>
                  <a:gd name="connsiteY35" fmla="*/ 198025 h 423862"/>
                  <a:gd name="connsiteX36" fmla="*/ 138113 w 229552"/>
                  <a:gd name="connsiteY36" fmla="*/ 212312 h 423862"/>
                  <a:gd name="connsiteX37" fmla="*/ 144780 w 229552"/>
                  <a:gd name="connsiteY37" fmla="*/ 229553 h 423862"/>
                  <a:gd name="connsiteX38" fmla="*/ 151447 w 229552"/>
                  <a:gd name="connsiteY38" fmla="*/ 247650 h 423862"/>
                  <a:gd name="connsiteX39" fmla="*/ 148590 w 229552"/>
                  <a:gd name="connsiteY39" fmla="*/ 254222 h 423862"/>
                  <a:gd name="connsiteX40" fmla="*/ 127635 w 229552"/>
                  <a:gd name="connsiteY40" fmla="*/ 225647 h 423862"/>
                  <a:gd name="connsiteX41" fmla="*/ 99060 w 229552"/>
                  <a:gd name="connsiteY41" fmla="*/ 222885 h 423862"/>
                  <a:gd name="connsiteX42" fmla="*/ 99060 w 229552"/>
                  <a:gd name="connsiteY42" fmla="*/ 204788 h 423862"/>
                  <a:gd name="connsiteX43" fmla="*/ 78105 w 229552"/>
                  <a:gd name="connsiteY43" fmla="*/ 204788 h 423862"/>
                  <a:gd name="connsiteX44" fmla="*/ 70485 w 229552"/>
                  <a:gd name="connsiteY44" fmla="*/ 212312 h 423862"/>
                  <a:gd name="connsiteX45" fmla="*/ 70485 w 229552"/>
                  <a:gd name="connsiteY45" fmla="*/ 233363 h 423862"/>
                  <a:gd name="connsiteX46" fmla="*/ 67627 w 229552"/>
                  <a:gd name="connsiteY46" fmla="*/ 247650 h 423862"/>
                  <a:gd name="connsiteX47" fmla="*/ 57150 w 229552"/>
                  <a:gd name="connsiteY47" fmla="*/ 271463 h 423862"/>
                  <a:gd name="connsiteX48" fmla="*/ 49530 w 229552"/>
                  <a:gd name="connsiteY48" fmla="*/ 285750 h 423862"/>
                  <a:gd name="connsiteX49" fmla="*/ 42863 w 229552"/>
                  <a:gd name="connsiteY49" fmla="*/ 314325 h 423862"/>
                  <a:gd name="connsiteX50" fmla="*/ 53340 w 229552"/>
                  <a:gd name="connsiteY50" fmla="*/ 320897 h 423862"/>
                  <a:gd name="connsiteX51" fmla="*/ 70485 w 229552"/>
                  <a:gd name="connsiteY51" fmla="*/ 328613 h 423862"/>
                  <a:gd name="connsiteX52" fmla="*/ 74295 w 229552"/>
                  <a:gd name="connsiteY52" fmla="*/ 339090 h 423862"/>
                  <a:gd name="connsiteX53" fmla="*/ 80963 w 229552"/>
                  <a:gd name="connsiteY53" fmla="*/ 370522 h 423862"/>
                  <a:gd name="connsiteX54" fmla="*/ 92392 w 229552"/>
                  <a:gd name="connsiteY54" fmla="*/ 384810 h 423862"/>
                  <a:gd name="connsiteX55" fmla="*/ 113347 w 229552"/>
                  <a:gd name="connsiteY55" fmla="*/ 391478 h 423862"/>
                  <a:gd name="connsiteX56" fmla="*/ 127635 w 229552"/>
                  <a:gd name="connsiteY56" fmla="*/ 405765 h 423862"/>
                  <a:gd name="connsiteX57" fmla="*/ 120015 w 229552"/>
                  <a:gd name="connsiteY57" fmla="*/ 413385 h 423862"/>
                  <a:gd name="connsiteX58" fmla="*/ 116205 w 229552"/>
                  <a:gd name="connsiteY58" fmla="*/ 423863 h 423862"/>
                  <a:gd name="connsiteX59" fmla="*/ 99060 w 229552"/>
                  <a:gd name="connsiteY59" fmla="*/ 420053 h 423862"/>
                  <a:gd name="connsiteX60" fmla="*/ 102870 w 229552"/>
                  <a:gd name="connsiteY60" fmla="*/ 405765 h 423862"/>
                  <a:gd name="connsiteX61" fmla="*/ 92392 w 229552"/>
                  <a:gd name="connsiteY61" fmla="*/ 399097 h 423862"/>
                  <a:gd name="connsiteX62" fmla="*/ 74295 w 229552"/>
                  <a:gd name="connsiteY62" fmla="*/ 395288 h 423862"/>
                  <a:gd name="connsiteX63" fmla="*/ 60007 w 229552"/>
                  <a:gd name="connsiteY63" fmla="*/ 378047 h 423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229552" h="423862">
                    <a:moveTo>
                      <a:pt x="60007" y="378047"/>
                    </a:moveTo>
                    <a:lnTo>
                      <a:pt x="35242" y="349472"/>
                    </a:lnTo>
                    <a:lnTo>
                      <a:pt x="21907" y="342900"/>
                    </a:lnTo>
                    <a:lnTo>
                      <a:pt x="24765" y="307562"/>
                    </a:lnTo>
                    <a:lnTo>
                      <a:pt x="28575" y="285750"/>
                    </a:lnTo>
                    <a:lnTo>
                      <a:pt x="49530" y="268510"/>
                    </a:lnTo>
                    <a:lnTo>
                      <a:pt x="57150" y="247650"/>
                    </a:lnTo>
                    <a:lnTo>
                      <a:pt x="45720" y="229553"/>
                    </a:lnTo>
                    <a:lnTo>
                      <a:pt x="45720" y="200978"/>
                    </a:lnTo>
                    <a:lnTo>
                      <a:pt x="32385" y="180022"/>
                    </a:lnTo>
                    <a:lnTo>
                      <a:pt x="21907" y="165735"/>
                    </a:lnTo>
                    <a:lnTo>
                      <a:pt x="35242" y="130397"/>
                    </a:lnTo>
                    <a:lnTo>
                      <a:pt x="24765" y="102775"/>
                    </a:lnTo>
                    <a:lnTo>
                      <a:pt x="7620" y="88487"/>
                    </a:lnTo>
                    <a:lnTo>
                      <a:pt x="0" y="53340"/>
                    </a:lnTo>
                    <a:lnTo>
                      <a:pt x="7620" y="42863"/>
                    </a:lnTo>
                    <a:lnTo>
                      <a:pt x="7620" y="21812"/>
                    </a:lnTo>
                    <a:lnTo>
                      <a:pt x="39052" y="18097"/>
                    </a:lnTo>
                    <a:lnTo>
                      <a:pt x="63817" y="0"/>
                    </a:lnTo>
                    <a:lnTo>
                      <a:pt x="84772" y="11335"/>
                    </a:lnTo>
                    <a:lnTo>
                      <a:pt x="84772" y="24765"/>
                    </a:lnTo>
                    <a:lnTo>
                      <a:pt x="99060" y="28575"/>
                    </a:lnTo>
                    <a:lnTo>
                      <a:pt x="105727" y="53340"/>
                    </a:lnTo>
                    <a:lnTo>
                      <a:pt x="99060" y="59912"/>
                    </a:lnTo>
                    <a:lnTo>
                      <a:pt x="99060" y="84772"/>
                    </a:lnTo>
                    <a:lnTo>
                      <a:pt x="120015" y="74200"/>
                    </a:lnTo>
                    <a:lnTo>
                      <a:pt x="134302" y="63722"/>
                    </a:lnTo>
                    <a:lnTo>
                      <a:pt x="155257" y="70485"/>
                    </a:lnTo>
                    <a:lnTo>
                      <a:pt x="176213" y="57150"/>
                    </a:lnTo>
                    <a:lnTo>
                      <a:pt x="204788" y="88487"/>
                    </a:lnTo>
                    <a:lnTo>
                      <a:pt x="211455" y="117062"/>
                    </a:lnTo>
                    <a:lnTo>
                      <a:pt x="229552" y="134303"/>
                    </a:lnTo>
                    <a:lnTo>
                      <a:pt x="229552" y="152400"/>
                    </a:lnTo>
                    <a:lnTo>
                      <a:pt x="221932" y="173260"/>
                    </a:lnTo>
                    <a:lnTo>
                      <a:pt x="151447" y="177165"/>
                    </a:lnTo>
                    <a:lnTo>
                      <a:pt x="138113" y="198025"/>
                    </a:lnTo>
                    <a:lnTo>
                      <a:pt x="138113" y="212312"/>
                    </a:lnTo>
                    <a:lnTo>
                      <a:pt x="144780" y="229553"/>
                    </a:lnTo>
                    <a:lnTo>
                      <a:pt x="151447" y="247650"/>
                    </a:lnTo>
                    <a:lnTo>
                      <a:pt x="148590" y="254222"/>
                    </a:lnTo>
                    <a:lnTo>
                      <a:pt x="127635" y="225647"/>
                    </a:lnTo>
                    <a:lnTo>
                      <a:pt x="99060" y="222885"/>
                    </a:lnTo>
                    <a:lnTo>
                      <a:pt x="99060" y="204788"/>
                    </a:lnTo>
                    <a:lnTo>
                      <a:pt x="78105" y="204788"/>
                    </a:lnTo>
                    <a:lnTo>
                      <a:pt x="70485" y="212312"/>
                    </a:lnTo>
                    <a:lnTo>
                      <a:pt x="70485" y="233363"/>
                    </a:lnTo>
                    <a:lnTo>
                      <a:pt x="67627" y="247650"/>
                    </a:lnTo>
                    <a:lnTo>
                      <a:pt x="57150" y="271463"/>
                    </a:lnTo>
                    <a:lnTo>
                      <a:pt x="49530" y="285750"/>
                    </a:lnTo>
                    <a:lnTo>
                      <a:pt x="42863" y="314325"/>
                    </a:lnTo>
                    <a:lnTo>
                      <a:pt x="53340" y="320897"/>
                    </a:lnTo>
                    <a:lnTo>
                      <a:pt x="70485" y="328613"/>
                    </a:lnTo>
                    <a:lnTo>
                      <a:pt x="74295" y="339090"/>
                    </a:lnTo>
                    <a:lnTo>
                      <a:pt x="80963" y="370522"/>
                    </a:lnTo>
                    <a:lnTo>
                      <a:pt x="92392" y="384810"/>
                    </a:lnTo>
                    <a:lnTo>
                      <a:pt x="113347" y="391478"/>
                    </a:lnTo>
                    <a:lnTo>
                      <a:pt x="127635" y="405765"/>
                    </a:lnTo>
                    <a:lnTo>
                      <a:pt x="120015" y="413385"/>
                    </a:lnTo>
                    <a:lnTo>
                      <a:pt x="116205" y="423863"/>
                    </a:lnTo>
                    <a:lnTo>
                      <a:pt x="99060" y="420053"/>
                    </a:lnTo>
                    <a:lnTo>
                      <a:pt x="102870" y="405765"/>
                    </a:lnTo>
                    <a:lnTo>
                      <a:pt x="92392" y="399097"/>
                    </a:lnTo>
                    <a:lnTo>
                      <a:pt x="74295" y="395288"/>
                    </a:lnTo>
                    <a:lnTo>
                      <a:pt x="60007" y="37804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1" name="Freeform: Shape 300">
                <a:extLst>
                  <a:ext uri="{FF2B5EF4-FFF2-40B4-BE49-F238E27FC236}">
                    <a16:creationId xmlns:a16="http://schemas.microsoft.com/office/drawing/2014/main" id="{F9D0822B-0167-9179-D2BF-89800C8403EF}"/>
                  </a:ext>
                </a:extLst>
              </p:cNvPr>
              <p:cNvSpPr/>
              <p:nvPr/>
            </p:nvSpPr>
            <p:spPr>
              <a:xfrm>
                <a:off x="8980837" y="4423194"/>
                <a:ext cx="276381" cy="231659"/>
              </a:xfrm>
              <a:custGeom>
                <a:avLst/>
                <a:gdLst>
                  <a:gd name="connsiteX0" fmla="*/ 24765 w 281939"/>
                  <a:gd name="connsiteY0" fmla="*/ 80963 h 236315"/>
                  <a:gd name="connsiteX1" fmla="*/ 42863 w 281939"/>
                  <a:gd name="connsiteY1" fmla="*/ 99060 h 236315"/>
                  <a:gd name="connsiteX2" fmla="*/ 63818 w 281939"/>
                  <a:gd name="connsiteY2" fmla="*/ 99060 h 236315"/>
                  <a:gd name="connsiteX3" fmla="*/ 78105 w 281939"/>
                  <a:gd name="connsiteY3" fmla="*/ 95250 h 236315"/>
                  <a:gd name="connsiteX4" fmla="*/ 116205 w 281939"/>
                  <a:gd name="connsiteY4" fmla="*/ 80963 h 236315"/>
                  <a:gd name="connsiteX5" fmla="*/ 130493 w 281939"/>
                  <a:gd name="connsiteY5" fmla="*/ 95250 h 236315"/>
                  <a:gd name="connsiteX6" fmla="*/ 151447 w 281939"/>
                  <a:gd name="connsiteY6" fmla="*/ 84772 h 236315"/>
                  <a:gd name="connsiteX7" fmla="*/ 172402 w 281939"/>
                  <a:gd name="connsiteY7" fmla="*/ 63913 h 236315"/>
                  <a:gd name="connsiteX8" fmla="*/ 203835 w 281939"/>
                  <a:gd name="connsiteY8" fmla="*/ 21050 h 236315"/>
                  <a:gd name="connsiteX9" fmla="*/ 204788 w 281939"/>
                  <a:gd name="connsiteY9" fmla="*/ 3810 h 236315"/>
                  <a:gd name="connsiteX10" fmla="*/ 232410 w 281939"/>
                  <a:gd name="connsiteY10" fmla="*/ 0 h 236315"/>
                  <a:gd name="connsiteX11" fmla="*/ 246697 w 281939"/>
                  <a:gd name="connsiteY11" fmla="*/ 10573 h 236315"/>
                  <a:gd name="connsiteX12" fmla="*/ 242888 w 281939"/>
                  <a:gd name="connsiteY12" fmla="*/ 24860 h 236315"/>
                  <a:gd name="connsiteX13" fmla="*/ 232410 w 281939"/>
                  <a:gd name="connsiteY13" fmla="*/ 28575 h 236315"/>
                  <a:gd name="connsiteX14" fmla="*/ 246697 w 281939"/>
                  <a:gd name="connsiteY14" fmla="*/ 45815 h 236315"/>
                  <a:gd name="connsiteX15" fmla="*/ 257175 w 281939"/>
                  <a:gd name="connsiteY15" fmla="*/ 74390 h 236315"/>
                  <a:gd name="connsiteX16" fmla="*/ 263843 w 281939"/>
                  <a:gd name="connsiteY16" fmla="*/ 84772 h 236315"/>
                  <a:gd name="connsiteX17" fmla="*/ 281940 w 281939"/>
                  <a:gd name="connsiteY17" fmla="*/ 99060 h 236315"/>
                  <a:gd name="connsiteX18" fmla="*/ 275272 w 281939"/>
                  <a:gd name="connsiteY18" fmla="*/ 105823 h 236315"/>
                  <a:gd name="connsiteX19" fmla="*/ 253365 w 281939"/>
                  <a:gd name="connsiteY19" fmla="*/ 102013 h 236315"/>
                  <a:gd name="connsiteX20" fmla="*/ 242888 w 281939"/>
                  <a:gd name="connsiteY20" fmla="*/ 112490 h 236315"/>
                  <a:gd name="connsiteX21" fmla="*/ 240030 w 281939"/>
                  <a:gd name="connsiteY21" fmla="*/ 148685 h 236315"/>
                  <a:gd name="connsiteX22" fmla="*/ 211455 w 281939"/>
                  <a:gd name="connsiteY22" fmla="*/ 169640 h 236315"/>
                  <a:gd name="connsiteX23" fmla="*/ 215265 w 281939"/>
                  <a:gd name="connsiteY23" fmla="*/ 197263 h 236315"/>
                  <a:gd name="connsiteX24" fmla="*/ 211455 w 281939"/>
                  <a:gd name="connsiteY24" fmla="*/ 207740 h 236315"/>
                  <a:gd name="connsiteX25" fmla="*/ 207645 w 281939"/>
                  <a:gd name="connsiteY25" fmla="*/ 236315 h 236315"/>
                  <a:gd name="connsiteX26" fmla="*/ 165735 w 281939"/>
                  <a:gd name="connsiteY26" fmla="*/ 232410 h 236315"/>
                  <a:gd name="connsiteX27" fmla="*/ 161925 w 281939"/>
                  <a:gd name="connsiteY27" fmla="*/ 219075 h 236315"/>
                  <a:gd name="connsiteX28" fmla="*/ 112395 w 281939"/>
                  <a:gd name="connsiteY28" fmla="*/ 211550 h 236315"/>
                  <a:gd name="connsiteX29" fmla="*/ 105727 w 281939"/>
                  <a:gd name="connsiteY29" fmla="*/ 222028 h 236315"/>
                  <a:gd name="connsiteX30" fmla="*/ 80963 w 281939"/>
                  <a:gd name="connsiteY30" fmla="*/ 219075 h 236315"/>
                  <a:gd name="connsiteX31" fmla="*/ 78105 w 281939"/>
                  <a:gd name="connsiteY31" fmla="*/ 204788 h 236315"/>
                  <a:gd name="connsiteX32" fmla="*/ 42863 w 281939"/>
                  <a:gd name="connsiteY32" fmla="*/ 204788 h 236315"/>
                  <a:gd name="connsiteX33" fmla="*/ 35243 w 281939"/>
                  <a:gd name="connsiteY33" fmla="*/ 169640 h 236315"/>
                  <a:gd name="connsiteX34" fmla="*/ 20955 w 281939"/>
                  <a:gd name="connsiteY34" fmla="*/ 151447 h 236315"/>
                  <a:gd name="connsiteX35" fmla="*/ 3810 w 281939"/>
                  <a:gd name="connsiteY35" fmla="*/ 116300 h 236315"/>
                  <a:gd name="connsiteX36" fmla="*/ 0 w 281939"/>
                  <a:gd name="connsiteY36" fmla="*/ 95250 h 236315"/>
                  <a:gd name="connsiteX37" fmla="*/ 10477 w 281939"/>
                  <a:gd name="connsiteY37" fmla="*/ 80963 h 236315"/>
                  <a:gd name="connsiteX38" fmla="*/ 24765 w 281939"/>
                  <a:gd name="connsiteY38" fmla="*/ 80963 h 2363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281939" h="236315">
                    <a:moveTo>
                      <a:pt x="24765" y="80963"/>
                    </a:moveTo>
                    <a:lnTo>
                      <a:pt x="42863" y="99060"/>
                    </a:lnTo>
                    <a:lnTo>
                      <a:pt x="63818" y="99060"/>
                    </a:lnTo>
                    <a:lnTo>
                      <a:pt x="78105" y="95250"/>
                    </a:lnTo>
                    <a:lnTo>
                      <a:pt x="116205" y="80963"/>
                    </a:lnTo>
                    <a:lnTo>
                      <a:pt x="130493" y="95250"/>
                    </a:lnTo>
                    <a:lnTo>
                      <a:pt x="151447" y="84772"/>
                    </a:lnTo>
                    <a:lnTo>
                      <a:pt x="172402" y="63913"/>
                    </a:lnTo>
                    <a:lnTo>
                      <a:pt x="203835" y="21050"/>
                    </a:lnTo>
                    <a:lnTo>
                      <a:pt x="204788" y="3810"/>
                    </a:lnTo>
                    <a:lnTo>
                      <a:pt x="232410" y="0"/>
                    </a:lnTo>
                    <a:lnTo>
                      <a:pt x="246697" y="10573"/>
                    </a:lnTo>
                    <a:lnTo>
                      <a:pt x="242888" y="24860"/>
                    </a:lnTo>
                    <a:lnTo>
                      <a:pt x="232410" y="28575"/>
                    </a:lnTo>
                    <a:lnTo>
                      <a:pt x="246697" y="45815"/>
                    </a:lnTo>
                    <a:lnTo>
                      <a:pt x="257175" y="74390"/>
                    </a:lnTo>
                    <a:lnTo>
                      <a:pt x="263843" y="84772"/>
                    </a:lnTo>
                    <a:lnTo>
                      <a:pt x="281940" y="99060"/>
                    </a:lnTo>
                    <a:lnTo>
                      <a:pt x="275272" y="105823"/>
                    </a:lnTo>
                    <a:lnTo>
                      <a:pt x="253365" y="102013"/>
                    </a:lnTo>
                    <a:lnTo>
                      <a:pt x="242888" y="112490"/>
                    </a:lnTo>
                    <a:lnTo>
                      <a:pt x="240030" y="148685"/>
                    </a:lnTo>
                    <a:lnTo>
                      <a:pt x="211455" y="169640"/>
                    </a:lnTo>
                    <a:lnTo>
                      <a:pt x="215265" y="197263"/>
                    </a:lnTo>
                    <a:lnTo>
                      <a:pt x="211455" y="207740"/>
                    </a:lnTo>
                    <a:lnTo>
                      <a:pt x="207645" y="236315"/>
                    </a:lnTo>
                    <a:lnTo>
                      <a:pt x="165735" y="232410"/>
                    </a:lnTo>
                    <a:lnTo>
                      <a:pt x="161925" y="219075"/>
                    </a:lnTo>
                    <a:lnTo>
                      <a:pt x="112395" y="211550"/>
                    </a:lnTo>
                    <a:lnTo>
                      <a:pt x="105727" y="222028"/>
                    </a:lnTo>
                    <a:lnTo>
                      <a:pt x="80963" y="219075"/>
                    </a:lnTo>
                    <a:lnTo>
                      <a:pt x="78105" y="204788"/>
                    </a:lnTo>
                    <a:lnTo>
                      <a:pt x="42863" y="204788"/>
                    </a:lnTo>
                    <a:lnTo>
                      <a:pt x="35243" y="169640"/>
                    </a:lnTo>
                    <a:lnTo>
                      <a:pt x="20955" y="151447"/>
                    </a:lnTo>
                    <a:lnTo>
                      <a:pt x="3810" y="116300"/>
                    </a:lnTo>
                    <a:lnTo>
                      <a:pt x="0" y="95250"/>
                    </a:lnTo>
                    <a:lnTo>
                      <a:pt x="10477" y="80963"/>
                    </a:lnTo>
                    <a:lnTo>
                      <a:pt x="24765" y="8096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2" name="Freeform: Shape 301">
                <a:extLst>
                  <a:ext uri="{FF2B5EF4-FFF2-40B4-BE49-F238E27FC236}">
                    <a16:creationId xmlns:a16="http://schemas.microsoft.com/office/drawing/2014/main" id="{DB4B6F7E-2B47-9571-5FEE-EA82E1A1E547}"/>
                  </a:ext>
                </a:extLst>
              </p:cNvPr>
              <p:cNvSpPr/>
              <p:nvPr/>
            </p:nvSpPr>
            <p:spPr>
              <a:xfrm>
                <a:off x="9303904" y="4498919"/>
                <a:ext cx="169004" cy="204394"/>
              </a:xfrm>
              <a:custGeom>
                <a:avLst/>
                <a:gdLst>
                  <a:gd name="connsiteX0" fmla="*/ 20955 w 172402"/>
                  <a:gd name="connsiteY0" fmla="*/ 63818 h 208502"/>
                  <a:gd name="connsiteX1" fmla="*/ 20955 w 172402"/>
                  <a:gd name="connsiteY1" fmla="*/ 46577 h 208502"/>
                  <a:gd name="connsiteX2" fmla="*/ 35243 w 172402"/>
                  <a:gd name="connsiteY2" fmla="*/ 24765 h 208502"/>
                  <a:gd name="connsiteX3" fmla="*/ 56198 w 172402"/>
                  <a:gd name="connsiteY3" fmla="*/ 14288 h 208502"/>
                  <a:gd name="connsiteX4" fmla="*/ 84773 w 172402"/>
                  <a:gd name="connsiteY4" fmla="*/ 18002 h 208502"/>
                  <a:gd name="connsiteX5" fmla="*/ 102870 w 172402"/>
                  <a:gd name="connsiteY5" fmla="*/ 24765 h 208502"/>
                  <a:gd name="connsiteX6" fmla="*/ 130493 w 172402"/>
                  <a:gd name="connsiteY6" fmla="*/ 24765 h 208502"/>
                  <a:gd name="connsiteX7" fmla="*/ 148590 w 172402"/>
                  <a:gd name="connsiteY7" fmla="*/ 21812 h 208502"/>
                  <a:gd name="connsiteX8" fmla="*/ 159068 w 172402"/>
                  <a:gd name="connsiteY8" fmla="*/ 14288 h 208502"/>
                  <a:gd name="connsiteX9" fmla="*/ 172403 w 172402"/>
                  <a:gd name="connsiteY9" fmla="*/ 0 h 208502"/>
                  <a:gd name="connsiteX10" fmla="*/ 172403 w 172402"/>
                  <a:gd name="connsiteY10" fmla="*/ 14288 h 208502"/>
                  <a:gd name="connsiteX11" fmla="*/ 155257 w 172402"/>
                  <a:gd name="connsiteY11" fmla="*/ 35243 h 208502"/>
                  <a:gd name="connsiteX12" fmla="*/ 140970 w 172402"/>
                  <a:gd name="connsiteY12" fmla="*/ 46577 h 208502"/>
                  <a:gd name="connsiteX13" fmla="*/ 99060 w 172402"/>
                  <a:gd name="connsiteY13" fmla="*/ 39053 h 208502"/>
                  <a:gd name="connsiteX14" fmla="*/ 74295 w 172402"/>
                  <a:gd name="connsiteY14" fmla="*/ 35243 h 208502"/>
                  <a:gd name="connsiteX15" fmla="*/ 53340 w 172402"/>
                  <a:gd name="connsiteY15" fmla="*/ 35243 h 208502"/>
                  <a:gd name="connsiteX16" fmla="*/ 42863 w 172402"/>
                  <a:gd name="connsiteY16" fmla="*/ 35243 h 208502"/>
                  <a:gd name="connsiteX17" fmla="*/ 32385 w 172402"/>
                  <a:gd name="connsiteY17" fmla="*/ 46577 h 208502"/>
                  <a:gd name="connsiteX18" fmla="*/ 32385 w 172402"/>
                  <a:gd name="connsiteY18" fmla="*/ 63818 h 208502"/>
                  <a:gd name="connsiteX19" fmla="*/ 39053 w 172402"/>
                  <a:gd name="connsiteY19" fmla="*/ 74200 h 208502"/>
                  <a:gd name="connsiteX20" fmla="*/ 45720 w 172402"/>
                  <a:gd name="connsiteY20" fmla="*/ 81915 h 208502"/>
                  <a:gd name="connsiteX21" fmla="*/ 49530 w 172402"/>
                  <a:gd name="connsiteY21" fmla="*/ 88487 h 208502"/>
                  <a:gd name="connsiteX22" fmla="*/ 56198 w 172402"/>
                  <a:gd name="connsiteY22" fmla="*/ 92393 h 208502"/>
                  <a:gd name="connsiteX23" fmla="*/ 67628 w 172402"/>
                  <a:gd name="connsiteY23" fmla="*/ 78105 h 208502"/>
                  <a:gd name="connsiteX24" fmla="*/ 74295 w 172402"/>
                  <a:gd name="connsiteY24" fmla="*/ 74200 h 208502"/>
                  <a:gd name="connsiteX25" fmla="*/ 91440 w 172402"/>
                  <a:gd name="connsiteY25" fmla="*/ 78105 h 208502"/>
                  <a:gd name="connsiteX26" fmla="*/ 105728 w 172402"/>
                  <a:gd name="connsiteY26" fmla="*/ 71438 h 208502"/>
                  <a:gd name="connsiteX27" fmla="*/ 123825 w 172402"/>
                  <a:gd name="connsiteY27" fmla="*/ 71438 h 208502"/>
                  <a:gd name="connsiteX28" fmla="*/ 120015 w 172402"/>
                  <a:gd name="connsiteY28" fmla="*/ 81915 h 208502"/>
                  <a:gd name="connsiteX29" fmla="*/ 99060 w 172402"/>
                  <a:gd name="connsiteY29" fmla="*/ 84677 h 208502"/>
                  <a:gd name="connsiteX30" fmla="*/ 88582 w 172402"/>
                  <a:gd name="connsiteY30" fmla="*/ 95250 h 208502"/>
                  <a:gd name="connsiteX31" fmla="*/ 78105 w 172402"/>
                  <a:gd name="connsiteY31" fmla="*/ 106680 h 208502"/>
                  <a:gd name="connsiteX32" fmla="*/ 78105 w 172402"/>
                  <a:gd name="connsiteY32" fmla="*/ 109538 h 208502"/>
                  <a:gd name="connsiteX33" fmla="*/ 84773 w 172402"/>
                  <a:gd name="connsiteY33" fmla="*/ 120015 h 208502"/>
                  <a:gd name="connsiteX34" fmla="*/ 95250 w 172402"/>
                  <a:gd name="connsiteY34" fmla="*/ 141827 h 208502"/>
                  <a:gd name="connsiteX35" fmla="*/ 95250 w 172402"/>
                  <a:gd name="connsiteY35" fmla="*/ 148590 h 208502"/>
                  <a:gd name="connsiteX36" fmla="*/ 99060 w 172402"/>
                  <a:gd name="connsiteY36" fmla="*/ 162878 h 208502"/>
                  <a:gd name="connsiteX37" fmla="*/ 109538 w 172402"/>
                  <a:gd name="connsiteY37" fmla="*/ 169450 h 208502"/>
                  <a:gd name="connsiteX38" fmla="*/ 95250 w 172402"/>
                  <a:gd name="connsiteY38" fmla="*/ 177165 h 208502"/>
                  <a:gd name="connsiteX39" fmla="*/ 80963 w 172402"/>
                  <a:gd name="connsiteY39" fmla="*/ 173355 h 208502"/>
                  <a:gd name="connsiteX40" fmla="*/ 78105 w 172402"/>
                  <a:gd name="connsiteY40" fmla="*/ 183737 h 208502"/>
                  <a:gd name="connsiteX41" fmla="*/ 67628 w 172402"/>
                  <a:gd name="connsiteY41" fmla="*/ 165640 h 208502"/>
                  <a:gd name="connsiteX42" fmla="*/ 60007 w 172402"/>
                  <a:gd name="connsiteY42" fmla="*/ 148590 h 208502"/>
                  <a:gd name="connsiteX43" fmla="*/ 56198 w 172402"/>
                  <a:gd name="connsiteY43" fmla="*/ 123825 h 208502"/>
                  <a:gd name="connsiteX44" fmla="*/ 42863 w 172402"/>
                  <a:gd name="connsiteY44" fmla="*/ 123825 h 208502"/>
                  <a:gd name="connsiteX45" fmla="*/ 39053 w 172402"/>
                  <a:gd name="connsiteY45" fmla="*/ 134303 h 208502"/>
                  <a:gd name="connsiteX46" fmla="*/ 42863 w 172402"/>
                  <a:gd name="connsiteY46" fmla="*/ 162878 h 208502"/>
                  <a:gd name="connsiteX47" fmla="*/ 42863 w 172402"/>
                  <a:gd name="connsiteY47" fmla="*/ 173355 h 208502"/>
                  <a:gd name="connsiteX48" fmla="*/ 42863 w 172402"/>
                  <a:gd name="connsiteY48" fmla="*/ 198025 h 208502"/>
                  <a:gd name="connsiteX49" fmla="*/ 39053 w 172402"/>
                  <a:gd name="connsiteY49" fmla="*/ 208502 h 208502"/>
                  <a:gd name="connsiteX50" fmla="*/ 18098 w 172402"/>
                  <a:gd name="connsiteY50" fmla="*/ 204788 h 208502"/>
                  <a:gd name="connsiteX51" fmla="*/ 18098 w 172402"/>
                  <a:gd name="connsiteY51" fmla="*/ 179927 h 208502"/>
                  <a:gd name="connsiteX52" fmla="*/ 20955 w 172402"/>
                  <a:gd name="connsiteY52" fmla="*/ 159068 h 208502"/>
                  <a:gd name="connsiteX53" fmla="*/ 18098 w 172402"/>
                  <a:gd name="connsiteY53" fmla="*/ 148590 h 208502"/>
                  <a:gd name="connsiteX54" fmla="*/ 0 w 172402"/>
                  <a:gd name="connsiteY54" fmla="*/ 141827 h 208502"/>
                  <a:gd name="connsiteX55" fmla="*/ 0 w 172402"/>
                  <a:gd name="connsiteY55" fmla="*/ 120015 h 208502"/>
                  <a:gd name="connsiteX56" fmla="*/ 7620 w 172402"/>
                  <a:gd name="connsiteY56" fmla="*/ 102775 h 208502"/>
                  <a:gd name="connsiteX57" fmla="*/ 14288 w 172402"/>
                  <a:gd name="connsiteY57" fmla="*/ 74200 h 208502"/>
                  <a:gd name="connsiteX58" fmla="*/ 20955 w 172402"/>
                  <a:gd name="connsiteY58" fmla="*/ 63818 h 2085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172402" h="208502">
                    <a:moveTo>
                      <a:pt x="20955" y="63818"/>
                    </a:moveTo>
                    <a:lnTo>
                      <a:pt x="20955" y="46577"/>
                    </a:lnTo>
                    <a:lnTo>
                      <a:pt x="35243" y="24765"/>
                    </a:lnTo>
                    <a:lnTo>
                      <a:pt x="56198" y="14288"/>
                    </a:lnTo>
                    <a:lnTo>
                      <a:pt x="84773" y="18002"/>
                    </a:lnTo>
                    <a:lnTo>
                      <a:pt x="102870" y="24765"/>
                    </a:lnTo>
                    <a:lnTo>
                      <a:pt x="130493" y="24765"/>
                    </a:lnTo>
                    <a:lnTo>
                      <a:pt x="148590" y="21812"/>
                    </a:lnTo>
                    <a:lnTo>
                      <a:pt x="159068" y="14288"/>
                    </a:lnTo>
                    <a:lnTo>
                      <a:pt x="172403" y="0"/>
                    </a:lnTo>
                    <a:lnTo>
                      <a:pt x="172403" y="14288"/>
                    </a:lnTo>
                    <a:lnTo>
                      <a:pt x="155257" y="35243"/>
                    </a:lnTo>
                    <a:lnTo>
                      <a:pt x="140970" y="46577"/>
                    </a:lnTo>
                    <a:lnTo>
                      <a:pt x="99060" y="39053"/>
                    </a:lnTo>
                    <a:lnTo>
                      <a:pt x="74295" y="35243"/>
                    </a:lnTo>
                    <a:lnTo>
                      <a:pt x="53340" y="35243"/>
                    </a:lnTo>
                    <a:lnTo>
                      <a:pt x="42863" y="35243"/>
                    </a:lnTo>
                    <a:lnTo>
                      <a:pt x="32385" y="46577"/>
                    </a:lnTo>
                    <a:lnTo>
                      <a:pt x="32385" y="63818"/>
                    </a:lnTo>
                    <a:lnTo>
                      <a:pt x="39053" y="74200"/>
                    </a:lnTo>
                    <a:lnTo>
                      <a:pt x="45720" y="81915"/>
                    </a:lnTo>
                    <a:lnTo>
                      <a:pt x="49530" y="88487"/>
                    </a:lnTo>
                    <a:lnTo>
                      <a:pt x="56198" y="92393"/>
                    </a:lnTo>
                    <a:lnTo>
                      <a:pt x="67628" y="78105"/>
                    </a:lnTo>
                    <a:lnTo>
                      <a:pt x="74295" y="74200"/>
                    </a:lnTo>
                    <a:lnTo>
                      <a:pt x="91440" y="78105"/>
                    </a:lnTo>
                    <a:lnTo>
                      <a:pt x="105728" y="71438"/>
                    </a:lnTo>
                    <a:lnTo>
                      <a:pt x="123825" y="71438"/>
                    </a:lnTo>
                    <a:lnTo>
                      <a:pt x="120015" y="81915"/>
                    </a:lnTo>
                    <a:lnTo>
                      <a:pt x="99060" y="84677"/>
                    </a:lnTo>
                    <a:lnTo>
                      <a:pt x="88582" y="95250"/>
                    </a:lnTo>
                    <a:lnTo>
                      <a:pt x="78105" y="106680"/>
                    </a:lnTo>
                    <a:lnTo>
                      <a:pt x="78105" y="109538"/>
                    </a:lnTo>
                    <a:lnTo>
                      <a:pt x="84773" y="120015"/>
                    </a:lnTo>
                    <a:lnTo>
                      <a:pt x="95250" y="141827"/>
                    </a:lnTo>
                    <a:lnTo>
                      <a:pt x="95250" y="148590"/>
                    </a:lnTo>
                    <a:lnTo>
                      <a:pt x="99060" y="162878"/>
                    </a:lnTo>
                    <a:lnTo>
                      <a:pt x="109538" y="169450"/>
                    </a:lnTo>
                    <a:lnTo>
                      <a:pt x="95250" y="177165"/>
                    </a:lnTo>
                    <a:lnTo>
                      <a:pt x="80963" y="173355"/>
                    </a:lnTo>
                    <a:lnTo>
                      <a:pt x="78105" y="183737"/>
                    </a:lnTo>
                    <a:lnTo>
                      <a:pt x="67628" y="165640"/>
                    </a:lnTo>
                    <a:lnTo>
                      <a:pt x="60007" y="148590"/>
                    </a:lnTo>
                    <a:lnTo>
                      <a:pt x="56198" y="123825"/>
                    </a:lnTo>
                    <a:lnTo>
                      <a:pt x="42863" y="123825"/>
                    </a:lnTo>
                    <a:lnTo>
                      <a:pt x="39053" y="134303"/>
                    </a:lnTo>
                    <a:lnTo>
                      <a:pt x="42863" y="162878"/>
                    </a:lnTo>
                    <a:lnTo>
                      <a:pt x="42863" y="173355"/>
                    </a:lnTo>
                    <a:lnTo>
                      <a:pt x="42863" y="198025"/>
                    </a:lnTo>
                    <a:lnTo>
                      <a:pt x="39053" y="208502"/>
                    </a:lnTo>
                    <a:lnTo>
                      <a:pt x="18098" y="204788"/>
                    </a:lnTo>
                    <a:lnTo>
                      <a:pt x="18098" y="179927"/>
                    </a:lnTo>
                    <a:lnTo>
                      <a:pt x="20955" y="159068"/>
                    </a:lnTo>
                    <a:lnTo>
                      <a:pt x="18098" y="148590"/>
                    </a:lnTo>
                    <a:lnTo>
                      <a:pt x="0" y="141827"/>
                    </a:lnTo>
                    <a:lnTo>
                      <a:pt x="0" y="120015"/>
                    </a:lnTo>
                    <a:lnTo>
                      <a:pt x="7620" y="102775"/>
                    </a:lnTo>
                    <a:lnTo>
                      <a:pt x="14288" y="74200"/>
                    </a:lnTo>
                    <a:lnTo>
                      <a:pt x="20955" y="6381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3" name="Freeform: Shape 302">
                <a:extLst>
                  <a:ext uri="{FF2B5EF4-FFF2-40B4-BE49-F238E27FC236}">
                    <a16:creationId xmlns:a16="http://schemas.microsoft.com/office/drawing/2014/main" id="{8B4739E0-9BFA-0FCD-E387-07CD9BA1BD22}"/>
                  </a:ext>
                </a:extLst>
              </p:cNvPr>
              <p:cNvSpPr/>
              <p:nvPr/>
            </p:nvSpPr>
            <p:spPr>
              <a:xfrm>
                <a:off x="9582154" y="4561479"/>
                <a:ext cx="279183" cy="235206"/>
              </a:xfrm>
              <a:custGeom>
                <a:avLst/>
                <a:gdLst>
                  <a:gd name="connsiteX0" fmla="*/ 2858 w 284797"/>
                  <a:gd name="connsiteY0" fmla="*/ 14288 h 239934"/>
                  <a:gd name="connsiteX1" fmla="*/ 34290 w 284797"/>
                  <a:gd name="connsiteY1" fmla="*/ 3810 h 239934"/>
                  <a:gd name="connsiteX2" fmla="*/ 52388 w 284797"/>
                  <a:gd name="connsiteY2" fmla="*/ 0 h 239934"/>
                  <a:gd name="connsiteX3" fmla="*/ 83820 w 284797"/>
                  <a:gd name="connsiteY3" fmla="*/ 3810 h 239934"/>
                  <a:gd name="connsiteX4" fmla="*/ 98108 w 284797"/>
                  <a:gd name="connsiteY4" fmla="*/ 18097 h 239934"/>
                  <a:gd name="connsiteX5" fmla="*/ 94298 w 284797"/>
                  <a:gd name="connsiteY5" fmla="*/ 38957 h 239934"/>
                  <a:gd name="connsiteX6" fmla="*/ 94298 w 284797"/>
                  <a:gd name="connsiteY6" fmla="*/ 53245 h 239934"/>
                  <a:gd name="connsiteX7" fmla="*/ 104775 w 284797"/>
                  <a:gd name="connsiteY7" fmla="*/ 60007 h 239934"/>
                  <a:gd name="connsiteX8" fmla="*/ 108585 w 284797"/>
                  <a:gd name="connsiteY8" fmla="*/ 74295 h 239934"/>
                  <a:gd name="connsiteX9" fmla="*/ 122873 w 284797"/>
                  <a:gd name="connsiteY9" fmla="*/ 78010 h 239934"/>
                  <a:gd name="connsiteX10" fmla="*/ 140018 w 284797"/>
                  <a:gd name="connsiteY10" fmla="*/ 74295 h 239934"/>
                  <a:gd name="connsiteX11" fmla="*/ 150495 w 284797"/>
                  <a:gd name="connsiteY11" fmla="*/ 56197 h 239934"/>
                  <a:gd name="connsiteX12" fmla="*/ 164783 w 284797"/>
                  <a:gd name="connsiteY12" fmla="*/ 45720 h 239934"/>
                  <a:gd name="connsiteX13" fmla="*/ 182880 w 284797"/>
                  <a:gd name="connsiteY13" fmla="*/ 38957 h 239934"/>
                  <a:gd name="connsiteX14" fmla="*/ 193358 w 284797"/>
                  <a:gd name="connsiteY14" fmla="*/ 28575 h 239934"/>
                  <a:gd name="connsiteX15" fmla="*/ 224790 w 284797"/>
                  <a:gd name="connsiteY15" fmla="*/ 38957 h 239934"/>
                  <a:gd name="connsiteX16" fmla="*/ 249555 w 284797"/>
                  <a:gd name="connsiteY16" fmla="*/ 45720 h 239934"/>
                  <a:gd name="connsiteX17" fmla="*/ 278130 w 284797"/>
                  <a:gd name="connsiteY17" fmla="*/ 56197 h 239934"/>
                  <a:gd name="connsiteX18" fmla="*/ 284798 w 284797"/>
                  <a:gd name="connsiteY18" fmla="*/ 60007 h 239934"/>
                  <a:gd name="connsiteX19" fmla="*/ 284798 w 284797"/>
                  <a:gd name="connsiteY19" fmla="*/ 239935 h 239934"/>
                  <a:gd name="connsiteX20" fmla="*/ 260033 w 284797"/>
                  <a:gd name="connsiteY20" fmla="*/ 219075 h 239934"/>
                  <a:gd name="connsiteX21" fmla="*/ 242888 w 284797"/>
                  <a:gd name="connsiteY21" fmla="*/ 211360 h 239934"/>
                  <a:gd name="connsiteX22" fmla="*/ 228600 w 284797"/>
                  <a:gd name="connsiteY22" fmla="*/ 211360 h 239934"/>
                  <a:gd name="connsiteX23" fmla="*/ 218123 w 284797"/>
                  <a:gd name="connsiteY23" fmla="*/ 219075 h 239934"/>
                  <a:gd name="connsiteX24" fmla="*/ 193358 w 284797"/>
                  <a:gd name="connsiteY24" fmla="*/ 221932 h 239934"/>
                  <a:gd name="connsiteX25" fmla="*/ 189548 w 284797"/>
                  <a:gd name="connsiteY25" fmla="*/ 208597 h 239934"/>
                  <a:gd name="connsiteX26" fmla="*/ 193358 w 284797"/>
                  <a:gd name="connsiteY26" fmla="*/ 200882 h 239934"/>
                  <a:gd name="connsiteX27" fmla="*/ 203835 w 284797"/>
                  <a:gd name="connsiteY27" fmla="*/ 197072 h 239934"/>
                  <a:gd name="connsiteX28" fmla="*/ 218123 w 284797"/>
                  <a:gd name="connsiteY28" fmla="*/ 194310 h 239934"/>
                  <a:gd name="connsiteX29" fmla="*/ 220980 w 284797"/>
                  <a:gd name="connsiteY29" fmla="*/ 172307 h 239934"/>
                  <a:gd name="connsiteX30" fmla="*/ 214313 w 284797"/>
                  <a:gd name="connsiteY30" fmla="*/ 158972 h 239934"/>
                  <a:gd name="connsiteX31" fmla="*/ 197168 w 284797"/>
                  <a:gd name="connsiteY31" fmla="*/ 140970 h 239934"/>
                  <a:gd name="connsiteX32" fmla="*/ 158115 w 284797"/>
                  <a:gd name="connsiteY32" fmla="*/ 119920 h 239934"/>
                  <a:gd name="connsiteX33" fmla="*/ 116205 w 284797"/>
                  <a:gd name="connsiteY33" fmla="*/ 109538 h 239934"/>
                  <a:gd name="connsiteX34" fmla="*/ 104775 w 284797"/>
                  <a:gd name="connsiteY34" fmla="*/ 99060 h 239934"/>
                  <a:gd name="connsiteX35" fmla="*/ 94298 w 284797"/>
                  <a:gd name="connsiteY35" fmla="*/ 95250 h 239934"/>
                  <a:gd name="connsiteX36" fmla="*/ 83820 w 284797"/>
                  <a:gd name="connsiteY36" fmla="*/ 70485 h 239934"/>
                  <a:gd name="connsiteX37" fmla="*/ 73343 w 284797"/>
                  <a:gd name="connsiteY37" fmla="*/ 74295 h 239934"/>
                  <a:gd name="connsiteX38" fmla="*/ 73343 w 284797"/>
                  <a:gd name="connsiteY38" fmla="*/ 84772 h 239934"/>
                  <a:gd name="connsiteX39" fmla="*/ 73343 w 284797"/>
                  <a:gd name="connsiteY39" fmla="*/ 101822 h 239934"/>
                  <a:gd name="connsiteX40" fmla="*/ 56198 w 284797"/>
                  <a:gd name="connsiteY40" fmla="*/ 99060 h 239934"/>
                  <a:gd name="connsiteX41" fmla="*/ 56198 w 284797"/>
                  <a:gd name="connsiteY41" fmla="*/ 80963 h 239934"/>
                  <a:gd name="connsiteX42" fmla="*/ 52388 w 284797"/>
                  <a:gd name="connsiteY42" fmla="*/ 70485 h 239934"/>
                  <a:gd name="connsiteX43" fmla="*/ 34290 w 284797"/>
                  <a:gd name="connsiteY43" fmla="*/ 66675 h 239934"/>
                  <a:gd name="connsiteX44" fmla="*/ 52388 w 284797"/>
                  <a:gd name="connsiteY44" fmla="*/ 56197 h 239934"/>
                  <a:gd name="connsiteX45" fmla="*/ 73343 w 284797"/>
                  <a:gd name="connsiteY45" fmla="*/ 60007 h 239934"/>
                  <a:gd name="connsiteX46" fmla="*/ 87630 w 284797"/>
                  <a:gd name="connsiteY46" fmla="*/ 56197 h 239934"/>
                  <a:gd name="connsiteX47" fmla="*/ 80963 w 284797"/>
                  <a:gd name="connsiteY47" fmla="*/ 42863 h 239934"/>
                  <a:gd name="connsiteX48" fmla="*/ 52388 w 284797"/>
                  <a:gd name="connsiteY48" fmla="*/ 42863 h 239934"/>
                  <a:gd name="connsiteX49" fmla="*/ 34290 w 284797"/>
                  <a:gd name="connsiteY49" fmla="*/ 45720 h 239934"/>
                  <a:gd name="connsiteX50" fmla="*/ 27623 w 284797"/>
                  <a:gd name="connsiteY50" fmla="*/ 28575 h 239934"/>
                  <a:gd name="connsiteX51" fmla="*/ 10478 w 284797"/>
                  <a:gd name="connsiteY51" fmla="*/ 28575 h 239934"/>
                  <a:gd name="connsiteX52" fmla="*/ 0 w 284797"/>
                  <a:gd name="connsiteY52" fmla="*/ 24670 h 239934"/>
                  <a:gd name="connsiteX53" fmla="*/ 2858 w 284797"/>
                  <a:gd name="connsiteY53" fmla="*/ 14288 h 239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284797" h="239934">
                    <a:moveTo>
                      <a:pt x="2858" y="14288"/>
                    </a:moveTo>
                    <a:lnTo>
                      <a:pt x="34290" y="3810"/>
                    </a:lnTo>
                    <a:lnTo>
                      <a:pt x="52388" y="0"/>
                    </a:lnTo>
                    <a:lnTo>
                      <a:pt x="83820" y="3810"/>
                    </a:lnTo>
                    <a:lnTo>
                      <a:pt x="98108" y="18097"/>
                    </a:lnTo>
                    <a:lnTo>
                      <a:pt x="94298" y="38957"/>
                    </a:lnTo>
                    <a:lnTo>
                      <a:pt x="94298" y="53245"/>
                    </a:lnTo>
                    <a:lnTo>
                      <a:pt x="104775" y="60007"/>
                    </a:lnTo>
                    <a:lnTo>
                      <a:pt x="108585" y="74295"/>
                    </a:lnTo>
                    <a:lnTo>
                      <a:pt x="122873" y="78010"/>
                    </a:lnTo>
                    <a:lnTo>
                      <a:pt x="140018" y="74295"/>
                    </a:lnTo>
                    <a:lnTo>
                      <a:pt x="150495" y="56197"/>
                    </a:lnTo>
                    <a:lnTo>
                      <a:pt x="164783" y="45720"/>
                    </a:lnTo>
                    <a:lnTo>
                      <a:pt x="182880" y="38957"/>
                    </a:lnTo>
                    <a:lnTo>
                      <a:pt x="193358" y="28575"/>
                    </a:lnTo>
                    <a:lnTo>
                      <a:pt x="224790" y="38957"/>
                    </a:lnTo>
                    <a:lnTo>
                      <a:pt x="249555" y="45720"/>
                    </a:lnTo>
                    <a:lnTo>
                      <a:pt x="278130" y="56197"/>
                    </a:lnTo>
                    <a:lnTo>
                      <a:pt x="284798" y="60007"/>
                    </a:lnTo>
                    <a:lnTo>
                      <a:pt x="284798" y="239935"/>
                    </a:lnTo>
                    <a:lnTo>
                      <a:pt x="260033" y="219075"/>
                    </a:lnTo>
                    <a:lnTo>
                      <a:pt x="242888" y="211360"/>
                    </a:lnTo>
                    <a:lnTo>
                      <a:pt x="228600" y="211360"/>
                    </a:lnTo>
                    <a:lnTo>
                      <a:pt x="218123" y="219075"/>
                    </a:lnTo>
                    <a:lnTo>
                      <a:pt x="193358" y="221932"/>
                    </a:lnTo>
                    <a:lnTo>
                      <a:pt x="189548" y="208597"/>
                    </a:lnTo>
                    <a:lnTo>
                      <a:pt x="193358" y="200882"/>
                    </a:lnTo>
                    <a:lnTo>
                      <a:pt x="203835" y="197072"/>
                    </a:lnTo>
                    <a:lnTo>
                      <a:pt x="218123" y="194310"/>
                    </a:lnTo>
                    <a:lnTo>
                      <a:pt x="220980" y="172307"/>
                    </a:lnTo>
                    <a:lnTo>
                      <a:pt x="214313" y="158972"/>
                    </a:lnTo>
                    <a:lnTo>
                      <a:pt x="197168" y="140970"/>
                    </a:lnTo>
                    <a:lnTo>
                      <a:pt x="158115" y="119920"/>
                    </a:lnTo>
                    <a:lnTo>
                      <a:pt x="116205" y="109538"/>
                    </a:lnTo>
                    <a:lnTo>
                      <a:pt x="104775" y="99060"/>
                    </a:lnTo>
                    <a:lnTo>
                      <a:pt x="94298" y="95250"/>
                    </a:lnTo>
                    <a:lnTo>
                      <a:pt x="83820" y="70485"/>
                    </a:lnTo>
                    <a:lnTo>
                      <a:pt x="73343" y="74295"/>
                    </a:lnTo>
                    <a:lnTo>
                      <a:pt x="73343" y="84772"/>
                    </a:lnTo>
                    <a:lnTo>
                      <a:pt x="73343" y="101822"/>
                    </a:lnTo>
                    <a:lnTo>
                      <a:pt x="56198" y="99060"/>
                    </a:lnTo>
                    <a:lnTo>
                      <a:pt x="56198" y="80963"/>
                    </a:lnTo>
                    <a:lnTo>
                      <a:pt x="52388" y="70485"/>
                    </a:lnTo>
                    <a:lnTo>
                      <a:pt x="34290" y="66675"/>
                    </a:lnTo>
                    <a:lnTo>
                      <a:pt x="52388" y="56197"/>
                    </a:lnTo>
                    <a:lnTo>
                      <a:pt x="73343" y="60007"/>
                    </a:lnTo>
                    <a:lnTo>
                      <a:pt x="87630" y="56197"/>
                    </a:lnTo>
                    <a:lnTo>
                      <a:pt x="80963" y="42863"/>
                    </a:lnTo>
                    <a:lnTo>
                      <a:pt x="52388" y="42863"/>
                    </a:lnTo>
                    <a:lnTo>
                      <a:pt x="34290" y="45720"/>
                    </a:lnTo>
                    <a:lnTo>
                      <a:pt x="27623" y="28575"/>
                    </a:lnTo>
                    <a:lnTo>
                      <a:pt x="10478" y="28575"/>
                    </a:lnTo>
                    <a:lnTo>
                      <a:pt x="0" y="24670"/>
                    </a:lnTo>
                    <a:lnTo>
                      <a:pt x="2858" y="142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4" name="Freeform: Shape 303">
                <a:extLst>
                  <a:ext uri="{FF2B5EF4-FFF2-40B4-BE49-F238E27FC236}">
                    <a16:creationId xmlns:a16="http://schemas.microsoft.com/office/drawing/2014/main" id="{266E7828-CB26-DED0-49C3-FBBB8CC7D057}"/>
                  </a:ext>
                </a:extLst>
              </p:cNvPr>
              <p:cNvSpPr/>
              <p:nvPr/>
            </p:nvSpPr>
            <p:spPr>
              <a:xfrm>
                <a:off x="9501854" y="4623946"/>
                <a:ext cx="83101" cy="27078"/>
              </a:xfrm>
              <a:custGeom>
                <a:avLst/>
                <a:gdLst>
                  <a:gd name="connsiteX0" fmla="*/ 7620 w 84772"/>
                  <a:gd name="connsiteY0" fmla="*/ 2953 h 27622"/>
                  <a:gd name="connsiteX1" fmla="*/ 35243 w 84772"/>
                  <a:gd name="connsiteY1" fmla="*/ 0 h 27622"/>
                  <a:gd name="connsiteX2" fmla="*/ 67627 w 84772"/>
                  <a:gd name="connsiteY2" fmla="*/ 2953 h 27622"/>
                  <a:gd name="connsiteX3" fmla="*/ 84773 w 84772"/>
                  <a:gd name="connsiteY3" fmla="*/ 17240 h 27622"/>
                  <a:gd name="connsiteX4" fmla="*/ 81915 w 84772"/>
                  <a:gd name="connsiteY4" fmla="*/ 27622 h 27622"/>
                  <a:gd name="connsiteX5" fmla="*/ 60007 w 84772"/>
                  <a:gd name="connsiteY5" fmla="*/ 21050 h 27622"/>
                  <a:gd name="connsiteX6" fmla="*/ 42863 w 84772"/>
                  <a:gd name="connsiteY6" fmla="*/ 17240 h 27622"/>
                  <a:gd name="connsiteX7" fmla="*/ 21907 w 84772"/>
                  <a:gd name="connsiteY7" fmla="*/ 17240 h 27622"/>
                  <a:gd name="connsiteX8" fmla="*/ 14288 w 84772"/>
                  <a:gd name="connsiteY8" fmla="*/ 24860 h 27622"/>
                  <a:gd name="connsiteX9" fmla="*/ 3810 w 84772"/>
                  <a:gd name="connsiteY9" fmla="*/ 24860 h 27622"/>
                  <a:gd name="connsiteX10" fmla="*/ 0 w 84772"/>
                  <a:gd name="connsiteY10" fmla="*/ 10573 h 27622"/>
                  <a:gd name="connsiteX11" fmla="*/ 7620 w 84772"/>
                  <a:gd name="connsiteY11" fmla="*/ 2953 h 2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84772" h="27622">
                    <a:moveTo>
                      <a:pt x="7620" y="2953"/>
                    </a:moveTo>
                    <a:lnTo>
                      <a:pt x="35243" y="0"/>
                    </a:lnTo>
                    <a:lnTo>
                      <a:pt x="67627" y="2953"/>
                    </a:lnTo>
                    <a:lnTo>
                      <a:pt x="84773" y="17240"/>
                    </a:lnTo>
                    <a:lnTo>
                      <a:pt x="81915" y="27622"/>
                    </a:lnTo>
                    <a:lnTo>
                      <a:pt x="60007" y="21050"/>
                    </a:lnTo>
                    <a:lnTo>
                      <a:pt x="42863" y="17240"/>
                    </a:lnTo>
                    <a:lnTo>
                      <a:pt x="21907" y="17240"/>
                    </a:lnTo>
                    <a:lnTo>
                      <a:pt x="14288" y="24860"/>
                    </a:lnTo>
                    <a:lnTo>
                      <a:pt x="3810" y="24860"/>
                    </a:lnTo>
                    <a:lnTo>
                      <a:pt x="0" y="10573"/>
                    </a:lnTo>
                    <a:lnTo>
                      <a:pt x="7620" y="295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5" name="Freeform: Shape 304">
                <a:extLst>
                  <a:ext uri="{FF2B5EF4-FFF2-40B4-BE49-F238E27FC236}">
                    <a16:creationId xmlns:a16="http://schemas.microsoft.com/office/drawing/2014/main" id="{84B4CB6D-AF66-83C8-325E-10C5012CF86A}"/>
                  </a:ext>
                </a:extLst>
              </p:cNvPr>
              <p:cNvSpPr/>
              <p:nvPr/>
            </p:nvSpPr>
            <p:spPr>
              <a:xfrm>
                <a:off x="9457036" y="4634310"/>
                <a:ext cx="31746" cy="16713"/>
              </a:xfrm>
              <a:custGeom>
                <a:avLst/>
                <a:gdLst>
                  <a:gd name="connsiteX0" fmla="*/ 3810 w 32384"/>
                  <a:gd name="connsiteY0" fmla="*/ 0 h 17049"/>
                  <a:gd name="connsiteX1" fmla="*/ 21907 w 32384"/>
                  <a:gd name="connsiteY1" fmla="*/ 0 h 17049"/>
                  <a:gd name="connsiteX2" fmla="*/ 32385 w 32384"/>
                  <a:gd name="connsiteY2" fmla="*/ 6668 h 17049"/>
                  <a:gd name="connsiteX3" fmla="*/ 24765 w 32384"/>
                  <a:gd name="connsiteY3" fmla="*/ 17050 h 17049"/>
                  <a:gd name="connsiteX4" fmla="*/ 7620 w 32384"/>
                  <a:gd name="connsiteY4" fmla="*/ 17050 h 17049"/>
                  <a:gd name="connsiteX5" fmla="*/ 0 w 32384"/>
                  <a:gd name="connsiteY5" fmla="*/ 10478 h 17049"/>
                  <a:gd name="connsiteX6" fmla="*/ 3810 w 32384"/>
                  <a:gd name="connsiteY6" fmla="*/ 0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384" h="17049">
                    <a:moveTo>
                      <a:pt x="3810" y="0"/>
                    </a:moveTo>
                    <a:lnTo>
                      <a:pt x="21907" y="0"/>
                    </a:lnTo>
                    <a:lnTo>
                      <a:pt x="32385" y="6668"/>
                    </a:lnTo>
                    <a:lnTo>
                      <a:pt x="24765" y="17050"/>
                    </a:lnTo>
                    <a:lnTo>
                      <a:pt x="7620" y="17050"/>
                    </a:lnTo>
                    <a:lnTo>
                      <a:pt x="0" y="10478"/>
                    </a:lnTo>
                    <a:lnTo>
                      <a:pt x="381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6" name="Freeform: Shape 305">
                <a:extLst>
                  <a:ext uri="{FF2B5EF4-FFF2-40B4-BE49-F238E27FC236}">
                    <a16:creationId xmlns:a16="http://schemas.microsoft.com/office/drawing/2014/main" id="{FF8C5733-D2A1-5E61-FC0F-BF2A05685F4E}"/>
                  </a:ext>
                </a:extLst>
              </p:cNvPr>
              <p:cNvSpPr/>
              <p:nvPr/>
            </p:nvSpPr>
            <p:spPr>
              <a:xfrm>
                <a:off x="9491583" y="4492289"/>
                <a:ext cx="38282" cy="86930"/>
              </a:xfrm>
              <a:custGeom>
                <a:avLst/>
                <a:gdLst>
                  <a:gd name="connsiteX0" fmla="*/ 0 w 39052"/>
                  <a:gd name="connsiteY0" fmla="*/ 0 h 88677"/>
                  <a:gd name="connsiteX1" fmla="*/ 10477 w 39052"/>
                  <a:gd name="connsiteY1" fmla="*/ 3905 h 88677"/>
                  <a:gd name="connsiteX2" fmla="*/ 14288 w 39052"/>
                  <a:gd name="connsiteY2" fmla="*/ 18193 h 88677"/>
                  <a:gd name="connsiteX3" fmla="*/ 14288 w 39052"/>
                  <a:gd name="connsiteY3" fmla="*/ 24765 h 88677"/>
                  <a:gd name="connsiteX4" fmla="*/ 24765 w 39052"/>
                  <a:gd name="connsiteY4" fmla="*/ 10478 h 88677"/>
                  <a:gd name="connsiteX5" fmla="*/ 35242 w 39052"/>
                  <a:gd name="connsiteY5" fmla="*/ 6763 h 88677"/>
                  <a:gd name="connsiteX6" fmla="*/ 39052 w 39052"/>
                  <a:gd name="connsiteY6" fmla="*/ 24765 h 88677"/>
                  <a:gd name="connsiteX7" fmla="*/ 28575 w 39052"/>
                  <a:gd name="connsiteY7" fmla="*/ 28575 h 88677"/>
                  <a:gd name="connsiteX8" fmla="*/ 24765 w 39052"/>
                  <a:gd name="connsiteY8" fmla="*/ 35338 h 88677"/>
                  <a:gd name="connsiteX9" fmla="*/ 32385 w 39052"/>
                  <a:gd name="connsiteY9" fmla="*/ 39053 h 88677"/>
                  <a:gd name="connsiteX10" fmla="*/ 35242 w 39052"/>
                  <a:gd name="connsiteY10" fmla="*/ 45815 h 88677"/>
                  <a:gd name="connsiteX11" fmla="*/ 14288 w 39052"/>
                  <a:gd name="connsiteY11" fmla="*/ 45815 h 88677"/>
                  <a:gd name="connsiteX12" fmla="*/ 14288 w 39052"/>
                  <a:gd name="connsiteY12" fmla="*/ 53340 h 88677"/>
                  <a:gd name="connsiteX13" fmla="*/ 18097 w 39052"/>
                  <a:gd name="connsiteY13" fmla="*/ 66675 h 88677"/>
                  <a:gd name="connsiteX14" fmla="*/ 28575 w 39052"/>
                  <a:gd name="connsiteY14" fmla="*/ 78200 h 88677"/>
                  <a:gd name="connsiteX15" fmla="*/ 32385 w 39052"/>
                  <a:gd name="connsiteY15" fmla="*/ 80963 h 88677"/>
                  <a:gd name="connsiteX16" fmla="*/ 32385 w 39052"/>
                  <a:gd name="connsiteY16" fmla="*/ 84868 h 88677"/>
                  <a:gd name="connsiteX17" fmla="*/ 28575 w 39052"/>
                  <a:gd name="connsiteY17" fmla="*/ 88678 h 88677"/>
                  <a:gd name="connsiteX18" fmla="*/ 21907 w 39052"/>
                  <a:gd name="connsiteY18" fmla="*/ 88678 h 88677"/>
                  <a:gd name="connsiteX19" fmla="*/ 14288 w 39052"/>
                  <a:gd name="connsiteY19" fmla="*/ 84868 h 88677"/>
                  <a:gd name="connsiteX20" fmla="*/ 10477 w 39052"/>
                  <a:gd name="connsiteY20" fmla="*/ 80963 h 88677"/>
                  <a:gd name="connsiteX21" fmla="*/ 3810 w 39052"/>
                  <a:gd name="connsiteY21" fmla="*/ 56293 h 88677"/>
                  <a:gd name="connsiteX22" fmla="*/ 0 w 39052"/>
                  <a:gd name="connsiteY22" fmla="*/ 39053 h 88677"/>
                  <a:gd name="connsiteX23" fmla="*/ 3810 w 39052"/>
                  <a:gd name="connsiteY23" fmla="*/ 21050 h 88677"/>
                  <a:gd name="connsiteX24" fmla="*/ 0 w 39052"/>
                  <a:gd name="connsiteY24" fmla="*/ 0 h 886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39052" h="88677">
                    <a:moveTo>
                      <a:pt x="0" y="0"/>
                    </a:moveTo>
                    <a:lnTo>
                      <a:pt x="10477" y="3905"/>
                    </a:lnTo>
                    <a:lnTo>
                      <a:pt x="14288" y="18193"/>
                    </a:lnTo>
                    <a:lnTo>
                      <a:pt x="14288" y="24765"/>
                    </a:lnTo>
                    <a:lnTo>
                      <a:pt x="24765" y="10478"/>
                    </a:lnTo>
                    <a:lnTo>
                      <a:pt x="35242" y="6763"/>
                    </a:lnTo>
                    <a:lnTo>
                      <a:pt x="39052" y="24765"/>
                    </a:lnTo>
                    <a:lnTo>
                      <a:pt x="28575" y="28575"/>
                    </a:lnTo>
                    <a:lnTo>
                      <a:pt x="24765" y="35338"/>
                    </a:lnTo>
                    <a:lnTo>
                      <a:pt x="32385" y="39053"/>
                    </a:lnTo>
                    <a:lnTo>
                      <a:pt x="35242" y="45815"/>
                    </a:lnTo>
                    <a:lnTo>
                      <a:pt x="14288" y="45815"/>
                    </a:lnTo>
                    <a:lnTo>
                      <a:pt x="14288" y="53340"/>
                    </a:lnTo>
                    <a:lnTo>
                      <a:pt x="18097" y="66675"/>
                    </a:lnTo>
                    <a:lnTo>
                      <a:pt x="28575" y="78200"/>
                    </a:lnTo>
                    <a:lnTo>
                      <a:pt x="32385" y="80963"/>
                    </a:lnTo>
                    <a:lnTo>
                      <a:pt x="32385" y="84868"/>
                    </a:lnTo>
                    <a:lnTo>
                      <a:pt x="28575" y="88678"/>
                    </a:lnTo>
                    <a:lnTo>
                      <a:pt x="21907" y="88678"/>
                    </a:lnTo>
                    <a:lnTo>
                      <a:pt x="14288" y="84868"/>
                    </a:lnTo>
                    <a:lnTo>
                      <a:pt x="10477" y="80963"/>
                    </a:lnTo>
                    <a:lnTo>
                      <a:pt x="3810" y="56293"/>
                    </a:lnTo>
                    <a:lnTo>
                      <a:pt x="0" y="39053"/>
                    </a:lnTo>
                    <a:lnTo>
                      <a:pt x="3810" y="2105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7" name="Freeform: Shape 306">
                <a:extLst>
                  <a:ext uri="{FF2B5EF4-FFF2-40B4-BE49-F238E27FC236}">
                    <a16:creationId xmlns:a16="http://schemas.microsoft.com/office/drawing/2014/main" id="{ED024C79-EE55-7EFC-41E8-8B6E87EF8C51}"/>
                  </a:ext>
                </a:extLst>
              </p:cNvPr>
              <p:cNvSpPr/>
              <p:nvPr/>
            </p:nvSpPr>
            <p:spPr>
              <a:xfrm>
                <a:off x="9861338" y="4620304"/>
                <a:ext cx="266111" cy="225029"/>
              </a:xfrm>
              <a:custGeom>
                <a:avLst/>
                <a:gdLst>
                  <a:gd name="connsiteX0" fmla="*/ 0 w 271462"/>
                  <a:gd name="connsiteY0" fmla="*/ 0 h 229552"/>
                  <a:gd name="connsiteX1" fmla="*/ 24765 w 271462"/>
                  <a:gd name="connsiteY1" fmla="*/ 6668 h 229552"/>
                  <a:gd name="connsiteX2" fmla="*/ 56198 w 271462"/>
                  <a:gd name="connsiteY2" fmla="*/ 18002 h 229552"/>
                  <a:gd name="connsiteX3" fmla="*/ 87630 w 271462"/>
                  <a:gd name="connsiteY3" fmla="*/ 31337 h 229552"/>
                  <a:gd name="connsiteX4" fmla="*/ 116205 w 271462"/>
                  <a:gd name="connsiteY4" fmla="*/ 49530 h 229552"/>
                  <a:gd name="connsiteX5" fmla="*/ 130493 w 271462"/>
                  <a:gd name="connsiteY5" fmla="*/ 66675 h 229552"/>
                  <a:gd name="connsiteX6" fmla="*/ 147638 w 271462"/>
                  <a:gd name="connsiteY6" fmla="*/ 77153 h 229552"/>
                  <a:gd name="connsiteX7" fmla="*/ 176213 w 271462"/>
                  <a:gd name="connsiteY7" fmla="*/ 91440 h 229552"/>
                  <a:gd name="connsiteX8" fmla="*/ 190500 w 271462"/>
                  <a:gd name="connsiteY8" fmla="*/ 101918 h 229552"/>
                  <a:gd name="connsiteX9" fmla="*/ 190500 w 271462"/>
                  <a:gd name="connsiteY9" fmla="*/ 109538 h 229552"/>
                  <a:gd name="connsiteX10" fmla="*/ 193357 w 271462"/>
                  <a:gd name="connsiteY10" fmla="*/ 112300 h 229552"/>
                  <a:gd name="connsiteX11" fmla="*/ 190500 w 271462"/>
                  <a:gd name="connsiteY11" fmla="*/ 116205 h 229552"/>
                  <a:gd name="connsiteX12" fmla="*/ 165735 w 271462"/>
                  <a:gd name="connsiteY12" fmla="*/ 116205 h 229552"/>
                  <a:gd name="connsiteX13" fmla="*/ 176213 w 271462"/>
                  <a:gd name="connsiteY13" fmla="*/ 126587 h 229552"/>
                  <a:gd name="connsiteX14" fmla="*/ 193357 w 271462"/>
                  <a:gd name="connsiteY14" fmla="*/ 151352 h 229552"/>
                  <a:gd name="connsiteX15" fmla="*/ 218123 w 271462"/>
                  <a:gd name="connsiteY15" fmla="*/ 179927 h 229552"/>
                  <a:gd name="connsiteX16" fmla="*/ 228600 w 271462"/>
                  <a:gd name="connsiteY16" fmla="*/ 186690 h 229552"/>
                  <a:gd name="connsiteX17" fmla="*/ 242888 w 271462"/>
                  <a:gd name="connsiteY17" fmla="*/ 200978 h 229552"/>
                  <a:gd name="connsiteX18" fmla="*/ 271463 w 271462"/>
                  <a:gd name="connsiteY18" fmla="*/ 219075 h 229552"/>
                  <a:gd name="connsiteX19" fmla="*/ 267652 w 271462"/>
                  <a:gd name="connsiteY19" fmla="*/ 229553 h 229552"/>
                  <a:gd name="connsiteX20" fmla="*/ 239077 w 271462"/>
                  <a:gd name="connsiteY20" fmla="*/ 215265 h 229552"/>
                  <a:gd name="connsiteX21" fmla="*/ 218123 w 271462"/>
                  <a:gd name="connsiteY21" fmla="*/ 211455 h 229552"/>
                  <a:gd name="connsiteX22" fmla="*/ 182880 w 271462"/>
                  <a:gd name="connsiteY22" fmla="*/ 207550 h 229552"/>
                  <a:gd name="connsiteX23" fmla="*/ 165735 w 271462"/>
                  <a:gd name="connsiteY23" fmla="*/ 186690 h 229552"/>
                  <a:gd name="connsiteX24" fmla="*/ 147638 w 271462"/>
                  <a:gd name="connsiteY24" fmla="*/ 161925 h 229552"/>
                  <a:gd name="connsiteX25" fmla="*/ 126682 w 271462"/>
                  <a:gd name="connsiteY25" fmla="*/ 148590 h 229552"/>
                  <a:gd name="connsiteX26" fmla="*/ 105727 w 271462"/>
                  <a:gd name="connsiteY26" fmla="*/ 134303 h 229552"/>
                  <a:gd name="connsiteX27" fmla="*/ 80963 w 271462"/>
                  <a:gd name="connsiteY27" fmla="*/ 123825 h 229552"/>
                  <a:gd name="connsiteX28" fmla="*/ 80963 w 271462"/>
                  <a:gd name="connsiteY28" fmla="*/ 140875 h 229552"/>
                  <a:gd name="connsiteX29" fmla="*/ 74295 w 271462"/>
                  <a:gd name="connsiteY29" fmla="*/ 151352 h 229552"/>
                  <a:gd name="connsiteX30" fmla="*/ 49530 w 271462"/>
                  <a:gd name="connsiteY30" fmla="*/ 155162 h 229552"/>
                  <a:gd name="connsiteX31" fmla="*/ 52388 w 271462"/>
                  <a:gd name="connsiteY31" fmla="*/ 169450 h 229552"/>
                  <a:gd name="connsiteX32" fmla="*/ 66675 w 271462"/>
                  <a:gd name="connsiteY32" fmla="*/ 176213 h 229552"/>
                  <a:gd name="connsiteX33" fmla="*/ 56198 w 271462"/>
                  <a:gd name="connsiteY33" fmla="*/ 186690 h 229552"/>
                  <a:gd name="connsiteX34" fmla="*/ 31432 w 271462"/>
                  <a:gd name="connsiteY34" fmla="*/ 179927 h 229552"/>
                  <a:gd name="connsiteX35" fmla="*/ 14288 w 271462"/>
                  <a:gd name="connsiteY35" fmla="*/ 179927 h 229552"/>
                  <a:gd name="connsiteX36" fmla="*/ 0 w 271462"/>
                  <a:gd name="connsiteY36" fmla="*/ 179927 h 229552"/>
                  <a:gd name="connsiteX37" fmla="*/ 0 w 271462"/>
                  <a:gd name="connsiteY37" fmla="*/ 0 h 229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71462" h="229552">
                    <a:moveTo>
                      <a:pt x="0" y="0"/>
                    </a:moveTo>
                    <a:lnTo>
                      <a:pt x="24765" y="6668"/>
                    </a:lnTo>
                    <a:lnTo>
                      <a:pt x="56198" y="18002"/>
                    </a:lnTo>
                    <a:lnTo>
                      <a:pt x="87630" y="31337"/>
                    </a:lnTo>
                    <a:lnTo>
                      <a:pt x="116205" y="49530"/>
                    </a:lnTo>
                    <a:lnTo>
                      <a:pt x="130493" y="66675"/>
                    </a:lnTo>
                    <a:lnTo>
                      <a:pt x="147638" y="77153"/>
                    </a:lnTo>
                    <a:lnTo>
                      <a:pt x="176213" y="91440"/>
                    </a:lnTo>
                    <a:lnTo>
                      <a:pt x="190500" y="101918"/>
                    </a:lnTo>
                    <a:lnTo>
                      <a:pt x="190500" y="109538"/>
                    </a:lnTo>
                    <a:lnTo>
                      <a:pt x="193357" y="112300"/>
                    </a:lnTo>
                    <a:lnTo>
                      <a:pt x="190500" y="116205"/>
                    </a:lnTo>
                    <a:lnTo>
                      <a:pt x="165735" y="116205"/>
                    </a:lnTo>
                    <a:lnTo>
                      <a:pt x="176213" y="126587"/>
                    </a:lnTo>
                    <a:lnTo>
                      <a:pt x="193357" y="151352"/>
                    </a:lnTo>
                    <a:lnTo>
                      <a:pt x="218123" y="179927"/>
                    </a:lnTo>
                    <a:lnTo>
                      <a:pt x="228600" y="186690"/>
                    </a:lnTo>
                    <a:lnTo>
                      <a:pt x="242888" y="200978"/>
                    </a:lnTo>
                    <a:lnTo>
                      <a:pt x="271463" y="219075"/>
                    </a:lnTo>
                    <a:lnTo>
                      <a:pt x="267652" y="229553"/>
                    </a:lnTo>
                    <a:lnTo>
                      <a:pt x="239077" y="215265"/>
                    </a:lnTo>
                    <a:lnTo>
                      <a:pt x="218123" y="211455"/>
                    </a:lnTo>
                    <a:lnTo>
                      <a:pt x="182880" y="207550"/>
                    </a:lnTo>
                    <a:lnTo>
                      <a:pt x="165735" y="186690"/>
                    </a:lnTo>
                    <a:lnTo>
                      <a:pt x="147638" y="161925"/>
                    </a:lnTo>
                    <a:lnTo>
                      <a:pt x="126682" y="148590"/>
                    </a:lnTo>
                    <a:lnTo>
                      <a:pt x="105727" y="134303"/>
                    </a:lnTo>
                    <a:lnTo>
                      <a:pt x="80963" y="123825"/>
                    </a:lnTo>
                    <a:lnTo>
                      <a:pt x="80963" y="140875"/>
                    </a:lnTo>
                    <a:lnTo>
                      <a:pt x="74295" y="151352"/>
                    </a:lnTo>
                    <a:lnTo>
                      <a:pt x="49530" y="155162"/>
                    </a:lnTo>
                    <a:lnTo>
                      <a:pt x="52388" y="169450"/>
                    </a:lnTo>
                    <a:lnTo>
                      <a:pt x="66675" y="176213"/>
                    </a:lnTo>
                    <a:lnTo>
                      <a:pt x="56198" y="186690"/>
                    </a:lnTo>
                    <a:lnTo>
                      <a:pt x="31432" y="179927"/>
                    </a:lnTo>
                    <a:lnTo>
                      <a:pt x="14288" y="179927"/>
                    </a:lnTo>
                    <a:lnTo>
                      <a:pt x="0" y="17992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8" name="Freeform: Shape 307">
                <a:extLst>
                  <a:ext uri="{FF2B5EF4-FFF2-40B4-BE49-F238E27FC236}">
                    <a16:creationId xmlns:a16="http://schemas.microsoft.com/office/drawing/2014/main" id="{12B7EC2D-1C8E-B491-7A7B-762E80C6B13B}"/>
                  </a:ext>
                </a:extLst>
              </p:cNvPr>
              <p:cNvSpPr/>
              <p:nvPr/>
            </p:nvSpPr>
            <p:spPr>
              <a:xfrm>
                <a:off x="10075162" y="4661295"/>
                <a:ext cx="99908" cy="62653"/>
              </a:xfrm>
              <a:custGeom>
                <a:avLst/>
                <a:gdLst>
                  <a:gd name="connsiteX0" fmla="*/ 0 w 101917"/>
                  <a:gd name="connsiteY0" fmla="*/ 39148 h 63912"/>
                  <a:gd name="connsiteX1" fmla="*/ 24765 w 101917"/>
                  <a:gd name="connsiteY1" fmla="*/ 39148 h 63912"/>
                  <a:gd name="connsiteX2" fmla="*/ 60007 w 101917"/>
                  <a:gd name="connsiteY2" fmla="*/ 39148 h 63912"/>
                  <a:gd name="connsiteX3" fmla="*/ 70485 w 101917"/>
                  <a:gd name="connsiteY3" fmla="*/ 28575 h 63912"/>
                  <a:gd name="connsiteX4" fmla="*/ 88582 w 101917"/>
                  <a:gd name="connsiteY4" fmla="*/ 11525 h 63912"/>
                  <a:gd name="connsiteX5" fmla="*/ 99060 w 101917"/>
                  <a:gd name="connsiteY5" fmla="*/ 0 h 63912"/>
                  <a:gd name="connsiteX6" fmla="*/ 101917 w 101917"/>
                  <a:gd name="connsiteY6" fmla="*/ 18097 h 63912"/>
                  <a:gd name="connsiteX7" fmla="*/ 95250 w 101917"/>
                  <a:gd name="connsiteY7" fmla="*/ 32385 h 63912"/>
                  <a:gd name="connsiteX8" fmla="*/ 80963 w 101917"/>
                  <a:gd name="connsiteY8" fmla="*/ 39148 h 63912"/>
                  <a:gd name="connsiteX9" fmla="*/ 66675 w 101917"/>
                  <a:gd name="connsiteY9" fmla="*/ 49625 h 63912"/>
                  <a:gd name="connsiteX10" fmla="*/ 56197 w 101917"/>
                  <a:gd name="connsiteY10" fmla="*/ 60103 h 63912"/>
                  <a:gd name="connsiteX11" fmla="*/ 35242 w 101917"/>
                  <a:gd name="connsiteY11" fmla="*/ 63913 h 63912"/>
                  <a:gd name="connsiteX12" fmla="*/ 10477 w 101917"/>
                  <a:gd name="connsiteY12" fmla="*/ 57150 h 63912"/>
                  <a:gd name="connsiteX13" fmla="*/ 0 w 101917"/>
                  <a:gd name="connsiteY13" fmla="*/ 49625 h 63912"/>
                  <a:gd name="connsiteX14" fmla="*/ 0 w 101917"/>
                  <a:gd name="connsiteY14" fmla="*/ 39148 h 6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01917" h="63912">
                    <a:moveTo>
                      <a:pt x="0" y="39148"/>
                    </a:moveTo>
                    <a:lnTo>
                      <a:pt x="24765" y="39148"/>
                    </a:lnTo>
                    <a:lnTo>
                      <a:pt x="60007" y="39148"/>
                    </a:lnTo>
                    <a:lnTo>
                      <a:pt x="70485" y="28575"/>
                    </a:lnTo>
                    <a:lnTo>
                      <a:pt x="88582" y="11525"/>
                    </a:lnTo>
                    <a:lnTo>
                      <a:pt x="99060" y="0"/>
                    </a:lnTo>
                    <a:lnTo>
                      <a:pt x="101917" y="18097"/>
                    </a:lnTo>
                    <a:lnTo>
                      <a:pt x="95250" y="32385"/>
                    </a:lnTo>
                    <a:lnTo>
                      <a:pt x="80963" y="39148"/>
                    </a:lnTo>
                    <a:lnTo>
                      <a:pt x="66675" y="49625"/>
                    </a:lnTo>
                    <a:lnTo>
                      <a:pt x="56197" y="60103"/>
                    </a:lnTo>
                    <a:lnTo>
                      <a:pt x="35242" y="63913"/>
                    </a:lnTo>
                    <a:lnTo>
                      <a:pt x="10477" y="57150"/>
                    </a:lnTo>
                    <a:lnTo>
                      <a:pt x="0" y="49625"/>
                    </a:lnTo>
                    <a:lnTo>
                      <a:pt x="0" y="3914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09" name="Freeform: Shape 308">
                <a:extLst>
                  <a:ext uri="{FF2B5EF4-FFF2-40B4-BE49-F238E27FC236}">
                    <a16:creationId xmlns:a16="http://schemas.microsoft.com/office/drawing/2014/main" id="{3B6DB41E-517C-08A2-05EE-4F422ACA4715}"/>
                  </a:ext>
                </a:extLst>
              </p:cNvPr>
              <p:cNvSpPr/>
              <p:nvPr/>
            </p:nvSpPr>
            <p:spPr>
              <a:xfrm>
                <a:off x="10233895" y="4693042"/>
                <a:ext cx="38282" cy="48647"/>
              </a:xfrm>
              <a:custGeom>
                <a:avLst/>
                <a:gdLst>
                  <a:gd name="connsiteX0" fmla="*/ 0 w 39052"/>
                  <a:gd name="connsiteY0" fmla="*/ 0 h 49625"/>
                  <a:gd name="connsiteX1" fmla="*/ 18097 w 39052"/>
                  <a:gd name="connsiteY1" fmla="*/ 10478 h 49625"/>
                  <a:gd name="connsiteX2" fmla="*/ 35242 w 39052"/>
                  <a:gd name="connsiteY2" fmla="*/ 27718 h 49625"/>
                  <a:gd name="connsiteX3" fmla="*/ 39052 w 39052"/>
                  <a:gd name="connsiteY3" fmla="*/ 49625 h 49625"/>
                  <a:gd name="connsiteX4" fmla="*/ 21907 w 39052"/>
                  <a:gd name="connsiteY4" fmla="*/ 38100 h 49625"/>
                  <a:gd name="connsiteX5" fmla="*/ 14288 w 39052"/>
                  <a:gd name="connsiteY5" fmla="*/ 24765 h 49625"/>
                  <a:gd name="connsiteX6" fmla="*/ 3810 w 39052"/>
                  <a:gd name="connsiteY6" fmla="*/ 14288 h 49625"/>
                  <a:gd name="connsiteX7" fmla="*/ 0 w 39052"/>
                  <a:gd name="connsiteY7" fmla="*/ 0 h 4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052" h="49625">
                    <a:moveTo>
                      <a:pt x="0" y="0"/>
                    </a:moveTo>
                    <a:lnTo>
                      <a:pt x="18097" y="10478"/>
                    </a:lnTo>
                    <a:lnTo>
                      <a:pt x="35242" y="27718"/>
                    </a:lnTo>
                    <a:lnTo>
                      <a:pt x="39052" y="49625"/>
                    </a:lnTo>
                    <a:lnTo>
                      <a:pt x="21907" y="38100"/>
                    </a:lnTo>
                    <a:lnTo>
                      <a:pt x="14288" y="24765"/>
                    </a:lnTo>
                    <a:lnTo>
                      <a:pt x="3810" y="1428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287326A6-1BB4-0352-E4DE-9CBE641F9C2A}"/>
                  </a:ext>
                </a:extLst>
              </p:cNvPr>
              <p:cNvSpPr/>
              <p:nvPr/>
            </p:nvSpPr>
            <p:spPr>
              <a:xfrm>
                <a:off x="10369284" y="4803315"/>
                <a:ext cx="33613" cy="20448"/>
              </a:xfrm>
              <a:custGeom>
                <a:avLst/>
                <a:gdLst>
                  <a:gd name="connsiteX0" fmla="*/ 6667 w 34289"/>
                  <a:gd name="connsiteY0" fmla="*/ 0 h 20859"/>
                  <a:gd name="connsiteX1" fmla="*/ 17145 w 34289"/>
                  <a:gd name="connsiteY1" fmla="*/ 0 h 20859"/>
                  <a:gd name="connsiteX2" fmla="*/ 34290 w 34289"/>
                  <a:gd name="connsiteY2" fmla="*/ 14288 h 20859"/>
                  <a:gd name="connsiteX3" fmla="*/ 34290 w 34289"/>
                  <a:gd name="connsiteY3" fmla="*/ 18097 h 20859"/>
                  <a:gd name="connsiteX4" fmla="*/ 34290 w 34289"/>
                  <a:gd name="connsiteY4" fmla="*/ 20860 h 20859"/>
                  <a:gd name="connsiteX5" fmla="*/ 31432 w 34289"/>
                  <a:gd name="connsiteY5" fmla="*/ 20860 h 20859"/>
                  <a:gd name="connsiteX6" fmla="*/ 6667 w 34289"/>
                  <a:gd name="connsiteY6" fmla="*/ 18097 h 20859"/>
                  <a:gd name="connsiteX7" fmla="*/ 0 w 34289"/>
                  <a:gd name="connsiteY7" fmla="*/ 7525 h 20859"/>
                  <a:gd name="connsiteX8" fmla="*/ 6667 w 34289"/>
                  <a:gd name="connsiteY8" fmla="*/ 0 h 208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289" h="20859">
                    <a:moveTo>
                      <a:pt x="6667" y="0"/>
                    </a:moveTo>
                    <a:lnTo>
                      <a:pt x="17145" y="0"/>
                    </a:lnTo>
                    <a:lnTo>
                      <a:pt x="34290" y="14288"/>
                    </a:lnTo>
                    <a:lnTo>
                      <a:pt x="34290" y="18097"/>
                    </a:lnTo>
                    <a:lnTo>
                      <a:pt x="34290" y="20860"/>
                    </a:lnTo>
                    <a:lnTo>
                      <a:pt x="31432" y="20860"/>
                    </a:lnTo>
                    <a:lnTo>
                      <a:pt x="6667" y="18097"/>
                    </a:lnTo>
                    <a:lnTo>
                      <a:pt x="0" y="7525"/>
                    </a:lnTo>
                    <a:lnTo>
                      <a:pt x="6667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1" name="Freeform: Shape 310">
                <a:extLst>
                  <a:ext uri="{FF2B5EF4-FFF2-40B4-BE49-F238E27FC236}">
                    <a16:creationId xmlns:a16="http://schemas.microsoft.com/office/drawing/2014/main" id="{10A7130F-8DBF-D5BB-534E-D354F00E03C4}"/>
                  </a:ext>
                </a:extLst>
              </p:cNvPr>
              <p:cNvSpPr/>
              <p:nvPr/>
            </p:nvSpPr>
            <p:spPr>
              <a:xfrm>
                <a:off x="10396362" y="4776237"/>
                <a:ext cx="28012" cy="34454"/>
              </a:xfrm>
              <a:custGeom>
                <a:avLst/>
                <a:gdLst>
                  <a:gd name="connsiteX0" fmla="*/ 0 w 28575"/>
                  <a:gd name="connsiteY0" fmla="*/ 0 h 35147"/>
                  <a:gd name="connsiteX1" fmla="*/ 3810 w 28575"/>
                  <a:gd name="connsiteY1" fmla="*/ 13335 h 35147"/>
                  <a:gd name="connsiteX2" fmla="*/ 10478 w 28575"/>
                  <a:gd name="connsiteY2" fmla="*/ 31432 h 35147"/>
                  <a:gd name="connsiteX3" fmla="*/ 28575 w 28575"/>
                  <a:gd name="connsiteY3" fmla="*/ 35147 h 35147"/>
                  <a:gd name="connsiteX4" fmla="*/ 24765 w 28575"/>
                  <a:gd name="connsiteY4" fmla="*/ 13335 h 35147"/>
                  <a:gd name="connsiteX5" fmla="*/ 14288 w 28575"/>
                  <a:gd name="connsiteY5" fmla="*/ 6572 h 35147"/>
                  <a:gd name="connsiteX6" fmla="*/ 0 w 28575"/>
                  <a:gd name="connsiteY6" fmla="*/ 0 h 35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75" h="35147">
                    <a:moveTo>
                      <a:pt x="0" y="0"/>
                    </a:moveTo>
                    <a:lnTo>
                      <a:pt x="3810" y="13335"/>
                    </a:lnTo>
                    <a:lnTo>
                      <a:pt x="10478" y="31432"/>
                    </a:lnTo>
                    <a:lnTo>
                      <a:pt x="28575" y="35147"/>
                    </a:lnTo>
                    <a:lnTo>
                      <a:pt x="24765" y="13335"/>
                    </a:lnTo>
                    <a:lnTo>
                      <a:pt x="14288" y="657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2" name="Freeform: Shape 311">
                <a:extLst>
                  <a:ext uri="{FF2B5EF4-FFF2-40B4-BE49-F238E27FC236}">
                    <a16:creationId xmlns:a16="http://schemas.microsoft.com/office/drawing/2014/main" id="{E2FFD782-DC28-CDC3-7B50-4CBDBA8293A5}"/>
                  </a:ext>
                </a:extLst>
              </p:cNvPr>
              <p:cNvSpPr/>
              <p:nvPr/>
            </p:nvSpPr>
            <p:spPr>
              <a:xfrm>
                <a:off x="10420640" y="4831327"/>
                <a:ext cx="24276" cy="16713"/>
              </a:xfrm>
              <a:custGeom>
                <a:avLst/>
                <a:gdLst>
                  <a:gd name="connsiteX0" fmla="*/ 0 w 24764"/>
                  <a:gd name="connsiteY0" fmla="*/ 3810 h 17049"/>
                  <a:gd name="connsiteX1" fmla="*/ 10477 w 24764"/>
                  <a:gd name="connsiteY1" fmla="*/ 0 h 17049"/>
                  <a:gd name="connsiteX2" fmla="*/ 24765 w 24764"/>
                  <a:gd name="connsiteY2" fmla="*/ 6572 h 17049"/>
                  <a:gd name="connsiteX3" fmla="*/ 24765 w 24764"/>
                  <a:gd name="connsiteY3" fmla="*/ 17050 h 17049"/>
                  <a:gd name="connsiteX4" fmla="*/ 10477 w 24764"/>
                  <a:gd name="connsiteY4" fmla="*/ 14288 h 17049"/>
                  <a:gd name="connsiteX5" fmla="*/ 0 w 24764"/>
                  <a:gd name="connsiteY5" fmla="*/ 3810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764" h="17049">
                    <a:moveTo>
                      <a:pt x="0" y="3810"/>
                    </a:moveTo>
                    <a:lnTo>
                      <a:pt x="10477" y="0"/>
                    </a:lnTo>
                    <a:lnTo>
                      <a:pt x="24765" y="6572"/>
                    </a:lnTo>
                    <a:lnTo>
                      <a:pt x="24765" y="17050"/>
                    </a:lnTo>
                    <a:lnTo>
                      <a:pt x="10477" y="14288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3" name="Freeform: Shape 312">
                <a:extLst>
                  <a:ext uri="{FF2B5EF4-FFF2-40B4-BE49-F238E27FC236}">
                    <a16:creationId xmlns:a16="http://schemas.microsoft.com/office/drawing/2014/main" id="{85218E2D-F1AF-DD94-2A1C-C8777889D55A}"/>
                  </a:ext>
                </a:extLst>
              </p:cNvPr>
              <p:cNvSpPr/>
              <p:nvPr/>
            </p:nvSpPr>
            <p:spPr>
              <a:xfrm>
                <a:off x="10420640" y="4831327"/>
                <a:ext cx="24276" cy="16713"/>
              </a:xfrm>
              <a:custGeom>
                <a:avLst/>
                <a:gdLst>
                  <a:gd name="connsiteX0" fmla="*/ 0 w 24764"/>
                  <a:gd name="connsiteY0" fmla="*/ 3810 h 17049"/>
                  <a:gd name="connsiteX1" fmla="*/ 10477 w 24764"/>
                  <a:gd name="connsiteY1" fmla="*/ 0 h 17049"/>
                  <a:gd name="connsiteX2" fmla="*/ 24765 w 24764"/>
                  <a:gd name="connsiteY2" fmla="*/ 6572 h 17049"/>
                  <a:gd name="connsiteX3" fmla="*/ 24765 w 24764"/>
                  <a:gd name="connsiteY3" fmla="*/ 17050 h 17049"/>
                  <a:gd name="connsiteX4" fmla="*/ 10477 w 24764"/>
                  <a:gd name="connsiteY4" fmla="*/ 14288 h 17049"/>
                  <a:gd name="connsiteX5" fmla="*/ 0 w 24764"/>
                  <a:gd name="connsiteY5" fmla="*/ 3810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764" h="17049">
                    <a:moveTo>
                      <a:pt x="0" y="3810"/>
                    </a:moveTo>
                    <a:lnTo>
                      <a:pt x="10477" y="0"/>
                    </a:lnTo>
                    <a:lnTo>
                      <a:pt x="24765" y="6572"/>
                    </a:lnTo>
                    <a:lnTo>
                      <a:pt x="24765" y="17050"/>
                    </a:lnTo>
                    <a:lnTo>
                      <a:pt x="10477" y="14288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4" name="Freeform: Shape 313">
                <a:extLst>
                  <a:ext uri="{FF2B5EF4-FFF2-40B4-BE49-F238E27FC236}">
                    <a16:creationId xmlns:a16="http://schemas.microsoft.com/office/drawing/2014/main" id="{9DC03C23-D2A3-23EC-7BE4-52A8E01FA36D}"/>
                  </a:ext>
                </a:extLst>
              </p:cNvPr>
              <p:cNvSpPr/>
              <p:nvPr/>
            </p:nvSpPr>
            <p:spPr>
              <a:xfrm>
                <a:off x="10496271" y="5111447"/>
                <a:ext cx="76565" cy="61626"/>
              </a:xfrm>
              <a:custGeom>
                <a:avLst/>
                <a:gdLst>
                  <a:gd name="connsiteX0" fmla="*/ 0 w 78105"/>
                  <a:gd name="connsiteY0" fmla="*/ 0 h 62865"/>
                  <a:gd name="connsiteX1" fmla="*/ 24765 w 78105"/>
                  <a:gd name="connsiteY1" fmla="*/ 10478 h 62865"/>
                  <a:gd name="connsiteX2" fmla="*/ 42863 w 78105"/>
                  <a:gd name="connsiteY2" fmla="*/ 31337 h 62865"/>
                  <a:gd name="connsiteX3" fmla="*/ 60007 w 78105"/>
                  <a:gd name="connsiteY3" fmla="*/ 41910 h 62865"/>
                  <a:gd name="connsiteX4" fmla="*/ 78105 w 78105"/>
                  <a:gd name="connsiteY4" fmla="*/ 56197 h 62865"/>
                  <a:gd name="connsiteX5" fmla="*/ 74295 w 78105"/>
                  <a:gd name="connsiteY5" fmla="*/ 62865 h 62865"/>
                  <a:gd name="connsiteX6" fmla="*/ 53340 w 78105"/>
                  <a:gd name="connsiteY6" fmla="*/ 49435 h 62865"/>
                  <a:gd name="connsiteX7" fmla="*/ 35243 w 78105"/>
                  <a:gd name="connsiteY7" fmla="*/ 35147 h 62865"/>
                  <a:gd name="connsiteX8" fmla="*/ 18098 w 78105"/>
                  <a:gd name="connsiteY8" fmla="*/ 20860 h 62865"/>
                  <a:gd name="connsiteX9" fmla="*/ 3810 w 78105"/>
                  <a:gd name="connsiteY9" fmla="*/ 14288 h 62865"/>
                  <a:gd name="connsiteX10" fmla="*/ 0 w 78105"/>
                  <a:gd name="connsiteY10" fmla="*/ 0 h 628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8105" h="62865">
                    <a:moveTo>
                      <a:pt x="0" y="0"/>
                    </a:moveTo>
                    <a:lnTo>
                      <a:pt x="24765" y="10478"/>
                    </a:lnTo>
                    <a:lnTo>
                      <a:pt x="42863" y="31337"/>
                    </a:lnTo>
                    <a:lnTo>
                      <a:pt x="60007" y="41910"/>
                    </a:lnTo>
                    <a:lnTo>
                      <a:pt x="78105" y="56197"/>
                    </a:lnTo>
                    <a:lnTo>
                      <a:pt x="74295" y="62865"/>
                    </a:lnTo>
                    <a:lnTo>
                      <a:pt x="53340" y="49435"/>
                    </a:lnTo>
                    <a:lnTo>
                      <a:pt x="35243" y="35147"/>
                    </a:lnTo>
                    <a:lnTo>
                      <a:pt x="18098" y="20860"/>
                    </a:lnTo>
                    <a:lnTo>
                      <a:pt x="3810" y="1428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5" name="Freeform: Shape 314">
                <a:extLst>
                  <a:ext uri="{FF2B5EF4-FFF2-40B4-BE49-F238E27FC236}">
                    <a16:creationId xmlns:a16="http://schemas.microsoft.com/office/drawing/2014/main" id="{3DA19F2D-50AF-847E-1E06-9982C0361AF8}"/>
                  </a:ext>
                </a:extLst>
              </p:cNvPr>
              <p:cNvSpPr/>
              <p:nvPr/>
            </p:nvSpPr>
            <p:spPr>
              <a:xfrm>
                <a:off x="9281496" y="4035694"/>
                <a:ext cx="120450" cy="166297"/>
              </a:xfrm>
              <a:custGeom>
                <a:avLst/>
                <a:gdLst>
                  <a:gd name="connsiteX0" fmla="*/ 6667 w 122872"/>
                  <a:gd name="connsiteY0" fmla="*/ 102965 h 169640"/>
                  <a:gd name="connsiteX1" fmla="*/ 24765 w 122872"/>
                  <a:gd name="connsiteY1" fmla="*/ 113347 h 169640"/>
                  <a:gd name="connsiteX2" fmla="*/ 27622 w 122872"/>
                  <a:gd name="connsiteY2" fmla="*/ 134398 h 169640"/>
                  <a:gd name="connsiteX3" fmla="*/ 41910 w 122872"/>
                  <a:gd name="connsiteY3" fmla="*/ 138113 h 169640"/>
                  <a:gd name="connsiteX4" fmla="*/ 52388 w 122872"/>
                  <a:gd name="connsiteY4" fmla="*/ 127635 h 169640"/>
                  <a:gd name="connsiteX5" fmla="*/ 66675 w 122872"/>
                  <a:gd name="connsiteY5" fmla="*/ 130588 h 169640"/>
                  <a:gd name="connsiteX6" fmla="*/ 70485 w 122872"/>
                  <a:gd name="connsiteY6" fmla="*/ 144875 h 169640"/>
                  <a:gd name="connsiteX7" fmla="*/ 84772 w 122872"/>
                  <a:gd name="connsiteY7" fmla="*/ 141065 h 169640"/>
                  <a:gd name="connsiteX8" fmla="*/ 91440 w 122872"/>
                  <a:gd name="connsiteY8" fmla="*/ 148685 h 169640"/>
                  <a:gd name="connsiteX9" fmla="*/ 108585 w 122872"/>
                  <a:gd name="connsiteY9" fmla="*/ 159163 h 169640"/>
                  <a:gd name="connsiteX10" fmla="*/ 116205 w 122872"/>
                  <a:gd name="connsiteY10" fmla="*/ 169640 h 169640"/>
                  <a:gd name="connsiteX11" fmla="*/ 122872 w 122872"/>
                  <a:gd name="connsiteY11" fmla="*/ 159163 h 169640"/>
                  <a:gd name="connsiteX12" fmla="*/ 108585 w 122872"/>
                  <a:gd name="connsiteY12" fmla="*/ 148685 h 169640"/>
                  <a:gd name="connsiteX13" fmla="*/ 108585 w 122872"/>
                  <a:gd name="connsiteY13" fmla="*/ 138113 h 169640"/>
                  <a:gd name="connsiteX14" fmla="*/ 101917 w 122872"/>
                  <a:gd name="connsiteY14" fmla="*/ 127635 h 169640"/>
                  <a:gd name="connsiteX15" fmla="*/ 87630 w 122872"/>
                  <a:gd name="connsiteY15" fmla="*/ 127635 h 169640"/>
                  <a:gd name="connsiteX16" fmla="*/ 80963 w 122872"/>
                  <a:gd name="connsiteY16" fmla="*/ 120110 h 169640"/>
                  <a:gd name="connsiteX17" fmla="*/ 70485 w 122872"/>
                  <a:gd name="connsiteY17" fmla="*/ 123825 h 169640"/>
                  <a:gd name="connsiteX18" fmla="*/ 56197 w 122872"/>
                  <a:gd name="connsiteY18" fmla="*/ 117253 h 169640"/>
                  <a:gd name="connsiteX19" fmla="*/ 49530 w 122872"/>
                  <a:gd name="connsiteY19" fmla="*/ 109538 h 169640"/>
                  <a:gd name="connsiteX20" fmla="*/ 45720 w 122872"/>
                  <a:gd name="connsiteY20" fmla="*/ 95250 h 169640"/>
                  <a:gd name="connsiteX21" fmla="*/ 49530 w 122872"/>
                  <a:gd name="connsiteY21" fmla="*/ 74390 h 169640"/>
                  <a:gd name="connsiteX22" fmla="*/ 60007 w 122872"/>
                  <a:gd name="connsiteY22" fmla="*/ 70485 h 169640"/>
                  <a:gd name="connsiteX23" fmla="*/ 70485 w 122872"/>
                  <a:gd name="connsiteY23" fmla="*/ 46672 h 169640"/>
                  <a:gd name="connsiteX24" fmla="*/ 66675 w 122872"/>
                  <a:gd name="connsiteY24" fmla="*/ 24860 h 169640"/>
                  <a:gd name="connsiteX25" fmla="*/ 66675 w 122872"/>
                  <a:gd name="connsiteY25" fmla="*/ 7715 h 169640"/>
                  <a:gd name="connsiteX26" fmla="*/ 49530 w 122872"/>
                  <a:gd name="connsiteY26" fmla="*/ 3810 h 169640"/>
                  <a:gd name="connsiteX27" fmla="*/ 20955 w 122872"/>
                  <a:gd name="connsiteY27" fmla="*/ 0 h 169640"/>
                  <a:gd name="connsiteX28" fmla="*/ 17145 w 122872"/>
                  <a:gd name="connsiteY28" fmla="*/ 28575 h 169640"/>
                  <a:gd name="connsiteX29" fmla="*/ 17145 w 122872"/>
                  <a:gd name="connsiteY29" fmla="*/ 49625 h 169640"/>
                  <a:gd name="connsiteX30" fmla="*/ 20955 w 122872"/>
                  <a:gd name="connsiteY30" fmla="*/ 63913 h 169640"/>
                  <a:gd name="connsiteX31" fmla="*/ 0 w 122872"/>
                  <a:gd name="connsiteY31" fmla="*/ 67723 h 169640"/>
                  <a:gd name="connsiteX32" fmla="*/ 3810 w 122872"/>
                  <a:gd name="connsiteY32" fmla="*/ 78200 h 169640"/>
                  <a:gd name="connsiteX33" fmla="*/ 6667 w 122872"/>
                  <a:gd name="connsiteY33" fmla="*/ 84772 h 169640"/>
                  <a:gd name="connsiteX34" fmla="*/ 6667 w 122872"/>
                  <a:gd name="connsiteY34" fmla="*/ 102965 h 1696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22872" h="169640">
                    <a:moveTo>
                      <a:pt x="6667" y="102965"/>
                    </a:moveTo>
                    <a:lnTo>
                      <a:pt x="24765" y="113347"/>
                    </a:lnTo>
                    <a:lnTo>
                      <a:pt x="27622" y="134398"/>
                    </a:lnTo>
                    <a:lnTo>
                      <a:pt x="41910" y="138113"/>
                    </a:lnTo>
                    <a:lnTo>
                      <a:pt x="52388" y="127635"/>
                    </a:lnTo>
                    <a:lnTo>
                      <a:pt x="66675" y="130588"/>
                    </a:lnTo>
                    <a:lnTo>
                      <a:pt x="70485" y="144875"/>
                    </a:lnTo>
                    <a:lnTo>
                      <a:pt x="84772" y="141065"/>
                    </a:lnTo>
                    <a:lnTo>
                      <a:pt x="91440" y="148685"/>
                    </a:lnTo>
                    <a:lnTo>
                      <a:pt x="108585" y="159163"/>
                    </a:lnTo>
                    <a:lnTo>
                      <a:pt x="116205" y="169640"/>
                    </a:lnTo>
                    <a:lnTo>
                      <a:pt x="122872" y="159163"/>
                    </a:lnTo>
                    <a:lnTo>
                      <a:pt x="108585" y="148685"/>
                    </a:lnTo>
                    <a:lnTo>
                      <a:pt x="108585" y="138113"/>
                    </a:lnTo>
                    <a:lnTo>
                      <a:pt x="101917" y="127635"/>
                    </a:lnTo>
                    <a:lnTo>
                      <a:pt x="87630" y="127635"/>
                    </a:lnTo>
                    <a:lnTo>
                      <a:pt x="80963" y="120110"/>
                    </a:lnTo>
                    <a:lnTo>
                      <a:pt x="70485" y="123825"/>
                    </a:lnTo>
                    <a:lnTo>
                      <a:pt x="56197" y="117253"/>
                    </a:lnTo>
                    <a:lnTo>
                      <a:pt x="49530" y="109538"/>
                    </a:lnTo>
                    <a:lnTo>
                      <a:pt x="45720" y="95250"/>
                    </a:lnTo>
                    <a:lnTo>
                      <a:pt x="49530" y="74390"/>
                    </a:lnTo>
                    <a:lnTo>
                      <a:pt x="60007" y="70485"/>
                    </a:lnTo>
                    <a:lnTo>
                      <a:pt x="70485" y="46672"/>
                    </a:lnTo>
                    <a:lnTo>
                      <a:pt x="66675" y="24860"/>
                    </a:lnTo>
                    <a:lnTo>
                      <a:pt x="66675" y="7715"/>
                    </a:lnTo>
                    <a:lnTo>
                      <a:pt x="49530" y="3810"/>
                    </a:lnTo>
                    <a:lnTo>
                      <a:pt x="20955" y="0"/>
                    </a:lnTo>
                    <a:lnTo>
                      <a:pt x="17145" y="28575"/>
                    </a:lnTo>
                    <a:lnTo>
                      <a:pt x="17145" y="49625"/>
                    </a:lnTo>
                    <a:lnTo>
                      <a:pt x="20955" y="63913"/>
                    </a:lnTo>
                    <a:lnTo>
                      <a:pt x="0" y="67723"/>
                    </a:lnTo>
                    <a:lnTo>
                      <a:pt x="3810" y="78200"/>
                    </a:lnTo>
                    <a:lnTo>
                      <a:pt x="6667" y="84772"/>
                    </a:lnTo>
                    <a:lnTo>
                      <a:pt x="6667" y="10296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308923FA-6537-02D4-84BB-71FC64BD3050}"/>
                  </a:ext>
                </a:extLst>
              </p:cNvPr>
              <p:cNvSpPr/>
              <p:nvPr/>
            </p:nvSpPr>
            <p:spPr>
              <a:xfrm>
                <a:off x="9208665" y="4240181"/>
                <a:ext cx="72831" cy="79367"/>
              </a:xfrm>
              <a:custGeom>
                <a:avLst/>
                <a:gdLst>
                  <a:gd name="connsiteX0" fmla="*/ 0 w 74295"/>
                  <a:gd name="connsiteY0" fmla="*/ 80963 h 80962"/>
                  <a:gd name="connsiteX1" fmla="*/ 14288 w 74295"/>
                  <a:gd name="connsiteY1" fmla="*/ 60103 h 80962"/>
                  <a:gd name="connsiteX2" fmla="*/ 35243 w 74295"/>
                  <a:gd name="connsiteY2" fmla="*/ 35338 h 80962"/>
                  <a:gd name="connsiteX3" fmla="*/ 56198 w 74295"/>
                  <a:gd name="connsiteY3" fmla="*/ 17240 h 80962"/>
                  <a:gd name="connsiteX4" fmla="*/ 63818 w 74295"/>
                  <a:gd name="connsiteY4" fmla="*/ 0 h 80962"/>
                  <a:gd name="connsiteX5" fmla="*/ 66675 w 74295"/>
                  <a:gd name="connsiteY5" fmla="*/ 10478 h 80962"/>
                  <a:gd name="connsiteX6" fmla="*/ 74295 w 74295"/>
                  <a:gd name="connsiteY6" fmla="*/ 21050 h 80962"/>
                  <a:gd name="connsiteX7" fmla="*/ 56198 w 74295"/>
                  <a:gd name="connsiteY7" fmla="*/ 27718 h 80962"/>
                  <a:gd name="connsiteX8" fmla="*/ 35243 w 74295"/>
                  <a:gd name="connsiteY8" fmla="*/ 52388 h 80962"/>
                  <a:gd name="connsiteX9" fmla="*/ 24765 w 74295"/>
                  <a:gd name="connsiteY9" fmla="*/ 66675 h 80962"/>
                  <a:gd name="connsiteX10" fmla="*/ 0 w 74295"/>
                  <a:gd name="connsiteY10" fmla="*/ 80963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295" h="80962">
                    <a:moveTo>
                      <a:pt x="0" y="80963"/>
                    </a:moveTo>
                    <a:lnTo>
                      <a:pt x="14288" y="60103"/>
                    </a:lnTo>
                    <a:lnTo>
                      <a:pt x="35243" y="35338"/>
                    </a:lnTo>
                    <a:lnTo>
                      <a:pt x="56198" y="17240"/>
                    </a:lnTo>
                    <a:lnTo>
                      <a:pt x="63818" y="0"/>
                    </a:lnTo>
                    <a:lnTo>
                      <a:pt x="66675" y="10478"/>
                    </a:lnTo>
                    <a:lnTo>
                      <a:pt x="74295" y="21050"/>
                    </a:lnTo>
                    <a:lnTo>
                      <a:pt x="56198" y="27718"/>
                    </a:lnTo>
                    <a:lnTo>
                      <a:pt x="35243" y="52388"/>
                    </a:lnTo>
                    <a:lnTo>
                      <a:pt x="24765" y="66675"/>
                    </a:lnTo>
                    <a:lnTo>
                      <a:pt x="0" y="8096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3F7021EE-C7B5-E92C-E290-39CE74251A6B}"/>
                  </a:ext>
                </a:extLst>
              </p:cNvPr>
              <p:cNvSpPr/>
              <p:nvPr/>
            </p:nvSpPr>
            <p:spPr>
              <a:xfrm>
                <a:off x="9208665" y="4240181"/>
                <a:ext cx="72831" cy="79367"/>
              </a:xfrm>
              <a:custGeom>
                <a:avLst/>
                <a:gdLst>
                  <a:gd name="connsiteX0" fmla="*/ 0 w 74295"/>
                  <a:gd name="connsiteY0" fmla="*/ 80963 h 80962"/>
                  <a:gd name="connsiteX1" fmla="*/ 14288 w 74295"/>
                  <a:gd name="connsiteY1" fmla="*/ 60103 h 80962"/>
                  <a:gd name="connsiteX2" fmla="*/ 35243 w 74295"/>
                  <a:gd name="connsiteY2" fmla="*/ 35338 h 80962"/>
                  <a:gd name="connsiteX3" fmla="*/ 56198 w 74295"/>
                  <a:gd name="connsiteY3" fmla="*/ 17240 h 80962"/>
                  <a:gd name="connsiteX4" fmla="*/ 63818 w 74295"/>
                  <a:gd name="connsiteY4" fmla="*/ 0 h 80962"/>
                  <a:gd name="connsiteX5" fmla="*/ 66675 w 74295"/>
                  <a:gd name="connsiteY5" fmla="*/ 10478 h 80962"/>
                  <a:gd name="connsiteX6" fmla="*/ 74295 w 74295"/>
                  <a:gd name="connsiteY6" fmla="*/ 21050 h 80962"/>
                  <a:gd name="connsiteX7" fmla="*/ 56198 w 74295"/>
                  <a:gd name="connsiteY7" fmla="*/ 27718 h 80962"/>
                  <a:gd name="connsiteX8" fmla="*/ 35243 w 74295"/>
                  <a:gd name="connsiteY8" fmla="*/ 52388 h 80962"/>
                  <a:gd name="connsiteX9" fmla="*/ 24765 w 74295"/>
                  <a:gd name="connsiteY9" fmla="*/ 66675 h 80962"/>
                  <a:gd name="connsiteX10" fmla="*/ 0 w 74295"/>
                  <a:gd name="connsiteY10" fmla="*/ 80963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74295" h="80962">
                    <a:moveTo>
                      <a:pt x="0" y="80963"/>
                    </a:moveTo>
                    <a:lnTo>
                      <a:pt x="14288" y="60103"/>
                    </a:lnTo>
                    <a:lnTo>
                      <a:pt x="35243" y="35338"/>
                    </a:lnTo>
                    <a:lnTo>
                      <a:pt x="56198" y="17240"/>
                    </a:lnTo>
                    <a:lnTo>
                      <a:pt x="63818" y="0"/>
                    </a:lnTo>
                    <a:lnTo>
                      <a:pt x="66675" y="10478"/>
                    </a:lnTo>
                    <a:lnTo>
                      <a:pt x="74295" y="21050"/>
                    </a:lnTo>
                    <a:lnTo>
                      <a:pt x="56198" y="27718"/>
                    </a:lnTo>
                    <a:lnTo>
                      <a:pt x="35243" y="52388"/>
                    </a:lnTo>
                    <a:lnTo>
                      <a:pt x="24765" y="66675"/>
                    </a:lnTo>
                    <a:lnTo>
                      <a:pt x="0" y="8096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751083DD-A599-CAF4-3C0D-F0726A63D455}"/>
                  </a:ext>
                </a:extLst>
              </p:cNvPr>
              <p:cNvSpPr/>
              <p:nvPr/>
            </p:nvSpPr>
            <p:spPr>
              <a:xfrm>
                <a:off x="9336585" y="4281360"/>
                <a:ext cx="127920" cy="103551"/>
              </a:xfrm>
              <a:custGeom>
                <a:avLst/>
                <a:gdLst>
                  <a:gd name="connsiteX0" fmla="*/ 101918 w 130492"/>
                  <a:gd name="connsiteY0" fmla="*/ 102870 h 105632"/>
                  <a:gd name="connsiteX1" fmla="*/ 70485 w 130492"/>
                  <a:gd name="connsiteY1" fmla="*/ 105632 h 105632"/>
                  <a:gd name="connsiteX2" fmla="*/ 60007 w 130492"/>
                  <a:gd name="connsiteY2" fmla="*/ 84772 h 105632"/>
                  <a:gd name="connsiteX3" fmla="*/ 60007 w 130492"/>
                  <a:gd name="connsiteY3" fmla="*/ 67532 h 105632"/>
                  <a:gd name="connsiteX4" fmla="*/ 70485 w 130492"/>
                  <a:gd name="connsiteY4" fmla="*/ 63722 h 105632"/>
                  <a:gd name="connsiteX5" fmla="*/ 56198 w 130492"/>
                  <a:gd name="connsiteY5" fmla="*/ 53245 h 105632"/>
                  <a:gd name="connsiteX6" fmla="*/ 41910 w 130492"/>
                  <a:gd name="connsiteY6" fmla="*/ 56197 h 105632"/>
                  <a:gd name="connsiteX7" fmla="*/ 31432 w 130492"/>
                  <a:gd name="connsiteY7" fmla="*/ 60007 h 105632"/>
                  <a:gd name="connsiteX8" fmla="*/ 20955 w 130492"/>
                  <a:gd name="connsiteY8" fmla="*/ 63722 h 105632"/>
                  <a:gd name="connsiteX9" fmla="*/ 14288 w 130492"/>
                  <a:gd name="connsiteY9" fmla="*/ 78010 h 105632"/>
                  <a:gd name="connsiteX10" fmla="*/ 6668 w 130492"/>
                  <a:gd name="connsiteY10" fmla="*/ 88582 h 105632"/>
                  <a:gd name="connsiteX11" fmla="*/ 0 w 130492"/>
                  <a:gd name="connsiteY11" fmla="*/ 67532 h 105632"/>
                  <a:gd name="connsiteX12" fmla="*/ 6668 w 130492"/>
                  <a:gd name="connsiteY12" fmla="*/ 49435 h 105632"/>
                  <a:gd name="connsiteX13" fmla="*/ 24765 w 130492"/>
                  <a:gd name="connsiteY13" fmla="*/ 42863 h 105632"/>
                  <a:gd name="connsiteX14" fmla="*/ 39053 w 130492"/>
                  <a:gd name="connsiteY14" fmla="*/ 35147 h 105632"/>
                  <a:gd name="connsiteX15" fmla="*/ 45720 w 130492"/>
                  <a:gd name="connsiteY15" fmla="*/ 24670 h 105632"/>
                  <a:gd name="connsiteX16" fmla="*/ 56198 w 130492"/>
                  <a:gd name="connsiteY16" fmla="*/ 38957 h 105632"/>
                  <a:gd name="connsiteX17" fmla="*/ 63818 w 130492"/>
                  <a:gd name="connsiteY17" fmla="*/ 42863 h 105632"/>
                  <a:gd name="connsiteX18" fmla="*/ 74295 w 130492"/>
                  <a:gd name="connsiteY18" fmla="*/ 32385 h 105632"/>
                  <a:gd name="connsiteX19" fmla="*/ 87630 w 130492"/>
                  <a:gd name="connsiteY19" fmla="*/ 14288 h 105632"/>
                  <a:gd name="connsiteX20" fmla="*/ 95250 w 130492"/>
                  <a:gd name="connsiteY20" fmla="*/ 18097 h 105632"/>
                  <a:gd name="connsiteX21" fmla="*/ 101918 w 130492"/>
                  <a:gd name="connsiteY21" fmla="*/ 18097 h 105632"/>
                  <a:gd name="connsiteX22" fmla="*/ 101918 w 130492"/>
                  <a:gd name="connsiteY22" fmla="*/ 7620 h 105632"/>
                  <a:gd name="connsiteX23" fmla="*/ 109538 w 130492"/>
                  <a:gd name="connsiteY23" fmla="*/ 0 h 105632"/>
                  <a:gd name="connsiteX24" fmla="*/ 120015 w 130492"/>
                  <a:gd name="connsiteY24" fmla="*/ 10382 h 105632"/>
                  <a:gd name="connsiteX25" fmla="*/ 126682 w 130492"/>
                  <a:gd name="connsiteY25" fmla="*/ 24670 h 105632"/>
                  <a:gd name="connsiteX26" fmla="*/ 130493 w 130492"/>
                  <a:gd name="connsiteY26" fmla="*/ 49435 h 105632"/>
                  <a:gd name="connsiteX27" fmla="*/ 130493 w 130492"/>
                  <a:gd name="connsiteY27" fmla="*/ 74295 h 105632"/>
                  <a:gd name="connsiteX28" fmla="*/ 116205 w 130492"/>
                  <a:gd name="connsiteY28" fmla="*/ 78010 h 105632"/>
                  <a:gd name="connsiteX29" fmla="*/ 112395 w 130492"/>
                  <a:gd name="connsiteY29" fmla="*/ 63722 h 105632"/>
                  <a:gd name="connsiteX30" fmla="*/ 101918 w 130492"/>
                  <a:gd name="connsiteY30" fmla="*/ 74295 h 105632"/>
                  <a:gd name="connsiteX31" fmla="*/ 95250 w 130492"/>
                  <a:gd name="connsiteY31" fmla="*/ 80963 h 105632"/>
                  <a:gd name="connsiteX32" fmla="*/ 101918 w 130492"/>
                  <a:gd name="connsiteY32" fmla="*/ 102870 h 1056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30492" h="105632">
                    <a:moveTo>
                      <a:pt x="101918" y="102870"/>
                    </a:moveTo>
                    <a:lnTo>
                      <a:pt x="70485" y="105632"/>
                    </a:lnTo>
                    <a:lnTo>
                      <a:pt x="60007" y="84772"/>
                    </a:lnTo>
                    <a:lnTo>
                      <a:pt x="60007" y="67532"/>
                    </a:lnTo>
                    <a:lnTo>
                      <a:pt x="70485" y="63722"/>
                    </a:lnTo>
                    <a:lnTo>
                      <a:pt x="56198" y="53245"/>
                    </a:lnTo>
                    <a:lnTo>
                      <a:pt x="41910" y="56197"/>
                    </a:lnTo>
                    <a:lnTo>
                      <a:pt x="31432" y="60007"/>
                    </a:lnTo>
                    <a:lnTo>
                      <a:pt x="20955" y="63722"/>
                    </a:lnTo>
                    <a:lnTo>
                      <a:pt x="14288" y="78010"/>
                    </a:lnTo>
                    <a:lnTo>
                      <a:pt x="6668" y="88582"/>
                    </a:lnTo>
                    <a:lnTo>
                      <a:pt x="0" y="67532"/>
                    </a:lnTo>
                    <a:lnTo>
                      <a:pt x="6668" y="49435"/>
                    </a:lnTo>
                    <a:lnTo>
                      <a:pt x="24765" y="42863"/>
                    </a:lnTo>
                    <a:lnTo>
                      <a:pt x="39053" y="35147"/>
                    </a:lnTo>
                    <a:lnTo>
                      <a:pt x="45720" y="24670"/>
                    </a:lnTo>
                    <a:lnTo>
                      <a:pt x="56198" y="38957"/>
                    </a:lnTo>
                    <a:lnTo>
                      <a:pt x="63818" y="42863"/>
                    </a:lnTo>
                    <a:lnTo>
                      <a:pt x="74295" y="32385"/>
                    </a:lnTo>
                    <a:lnTo>
                      <a:pt x="87630" y="14288"/>
                    </a:lnTo>
                    <a:lnTo>
                      <a:pt x="95250" y="18097"/>
                    </a:lnTo>
                    <a:lnTo>
                      <a:pt x="101918" y="18097"/>
                    </a:lnTo>
                    <a:lnTo>
                      <a:pt x="101918" y="7620"/>
                    </a:lnTo>
                    <a:lnTo>
                      <a:pt x="109538" y="0"/>
                    </a:lnTo>
                    <a:lnTo>
                      <a:pt x="120015" y="10382"/>
                    </a:lnTo>
                    <a:lnTo>
                      <a:pt x="126682" y="24670"/>
                    </a:lnTo>
                    <a:lnTo>
                      <a:pt x="130493" y="49435"/>
                    </a:lnTo>
                    <a:lnTo>
                      <a:pt x="130493" y="74295"/>
                    </a:lnTo>
                    <a:lnTo>
                      <a:pt x="116205" y="78010"/>
                    </a:lnTo>
                    <a:lnTo>
                      <a:pt x="112395" y="63722"/>
                    </a:lnTo>
                    <a:lnTo>
                      <a:pt x="101918" y="74295"/>
                    </a:lnTo>
                    <a:lnTo>
                      <a:pt x="95250" y="80963"/>
                    </a:lnTo>
                    <a:lnTo>
                      <a:pt x="101918" y="1028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19" name="Freeform: Shape 318">
                <a:extLst>
                  <a:ext uri="{FF2B5EF4-FFF2-40B4-BE49-F238E27FC236}">
                    <a16:creationId xmlns:a16="http://schemas.microsoft.com/office/drawing/2014/main" id="{CA4F4E0C-6460-2CA4-21A8-3EC847136DAB}"/>
                  </a:ext>
                </a:extLst>
              </p:cNvPr>
              <p:cNvSpPr/>
              <p:nvPr/>
            </p:nvSpPr>
            <p:spPr>
              <a:xfrm>
                <a:off x="9405681" y="4201992"/>
                <a:ext cx="30812" cy="38189"/>
              </a:xfrm>
              <a:custGeom>
                <a:avLst/>
                <a:gdLst>
                  <a:gd name="connsiteX0" fmla="*/ 0 w 31432"/>
                  <a:gd name="connsiteY0" fmla="*/ 6572 h 38957"/>
                  <a:gd name="connsiteX1" fmla="*/ 20955 w 31432"/>
                  <a:gd name="connsiteY1" fmla="*/ 0 h 38957"/>
                  <a:gd name="connsiteX2" fmla="*/ 31432 w 31432"/>
                  <a:gd name="connsiteY2" fmla="*/ 3810 h 38957"/>
                  <a:gd name="connsiteX3" fmla="*/ 31432 w 31432"/>
                  <a:gd name="connsiteY3" fmla="*/ 28575 h 38957"/>
                  <a:gd name="connsiteX4" fmla="*/ 31432 w 31432"/>
                  <a:gd name="connsiteY4" fmla="*/ 38957 h 38957"/>
                  <a:gd name="connsiteX5" fmla="*/ 17145 w 31432"/>
                  <a:gd name="connsiteY5" fmla="*/ 31432 h 38957"/>
                  <a:gd name="connsiteX6" fmla="*/ 6668 w 31432"/>
                  <a:gd name="connsiteY6" fmla="*/ 20860 h 38957"/>
                  <a:gd name="connsiteX7" fmla="*/ 0 w 31432"/>
                  <a:gd name="connsiteY7" fmla="*/ 6572 h 3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432" h="38957">
                    <a:moveTo>
                      <a:pt x="0" y="6572"/>
                    </a:moveTo>
                    <a:lnTo>
                      <a:pt x="20955" y="0"/>
                    </a:lnTo>
                    <a:lnTo>
                      <a:pt x="31432" y="3810"/>
                    </a:lnTo>
                    <a:lnTo>
                      <a:pt x="31432" y="28575"/>
                    </a:lnTo>
                    <a:lnTo>
                      <a:pt x="31432" y="38957"/>
                    </a:lnTo>
                    <a:lnTo>
                      <a:pt x="17145" y="31432"/>
                    </a:lnTo>
                    <a:lnTo>
                      <a:pt x="6668" y="20860"/>
                    </a:lnTo>
                    <a:lnTo>
                      <a:pt x="0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0" name="Freeform: Shape 319">
                <a:extLst>
                  <a:ext uri="{FF2B5EF4-FFF2-40B4-BE49-F238E27FC236}">
                    <a16:creationId xmlns:a16="http://schemas.microsoft.com/office/drawing/2014/main" id="{13F8F69F-A607-8C3C-4229-50D7D27A3109}"/>
                  </a:ext>
                </a:extLst>
              </p:cNvPr>
              <p:cNvSpPr/>
              <p:nvPr/>
            </p:nvSpPr>
            <p:spPr>
              <a:xfrm>
                <a:off x="9405681" y="4201992"/>
                <a:ext cx="30812" cy="38189"/>
              </a:xfrm>
              <a:custGeom>
                <a:avLst/>
                <a:gdLst>
                  <a:gd name="connsiteX0" fmla="*/ 0 w 31432"/>
                  <a:gd name="connsiteY0" fmla="*/ 6572 h 38957"/>
                  <a:gd name="connsiteX1" fmla="*/ 20955 w 31432"/>
                  <a:gd name="connsiteY1" fmla="*/ 0 h 38957"/>
                  <a:gd name="connsiteX2" fmla="*/ 31432 w 31432"/>
                  <a:gd name="connsiteY2" fmla="*/ 3810 h 38957"/>
                  <a:gd name="connsiteX3" fmla="*/ 31432 w 31432"/>
                  <a:gd name="connsiteY3" fmla="*/ 28575 h 38957"/>
                  <a:gd name="connsiteX4" fmla="*/ 31432 w 31432"/>
                  <a:gd name="connsiteY4" fmla="*/ 38957 h 38957"/>
                  <a:gd name="connsiteX5" fmla="*/ 17145 w 31432"/>
                  <a:gd name="connsiteY5" fmla="*/ 31432 h 38957"/>
                  <a:gd name="connsiteX6" fmla="*/ 6668 w 31432"/>
                  <a:gd name="connsiteY6" fmla="*/ 20860 h 38957"/>
                  <a:gd name="connsiteX7" fmla="*/ 0 w 31432"/>
                  <a:gd name="connsiteY7" fmla="*/ 6572 h 3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1432" h="38957">
                    <a:moveTo>
                      <a:pt x="0" y="6572"/>
                    </a:moveTo>
                    <a:lnTo>
                      <a:pt x="20955" y="0"/>
                    </a:lnTo>
                    <a:lnTo>
                      <a:pt x="31432" y="3810"/>
                    </a:lnTo>
                    <a:lnTo>
                      <a:pt x="31432" y="28575"/>
                    </a:lnTo>
                    <a:lnTo>
                      <a:pt x="31432" y="38957"/>
                    </a:lnTo>
                    <a:lnTo>
                      <a:pt x="17145" y="31432"/>
                    </a:lnTo>
                    <a:lnTo>
                      <a:pt x="6668" y="20860"/>
                    </a:lnTo>
                    <a:lnTo>
                      <a:pt x="0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1" name="Freeform: Shape 320">
                <a:extLst>
                  <a:ext uri="{FF2B5EF4-FFF2-40B4-BE49-F238E27FC236}">
                    <a16:creationId xmlns:a16="http://schemas.microsoft.com/office/drawing/2014/main" id="{0EE275B8-8C5E-94FF-F6CF-8205781FDADC}"/>
                  </a:ext>
                </a:extLst>
              </p:cNvPr>
              <p:cNvSpPr/>
              <p:nvPr/>
            </p:nvSpPr>
            <p:spPr>
              <a:xfrm>
                <a:off x="9295501" y="4173980"/>
                <a:ext cx="34547" cy="42017"/>
              </a:xfrm>
              <a:custGeom>
                <a:avLst/>
                <a:gdLst>
                  <a:gd name="connsiteX0" fmla="*/ 0 w 35242"/>
                  <a:gd name="connsiteY0" fmla="*/ 0 h 42862"/>
                  <a:gd name="connsiteX1" fmla="*/ 17145 w 35242"/>
                  <a:gd name="connsiteY1" fmla="*/ 3810 h 42862"/>
                  <a:gd name="connsiteX2" fmla="*/ 35242 w 35242"/>
                  <a:gd name="connsiteY2" fmla="*/ 18097 h 42862"/>
                  <a:gd name="connsiteX3" fmla="*/ 31432 w 35242"/>
                  <a:gd name="connsiteY3" fmla="*/ 38957 h 42862"/>
                  <a:gd name="connsiteX4" fmla="*/ 20955 w 35242"/>
                  <a:gd name="connsiteY4" fmla="*/ 42863 h 42862"/>
                  <a:gd name="connsiteX5" fmla="*/ 10477 w 35242"/>
                  <a:gd name="connsiteY5" fmla="*/ 18097 h 42862"/>
                  <a:gd name="connsiteX6" fmla="*/ 2857 w 35242"/>
                  <a:gd name="connsiteY6" fmla="*/ 11335 h 42862"/>
                  <a:gd name="connsiteX7" fmla="*/ 0 w 35242"/>
                  <a:gd name="connsiteY7" fmla="*/ 0 h 4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42" h="42862">
                    <a:moveTo>
                      <a:pt x="0" y="0"/>
                    </a:moveTo>
                    <a:lnTo>
                      <a:pt x="17145" y="3810"/>
                    </a:lnTo>
                    <a:lnTo>
                      <a:pt x="35242" y="18097"/>
                    </a:lnTo>
                    <a:lnTo>
                      <a:pt x="31432" y="38957"/>
                    </a:lnTo>
                    <a:lnTo>
                      <a:pt x="20955" y="42863"/>
                    </a:lnTo>
                    <a:lnTo>
                      <a:pt x="10477" y="18097"/>
                    </a:lnTo>
                    <a:lnTo>
                      <a:pt x="2857" y="1133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791C427E-5899-957B-E608-8856CE55B07A}"/>
                  </a:ext>
                </a:extLst>
              </p:cNvPr>
              <p:cNvSpPr/>
              <p:nvPr/>
            </p:nvSpPr>
            <p:spPr>
              <a:xfrm>
                <a:off x="9295501" y="4173980"/>
                <a:ext cx="34547" cy="42017"/>
              </a:xfrm>
              <a:custGeom>
                <a:avLst/>
                <a:gdLst>
                  <a:gd name="connsiteX0" fmla="*/ 0 w 35242"/>
                  <a:gd name="connsiteY0" fmla="*/ 0 h 42862"/>
                  <a:gd name="connsiteX1" fmla="*/ 17145 w 35242"/>
                  <a:gd name="connsiteY1" fmla="*/ 3810 h 42862"/>
                  <a:gd name="connsiteX2" fmla="*/ 35242 w 35242"/>
                  <a:gd name="connsiteY2" fmla="*/ 18097 h 42862"/>
                  <a:gd name="connsiteX3" fmla="*/ 31432 w 35242"/>
                  <a:gd name="connsiteY3" fmla="*/ 38957 h 42862"/>
                  <a:gd name="connsiteX4" fmla="*/ 20955 w 35242"/>
                  <a:gd name="connsiteY4" fmla="*/ 42863 h 42862"/>
                  <a:gd name="connsiteX5" fmla="*/ 10477 w 35242"/>
                  <a:gd name="connsiteY5" fmla="*/ 18097 h 42862"/>
                  <a:gd name="connsiteX6" fmla="*/ 2857 w 35242"/>
                  <a:gd name="connsiteY6" fmla="*/ 11335 h 42862"/>
                  <a:gd name="connsiteX7" fmla="*/ 0 w 35242"/>
                  <a:gd name="connsiteY7" fmla="*/ 0 h 4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42" h="42862">
                    <a:moveTo>
                      <a:pt x="0" y="0"/>
                    </a:moveTo>
                    <a:lnTo>
                      <a:pt x="17145" y="3810"/>
                    </a:lnTo>
                    <a:lnTo>
                      <a:pt x="35242" y="18097"/>
                    </a:lnTo>
                    <a:lnTo>
                      <a:pt x="31432" y="38957"/>
                    </a:lnTo>
                    <a:lnTo>
                      <a:pt x="20955" y="42863"/>
                    </a:lnTo>
                    <a:lnTo>
                      <a:pt x="10477" y="18097"/>
                    </a:lnTo>
                    <a:lnTo>
                      <a:pt x="2857" y="1133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8115D036-4956-EDF7-1F0B-1742BFCD35DF}"/>
                  </a:ext>
                </a:extLst>
              </p:cNvPr>
              <p:cNvSpPr/>
              <p:nvPr/>
            </p:nvSpPr>
            <p:spPr>
              <a:xfrm>
                <a:off x="9340320" y="4226176"/>
                <a:ext cx="37349" cy="34641"/>
              </a:xfrm>
              <a:custGeom>
                <a:avLst/>
                <a:gdLst>
                  <a:gd name="connsiteX0" fmla="*/ 0 w 38100"/>
                  <a:gd name="connsiteY0" fmla="*/ 0 h 35337"/>
                  <a:gd name="connsiteX1" fmla="*/ 0 w 38100"/>
                  <a:gd name="connsiteY1" fmla="*/ 17240 h 35337"/>
                  <a:gd name="connsiteX2" fmla="*/ 0 w 38100"/>
                  <a:gd name="connsiteY2" fmla="*/ 35338 h 35337"/>
                  <a:gd name="connsiteX3" fmla="*/ 10477 w 38100"/>
                  <a:gd name="connsiteY3" fmla="*/ 28575 h 35337"/>
                  <a:gd name="connsiteX4" fmla="*/ 31432 w 38100"/>
                  <a:gd name="connsiteY4" fmla="*/ 14288 h 35337"/>
                  <a:gd name="connsiteX5" fmla="*/ 38100 w 38100"/>
                  <a:gd name="connsiteY5" fmla="*/ 3905 h 35337"/>
                  <a:gd name="connsiteX6" fmla="*/ 24765 w 38100"/>
                  <a:gd name="connsiteY6" fmla="*/ 0 h 35337"/>
                  <a:gd name="connsiteX7" fmla="*/ 13335 w 38100"/>
                  <a:gd name="connsiteY7" fmla="*/ 3905 h 35337"/>
                  <a:gd name="connsiteX8" fmla="*/ 0 w 38100"/>
                  <a:gd name="connsiteY8" fmla="*/ 0 h 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100" h="35337">
                    <a:moveTo>
                      <a:pt x="0" y="0"/>
                    </a:moveTo>
                    <a:lnTo>
                      <a:pt x="0" y="17240"/>
                    </a:lnTo>
                    <a:lnTo>
                      <a:pt x="0" y="35338"/>
                    </a:lnTo>
                    <a:lnTo>
                      <a:pt x="10477" y="28575"/>
                    </a:lnTo>
                    <a:lnTo>
                      <a:pt x="31432" y="14288"/>
                    </a:lnTo>
                    <a:lnTo>
                      <a:pt x="38100" y="3905"/>
                    </a:lnTo>
                    <a:lnTo>
                      <a:pt x="24765" y="0"/>
                    </a:lnTo>
                    <a:lnTo>
                      <a:pt x="13335" y="39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4B5F2AA7-2F23-80BC-F85F-E573C3AA0E87}"/>
                  </a:ext>
                </a:extLst>
              </p:cNvPr>
              <p:cNvSpPr/>
              <p:nvPr/>
            </p:nvSpPr>
            <p:spPr>
              <a:xfrm>
                <a:off x="9340320" y="4226176"/>
                <a:ext cx="37349" cy="34641"/>
              </a:xfrm>
              <a:custGeom>
                <a:avLst/>
                <a:gdLst>
                  <a:gd name="connsiteX0" fmla="*/ 0 w 38100"/>
                  <a:gd name="connsiteY0" fmla="*/ 0 h 35337"/>
                  <a:gd name="connsiteX1" fmla="*/ 0 w 38100"/>
                  <a:gd name="connsiteY1" fmla="*/ 17240 h 35337"/>
                  <a:gd name="connsiteX2" fmla="*/ 0 w 38100"/>
                  <a:gd name="connsiteY2" fmla="*/ 35338 h 35337"/>
                  <a:gd name="connsiteX3" fmla="*/ 10477 w 38100"/>
                  <a:gd name="connsiteY3" fmla="*/ 28575 h 35337"/>
                  <a:gd name="connsiteX4" fmla="*/ 31432 w 38100"/>
                  <a:gd name="connsiteY4" fmla="*/ 14288 h 35337"/>
                  <a:gd name="connsiteX5" fmla="*/ 38100 w 38100"/>
                  <a:gd name="connsiteY5" fmla="*/ 3905 h 35337"/>
                  <a:gd name="connsiteX6" fmla="*/ 24765 w 38100"/>
                  <a:gd name="connsiteY6" fmla="*/ 0 h 35337"/>
                  <a:gd name="connsiteX7" fmla="*/ 13335 w 38100"/>
                  <a:gd name="connsiteY7" fmla="*/ 3905 h 35337"/>
                  <a:gd name="connsiteX8" fmla="*/ 0 w 38100"/>
                  <a:gd name="connsiteY8" fmla="*/ 0 h 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8100" h="35337">
                    <a:moveTo>
                      <a:pt x="0" y="0"/>
                    </a:moveTo>
                    <a:lnTo>
                      <a:pt x="0" y="17240"/>
                    </a:lnTo>
                    <a:lnTo>
                      <a:pt x="0" y="35338"/>
                    </a:lnTo>
                    <a:lnTo>
                      <a:pt x="10477" y="28575"/>
                    </a:lnTo>
                    <a:lnTo>
                      <a:pt x="31432" y="14288"/>
                    </a:lnTo>
                    <a:lnTo>
                      <a:pt x="38100" y="3905"/>
                    </a:lnTo>
                    <a:lnTo>
                      <a:pt x="24765" y="0"/>
                    </a:lnTo>
                    <a:lnTo>
                      <a:pt x="13335" y="39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5" name="Freeform: Shape 324">
                <a:extLst>
                  <a:ext uri="{FF2B5EF4-FFF2-40B4-BE49-F238E27FC236}">
                    <a16:creationId xmlns:a16="http://schemas.microsoft.com/office/drawing/2014/main" id="{973083AB-FF0A-C1E5-2343-9468F95D7AAD}"/>
                  </a:ext>
                </a:extLst>
              </p:cNvPr>
              <p:cNvSpPr/>
              <p:nvPr/>
            </p:nvSpPr>
            <p:spPr>
              <a:xfrm>
                <a:off x="9350591" y="4246811"/>
                <a:ext cx="41084" cy="48554"/>
              </a:xfrm>
              <a:custGeom>
                <a:avLst/>
                <a:gdLst>
                  <a:gd name="connsiteX0" fmla="*/ 0 w 41910"/>
                  <a:gd name="connsiteY0" fmla="*/ 32290 h 49530"/>
                  <a:gd name="connsiteX1" fmla="*/ 10478 w 41910"/>
                  <a:gd name="connsiteY1" fmla="*/ 45625 h 49530"/>
                  <a:gd name="connsiteX2" fmla="*/ 24765 w 41910"/>
                  <a:gd name="connsiteY2" fmla="*/ 49530 h 49530"/>
                  <a:gd name="connsiteX3" fmla="*/ 24765 w 41910"/>
                  <a:gd name="connsiteY3" fmla="*/ 28575 h 49530"/>
                  <a:gd name="connsiteX4" fmla="*/ 31432 w 41910"/>
                  <a:gd name="connsiteY4" fmla="*/ 20955 h 49530"/>
                  <a:gd name="connsiteX5" fmla="*/ 41910 w 41910"/>
                  <a:gd name="connsiteY5" fmla="*/ 14288 h 49530"/>
                  <a:gd name="connsiteX6" fmla="*/ 38100 w 41910"/>
                  <a:gd name="connsiteY6" fmla="*/ 7525 h 49530"/>
                  <a:gd name="connsiteX7" fmla="*/ 27623 w 41910"/>
                  <a:gd name="connsiteY7" fmla="*/ 0 h 49530"/>
                  <a:gd name="connsiteX8" fmla="*/ 17145 w 41910"/>
                  <a:gd name="connsiteY8" fmla="*/ 3715 h 49530"/>
                  <a:gd name="connsiteX9" fmla="*/ 14288 w 41910"/>
                  <a:gd name="connsiteY9" fmla="*/ 18002 h 49530"/>
                  <a:gd name="connsiteX10" fmla="*/ 6668 w 41910"/>
                  <a:gd name="connsiteY10" fmla="*/ 28575 h 49530"/>
                  <a:gd name="connsiteX11" fmla="*/ 0 w 41910"/>
                  <a:gd name="connsiteY11" fmla="*/ 32290 h 4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910" h="49530">
                    <a:moveTo>
                      <a:pt x="0" y="32290"/>
                    </a:moveTo>
                    <a:lnTo>
                      <a:pt x="10478" y="45625"/>
                    </a:lnTo>
                    <a:lnTo>
                      <a:pt x="24765" y="49530"/>
                    </a:lnTo>
                    <a:lnTo>
                      <a:pt x="24765" y="28575"/>
                    </a:lnTo>
                    <a:lnTo>
                      <a:pt x="31432" y="20955"/>
                    </a:lnTo>
                    <a:lnTo>
                      <a:pt x="41910" y="14288"/>
                    </a:lnTo>
                    <a:lnTo>
                      <a:pt x="38100" y="7525"/>
                    </a:lnTo>
                    <a:lnTo>
                      <a:pt x="27623" y="0"/>
                    </a:lnTo>
                    <a:lnTo>
                      <a:pt x="17145" y="3715"/>
                    </a:lnTo>
                    <a:lnTo>
                      <a:pt x="14288" y="18002"/>
                    </a:lnTo>
                    <a:lnTo>
                      <a:pt x="6668" y="28575"/>
                    </a:lnTo>
                    <a:lnTo>
                      <a:pt x="0" y="322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6" name="Freeform: Shape 325">
                <a:extLst>
                  <a:ext uri="{FF2B5EF4-FFF2-40B4-BE49-F238E27FC236}">
                    <a16:creationId xmlns:a16="http://schemas.microsoft.com/office/drawing/2014/main" id="{B8576D38-8CD0-A316-49C7-19F2C0D2B319}"/>
                  </a:ext>
                </a:extLst>
              </p:cNvPr>
              <p:cNvSpPr/>
              <p:nvPr/>
            </p:nvSpPr>
            <p:spPr>
              <a:xfrm>
                <a:off x="9350591" y="4246811"/>
                <a:ext cx="41084" cy="48554"/>
              </a:xfrm>
              <a:custGeom>
                <a:avLst/>
                <a:gdLst>
                  <a:gd name="connsiteX0" fmla="*/ 0 w 41910"/>
                  <a:gd name="connsiteY0" fmla="*/ 32290 h 49530"/>
                  <a:gd name="connsiteX1" fmla="*/ 10478 w 41910"/>
                  <a:gd name="connsiteY1" fmla="*/ 45625 h 49530"/>
                  <a:gd name="connsiteX2" fmla="*/ 24765 w 41910"/>
                  <a:gd name="connsiteY2" fmla="*/ 49530 h 49530"/>
                  <a:gd name="connsiteX3" fmla="*/ 24765 w 41910"/>
                  <a:gd name="connsiteY3" fmla="*/ 28575 h 49530"/>
                  <a:gd name="connsiteX4" fmla="*/ 31432 w 41910"/>
                  <a:gd name="connsiteY4" fmla="*/ 20955 h 49530"/>
                  <a:gd name="connsiteX5" fmla="*/ 41910 w 41910"/>
                  <a:gd name="connsiteY5" fmla="*/ 14288 h 49530"/>
                  <a:gd name="connsiteX6" fmla="*/ 38100 w 41910"/>
                  <a:gd name="connsiteY6" fmla="*/ 7525 h 49530"/>
                  <a:gd name="connsiteX7" fmla="*/ 27623 w 41910"/>
                  <a:gd name="connsiteY7" fmla="*/ 0 h 49530"/>
                  <a:gd name="connsiteX8" fmla="*/ 17145 w 41910"/>
                  <a:gd name="connsiteY8" fmla="*/ 3715 h 49530"/>
                  <a:gd name="connsiteX9" fmla="*/ 14288 w 41910"/>
                  <a:gd name="connsiteY9" fmla="*/ 18002 h 49530"/>
                  <a:gd name="connsiteX10" fmla="*/ 6668 w 41910"/>
                  <a:gd name="connsiteY10" fmla="*/ 28575 h 49530"/>
                  <a:gd name="connsiteX11" fmla="*/ 0 w 41910"/>
                  <a:gd name="connsiteY11" fmla="*/ 32290 h 4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1910" h="49530">
                    <a:moveTo>
                      <a:pt x="0" y="32290"/>
                    </a:moveTo>
                    <a:lnTo>
                      <a:pt x="10478" y="45625"/>
                    </a:lnTo>
                    <a:lnTo>
                      <a:pt x="24765" y="49530"/>
                    </a:lnTo>
                    <a:lnTo>
                      <a:pt x="24765" y="28575"/>
                    </a:lnTo>
                    <a:lnTo>
                      <a:pt x="31432" y="20955"/>
                    </a:lnTo>
                    <a:lnTo>
                      <a:pt x="41910" y="14288"/>
                    </a:lnTo>
                    <a:lnTo>
                      <a:pt x="38100" y="7525"/>
                    </a:lnTo>
                    <a:lnTo>
                      <a:pt x="27623" y="0"/>
                    </a:lnTo>
                    <a:lnTo>
                      <a:pt x="17145" y="3715"/>
                    </a:lnTo>
                    <a:lnTo>
                      <a:pt x="14288" y="18002"/>
                    </a:lnTo>
                    <a:lnTo>
                      <a:pt x="6668" y="28575"/>
                    </a:lnTo>
                    <a:lnTo>
                      <a:pt x="0" y="322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7" name="Freeform: Shape 326">
                <a:extLst>
                  <a:ext uri="{FF2B5EF4-FFF2-40B4-BE49-F238E27FC236}">
                    <a16:creationId xmlns:a16="http://schemas.microsoft.com/office/drawing/2014/main" id="{3D7DEC3E-45EA-448E-F1F1-811CA5BDD5D9}"/>
                  </a:ext>
                </a:extLst>
              </p:cNvPr>
              <p:cNvSpPr/>
              <p:nvPr/>
            </p:nvSpPr>
            <p:spPr>
              <a:xfrm>
                <a:off x="9288032" y="3842506"/>
                <a:ext cx="52289" cy="93373"/>
              </a:xfrm>
              <a:custGeom>
                <a:avLst/>
                <a:gdLst>
                  <a:gd name="connsiteX0" fmla="*/ 53340 w 53340"/>
                  <a:gd name="connsiteY0" fmla="*/ 6572 h 95250"/>
                  <a:gd name="connsiteX1" fmla="*/ 45720 w 53340"/>
                  <a:gd name="connsiteY1" fmla="*/ 31432 h 95250"/>
                  <a:gd name="connsiteX2" fmla="*/ 39053 w 53340"/>
                  <a:gd name="connsiteY2" fmla="*/ 49435 h 95250"/>
                  <a:gd name="connsiteX3" fmla="*/ 35243 w 53340"/>
                  <a:gd name="connsiteY3" fmla="*/ 63722 h 95250"/>
                  <a:gd name="connsiteX4" fmla="*/ 28575 w 53340"/>
                  <a:gd name="connsiteY4" fmla="*/ 84772 h 95250"/>
                  <a:gd name="connsiteX5" fmla="*/ 18098 w 53340"/>
                  <a:gd name="connsiteY5" fmla="*/ 95250 h 95250"/>
                  <a:gd name="connsiteX6" fmla="*/ 7620 w 53340"/>
                  <a:gd name="connsiteY6" fmla="*/ 74295 h 95250"/>
                  <a:gd name="connsiteX7" fmla="*/ 0 w 53340"/>
                  <a:gd name="connsiteY7" fmla="*/ 45720 h 95250"/>
                  <a:gd name="connsiteX8" fmla="*/ 14288 w 53340"/>
                  <a:gd name="connsiteY8" fmla="*/ 20860 h 95250"/>
                  <a:gd name="connsiteX9" fmla="*/ 32385 w 53340"/>
                  <a:gd name="connsiteY9" fmla="*/ 6572 h 95250"/>
                  <a:gd name="connsiteX10" fmla="*/ 39053 w 53340"/>
                  <a:gd name="connsiteY10" fmla="*/ 0 h 95250"/>
                  <a:gd name="connsiteX11" fmla="*/ 53340 w 53340"/>
                  <a:gd name="connsiteY11" fmla="*/ 6572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3340" h="95250">
                    <a:moveTo>
                      <a:pt x="53340" y="6572"/>
                    </a:moveTo>
                    <a:lnTo>
                      <a:pt x="45720" y="31432"/>
                    </a:lnTo>
                    <a:lnTo>
                      <a:pt x="39053" y="49435"/>
                    </a:lnTo>
                    <a:lnTo>
                      <a:pt x="35243" y="63722"/>
                    </a:lnTo>
                    <a:lnTo>
                      <a:pt x="28575" y="84772"/>
                    </a:lnTo>
                    <a:lnTo>
                      <a:pt x="18098" y="95250"/>
                    </a:lnTo>
                    <a:lnTo>
                      <a:pt x="7620" y="74295"/>
                    </a:lnTo>
                    <a:lnTo>
                      <a:pt x="0" y="45720"/>
                    </a:lnTo>
                    <a:lnTo>
                      <a:pt x="14288" y="20860"/>
                    </a:lnTo>
                    <a:lnTo>
                      <a:pt x="32385" y="6572"/>
                    </a:lnTo>
                    <a:lnTo>
                      <a:pt x="39053" y="0"/>
                    </a:lnTo>
                    <a:lnTo>
                      <a:pt x="53340" y="657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8" name="Freeform: Shape 327">
                <a:extLst>
                  <a:ext uri="{FF2B5EF4-FFF2-40B4-BE49-F238E27FC236}">
                    <a16:creationId xmlns:a16="http://schemas.microsoft.com/office/drawing/2014/main" id="{D0DF542F-619F-BEEA-D118-75ED7F93FB18}"/>
                  </a:ext>
                </a:extLst>
              </p:cNvPr>
              <p:cNvSpPr/>
              <p:nvPr/>
            </p:nvSpPr>
            <p:spPr>
              <a:xfrm>
                <a:off x="9830526" y="3210368"/>
                <a:ext cx="158733" cy="134363"/>
              </a:xfrm>
              <a:custGeom>
                <a:avLst/>
                <a:gdLst>
                  <a:gd name="connsiteX0" fmla="*/ 52388 w 161925"/>
                  <a:gd name="connsiteY0" fmla="*/ 0 h 137064"/>
                  <a:gd name="connsiteX1" fmla="*/ 66675 w 161925"/>
                  <a:gd name="connsiteY1" fmla="*/ 10477 h 137064"/>
                  <a:gd name="connsiteX2" fmla="*/ 83820 w 161925"/>
                  <a:gd name="connsiteY2" fmla="*/ 27527 h 137064"/>
                  <a:gd name="connsiteX3" fmla="*/ 116205 w 161925"/>
                  <a:gd name="connsiteY3" fmla="*/ 45720 h 137064"/>
                  <a:gd name="connsiteX4" fmla="*/ 133350 w 161925"/>
                  <a:gd name="connsiteY4" fmla="*/ 52388 h 137064"/>
                  <a:gd name="connsiteX5" fmla="*/ 147638 w 161925"/>
                  <a:gd name="connsiteY5" fmla="*/ 41815 h 137064"/>
                  <a:gd name="connsiteX6" fmla="*/ 158115 w 161925"/>
                  <a:gd name="connsiteY6" fmla="*/ 41815 h 137064"/>
                  <a:gd name="connsiteX7" fmla="*/ 147638 w 161925"/>
                  <a:gd name="connsiteY7" fmla="*/ 52388 h 137064"/>
                  <a:gd name="connsiteX8" fmla="*/ 154305 w 161925"/>
                  <a:gd name="connsiteY8" fmla="*/ 62865 h 137064"/>
                  <a:gd name="connsiteX9" fmla="*/ 161925 w 161925"/>
                  <a:gd name="connsiteY9" fmla="*/ 70390 h 137064"/>
                  <a:gd name="connsiteX10" fmla="*/ 147638 w 161925"/>
                  <a:gd name="connsiteY10" fmla="*/ 80963 h 137064"/>
                  <a:gd name="connsiteX11" fmla="*/ 140970 w 161925"/>
                  <a:gd name="connsiteY11" fmla="*/ 83820 h 137064"/>
                  <a:gd name="connsiteX12" fmla="*/ 130493 w 161925"/>
                  <a:gd name="connsiteY12" fmla="*/ 80963 h 137064"/>
                  <a:gd name="connsiteX13" fmla="*/ 119063 w 161925"/>
                  <a:gd name="connsiteY13" fmla="*/ 83820 h 137064"/>
                  <a:gd name="connsiteX14" fmla="*/ 101918 w 161925"/>
                  <a:gd name="connsiteY14" fmla="*/ 91440 h 137064"/>
                  <a:gd name="connsiteX15" fmla="*/ 91440 w 161925"/>
                  <a:gd name="connsiteY15" fmla="*/ 105727 h 137064"/>
                  <a:gd name="connsiteX16" fmla="*/ 91440 w 161925"/>
                  <a:gd name="connsiteY16" fmla="*/ 116110 h 137064"/>
                  <a:gd name="connsiteX17" fmla="*/ 77152 w 161925"/>
                  <a:gd name="connsiteY17" fmla="*/ 108490 h 137064"/>
                  <a:gd name="connsiteX18" fmla="*/ 62865 w 161925"/>
                  <a:gd name="connsiteY18" fmla="*/ 98108 h 137064"/>
                  <a:gd name="connsiteX19" fmla="*/ 48577 w 161925"/>
                  <a:gd name="connsiteY19" fmla="*/ 95250 h 137064"/>
                  <a:gd name="connsiteX20" fmla="*/ 41910 w 161925"/>
                  <a:gd name="connsiteY20" fmla="*/ 98108 h 137064"/>
                  <a:gd name="connsiteX21" fmla="*/ 38100 w 161925"/>
                  <a:gd name="connsiteY21" fmla="*/ 105727 h 137064"/>
                  <a:gd name="connsiteX22" fmla="*/ 27622 w 161925"/>
                  <a:gd name="connsiteY22" fmla="*/ 98108 h 137064"/>
                  <a:gd name="connsiteX23" fmla="*/ 17145 w 161925"/>
                  <a:gd name="connsiteY23" fmla="*/ 95250 h 137064"/>
                  <a:gd name="connsiteX24" fmla="*/ 14288 w 161925"/>
                  <a:gd name="connsiteY24" fmla="*/ 101822 h 137064"/>
                  <a:gd name="connsiteX25" fmla="*/ 17145 w 161925"/>
                  <a:gd name="connsiteY25" fmla="*/ 112395 h 137064"/>
                  <a:gd name="connsiteX26" fmla="*/ 27622 w 161925"/>
                  <a:gd name="connsiteY26" fmla="*/ 116110 h 137064"/>
                  <a:gd name="connsiteX27" fmla="*/ 24765 w 161925"/>
                  <a:gd name="connsiteY27" fmla="*/ 126683 h 137064"/>
                  <a:gd name="connsiteX28" fmla="*/ 14288 w 161925"/>
                  <a:gd name="connsiteY28" fmla="*/ 130397 h 137064"/>
                  <a:gd name="connsiteX29" fmla="*/ 2857 w 161925"/>
                  <a:gd name="connsiteY29" fmla="*/ 137065 h 137064"/>
                  <a:gd name="connsiteX30" fmla="*/ 2857 w 161925"/>
                  <a:gd name="connsiteY30" fmla="*/ 119063 h 137064"/>
                  <a:gd name="connsiteX31" fmla="*/ 0 w 161925"/>
                  <a:gd name="connsiteY31" fmla="*/ 105727 h 137064"/>
                  <a:gd name="connsiteX32" fmla="*/ 0 w 161925"/>
                  <a:gd name="connsiteY32" fmla="*/ 91440 h 137064"/>
                  <a:gd name="connsiteX33" fmla="*/ 10477 w 161925"/>
                  <a:gd name="connsiteY33" fmla="*/ 87535 h 137064"/>
                  <a:gd name="connsiteX34" fmla="*/ 17145 w 161925"/>
                  <a:gd name="connsiteY34" fmla="*/ 77152 h 137064"/>
                  <a:gd name="connsiteX35" fmla="*/ 17145 w 161925"/>
                  <a:gd name="connsiteY35" fmla="*/ 66675 h 137064"/>
                  <a:gd name="connsiteX36" fmla="*/ 27622 w 161925"/>
                  <a:gd name="connsiteY36" fmla="*/ 66675 h 137064"/>
                  <a:gd name="connsiteX37" fmla="*/ 38100 w 161925"/>
                  <a:gd name="connsiteY37" fmla="*/ 73247 h 137064"/>
                  <a:gd name="connsiteX38" fmla="*/ 48577 w 161925"/>
                  <a:gd name="connsiteY38" fmla="*/ 70390 h 137064"/>
                  <a:gd name="connsiteX39" fmla="*/ 52388 w 161925"/>
                  <a:gd name="connsiteY39" fmla="*/ 27527 h 137064"/>
                  <a:gd name="connsiteX40" fmla="*/ 52388 w 161925"/>
                  <a:gd name="connsiteY40" fmla="*/ 0 h 1370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161925" h="137064">
                    <a:moveTo>
                      <a:pt x="52388" y="0"/>
                    </a:moveTo>
                    <a:lnTo>
                      <a:pt x="66675" y="10477"/>
                    </a:lnTo>
                    <a:lnTo>
                      <a:pt x="83820" y="27527"/>
                    </a:lnTo>
                    <a:lnTo>
                      <a:pt x="116205" y="45720"/>
                    </a:lnTo>
                    <a:lnTo>
                      <a:pt x="133350" y="52388"/>
                    </a:lnTo>
                    <a:lnTo>
                      <a:pt x="147638" y="41815"/>
                    </a:lnTo>
                    <a:lnTo>
                      <a:pt x="158115" y="41815"/>
                    </a:lnTo>
                    <a:lnTo>
                      <a:pt x="147638" y="52388"/>
                    </a:lnTo>
                    <a:lnTo>
                      <a:pt x="154305" y="62865"/>
                    </a:lnTo>
                    <a:lnTo>
                      <a:pt x="161925" y="70390"/>
                    </a:lnTo>
                    <a:lnTo>
                      <a:pt x="147638" y="80963"/>
                    </a:lnTo>
                    <a:lnTo>
                      <a:pt x="140970" y="83820"/>
                    </a:lnTo>
                    <a:lnTo>
                      <a:pt x="130493" y="80963"/>
                    </a:lnTo>
                    <a:lnTo>
                      <a:pt x="119063" y="83820"/>
                    </a:lnTo>
                    <a:lnTo>
                      <a:pt x="101918" y="91440"/>
                    </a:lnTo>
                    <a:lnTo>
                      <a:pt x="91440" y="105727"/>
                    </a:lnTo>
                    <a:lnTo>
                      <a:pt x="91440" y="116110"/>
                    </a:lnTo>
                    <a:lnTo>
                      <a:pt x="77152" y="108490"/>
                    </a:lnTo>
                    <a:lnTo>
                      <a:pt x="62865" y="98108"/>
                    </a:lnTo>
                    <a:lnTo>
                      <a:pt x="48577" y="95250"/>
                    </a:lnTo>
                    <a:lnTo>
                      <a:pt x="41910" y="98108"/>
                    </a:lnTo>
                    <a:lnTo>
                      <a:pt x="38100" y="105727"/>
                    </a:lnTo>
                    <a:lnTo>
                      <a:pt x="27622" y="98108"/>
                    </a:lnTo>
                    <a:lnTo>
                      <a:pt x="17145" y="95250"/>
                    </a:lnTo>
                    <a:lnTo>
                      <a:pt x="14288" y="101822"/>
                    </a:lnTo>
                    <a:lnTo>
                      <a:pt x="17145" y="112395"/>
                    </a:lnTo>
                    <a:lnTo>
                      <a:pt x="27622" y="116110"/>
                    </a:lnTo>
                    <a:lnTo>
                      <a:pt x="24765" y="126683"/>
                    </a:lnTo>
                    <a:lnTo>
                      <a:pt x="14288" y="130397"/>
                    </a:lnTo>
                    <a:lnTo>
                      <a:pt x="2857" y="137065"/>
                    </a:lnTo>
                    <a:lnTo>
                      <a:pt x="2857" y="119063"/>
                    </a:lnTo>
                    <a:lnTo>
                      <a:pt x="0" y="105727"/>
                    </a:lnTo>
                    <a:lnTo>
                      <a:pt x="0" y="91440"/>
                    </a:lnTo>
                    <a:lnTo>
                      <a:pt x="10477" y="87535"/>
                    </a:lnTo>
                    <a:lnTo>
                      <a:pt x="17145" y="77152"/>
                    </a:lnTo>
                    <a:lnTo>
                      <a:pt x="17145" y="66675"/>
                    </a:lnTo>
                    <a:lnTo>
                      <a:pt x="27622" y="66675"/>
                    </a:lnTo>
                    <a:lnTo>
                      <a:pt x="38100" y="73247"/>
                    </a:lnTo>
                    <a:lnTo>
                      <a:pt x="48577" y="70390"/>
                    </a:lnTo>
                    <a:lnTo>
                      <a:pt x="52388" y="27527"/>
                    </a:lnTo>
                    <a:lnTo>
                      <a:pt x="5238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29" name="Freeform: Shape 328">
                <a:extLst>
                  <a:ext uri="{FF2B5EF4-FFF2-40B4-BE49-F238E27FC236}">
                    <a16:creationId xmlns:a16="http://schemas.microsoft.com/office/drawing/2014/main" id="{D55B9452-D242-BAD1-29FE-6592378C79F1}"/>
                  </a:ext>
                </a:extLst>
              </p:cNvPr>
              <p:cNvSpPr/>
              <p:nvPr/>
            </p:nvSpPr>
            <p:spPr>
              <a:xfrm>
                <a:off x="9619503" y="3569856"/>
                <a:ext cx="69096" cy="44725"/>
              </a:xfrm>
              <a:custGeom>
                <a:avLst/>
                <a:gdLst>
                  <a:gd name="connsiteX0" fmla="*/ 53340 w 70485"/>
                  <a:gd name="connsiteY0" fmla="*/ 27527 h 45624"/>
                  <a:gd name="connsiteX1" fmla="*/ 42863 w 70485"/>
                  <a:gd name="connsiteY1" fmla="*/ 24765 h 45624"/>
                  <a:gd name="connsiteX2" fmla="*/ 31433 w 70485"/>
                  <a:gd name="connsiteY2" fmla="*/ 31337 h 45624"/>
                  <a:gd name="connsiteX3" fmla="*/ 24765 w 70485"/>
                  <a:gd name="connsiteY3" fmla="*/ 45625 h 45624"/>
                  <a:gd name="connsiteX4" fmla="*/ 10478 w 70485"/>
                  <a:gd name="connsiteY4" fmla="*/ 41815 h 45624"/>
                  <a:gd name="connsiteX5" fmla="*/ 10478 w 70485"/>
                  <a:gd name="connsiteY5" fmla="*/ 31337 h 45624"/>
                  <a:gd name="connsiteX6" fmla="*/ 0 w 70485"/>
                  <a:gd name="connsiteY6" fmla="*/ 24765 h 45624"/>
                  <a:gd name="connsiteX7" fmla="*/ 14288 w 70485"/>
                  <a:gd name="connsiteY7" fmla="*/ 13240 h 45624"/>
                  <a:gd name="connsiteX8" fmla="*/ 28575 w 70485"/>
                  <a:gd name="connsiteY8" fmla="*/ 13240 h 45624"/>
                  <a:gd name="connsiteX9" fmla="*/ 42863 w 70485"/>
                  <a:gd name="connsiteY9" fmla="*/ 10477 h 45624"/>
                  <a:gd name="connsiteX10" fmla="*/ 49530 w 70485"/>
                  <a:gd name="connsiteY10" fmla="*/ 0 h 45624"/>
                  <a:gd name="connsiteX11" fmla="*/ 63818 w 70485"/>
                  <a:gd name="connsiteY11" fmla="*/ 0 h 45624"/>
                  <a:gd name="connsiteX12" fmla="*/ 70485 w 70485"/>
                  <a:gd name="connsiteY12" fmla="*/ 10477 h 45624"/>
                  <a:gd name="connsiteX13" fmla="*/ 66675 w 70485"/>
                  <a:gd name="connsiteY13" fmla="*/ 13240 h 45624"/>
                  <a:gd name="connsiteX14" fmla="*/ 60008 w 70485"/>
                  <a:gd name="connsiteY14" fmla="*/ 24765 h 45624"/>
                  <a:gd name="connsiteX15" fmla="*/ 53340 w 70485"/>
                  <a:gd name="connsiteY15" fmla="*/ 27527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70485" h="45624">
                    <a:moveTo>
                      <a:pt x="53340" y="27527"/>
                    </a:moveTo>
                    <a:lnTo>
                      <a:pt x="42863" y="24765"/>
                    </a:lnTo>
                    <a:lnTo>
                      <a:pt x="31433" y="31337"/>
                    </a:lnTo>
                    <a:lnTo>
                      <a:pt x="24765" y="45625"/>
                    </a:lnTo>
                    <a:lnTo>
                      <a:pt x="10478" y="41815"/>
                    </a:lnTo>
                    <a:lnTo>
                      <a:pt x="10478" y="31337"/>
                    </a:lnTo>
                    <a:lnTo>
                      <a:pt x="0" y="24765"/>
                    </a:lnTo>
                    <a:lnTo>
                      <a:pt x="14288" y="13240"/>
                    </a:lnTo>
                    <a:lnTo>
                      <a:pt x="28575" y="13240"/>
                    </a:lnTo>
                    <a:lnTo>
                      <a:pt x="42863" y="10477"/>
                    </a:lnTo>
                    <a:lnTo>
                      <a:pt x="49530" y="0"/>
                    </a:lnTo>
                    <a:lnTo>
                      <a:pt x="63818" y="0"/>
                    </a:lnTo>
                    <a:lnTo>
                      <a:pt x="70485" y="10477"/>
                    </a:lnTo>
                    <a:lnTo>
                      <a:pt x="66675" y="13240"/>
                    </a:lnTo>
                    <a:lnTo>
                      <a:pt x="60008" y="24765"/>
                    </a:lnTo>
                    <a:lnTo>
                      <a:pt x="53340" y="2752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0" name="Freeform: Shape 329">
                <a:extLst>
                  <a:ext uri="{FF2B5EF4-FFF2-40B4-BE49-F238E27FC236}">
                    <a16:creationId xmlns:a16="http://schemas.microsoft.com/office/drawing/2014/main" id="{8060D503-4143-85BC-FE84-E9DA0A066EA4}"/>
                  </a:ext>
                </a:extLst>
              </p:cNvPr>
              <p:cNvSpPr/>
              <p:nvPr/>
            </p:nvSpPr>
            <p:spPr>
              <a:xfrm>
                <a:off x="9547607" y="3580126"/>
                <a:ext cx="65361" cy="85809"/>
              </a:xfrm>
              <a:custGeom>
                <a:avLst/>
                <a:gdLst>
                  <a:gd name="connsiteX0" fmla="*/ 6667 w 66675"/>
                  <a:gd name="connsiteY0" fmla="*/ 20860 h 87534"/>
                  <a:gd name="connsiteX1" fmla="*/ 17145 w 66675"/>
                  <a:gd name="connsiteY1" fmla="*/ 14288 h 87534"/>
                  <a:gd name="connsiteX2" fmla="*/ 27622 w 66675"/>
                  <a:gd name="connsiteY2" fmla="*/ 0 h 87534"/>
                  <a:gd name="connsiteX3" fmla="*/ 41910 w 66675"/>
                  <a:gd name="connsiteY3" fmla="*/ 0 h 87534"/>
                  <a:gd name="connsiteX4" fmla="*/ 48577 w 66675"/>
                  <a:gd name="connsiteY4" fmla="*/ 10478 h 87534"/>
                  <a:gd name="connsiteX5" fmla="*/ 59055 w 66675"/>
                  <a:gd name="connsiteY5" fmla="*/ 17050 h 87534"/>
                  <a:gd name="connsiteX6" fmla="*/ 66675 w 66675"/>
                  <a:gd name="connsiteY6" fmla="*/ 27623 h 87534"/>
                  <a:gd name="connsiteX7" fmla="*/ 62865 w 66675"/>
                  <a:gd name="connsiteY7" fmla="*/ 41910 h 87534"/>
                  <a:gd name="connsiteX8" fmla="*/ 56197 w 66675"/>
                  <a:gd name="connsiteY8" fmla="*/ 45625 h 87534"/>
                  <a:gd name="connsiteX9" fmla="*/ 52388 w 66675"/>
                  <a:gd name="connsiteY9" fmla="*/ 56198 h 87534"/>
                  <a:gd name="connsiteX10" fmla="*/ 52388 w 66675"/>
                  <a:gd name="connsiteY10" fmla="*/ 70485 h 87534"/>
                  <a:gd name="connsiteX11" fmla="*/ 45720 w 66675"/>
                  <a:gd name="connsiteY11" fmla="*/ 87535 h 87534"/>
                  <a:gd name="connsiteX12" fmla="*/ 31432 w 66675"/>
                  <a:gd name="connsiteY12" fmla="*/ 84773 h 87534"/>
                  <a:gd name="connsiteX13" fmla="*/ 31432 w 66675"/>
                  <a:gd name="connsiteY13" fmla="*/ 77153 h 87534"/>
                  <a:gd name="connsiteX14" fmla="*/ 35242 w 66675"/>
                  <a:gd name="connsiteY14" fmla="*/ 62865 h 87534"/>
                  <a:gd name="connsiteX15" fmla="*/ 20955 w 66675"/>
                  <a:gd name="connsiteY15" fmla="*/ 62865 h 87534"/>
                  <a:gd name="connsiteX16" fmla="*/ 23813 w 66675"/>
                  <a:gd name="connsiteY16" fmla="*/ 52388 h 87534"/>
                  <a:gd name="connsiteX17" fmla="*/ 31432 w 66675"/>
                  <a:gd name="connsiteY17" fmla="*/ 41910 h 87534"/>
                  <a:gd name="connsiteX18" fmla="*/ 31432 w 66675"/>
                  <a:gd name="connsiteY18" fmla="*/ 35147 h 87534"/>
                  <a:gd name="connsiteX19" fmla="*/ 27622 w 66675"/>
                  <a:gd name="connsiteY19" fmla="*/ 24765 h 87534"/>
                  <a:gd name="connsiteX20" fmla="*/ 13335 w 66675"/>
                  <a:gd name="connsiteY20" fmla="*/ 27623 h 87534"/>
                  <a:gd name="connsiteX21" fmla="*/ 0 w 66675"/>
                  <a:gd name="connsiteY21" fmla="*/ 31337 h 87534"/>
                  <a:gd name="connsiteX22" fmla="*/ 6667 w 66675"/>
                  <a:gd name="connsiteY22" fmla="*/ 20860 h 87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6675" h="87534">
                    <a:moveTo>
                      <a:pt x="6667" y="20860"/>
                    </a:moveTo>
                    <a:lnTo>
                      <a:pt x="17145" y="14288"/>
                    </a:lnTo>
                    <a:lnTo>
                      <a:pt x="27622" y="0"/>
                    </a:lnTo>
                    <a:lnTo>
                      <a:pt x="41910" y="0"/>
                    </a:lnTo>
                    <a:lnTo>
                      <a:pt x="48577" y="10478"/>
                    </a:lnTo>
                    <a:lnTo>
                      <a:pt x="59055" y="17050"/>
                    </a:lnTo>
                    <a:lnTo>
                      <a:pt x="66675" y="27623"/>
                    </a:lnTo>
                    <a:lnTo>
                      <a:pt x="62865" y="41910"/>
                    </a:lnTo>
                    <a:lnTo>
                      <a:pt x="56197" y="45625"/>
                    </a:lnTo>
                    <a:lnTo>
                      <a:pt x="52388" y="56198"/>
                    </a:lnTo>
                    <a:lnTo>
                      <a:pt x="52388" y="70485"/>
                    </a:lnTo>
                    <a:lnTo>
                      <a:pt x="45720" y="87535"/>
                    </a:lnTo>
                    <a:lnTo>
                      <a:pt x="31432" y="84773"/>
                    </a:lnTo>
                    <a:lnTo>
                      <a:pt x="31432" y="77153"/>
                    </a:lnTo>
                    <a:lnTo>
                      <a:pt x="35242" y="62865"/>
                    </a:lnTo>
                    <a:lnTo>
                      <a:pt x="20955" y="62865"/>
                    </a:lnTo>
                    <a:lnTo>
                      <a:pt x="23813" y="52388"/>
                    </a:lnTo>
                    <a:lnTo>
                      <a:pt x="31432" y="41910"/>
                    </a:lnTo>
                    <a:lnTo>
                      <a:pt x="31432" y="35147"/>
                    </a:lnTo>
                    <a:lnTo>
                      <a:pt x="27622" y="24765"/>
                    </a:lnTo>
                    <a:lnTo>
                      <a:pt x="13335" y="27623"/>
                    </a:lnTo>
                    <a:lnTo>
                      <a:pt x="0" y="31337"/>
                    </a:lnTo>
                    <a:lnTo>
                      <a:pt x="6667" y="2086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1" name="Freeform: Shape 330">
                <a:extLst>
                  <a:ext uri="{FF2B5EF4-FFF2-40B4-BE49-F238E27FC236}">
                    <a16:creationId xmlns:a16="http://schemas.microsoft.com/office/drawing/2014/main" id="{21DF4DE7-FFE7-9CD7-E092-53B0E33D2864}"/>
                  </a:ext>
                </a:extLst>
              </p:cNvPr>
              <p:cNvSpPr/>
              <p:nvPr/>
            </p:nvSpPr>
            <p:spPr>
              <a:xfrm>
                <a:off x="9588691" y="3338197"/>
                <a:ext cx="300659" cy="255936"/>
              </a:xfrm>
              <a:custGeom>
                <a:avLst/>
                <a:gdLst>
                  <a:gd name="connsiteX0" fmla="*/ 0 w 306705"/>
                  <a:gd name="connsiteY0" fmla="*/ 236315 h 261080"/>
                  <a:gd name="connsiteX1" fmla="*/ 20955 w 306705"/>
                  <a:gd name="connsiteY1" fmla="*/ 224790 h 261080"/>
                  <a:gd name="connsiteX2" fmla="*/ 45720 w 306705"/>
                  <a:gd name="connsiteY2" fmla="*/ 207740 h 261080"/>
                  <a:gd name="connsiteX3" fmla="*/ 56198 w 306705"/>
                  <a:gd name="connsiteY3" fmla="*/ 197167 h 261080"/>
                  <a:gd name="connsiteX4" fmla="*/ 77153 w 306705"/>
                  <a:gd name="connsiteY4" fmla="*/ 193453 h 261080"/>
                  <a:gd name="connsiteX5" fmla="*/ 105728 w 306705"/>
                  <a:gd name="connsiteY5" fmla="*/ 193453 h 261080"/>
                  <a:gd name="connsiteX6" fmla="*/ 133350 w 306705"/>
                  <a:gd name="connsiteY6" fmla="*/ 193453 h 261080"/>
                  <a:gd name="connsiteX7" fmla="*/ 140970 w 306705"/>
                  <a:gd name="connsiteY7" fmla="*/ 176213 h 261080"/>
                  <a:gd name="connsiteX8" fmla="*/ 155257 w 306705"/>
                  <a:gd name="connsiteY8" fmla="*/ 158210 h 261080"/>
                  <a:gd name="connsiteX9" fmla="*/ 161925 w 306705"/>
                  <a:gd name="connsiteY9" fmla="*/ 143923 h 261080"/>
                  <a:gd name="connsiteX10" fmla="*/ 172403 w 306705"/>
                  <a:gd name="connsiteY10" fmla="*/ 130492 h 261080"/>
                  <a:gd name="connsiteX11" fmla="*/ 176213 w 306705"/>
                  <a:gd name="connsiteY11" fmla="*/ 141065 h 261080"/>
                  <a:gd name="connsiteX12" fmla="*/ 176213 w 306705"/>
                  <a:gd name="connsiteY12" fmla="*/ 151543 h 261080"/>
                  <a:gd name="connsiteX13" fmla="*/ 193357 w 306705"/>
                  <a:gd name="connsiteY13" fmla="*/ 143923 h 261080"/>
                  <a:gd name="connsiteX14" fmla="*/ 221932 w 306705"/>
                  <a:gd name="connsiteY14" fmla="*/ 126778 h 261080"/>
                  <a:gd name="connsiteX15" fmla="*/ 246698 w 306705"/>
                  <a:gd name="connsiteY15" fmla="*/ 91535 h 261080"/>
                  <a:gd name="connsiteX16" fmla="*/ 257175 w 306705"/>
                  <a:gd name="connsiteY16" fmla="*/ 62960 h 261080"/>
                  <a:gd name="connsiteX17" fmla="*/ 253365 w 306705"/>
                  <a:gd name="connsiteY17" fmla="*/ 52388 h 261080"/>
                  <a:gd name="connsiteX18" fmla="*/ 249555 w 306705"/>
                  <a:gd name="connsiteY18" fmla="*/ 31528 h 261080"/>
                  <a:gd name="connsiteX19" fmla="*/ 257175 w 306705"/>
                  <a:gd name="connsiteY19" fmla="*/ 17240 h 261080"/>
                  <a:gd name="connsiteX20" fmla="*/ 263843 w 306705"/>
                  <a:gd name="connsiteY20" fmla="*/ 13430 h 261080"/>
                  <a:gd name="connsiteX21" fmla="*/ 281940 w 306705"/>
                  <a:gd name="connsiteY21" fmla="*/ 20955 h 261080"/>
                  <a:gd name="connsiteX22" fmla="*/ 284798 w 306705"/>
                  <a:gd name="connsiteY22" fmla="*/ 10573 h 261080"/>
                  <a:gd name="connsiteX23" fmla="*/ 278130 w 306705"/>
                  <a:gd name="connsiteY23" fmla="*/ 2953 h 261080"/>
                  <a:gd name="connsiteX24" fmla="*/ 288607 w 306705"/>
                  <a:gd name="connsiteY24" fmla="*/ 0 h 261080"/>
                  <a:gd name="connsiteX25" fmla="*/ 292418 w 306705"/>
                  <a:gd name="connsiteY25" fmla="*/ 17240 h 261080"/>
                  <a:gd name="connsiteX26" fmla="*/ 292418 w 306705"/>
                  <a:gd name="connsiteY26" fmla="*/ 31528 h 261080"/>
                  <a:gd name="connsiteX27" fmla="*/ 302895 w 306705"/>
                  <a:gd name="connsiteY27" fmla="*/ 48673 h 261080"/>
                  <a:gd name="connsiteX28" fmla="*/ 306705 w 306705"/>
                  <a:gd name="connsiteY28" fmla="*/ 62960 h 261080"/>
                  <a:gd name="connsiteX29" fmla="*/ 295275 w 306705"/>
                  <a:gd name="connsiteY29" fmla="*/ 83915 h 261080"/>
                  <a:gd name="connsiteX30" fmla="*/ 281940 w 306705"/>
                  <a:gd name="connsiteY30" fmla="*/ 101917 h 261080"/>
                  <a:gd name="connsiteX31" fmla="*/ 278130 w 306705"/>
                  <a:gd name="connsiteY31" fmla="*/ 116205 h 261080"/>
                  <a:gd name="connsiteX32" fmla="*/ 278130 w 306705"/>
                  <a:gd name="connsiteY32" fmla="*/ 141065 h 261080"/>
                  <a:gd name="connsiteX33" fmla="*/ 271463 w 306705"/>
                  <a:gd name="connsiteY33" fmla="*/ 151543 h 261080"/>
                  <a:gd name="connsiteX34" fmla="*/ 267653 w 306705"/>
                  <a:gd name="connsiteY34" fmla="*/ 168592 h 261080"/>
                  <a:gd name="connsiteX35" fmla="*/ 267653 w 306705"/>
                  <a:gd name="connsiteY35" fmla="*/ 172498 h 261080"/>
                  <a:gd name="connsiteX36" fmla="*/ 267653 w 306705"/>
                  <a:gd name="connsiteY36" fmla="*/ 179165 h 261080"/>
                  <a:gd name="connsiteX37" fmla="*/ 267653 w 306705"/>
                  <a:gd name="connsiteY37" fmla="*/ 189643 h 261080"/>
                  <a:gd name="connsiteX38" fmla="*/ 267653 w 306705"/>
                  <a:gd name="connsiteY38" fmla="*/ 193453 h 261080"/>
                  <a:gd name="connsiteX39" fmla="*/ 260985 w 306705"/>
                  <a:gd name="connsiteY39" fmla="*/ 207740 h 261080"/>
                  <a:gd name="connsiteX40" fmla="*/ 249555 w 306705"/>
                  <a:gd name="connsiteY40" fmla="*/ 214313 h 261080"/>
                  <a:gd name="connsiteX41" fmla="*/ 242888 w 306705"/>
                  <a:gd name="connsiteY41" fmla="*/ 203930 h 261080"/>
                  <a:gd name="connsiteX42" fmla="*/ 232410 w 306705"/>
                  <a:gd name="connsiteY42" fmla="*/ 201073 h 261080"/>
                  <a:gd name="connsiteX43" fmla="*/ 221932 w 306705"/>
                  <a:gd name="connsiteY43" fmla="*/ 203930 h 261080"/>
                  <a:gd name="connsiteX44" fmla="*/ 225743 w 306705"/>
                  <a:gd name="connsiteY44" fmla="*/ 218218 h 261080"/>
                  <a:gd name="connsiteX45" fmla="*/ 221932 w 306705"/>
                  <a:gd name="connsiteY45" fmla="*/ 224790 h 261080"/>
                  <a:gd name="connsiteX46" fmla="*/ 207645 w 306705"/>
                  <a:gd name="connsiteY46" fmla="*/ 214313 h 261080"/>
                  <a:gd name="connsiteX47" fmla="*/ 203835 w 306705"/>
                  <a:gd name="connsiteY47" fmla="*/ 222028 h 261080"/>
                  <a:gd name="connsiteX48" fmla="*/ 193357 w 306705"/>
                  <a:gd name="connsiteY48" fmla="*/ 222028 h 261080"/>
                  <a:gd name="connsiteX49" fmla="*/ 179070 w 306705"/>
                  <a:gd name="connsiteY49" fmla="*/ 222028 h 261080"/>
                  <a:gd name="connsiteX50" fmla="*/ 161925 w 306705"/>
                  <a:gd name="connsiteY50" fmla="*/ 222028 h 261080"/>
                  <a:gd name="connsiteX51" fmla="*/ 158115 w 306705"/>
                  <a:gd name="connsiteY51" fmla="*/ 214313 h 261080"/>
                  <a:gd name="connsiteX52" fmla="*/ 155257 w 306705"/>
                  <a:gd name="connsiteY52" fmla="*/ 222028 h 261080"/>
                  <a:gd name="connsiteX53" fmla="*/ 161925 w 306705"/>
                  <a:gd name="connsiteY53" fmla="*/ 232505 h 261080"/>
                  <a:gd name="connsiteX54" fmla="*/ 147638 w 306705"/>
                  <a:gd name="connsiteY54" fmla="*/ 239077 h 261080"/>
                  <a:gd name="connsiteX55" fmla="*/ 140970 w 306705"/>
                  <a:gd name="connsiteY55" fmla="*/ 253365 h 261080"/>
                  <a:gd name="connsiteX56" fmla="*/ 130493 w 306705"/>
                  <a:gd name="connsiteY56" fmla="*/ 261080 h 261080"/>
                  <a:gd name="connsiteX57" fmla="*/ 120015 w 306705"/>
                  <a:gd name="connsiteY57" fmla="*/ 246793 h 261080"/>
                  <a:gd name="connsiteX58" fmla="*/ 109538 w 306705"/>
                  <a:gd name="connsiteY58" fmla="*/ 239077 h 261080"/>
                  <a:gd name="connsiteX59" fmla="*/ 122873 w 306705"/>
                  <a:gd name="connsiteY59" fmla="*/ 228695 h 261080"/>
                  <a:gd name="connsiteX60" fmla="*/ 126682 w 306705"/>
                  <a:gd name="connsiteY60" fmla="*/ 218218 h 261080"/>
                  <a:gd name="connsiteX61" fmla="*/ 98107 w 306705"/>
                  <a:gd name="connsiteY61" fmla="*/ 218218 h 261080"/>
                  <a:gd name="connsiteX62" fmla="*/ 87630 w 306705"/>
                  <a:gd name="connsiteY62" fmla="*/ 224790 h 261080"/>
                  <a:gd name="connsiteX63" fmla="*/ 66675 w 306705"/>
                  <a:gd name="connsiteY63" fmla="*/ 228695 h 261080"/>
                  <a:gd name="connsiteX64" fmla="*/ 49530 w 306705"/>
                  <a:gd name="connsiteY64" fmla="*/ 236315 h 261080"/>
                  <a:gd name="connsiteX65" fmla="*/ 31432 w 306705"/>
                  <a:gd name="connsiteY65" fmla="*/ 236315 h 261080"/>
                  <a:gd name="connsiteX66" fmla="*/ 17145 w 306705"/>
                  <a:gd name="connsiteY66" fmla="*/ 246793 h 261080"/>
                  <a:gd name="connsiteX67" fmla="*/ 3810 w 306705"/>
                  <a:gd name="connsiteY67" fmla="*/ 242983 h 261080"/>
                  <a:gd name="connsiteX68" fmla="*/ 0 w 306705"/>
                  <a:gd name="connsiteY68" fmla="*/ 236315 h 2610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306705" h="261080">
                    <a:moveTo>
                      <a:pt x="0" y="236315"/>
                    </a:moveTo>
                    <a:lnTo>
                      <a:pt x="20955" y="224790"/>
                    </a:lnTo>
                    <a:lnTo>
                      <a:pt x="45720" y="207740"/>
                    </a:lnTo>
                    <a:lnTo>
                      <a:pt x="56198" y="197167"/>
                    </a:lnTo>
                    <a:lnTo>
                      <a:pt x="77153" y="193453"/>
                    </a:lnTo>
                    <a:lnTo>
                      <a:pt x="105728" y="193453"/>
                    </a:lnTo>
                    <a:lnTo>
                      <a:pt x="133350" y="193453"/>
                    </a:lnTo>
                    <a:lnTo>
                      <a:pt x="140970" y="176213"/>
                    </a:lnTo>
                    <a:lnTo>
                      <a:pt x="155257" y="158210"/>
                    </a:lnTo>
                    <a:lnTo>
                      <a:pt x="161925" y="143923"/>
                    </a:lnTo>
                    <a:lnTo>
                      <a:pt x="172403" y="130492"/>
                    </a:lnTo>
                    <a:lnTo>
                      <a:pt x="176213" y="141065"/>
                    </a:lnTo>
                    <a:lnTo>
                      <a:pt x="176213" y="151543"/>
                    </a:lnTo>
                    <a:lnTo>
                      <a:pt x="193357" y="143923"/>
                    </a:lnTo>
                    <a:lnTo>
                      <a:pt x="221932" y="126778"/>
                    </a:lnTo>
                    <a:lnTo>
                      <a:pt x="246698" y="91535"/>
                    </a:lnTo>
                    <a:lnTo>
                      <a:pt x="257175" y="62960"/>
                    </a:lnTo>
                    <a:lnTo>
                      <a:pt x="253365" y="52388"/>
                    </a:lnTo>
                    <a:lnTo>
                      <a:pt x="249555" y="31528"/>
                    </a:lnTo>
                    <a:lnTo>
                      <a:pt x="257175" y="17240"/>
                    </a:lnTo>
                    <a:lnTo>
                      <a:pt x="263843" y="13430"/>
                    </a:lnTo>
                    <a:lnTo>
                      <a:pt x="281940" y="20955"/>
                    </a:lnTo>
                    <a:lnTo>
                      <a:pt x="284798" y="10573"/>
                    </a:lnTo>
                    <a:lnTo>
                      <a:pt x="278130" y="2953"/>
                    </a:lnTo>
                    <a:lnTo>
                      <a:pt x="288607" y="0"/>
                    </a:lnTo>
                    <a:lnTo>
                      <a:pt x="292418" y="17240"/>
                    </a:lnTo>
                    <a:lnTo>
                      <a:pt x="292418" y="31528"/>
                    </a:lnTo>
                    <a:lnTo>
                      <a:pt x="302895" y="48673"/>
                    </a:lnTo>
                    <a:lnTo>
                      <a:pt x="306705" y="62960"/>
                    </a:lnTo>
                    <a:lnTo>
                      <a:pt x="295275" y="83915"/>
                    </a:lnTo>
                    <a:lnTo>
                      <a:pt x="281940" y="101917"/>
                    </a:lnTo>
                    <a:lnTo>
                      <a:pt x="278130" y="116205"/>
                    </a:lnTo>
                    <a:lnTo>
                      <a:pt x="278130" y="141065"/>
                    </a:lnTo>
                    <a:lnTo>
                      <a:pt x="271463" y="151543"/>
                    </a:lnTo>
                    <a:lnTo>
                      <a:pt x="267653" y="168592"/>
                    </a:lnTo>
                    <a:lnTo>
                      <a:pt x="267653" y="172498"/>
                    </a:lnTo>
                    <a:lnTo>
                      <a:pt x="267653" y="179165"/>
                    </a:lnTo>
                    <a:lnTo>
                      <a:pt x="267653" y="189643"/>
                    </a:lnTo>
                    <a:lnTo>
                      <a:pt x="267653" y="193453"/>
                    </a:lnTo>
                    <a:lnTo>
                      <a:pt x="260985" y="207740"/>
                    </a:lnTo>
                    <a:lnTo>
                      <a:pt x="249555" y="214313"/>
                    </a:lnTo>
                    <a:lnTo>
                      <a:pt x="242888" y="203930"/>
                    </a:lnTo>
                    <a:lnTo>
                      <a:pt x="232410" y="201073"/>
                    </a:lnTo>
                    <a:lnTo>
                      <a:pt x="221932" y="203930"/>
                    </a:lnTo>
                    <a:lnTo>
                      <a:pt x="225743" y="218218"/>
                    </a:lnTo>
                    <a:lnTo>
                      <a:pt x="221932" y="224790"/>
                    </a:lnTo>
                    <a:lnTo>
                      <a:pt x="207645" y="214313"/>
                    </a:lnTo>
                    <a:lnTo>
                      <a:pt x="203835" y="222028"/>
                    </a:lnTo>
                    <a:lnTo>
                      <a:pt x="193357" y="222028"/>
                    </a:lnTo>
                    <a:lnTo>
                      <a:pt x="179070" y="222028"/>
                    </a:lnTo>
                    <a:lnTo>
                      <a:pt x="161925" y="222028"/>
                    </a:lnTo>
                    <a:lnTo>
                      <a:pt x="158115" y="214313"/>
                    </a:lnTo>
                    <a:lnTo>
                      <a:pt x="155257" y="222028"/>
                    </a:lnTo>
                    <a:lnTo>
                      <a:pt x="161925" y="232505"/>
                    </a:lnTo>
                    <a:lnTo>
                      <a:pt x="147638" y="239077"/>
                    </a:lnTo>
                    <a:lnTo>
                      <a:pt x="140970" y="253365"/>
                    </a:lnTo>
                    <a:lnTo>
                      <a:pt x="130493" y="261080"/>
                    </a:lnTo>
                    <a:lnTo>
                      <a:pt x="120015" y="246793"/>
                    </a:lnTo>
                    <a:lnTo>
                      <a:pt x="109538" y="239077"/>
                    </a:lnTo>
                    <a:lnTo>
                      <a:pt x="122873" y="228695"/>
                    </a:lnTo>
                    <a:lnTo>
                      <a:pt x="126682" y="218218"/>
                    </a:lnTo>
                    <a:lnTo>
                      <a:pt x="98107" y="218218"/>
                    </a:lnTo>
                    <a:lnTo>
                      <a:pt x="87630" y="224790"/>
                    </a:lnTo>
                    <a:lnTo>
                      <a:pt x="66675" y="228695"/>
                    </a:lnTo>
                    <a:lnTo>
                      <a:pt x="49530" y="236315"/>
                    </a:lnTo>
                    <a:lnTo>
                      <a:pt x="31432" y="236315"/>
                    </a:lnTo>
                    <a:lnTo>
                      <a:pt x="17145" y="246793"/>
                    </a:lnTo>
                    <a:lnTo>
                      <a:pt x="3810" y="242983"/>
                    </a:lnTo>
                    <a:lnTo>
                      <a:pt x="0" y="236315"/>
                    </a:lnTo>
                    <a:close/>
                  </a:path>
                </a:pathLst>
              </a:custGeom>
              <a:solidFill>
                <a:srgbClr val="CEE4BF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2" name="Freeform: Shape 331">
                <a:extLst>
                  <a:ext uri="{FF2B5EF4-FFF2-40B4-BE49-F238E27FC236}">
                    <a16:creationId xmlns:a16="http://schemas.microsoft.com/office/drawing/2014/main" id="{61FC298B-DB3D-1D60-B764-68C52961114B}"/>
                  </a:ext>
                </a:extLst>
              </p:cNvPr>
              <p:cNvSpPr/>
              <p:nvPr/>
            </p:nvSpPr>
            <p:spPr>
              <a:xfrm>
                <a:off x="9460770" y="3438106"/>
                <a:ext cx="86836" cy="124279"/>
              </a:xfrm>
              <a:custGeom>
                <a:avLst/>
                <a:gdLst>
                  <a:gd name="connsiteX0" fmla="*/ 3810 w 88582"/>
                  <a:gd name="connsiteY0" fmla="*/ 56293 h 126777"/>
                  <a:gd name="connsiteX1" fmla="*/ 3810 w 88582"/>
                  <a:gd name="connsiteY1" fmla="*/ 49625 h 126777"/>
                  <a:gd name="connsiteX2" fmla="*/ 14288 w 88582"/>
                  <a:gd name="connsiteY2" fmla="*/ 52388 h 126777"/>
                  <a:gd name="connsiteX3" fmla="*/ 20955 w 88582"/>
                  <a:gd name="connsiteY3" fmla="*/ 49625 h 126777"/>
                  <a:gd name="connsiteX4" fmla="*/ 18098 w 88582"/>
                  <a:gd name="connsiteY4" fmla="*/ 39148 h 126777"/>
                  <a:gd name="connsiteX5" fmla="*/ 10478 w 88582"/>
                  <a:gd name="connsiteY5" fmla="*/ 35338 h 126777"/>
                  <a:gd name="connsiteX6" fmla="*/ 18098 w 88582"/>
                  <a:gd name="connsiteY6" fmla="*/ 10573 h 126777"/>
                  <a:gd name="connsiteX7" fmla="*/ 35243 w 88582"/>
                  <a:gd name="connsiteY7" fmla="*/ 3905 h 126777"/>
                  <a:gd name="connsiteX8" fmla="*/ 53340 w 88582"/>
                  <a:gd name="connsiteY8" fmla="*/ 0 h 126777"/>
                  <a:gd name="connsiteX9" fmla="*/ 66675 w 88582"/>
                  <a:gd name="connsiteY9" fmla="*/ 14288 h 126777"/>
                  <a:gd name="connsiteX10" fmla="*/ 77153 w 88582"/>
                  <a:gd name="connsiteY10" fmla="*/ 31433 h 126777"/>
                  <a:gd name="connsiteX11" fmla="*/ 84773 w 88582"/>
                  <a:gd name="connsiteY11" fmla="*/ 52388 h 126777"/>
                  <a:gd name="connsiteX12" fmla="*/ 88583 w 88582"/>
                  <a:gd name="connsiteY12" fmla="*/ 70580 h 126777"/>
                  <a:gd name="connsiteX13" fmla="*/ 84773 w 88582"/>
                  <a:gd name="connsiteY13" fmla="*/ 95250 h 126777"/>
                  <a:gd name="connsiteX14" fmla="*/ 88583 w 88582"/>
                  <a:gd name="connsiteY14" fmla="*/ 95250 h 126777"/>
                  <a:gd name="connsiteX15" fmla="*/ 88583 w 88582"/>
                  <a:gd name="connsiteY15" fmla="*/ 99155 h 126777"/>
                  <a:gd name="connsiteX16" fmla="*/ 80963 w 88582"/>
                  <a:gd name="connsiteY16" fmla="*/ 102013 h 126777"/>
                  <a:gd name="connsiteX17" fmla="*/ 66675 w 88582"/>
                  <a:gd name="connsiteY17" fmla="*/ 109538 h 126777"/>
                  <a:gd name="connsiteX18" fmla="*/ 60008 w 88582"/>
                  <a:gd name="connsiteY18" fmla="*/ 112395 h 126777"/>
                  <a:gd name="connsiteX19" fmla="*/ 49530 w 88582"/>
                  <a:gd name="connsiteY19" fmla="*/ 105823 h 126777"/>
                  <a:gd name="connsiteX20" fmla="*/ 41910 w 88582"/>
                  <a:gd name="connsiteY20" fmla="*/ 112395 h 126777"/>
                  <a:gd name="connsiteX21" fmla="*/ 28575 w 88582"/>
                  <a:gd name="connsiteY21" fmla="*/ 122872 h 126777"/>
                  <a:gd name="connsiteX22" fmla="*/ 20955 w 88582"/>
                  <a:gd name="connsiteY22" fmla="*/ 120110 h 126777"/>
                  <a:gd name="connsiteX23" fmla="*/ 3810 w 88582"/>
                  <a:gd name="connsiteY23" fmla="*/ 126778 h 126777"/>
                  <a:gd name="connsiteX24" fmla="*/ 0 w 88582"/>
                  <a:gd name="connsiteY24" fmla="*/ 116300 h 126777"/>
                  <a:gd name="connsiteX25" fmla="*/ 3810 w 88582"/>
                  <a:gd name="connsiteY25" fmla="*/ 102013 h 126777"/>
                  <a:gd name="connsiteX26" fmla="*/ 3810 w 88582"/>
                  <a:gd name="connsiteY26" fmla="*/ 84868 h 126777"/>
                  <a:gd name="connsiteX27" fmla="*/ 10478 w 88582"/>
                  <a:gd name="connsiteY27" fmla="*/ 80963 h 126777"/>
                  <a:gd name="connsiteX28" fmla="*/ 10478 w 88582"/>
                  <a:gd name="connsiteY28" fmla="*/ 66675 h 126777"/>
                  <a:gd name="connsiteX29" fmla="*/ 3810 w 88582"/>
                  <a:gd name="connsiteY29" fmla="*/ 56293 h 126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88582" h="126777">
                    <a:moveTo>
                      <a:pt x="3810" y="56293"/>
                    </a:moveTo>
                    <a:lnTo>
                      <a:pt x="3810" y="49625"/>
                    </a:lnTo>
                    <a:lnTo>
                      <a:pt x="14288" y="52388"/>
                    </a:lnTo>
                    <a:lnTo>
                      <a:pt x="20955" y="49625"/>
                    </a:lnTo>
                    <a:lnTo>
                      <a:pt x="18098" y="39148"/>
                    </a:lnTo>
                    <a:lnTo>
                      <a:pt x="10478" y="35338"/>
                    </a:lnTo>
                    <a:lnTo>
                      <a:pt x="18098" y="10573"/>
                    </a:lnTo>
                    <a:lnTo>
                      <a:pt x="35243" y="3905"/>
                    </a:lnTo>
                    <a:lnTo>
                      <a:pt x="53340" y="0"/>
                    </a:lnTo>
                    <a:lnTo>
                      <a:pt x="66675" y="14288"/>
                    </a:lnTo>
                    <a:lnTo>
                      <a:pt x="77153" y="31433"/>
                    </a:lnTo>
                    <a:lnTo>
                      <a:pt x="84773" y="52388"/>
                    </a:lnTo>
                    <a:lnTo>
                      <a:pt x="88583" y="70580"/>
                    </a:lnTo>
                    <a:lnTo>
                      <a:pt x="84773" y="95250"/>
                    </a:lnTo>
                    <a:lnTo>
                      <a:pt x="88583" y="95250"/>
                    </a:lnTo>
                    <a:lnTo>
                      <a:pt x="88583" y="99155"/>
                    </a:lnTo>
                    <a:lnTo>
                      <a:pt x="80963" y="102013"/>
                    </a:lnTo>
                    <a:lnTo>
                      <a:pt x="66675" y="109538"/>
                    </a:lnTo>
                    <a:lnTo>
                      <a:pt x="60008" y="112395"/>
                    </a:lnTo>
                    <a:lnTo>
                      <a:pt x="49530" y="105823"/>
                    </a:lnTo>
                    <a:lnTo>
                      <a:pt x="41910" y="112395"/>
                    </a:lnTo>
                    <a:lnTo>
                      <a:pt x="28575" y="122872"/>
                    </a:lnTo>
                    <a:lnTo>
                      <a:pt x="20955" y="120110"/>
                    </a:lnTo>
                    <a:lnTo>
                      <a:pt x="3810" y="126778"/>
                    </a:lnTo>
                    <a:lnTo>
                      <a:pt x="0" y="116300"/>
                    </a:lnTo>
                    <a:lnTo>
                      <a:pt x="3810" y="102013"/>
                    </a:lnTo>
                    <a:lnTo>
                      <a:pt x="3810" y="84868"/>
                    </a:lnTo>
                    <a:lnTo>
                      <a:pt x="10478" y="80963"/>
                    </a:lnTo>
                    <a:lnTo>
                      <a:pt x="10478" y="66675"/>
                    </a:lnTo>
                    <a:lnTo>
                      <a:pt x="3810" y="56293"/>
                    </a:lnTo>
                    <a:close/>
                  </a:path>
                </a:pathLst>
              </a:custGeom>
              <a:solidFill>
                <a:srgbClr val="CEE4BF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3" name="Freeform: Shape 332">
                <a:extLst>
                  <a:ext uri="{FF2B5EF4-FFF2-40B4-BE49-F238E27FC236}">
                    <a16:creationId xmlns:a16="http://schemas.microsoft.com/office/drawing/2014/main" id="{DBC4E07F-0F2D-918D-48A0-44F6349921CC}"/>
                  </a:ext>
                </a:extLst>
              </p:cNvPr>
              <p:cNvSpPr/>
              <p:nvPr/>
            </p:nvSpPr>
            <p:spPr>
              <a:xfrm>
                <a:off x="9409416" y="3292537"/>
                <a:ext cx="169004" cy="166203"/>
              </a:xfrm>
              <a:custGeom>
                <a:avLst/>
                <a:gdLst>
                  <a:gd name="connsiteX0" fmla="*/ 41910 w 172402"/>
                  <a:gd name="connsiteY0" fmla="*/ 162782 h 169544"/>
                  <a:gd name="connsiteX1" fmla="*/ 20955 w 172402"/>
                  <a:gd name="connsiteY1" fmla="*/ 165640 h 169544"/>
                  <a:gd name="connsiteX2" fmla="*/ 13335 w 172402"/>
                  <a:gd name="connsiteY2" fmla="*/ 155257 h 169544"/>
                  <a:gd name="connsiteX3" fmla="*/ 20955 w 172402"/>
                  <a:gd name="connsiteY3" fmla="*/ 140970 h 169544"/>
                  <a:gd name="connsiteX4" fmla="*/ 20955 w 172402"/>
                  <a:gd name="connsiteY4" fmla="*/ 123825 h 169544"/>
                  <a:gd name="connsiteX5" fmla="*/ 27623 w 172402"/>
                  <a:gd name="connsiteY5" fmla="*/ 105632 h 169544"/>
                  <a:gd name="connsiteX6" fmla="*/ 10478 w 172402"/>
                  <a:gd name="connsiteY6" fmla="*/ 105632 h 169544"/>
                  <a:gd name="connsiteX7" fmla="*/ 0 w 172402"/>
                  <a:gd name="connsiteY7" fmla="*/ 98965 h 169544"/>
                  <a:gd name="connsiteX8" fmla="*/ 10478 w 172402"/>
                  <a:gd name="connsiteY8" fmla="*/ 84677 h 169544"/>
                  <a:gd name="connsiteX9" fmla="*/ 38100 w 172402"/>
                  <a:gd name="connsiteY9" fmla="*/ 67532 h 169544"/>
                  <a:gd name="connsiteX10" fmla="*/ 48578 w 172402"/>
                  <a:gd name="connsiteY10" fmla="*/ 57150 h 169544"/>
                  <a:gd name="connsiteX11" fmla="*/ 62865 w 172402"/>
                  <a:gd name="connsiteY11" fmla="*/ 42863 h 169544"/>
                  <a:gd name="connsiteX12" fmla="*/ 70485 w 172402"/>
                  <a:gd name="connsiteY12" fmla="*/ 38957 h 169544"/>
                  <a:gd name="connsiteX13" fmla="*/ 87630 w 172402"/>
                  <a:gd name="connsiteY13" fmla="*/ 46577 h 169544"/>
                  <a:gd name="connsiteX14" fmla="*/ 105728 w 172402"/>
                  <a:gd name="connsiteY14" fmla="*/ 42863 h 169544"/>
                  <a:gd name="connsiteX15" fmla="*/ 108585 w 172402"/>
                  <a:gd name="connsiteY15" fmla="*/ 28575 h 169544"/>
                  <a:gd name="connsiteX16" fmla="*/ 126683 w 172402"/>
                  <a:gd name="connsiteY16" fmla="*/ 28575 h 169544"/>
                  <a:gd name="connsiteX17" fmla="*/ 140970 w 172402"/>
                  <a:gd name="connsiteY17" fmla="*/ 18002 h 169544"/>
                  <a:gd name="connsiteX18" fmla="*/ 143828 w 172402"/>
                  <a:gd name="connsiteY18" fmla="*/ 7620 h 169544"/>
                  <a:gd name="connsiteX19" fmla="*/ 154305 w 172402"/>
                  <a:gd name="connsiteY19" fmla="*/ 0 h 169544"/>
                  <a:gd name="connsiteX20" fmla="*/ 172403 w 172402"/>
                  <a:gd name="connsiteY20" fmla="*/ 14288 h 169544"/>
                  <a:gd name="connsiteX21" fmla="*/ 161925 w 172402"/>
                  <a:gd name="connsiteY21" fmla="*/ 21907 h 169544"/>
                  <a:gd name="connsiteX22" fmla="*/ 147638 w 172402"/>
                  <a:gd name="connsiteY22" fmla="*/ 32290 h 169544"/>
                  <a:gd name="connsiteX23" fmla="*/ 140970 w 172402"/>
                  <a:gd name="connsiteY23" fmla="*/ 49530 h 169544"/>
                  <a:gd name="connsiteX24" fmla="*/ 137160 w 172402"/>
                  <a:gd name="connsiteY24" fmla="*/ 67532 h 169544"/>
                  <a:gd name="connsiteX25" fmla="*/ 133350 w 172402"/>
                  <a:gd name="connsiteY25" fmla="*/ 74295 h 169544"/>
                  <a:gd name="connsiteX26" fmla="*/ 119063 w 172402"/>
                  <a:gd name="connsiteY26" fmla="*/ 81820 h 169544"/>
                  <a:gd name="connsiteX27" fmla="*/ 91440 w 172402"/>
                  <a:gd name="connsiteY27" fmla="*/ 92392 h 169544"/>
                  <a:gd name="connsiteX28" fmla="*/ 83820 w 172402"/>
                  <a:gd name="connsiteY28" fmla="*/ 102870 h 169544"/>
                  <a:gd name="connsiteX29" fmla="*/ 83820 w 172402"/>
                  <a:gd name="connsiteY29" fmla="*/ 117157 h 169544"/>
                  <a:gd name="connsiteX30" fmla="*/ 91440 w 172402"/>
                  <a:gd name="connsiteY30" fmla="*/ 134207 h 169544"/>
                  <a:gd name="connsiteX31" fmla="*/ 98108 w 172402"/>
                  <a:gd name="connsiteY31" fmla="*/ 140970 h 169544"/>
                  <a:gd name="connsiteX32" fmla="*/ 105728 w 172402"/>
                  <a:gd name="connsiteY32" fmla="*/ 148495 h 169544"/>
                  <a:gd name="connsiteX33" fmla="*/ 87630 w 172402"/>
                  <a:gd name="connsiteY33" fmla="*/ 152400 h 169544"/>
                  <a:gd name="connsiteX34" fmla="*/ 70485 w 172402"/>
                  <a:gd name="connsiteY34" fmla="*/ 159067 h 169544"/>
                  <a:gd name="connsiteX35" fmla="*/ 62865 w 172402"/>
                  <a:gd name="connsiteY35" fmla="*/ 169545 h 169544"/>
                  <a:gd name="connsiteX36" fmla="*/ 41910 w 172402"/>
                  <a:gd name="connsiteY36" fmla="*/ 162782 h 1695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172402" h="169544">
                    <a:moveTo>
                      <a:pt x="41910" y="162782"/>
                    </a:moveTo>
                    <a:lnTo>
                      <a:pt x="20955" y="165640"/>
                    </a:lnTo>
                    <a:lnTo>
                      <a:pt x="13335" y="155257"/>
                    </a:lnTo>
                    <a:lnTo>
                      <a:pt x="20955" y="140970"/>
                    </a:lnTo>
                    <a:lnTo>
                      <a:pt x="20955" y="123825"/>
                    </a:lnTo>
                    <a:lnTo>
                      <a:pt x="27623" y="105632"/>
                    </a:lnTo>
                    <a:lnTo>
                      <a:pt x="10478" y="105632"/>
                    </a:lnTo>
                    <a:lnTo>
                      <a:pt x="0" y="98965"/>
                    </a:lnTo>
                    <a:lnTo>
                      <a:pt x="10478" y="84677"/>
                    </a:lnTo>
                    <a:lnTo>
                      <a:pt x="38100" y="67532"/>
                    </a:lnTo>
                    <a:lnTo>
                      <a:pt x="48578" y="57150"/>
                    </a:lnTo>
                    <a:lnTo>
                      <a:pt x="62865" y="42863"/>
                    </a:lnTo>
                    <a:lnTo>
                      <a:pt x="70485" y="38957"/>
                    </a:lnTo>
                    <a:lnTo>
                      <a:pt x="87630" y="46577"/>
                    </a:lnTo>
                    <a:lnTo>
                      <a:pt x="105728" y="42863"/>
                    </a:lnTo>
                    <a:lnTo>
                      <a:pt x="108585" y="28575"/>
                    </a:lnTo>
                    <a:lnTo>
                      <a:pt x="126683" y="28575"/>
                    </a:lnTo>
                    <a:lnTo>
                      <a:pt x="140970" y="18002"/>
                    </a:lnTo>
                    <a:lnTo>
                      <a:pt x="143828" y="7620"/>
                    </a:lnTo>
                    <a:lnTo>
                      <a:pt x="154305" y="0"/>
                    </a:lnTo>
                    <a:lnTo>
                      <a:pt x="172403" y="14288"/>
                    </a:lnTo>
                    <a:lnTo>
                      <a:pt x="161925" y="21907"/>
                    </a:lnTo>
                    <a:lnTo>
                      <a:pt x="147638" y="32290"/>
                    </a:lnTo>
                    <a:lnTo>
                      <a:pt x="140970" y="49530"/>
                    </a:lnTo>
                    <a:lnTo>
                      <a:pt x="137160" y="67532"/>
                    </a:lnTo>
                    <a:lnTo>
                      <a:pt x="133350" y="74295"/>
                    </a:lnTo>
                    <a:lnTo>
                      <a:pt x="119063" y="81820"/>
                    </a:lnTo>
                    <a:lnTo>
                      <a:pt x="91440" y="92392"/>
                    </a:lnTo>
                    <a:lnTo>
                      <a:pt x="83820" y="102870"/>
                    </a:lnTo>
                    <a:lnTo>
                      <a:pt x="83820" y="117157"/>
                    </a:lnTo>
                    <a:lnTo>
                      <a:pt x="91440" y="134207"/>
                    </a:lnTo>
                    <a:lnTo>
                      <a:pt x="98108" y="140970"/>
                    </a:lnTo>
                    <a:lnTo>
                      <a:pt x="105728" y="148495"/>
                    </a:lnTo>
                    <a:lnTo>
                      <a:pt x="87630" y="152400"/>
                    </a:lnTo>
                    <a:lnTo>
                      <a:pt x="70485" y="159067"/>
                    </a:lnTo>
                    <a:lnTo>
                      <a:pt x="62865" y="169545"/>
                    </a:lnTo>
                    <a:lnTo>
                      <a:pt x="41910" y="1627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4" name="Freeform: Shape 333">
                <a:extLst>
                  <a:ext uri="{FF2B5EF4-FFF2-40B4-BE49-F238E27FC236}">
                    <a16:creationId xmlns:a16="http://schemas.microsoft.com/office/drawing/2014/main" id="{C2BC6381-FE10-BEAA-23E6-1B8F81940DBE}"/>
                  </a:ext>
                </a:extLst>
              </p:cNvPr>
              <p:cNvSpPr/>
              <p:nvPr/>
            </p:nvSpPr>
            <p:spPr>
              <a:xfrm>
                <a:off x="8732465" y="3921872"/>
                <a:ext cx="213822" cy="235206"/>
              </a:xfrm>
              <a:custGeom>
                <a:avLst/>
                <a:gdLst>
                  <a:gd name="connsiteX0" fmla="*/ 20955 w 218122"/>
                  <a:gd name="connsiteY0" fmla="*/ 24670 h 239934"/>
                  <a:gd name="connsiteX1" fmla="*/ 35243 w 218122"/>
                  <a:gd name="connsiteY1" fmla="*/ 24670 h 239934"/>
                  <a:gd name="connsiteX2" fmla="*/ 41910 w 218122"/>
                  <a:gd name="connsiteY2" fmla="*/ 32385 h 239934"/>
                  <a:gd name="connsiteX3" fmla="*/ 56198 w 218122"/>
                  <a:gd name="connsiteY3" fmla="*/ 32385 h 239934"/>
                  <a:gd name="connsiteX4" fmla="*/ 60008 w 218122"/>
                  <a:gd name="connsiteY4" fmla="*/ 18097 h 239934"/>
                  <a:gd name="connsiteX5" fmla="*/ 49530 w 218122"/>
                  <a:gd name="connsiteY5" fmla="*/ 14288 h 239934"/>
                  <a:gd name="connsiteX6" fmla="*/ 49530 w 218122"/>
                  <a:gd name="connsiteY6" fmla="*/ 0 h 239934"/>
                  <a:gd name="connsiteX7" fmla="*/ 70485 w 218122"/>
                  <a:gd name="connsiteY7" fmla="*/ 0 h 239934"/>
                  <a:gd name="connsiteX8" fmla="*/ 70485 w 218122"/>
                  <a:gd name="connsiteY8" fmla="*/ 7620 h 239934"/>
                  <a:gd name="connsiteX9" fmla="*/ 87630 w 218122"/>
                  <a:gd name="connsiteY9" fmla="*/ 24670 h 239934"/>
                  <a:gd name="connsiteX10" fmla="*/ 91440 w 218122"/>
                  <a:gd name="connsiteY10" fmla="*/ 42863 h 239934"/>
                  <a:gd name="connsiteX11" fmla="*/ 91440 w 218122"/>
                  <a:gd name="connsiteY11" fmla="*/ 49435 h 239934"/>
                  <a:gd name="connsiteX12" fmla="*/ 130493 w 218122"/>
                  <a:gd name="connsiteY12" fmla="*/ 45720 h 239934"/>
                  <a:gd name="connsiteX13" fmla="*/ 140970 w 218122"/>
                  <a:gd name="connsiteY13" fmla="*/ 63722 h 239934"/>
                  <a:gd name="connsiteX14" fmla="*/ 144780 w 218122"/>
                  <a:gd name="connsiteY14" fmla="*/ 80963 h 239934"/>
                  <a:gd name="connsiteX15" fmla="*/ 120015 w 218122"/>
                  <a:gd name="connsiteY15" fmla="*/ 80963 h 239934"/>
                  <a:gd name="connsiteX16" fmla="*/ 120015 w 218122"/>
                  <a:gd name="connsiteY16" fmla="*/ 99060 h 239934"/>
                  <a:gd name="connsiteX17" fmla="*/ 133350 w 218122"/>
                  <a:gd name="connsiteY17" fmla="*/ 105632 h 239934"/>
                  <a:gd name="connsiteX18" fmla="*/ 176213 w 218122"/>
                  <a:gd name="connsiteY18" fmla="*/ 148495 h 239934"/>
                  <a:gd name="connsiteX19" fmla="*/ 211455 w 218122"/>
                  <a:gd name="connsiteY19" fmla="*/ 186595 h 239934"/>
                  <a:gd name="connsiteX20" fmla="*/ 218123 w 218122"/>
                  <a:gd name="connsiteY20" fmla="*/ 211360 h 239934"/>
                  <a:gd name="connsiteX21" fmla="*/ 214313 w 218122"/>
                  <a:gd name="connsiteY21" fmla="*/ 236220 h 239934"/>
                  <a:gd name="connsiteX22" fmla="*/ 197168 w 218122"/>
                  <a:gd name="connsiteY22" fmla="*/ 236220 h 239934"/>
                  <a:gd name="connsiteX23" fmla="*/ 193358 w 218122"/>
                  <a:gd name="connsiteY23" fmla="*/ 225647 h 239934"/>
                  <a:gd name="connsiteX24" fmla="*/ 182880 w 218122"/>
                  <a:gd name="connsiteY24" fmla="*/ 225647 h 239934"/>
                  <a:gd name="connsiteX25" fmla="*/ 180023 w 218122"/>
                  <a:gd name="connsiteY25" fmla="*/ 239935 h 239934"/>
                  <a:gd name="connsiteX26" fmla="*/ 158115 w 218122"/>
                  <a:gd name="connsiteY26" fmla="*/ 239935 h 239934"/>
                  <a:gd name="connsiteX27" fmla="*/ 158115 w 218122"/>
                  <a:gd name="connsiteY27" fmla="*/ 229457 h 239934"/>
                  <a:gd name="connsiteX28" fmla="*/ 165735 w 218122"/>
                  <a:gd name="connsiteY28" fmla="*/ 208597 h 239934"/>
                  <a:gd name="connsiteX29" fmla="*/ 165735 w 218122"/>
                  <a:gd name="connsiteY29" fmla="*/ 190500 h 239934"/>
                  <a:gd name="connsiteX30" fmla="*/ 147638 w 218122"/>
                  <a:gd name="connsiteY30" fmla="*/ 173260 h 239934"/>
                  <a:gd name="connsiteX31" fmla="*/ 140970 w 218122"/>
                  <a:gd name="connsiteY31" fmla="*/ 144685 h 239934"/>
                  <a:gd name="connsiteX32" fmla="*/ 112395 w 218122"/>
                  <a:gd name="connsiteY32" fmla="*/ 113347 h 239934"/>
                  <a:gd name="connsiteX33" fmla="*/ 91440 w 218122"/>
                  <a:gd name="connsiteY33" fmla="*/ 126682 h 239934"/>
                  <a:gd name="connsiteX34" fmla="*/ 70485 w 218122"/>
                  <a:gd name="connsiteY34" fmla="*/ 119920 h 239934"/>
                  <a:gd name="connsiteX35" fmla="*/ 35243 w 218122"/>
                  <a:gd name="connsiteY35" fmla="*/ 140970 h 239934"/>
                  <a:gd name="connsiteX36" fmla="*/ 35243 w 218122"/>
                  <a:gd name="connsiteY36" fmla="*/ 116110 h 239934"/>
                  <a:gd name="connsiteX37" fmla="*/ 41910 w 218122"/>
                  <a:gd name="connsiteY37" fmla="*/ 109538 h 239934"/>
                  <a:gd name="connsiteX38" fmla="*/ 35243 w 218122"/>
                  <a:gd name="connsiteY38" fmla="*/ 84772 h 239934"/>
                  <a:gd name="connsiteX39" fmla="*/ 20955 w 218122"/>
                  <a:gd name="connsiteY39" fmla="*/ 80963 h 239934"/>
                  <a:gd name="connsiteX40" fmla="*/ 20955 w 218122"/>
                  <a:gd name="connsiteY40" fmla="*/ 67532 h 239934"/>
                  <a:gd name="connsiteX41" fmla="*/ 0 w 218122"/>
                  <a:gd name="connsiteY41" fmla="*/ 56197 h 239934"/>
                  <a:gd name="connsiteX42" fmla="*/ 24765 w 218122"/>
                  <a:gd name="connsiteY42" fmla="*/ 42863 h 239934"/>
                  <a:gd name="connsiteX43" fmla="*/ 20955 w 218122"/>
                  <a:gd name="connsiteY43" fmla="*/ 24670 h 239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218122" h="239934">
                    <a:moveTo>
                      <a:pt x="20955" y="24670"/>
                    </a:moveTo>
                    <a:lnTo>
                      <a:pt x="35243" y="24670"/>
                    </a:lnTo>
                    <a:lnTo>
                      <a:pt x="41910" y="32385"/>
                    </a:lnTo>
                    <a:lnTo>
                      <a:pt x="56198" y="32385"/>
                    </a:lnTo>
                    <a:lnTo>
                      <a:pt x="60008" y="18097"/>
                    </a:lnTo>
                    <a:lnTo>
                      <a:pt x="49530" y="14288"/>
                    </a:lnTo>
                    <a:lnTo>
                      <a:pt x="49530" y="0"/>
                    </a:lnTo>
                    <a:lnTo>
                      <a:pt x="70485" y="0"/>
                    </a:lnTo>
                    <a:lnTo>
                      <a:pt x="70485" y="7620"/>
                    </a:lnTo>
                    <a:lnTo>
                      <a:pt x="87630" y="24670"/>
                    </a:lnTo>
                    <a:lnTo>
                      <a:pt x="91440" y="42863"/>
                    </a:lnTo>
                    <a:lnTo>
                      <a:pt x="91440" y="49435"/>
                    </a:lnTo>
                    <a:lnTo>
                      <a:pt x="130493" y="45720"/>
                    </a:lnTo>
                    <a:lnTo>
                      <a:pt x="140970" y="63722"/>
                    </a:lnTo>
                    <a:lnTo>
                      <a:pt x="144780" y="80963"/>
                    </a:lnTo>
                    <a:lnTo>
                      <a:pt x="120015" y="80963"/>
                    </a:lnTo>
                    <a:lnTo>
                      <a:pt x="120015" y="99060"/>
                    </a:lnTo>
                    <a:lnTo>
                      <a:pt x="133350" y="105632"/>
                    </a:lnTo>
                    <a:lnTo>
                      <a:pt x="176213" y="148495"/>
                    </a:lnTo>
                    <a:lnTo>
                      <a:pt x="211455" y="186595"/>
                    </a:lnTo>
                    <a:lnTo>
                      <a:pt x="218123" y="211360"/>
                    </a:lnTo>
                    <a:lnTo>
                      <a:pt x="214313" y="236220"/>
                    </a:lnTo>
                    <a:lnTo>
                      <a:pt x="197168" y="236220"/>
                    </a:lnTo>
                    <a:lnTo>
                      <a:pt x="193358" y="225647"/>
                    </a:lnTo>
                    <a:lnTo>
                      <a:pt x="182880" y="225647"/>
                    </a:lnTo>
                    <a:lnTo>
                      <a:pt x="180023" y="239935"/>
                    </a:lnTo>
                    <a:lnTo>
                      <a:pt x="158115" y="239935"/>
                    </a:lnTo>
                    <a:lnTo>
                      <a:pt x="158115" y="229457"/>
                    </a:lnTo>
                    <a:lnTo>
                      <a:pt x="165735" y="208597"/>
                    </a:lnTo>
                    <a:lnTo>
                      <a:pt x="165735" y="190500"/>
                    </a:lnTo>
                    <a:lnTo>
                      <a:pt x="147638" y="173260"/>
                    </a:lnTo>
                    <a:lnTo>
                      <a:pt x="140970" y="144685"/>
                    </a:lnTo>
                    <a:lnTo>
                      <a:pt x="112395" y="113347"/>
                    </a:lnTo>
                    <a:lnTo>
                      <a:pt x="91440" y="126682"/>
                    </a:lnTo>
                    <a:lnTo>
                      <a:pt x="70485" y="119920"/>
                    </a:lnTo>
                    <a:lnTo>
                      <a:pt x="35243" y="140970"/>
                    </a:lnTo>
                    <a:lnTo>
                      <a:pt x="35243" y="116110"/>
                    </a:lnTo>
                    <a:lnTo>
                      <a:pt x="41910" y="109538"/>
                    </a:lnTo>
                    <a:lnTo>
                      <a:pt x="35243" y="84772"/>
                    </a:lnTo>
                    <a:lnTo>
                      <a:pt x="20955" y="80963"/>
                    </a:lnTo>
                    <a:lnTo>
                      <a:pt x="20955" y="67532"/>
                    </a:lnTo>
                    <a:lnTo>
                      <a:pt x="0" y="56197"/>
                    </a:lnTo>
                    <a:lnTo>
                      <a:pt x="24765" y="42863"/>
                    </a:lnTo>
                    <a:lnTo>
                      <a:pt x="20955" y="2467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5" name="Freeform: Shape 334">
                <a:extLst>
                  <a:ext uri="{FF2B5EF4-FFF2-40B4-BE49-F238E27FC236}">
                    <a16:creationId xmlns:a16="http://schemas.microsoft.com/office/drawing/2014/main" id="{0F7A5B32-C2FD-601A-D27C-1C0C559B1349}"/>
                  </a:ext>
                </a:extLst>
              </p:cNvPr>
              <p:cNvSpPr/>
              <p:nvPr/>
            </p:nvSpPr>
            <p:spPr>
              <a:xfrm>
                <a:off x="8407529" y="2975068"/>
                <a:ext cx="877701" cy="359486"/>
              </a:xfrm>
              <a:custGeom>
                <a:avLst/>
                <a:gdLst>
                  <a:gd name="connsiteX0" fmla="*/ 0 w 895350"/>
                  <a:gd name="connsiteY0" fmla="*/ 109538 h 366712"/>
                  <a:gd name="connsiteX1" fmla="*/ 14288 w 895350"/>
                  <a:gd name="connsiteY1" fmla="*/ 95250 h 366712"/>
                  <a:gd name="connsiteX2" fmla="*/ 39053 w 895350"/>
                  <a:gd name="connsiteY2" fmla="*/ 91345 h 366712"/>
                  <a:gd name="connsiteX3" fmla="*/ 53340 w 895350"/>
                  <a:gd name="connsiteY3" fmla="*/ 77057 h 366712"/>
                  <a:gd name="connsiteX4" fmla="*/ 113348 w 895350"/>
                  <a:gd name="connsiteY4" fmla="*/ 45720 h 366712"/>
                  <a:gd name="connsiteX5" fmla="*/ 140970 w 895350"/>
                  <a:gd name="connsiteY5" fmla="*/ 49530 h 366712"/>
                  <a:gd name="connsiteX6" fmla="*/ 180023 w 895350"/>
                  <a:gd name="connsiteY6" fmla="*/ 56102 h 366712"/>
                  <a:gd name="connsiteX7" fmla="*/ 197168 w 895350"/>
                  <a:gd name="connsiteY7" fmla="*/ 77057 h 366712"/>
                  <a:gd name="connsiteX8" fmla="*/ 254318 w 895350"/>
                  <a:gd name="connsiteY8" fmla="*/ 77057 h 366712"/>
                  <a:gd name="connsiteX9" fmla="*/ 267653 w 895350"/>
                  <a:gd name="connsiteY9" fmla="*/ 87630 h 366712"/>
                  <a:gd name="connsiteX10" fmla="*/ 289560 w 895350"/>
                  <a:gd name="connsiteY10" fmla="*/ 70390 h 366712"/>
                  <a:gd name="connsiteX11" fmla="*/ 292418 w 895350"/>
                  <a:gd name="connsiteY11" fmla="*/ 56102 h 366712"/>
                  <a:gd name="connsiteX12" fmla="*/ 271463 w 895350"/>
                  <a:gd name="connsiteY12" fmla="*/ 31432 h 366712"/>
                  <a:gd name="connsiteX13" fmla="*/ 296228 w 895350"/>
                  <a:gd name="connsiteY13" fmla="*/ 6667 h 366712"/>
                  <a:gd name="connsiteX14" fmla="*/ 302895 w 895350"/>
                  <a:gd name="connsiteY14" fmla="*/ 0 h 366712"/>
                  <a:gd name="connsiteX15" fmla="*/ 327660 w 895350"/>
                  <a:gd name="connsiteY15" fmla="*/ 3715 h 366712"/>
                  <a:gd name="connsiteX16" fmla="*/ 352425 w 895350"/>
                  <a:gd name="connsiteY16" fmla="*/ 10382 h 366712"/>
                  <a:gd name="connsiteX17" fmla="*/ 395288 w 895350"/>
                  <a:gd name="connsiteY17" fmla="*/ 24670 h 366712"/>
                  <a:gd name="connsiteX18" fmla="*/ 398145 w 895350"/>
                  <a:gd name="connsiteY18" fmla="*/ 41815 h 366712"/>
                  <a:gd name="connsiteX19" fmla="*/ 416243 w 895350"/>
                  <a:gd name="connsiteY19" fmla="*/ 62770 h 366712"/>
                  <a:gd name="connsiteX20" fmla="*/ 461963 w 895350"/>
                  <a:gd name="connsiteY20" fmla="*/ 70390 h 366712"/>
                  <a:gd name="connsiteX21" fmla="*/ 486728 w 895350"/>
                  <a:gd name="connsiteY21" fmla="*/ 56102 h 366712"/>
                  <a:gd name="connsiteX22" fmla="*/ 528638 w 895350"/>
                  <a:gd name="connsiteY22" fmla="*/ 62770 h 366712"/>
                  <a:gd name="connsiteX23" fmla="*/ 539115 w 895350"/>
                  <a:gd name="connsiteY23" fmla="*/ 74295 h 366712"/>
                  <a:gd name="connsiteX24" fmla="*/ 557213 w 895350"/>
                  <a:gd name="connsiteY24" fmla="*/ 77057 h 366712"/>
                  <a:gd name="connsiteX25" fmla="*/ 567690 w 895350"/>
                  <a:gd name="connsiteY25" fmla="*/ 91345 h 366712"/>
                  <a:gd name="connsiteX26" fmla="*/ 578168 w 895350"/>
                  <a:gd name="connsiteY26" fmla="*/ 101917 h 366712"/>
                  <a:gd name="connsiteX27" fmla="*/ 616268 w 895350"/>
                  <a:gd name="connsiteY27" fmla="*/ 105632 h 366712"/>
                  <a:gd name="connsiteX28" fmla="*/ 648653 w 895350"/>
                  <a:gd name="connsiteY28" fmla="*/ 101917 h 366712"/>
                  <a:gd name="connsiteX29" fmla="*/ 701040 w 895350"/>
                  <a:gd name="connsiteY29" fmla="*/ 91345 h 366712"/>
                  <a:gd name="connsiteX30" fmla="*/ 719138 w 895350"/>
                  <a:gd name="connsiteY30" fmla="*/ 77057 h 366712"/>
                  <a:gd name="connsiteX31" fmla="*/ 732473 w 895350"/>
                  <a:gd name="connsiteY31" fmla="*/ 66675 h 366712"/>
                  <a:gd name="connsiteX32" fmla="*/ 750570 w 895350"/>
                  <a:gd name="connsiteY32" fmla="*/ 62770 h 366712"/>
                  <a:gd name="connsiteX33" fmla="*/ 764857 w 895350"/>
                  <a:gd name="connsiteY33" fmla="*/ 74295 h 366712"/>
                  <a:gd name="connsiteX34" fmla="*/ 779145 w 895350"/>
                  <a:gd name="connsiteY34" fmla="*/ 74295 h 366712"/>
                  <a:gd name="connsiteX35" fmla="*/ 806768 w 895350"/>
                  <a:gd name="connsiteY35" fmla="*/ 77057 h 366712"/>
                  <a:gd name="connsiteX36" fmla="*/ 796290 w 895350"/>
                  <a:gd name="connsiteY36" fmla="*/ 91345 h 366712"/>
                  <a:gd name="connsiteX37" fmla="*/ 789623 w 895350"/>
                  <a:gd name="connsiteY37" fmla="*/ 105632 h 366712"/>
                  <a:gd name="connsiteX38" fmla="*/ 775335 w 895350"/>
                  <a:gd name="connsiteY38" fmla="*/ 147638 h 366712"/>
                  <a:gd name="connsiteX39" fmla="*/ 824865 w 895350"/>
                  <a:gd name="connsiteY39" fmla="*/ 151352 h 366712"/>
                  <a:gd name="connsiteX40" fmla="*/ 838200 w 895350"/>
                  <a:gd name="connsiteY40" fmla="*/ 140970 h 366712"/>
                  <a:gd name="connsiteX41" fmla="*/ 856298 w 895350"/>
                  <a:gd name="connsiteY41" fmla="*/ 144780 h 366712"/>
                  <a:gd name="connsiteX42" fmla="*/ 891540 w 895350"/>
                  <a:gd name="connsiteY42" fmla="*/ 179927 h 366712"/>
                  <a:gd name="connsiteX43" fmla="*/ 895350 w 895350"/>
                  <a:gd name="connsiteY43" fmla="*/ 197167 h 366712"/>
                  <a:gd name="connsiteX44" fmla="*/ 870585 w 895350"/>
                  <a:gd name="connsiteY44" fmla="*/ 193357 h 366712"/>
                  <a:gd name="connsiteX45" fmla="*/ 845820 w 895350"/>
                  <a:gd name="connsiteY45" fmla="*/ 193357 h 366712"/>
                  <a:gd name="connsiteX46" fmla="*/ 810578 w 895350"/>
                  <a:gd name="connsiteY46" fmla="*/ 207645 h 366712"/>
                  <a:gd name="connsiteX47" fmla="*/ 779145 w 895350"/>
                  <a:gd name="connsiteY47" fmla="*/ 232315 h 366712"/>
                  <a:gd name="connsiteX48" fmla="*/ 750570 w 895350"/>
                  <a:gd name="connsiteY48" fmla="*/ 232315 h 366712"/>
                  <a:gd name="connsiteX49" fmla="*/ 725805 w 895350"/>
                  <a:gd name="connsiteY49" fmla="*/ 257175 h 366712"/>
                  <a:gd name="connsiteX50" fmla="*/ 694373 w 895350"/>
                  <a:gd name="connsiteY50" fmla="*/ 253270 h 366712"/>
                  <a:gd name="connsiteX51" fmla="*/ 669607 w 895350"/>
                  <a:gd name="connsiteY51" fmla="*/ 253270 h 366712"/>
                  <a:gd name="connsiteX52" fmla="*/ 659130 w 895350"/>
                  <a:gd name="connsiteY52" fmla="*/ 275177 h 366712"/>
                  <a:gd name="connsiteX53" fmla="*/ 669607 w 895350"/>
                  <a:gd name="connsiteY53" fmla="*/ 296132 h 366712"/>
                  <a:gd name="connsiteX54" fmla="*/ 638175 w 895350"/>
                  <a:gd name="connsiteY54" fmla="*/ 313277 h 366712"/>
                  <a:gd name="connsiteX55" fmla="*/ 638175 w 895350"/>
                  <a:gd name="connsiteY55" fmla="*/ 323850 h 366712"/>
                  <a:gd name="connsiteX56" fmla="*/ 605790 w 895350"/>
                  <a:gd name="connsiteY56" fmla="*/ 341852 h 366712"/>
                  <a:gd name="connsiteX57" fmla="*/ 528638 w 895350"/>
                  <a:gd name="connsiteY57" fmla="*/ 341852 h 366712"/>
                  <a:gd name="connsiteX58" fmla="*/ 489585 w 895350"/>
                  <a:gd name="connsiteY58" fmla="*/ 366713 h 366712"/>
                  <a:gd name="connsiteX59" fmla="*/ 426720 w 895350"/>
                  <a:gd name="connsiteY59" fmla="*/ 359092 h 366712"/>
                  <a:gd name="connsiteX60" fmla="*/ 383857 w 895350"/>
                  <a:gd name="connsiteY60" fmla="*/ 338138 h 366712"/>
                  <a:gd name="connsiteX61" fmla="*/ 335280 w 895350"/>
                  <a:gd name="connsiteY61" fmla="*/ 335280 h 366712"/>
                  <a:gd name="connsiteX62" fmla="*/ 240030 w 895350"/>
                  <a:gd name="connsiteY62" fmla="*/ 331470 h 366712"/>
                  <a:gd name="connsiteX63" fmla="*/ 229553 w 895350"/>
                  <a:gd name="connsiteY63" fmla="*/ 313277 h 366712"/>
                  <a:gd name="connsiteX64" fmla="*/ 219075 w 895350"/>
                  <a:gd name="connsiteY64" fmla="*/ 292417 h 366712"/>
                  <a:gd name="connsiteX65" fmla="*/ 180023 w 895350"/>
                  <a:gd name="connsiteY65" fmla="*/ 271463 h 366712"/>
                  <a:gd name="connsiteX66" fmla="*/ 161925 w 895350"/>
                  <a:gd name="connsiteY66" fmla="*/ 253270 h 366712"/>
                  <a:gd name="connsiteX67" fmla="*/ 102870 w 895350"/>
                  <a:gd name="connsiteY67" fmla="*/ 250507 h 366712"/>
                  <a:gd name="connsiteX68" fmla="*/ 88582 w 895350"/>
                  <a:gd name="connsiteY68" fmla="*/ 242888 h 366712"/>
                  <a:gd name="connsiteX69" fmla="*/ 80963 w 895350"/>
                  <a:gd name="connsiteY69" fmla="*/ 221932 h 366712"/>
                  <a:gd name="connsiteX70" fmla="*/ 92393 w 895350"/>
                  <a:gd name="connsiteY70" fmla="*/ 207645 h 366712"/>
                  <a:gd name="connsiteX71" fmla="*/ 92393 w 895350"/>
                  <a:gd name="connsiteY71" fmla="*/ 193357 h 366712"/>
                  <a:gd name="connsiteX72" fmla="*/ 78105 w 895350"/>
                  <a:gd name="connsiteY72" fmla="*/ 172307 h 366712"/>
                  <a:gd name="connsiteX73" fmla="*/ 53340 w 895350"/>
                  <a:gd name="connsiteY73" fmla="*/ 147638 h 366712"/>
                  <a:gd name="connsiteX74" fmla="*/ 24765 w 895350"/>
                  <a:gd name="connsiteY74" fmla="*/ 144780 h 366712"/>
                  <a:gd name="connsiteX75" fmla="*/ 7620 w 895350"/>
                  <a:gd name="connsiteY75" fmla="*/ 126682 h 366712"/>
                  <a:gd name="connsiteX76" fmla="*/ 0 w 895350"/>
                  <a:gd name="connsiteY76" fmla="*/ 109538 h 36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</a:cxnLst>
                <a:rect l="l" t="t" r="r" b="b"/>
                <a:pathLst>
                  <a:path w="895350" h="366712">
                    <a:moveTo>
                      <a:pt x="0" y="109538"/>
                    </a:moveTo>
                    <a:lnTo>
                      <a:pt x="14288" y="95250"/>
                    </a:lnTo>
                    <a:lnTo>
                      <a:pt x="39053" y="91345"/>
                    </a:lnTo>
                    <a:lnTo>
                      <a:pt x="53340" y="77057"/>
                    </a:lnTo>
                    <a:lnTo>
                      <a:pt x="113348" y="45720"/>
                    </a:lnTo>
                    <a:lnTo>
                      <a:pt x="140970" y="49530"/>
                    </a:lnTo>
                    <a:lnTo>
                      <a:pt x="180023" y="56102"/>
                    </a:lnTo>
                    <a:lnTo>
                      <a:pt x="197168" y="77057"/>
                    </a:lnTo>
                    <a:lnTo>
                      <a:pt x="254318" y="77057"/>
                    </a:lnTo>
                    <a:lnTo>
                      <a:pt x="267653" y="87630"/>
                    </a:lnTo>
                    <a:lnTo>
                      <a:pt x="289560" y="70390"/>
                    </a:lnTo>
                    <a:lnTo>
                      <a:pt x="292418" y="56102"/>
                    </a:lnTo>
                    <a:lnTo>
                      <a:pt x="271463" y="31432"/>
                    </a:lnTo>
                    <a:lnTo>
                      <a:pt x="296228" y="6667"/>
                    </a:lnTo>
                    <a:lnTo>
                      <a:pt x="302895" y="0"/>
                    </a:lnTo>
                    <a:lnTo>
                      <a:pt x="327660" y="3715"/>
                    </a:lnTo>
                    <a:lnTo>
                      <a:pt x="352425" y="10382"/>
                    </a:lnTo>
                    <a:lnTo>
                      <a:pt x="395288" y="24670"/>
                    </a:lnTo>
                    <a:lnTo>
                      <a:pt x="398145" y="41815"/>
                    </a:lnTo>
                    <a:lnTo>
                      <a:pt x="416243" y="62770"/>
                    </a:lnTo>
                    <a:lnTo>
                      <a:pt x="461963" y="70390"/>
                    </a:lnTo>
                    <a:lnTo>
                      <a:pt x="486728" y="56102"/>
                    </a:lnTo>
                    <a:lnTo>
                      <a:pt x="528638" y="62770"/>
                    </a:lnTo>
                    <a:lnTo>
                      <a:pt x="539115" y="74295"/>
                    </a:lnTo>
                    <a:lnTo>
                      <a:pt x="557213" y="77057"/>
                    </a:lnTo>
                    <a:lnTo>
                      <a:pt x="567690" y="91345"/>
                    </a:lnTo>
                    <a:lnTo>
                      <a:pt x="578168" y="101917"/>
                    </a:lnTo>
                    <a:lnTo>
                      <a:pt x="616268" y="105632"/>
                    </a:lnTo>
                    <a:lnTo>
                      <a:pt x="648653" y="101917"/>
                    </a:lnTo>
                    <a:lnTo>
                      <a:pt x="701040" y="91345"/>
                    </a:lnTo>
                    <a:lnTo>
                      <a:pt x="719138" y="77057"/>
                    </a:lnTo>
                    <a:lnTo>
                      <a:pt x="732473" y="66675"/>
                    </a:lnTo>
                    <a:lnTo>
                      <a:pt x="750570" y="62770"/>
                    </a:lnTo>
                    <a:lnTo>
                      <a:pt x="764857" y="74295"/>
                    </a:lnTo>
                    <a:lnTo>
                      <a:pt x="779145" y="74295"/>
                    </a:lnTo>
                    <a:lnTo>
                      <a:pt x="806768" y="77057"/>
                    </a:lnTo>
                    <a:lnTo>
                      <a:pt x="796290" y="91345"/>
                    </a:lnTo>
                    <a:lnTo>
                      <a:pt x="789623" y="105632"/>
                    </a:lnTo>
                    <a:lnTo>
                      <a:pt x="775335" y="147638"/>
                    </a:lnTo>
                    <a:lnTo>
                      <a:pt x="824865" y="151352"/>
                    </a:lnTo>
                    <a:lnTo>
                      <a:pt x="838200" y="140970"/>
                    </a:lnTo>
                    <a:lnTo>
                      <a:pt x="856298" y="144780"/>
                    </a:lnTo>
                    <a:lnTo>
                      <a:pt x="891540" y="179927"/>
                    </a:lnTo>
                    <a:lnTo>
                      <a:pt x="895350" y="197167"/>
                    </a:lnTo>
                    <a:lnTo>
                      <a:pt x="870585" y="193357"/>
                    </a:lnTo>
                    <a:lnTo>
                      <a:pt x="845820" y="193357"/>
                    </a:lnTo>
                    <a:lnTo>
                      <a:pt x="810578" y="207645"/>
                    </a:lnTo>
                    <a:lnTo>
                      <a:pt x="779145" y="232315"/>
                    </a:lnTo>
                    <a:lnTo>
                      <a:pt x="750570" y="232315"/>
                    </a:lnTo>
                    <a:lnTo>
                      <a:pt x="725805" y="257175"/>
                    </a:lnTo>
                    <a:lnTo>
                      <a:pt x="694373" y="253270"/>
                    </a:lnTo>
                    <a:lnTo>
                      <a:pt x="669607" y="253270"/>
                    </a:lnTo>
                    <a:lnTo>
                      <a:pt x="659130" y="275177"/>
                    </a:lnTo>
                    <a:lnTo>
                      <a:pt x="669607" y="296132"/>
                    </a:lnTo>
                    <a:lnTo>
                      <a:pt x="638175" y="313277"/>
                    </a:lnTo>
                    <a:lnTo>
                      <a:pt x="638175" y="323850"/>
                    </a:lnTo>
                    <a:lnTo>
                      <a:pt x="605790" y="341852"/>
                    </a:lnTo>
                    <a:lnTo>
                      <a:pt x="528638" y="341852"/>
                    </a:lnTo>
                    <a:lnTo>
                      <a:pt x="489585" y="366713"/>
                    </a:lnTo>
                    <a:lnTo>
                      <a:pt x="426720" y="359092"/>
                    </a:lnTo>
                    <a:lnTo>
                      <a:pt x="383857" y="338138"/>
                    </a:lnTo>
                    <a:lnTo>
                      <a:pt x="335280" y="335280"/>
                    </a:lnTo>
                    <a:lnTo>
                      <a:pt x="240030" y="331470"/>
                    </a:lnTo>
                    <a:lnTo>
                      <a:pt x="229553" y="313277"/>
                    </a:lnTo>
                    <a:lnTo>
                      <a:pt x="219075" y="292417"/>
                    </a:lnTo>
                    <a:lnTo>
                      <a:pt x="180023" y="271463"/>
                    </a:lnTo>
                    <a:lnTo>
                      <a:pt x="161925" y="253270"/>
                    </a:lnTo>
                    <a:lnTo>
                      <a:pt x="102870" y="250507"/>
                    </a:lnTo>
                    <a:lnTo>
                      <a:pt x="88582" y="242888"/>
                    </a:lnTo>
                    <a:lnTo>
                      <a:pt x="80963" y="221932"/>
                    </a:lnTo>
                    <a:lnTo>
                      <a:pt x="92393" y="207645"/>
                    </a:lnTo>
                    <a:lnTo>
                      <a:pt x="92393" y="193357"/>
                    </a:lnTo>
                    <a:lnTo>
                      <a:pt x="78105" y="172307"/>
                    </a:lnTo>
                    <a:lnTo>
                      <a:pt x="53340" y="147638"/>
                    </a:lnTo>
                    <a:lnTo>
                      <a:pt x="24765" y="144780"/>
                    </a:lnTo>
                    <a:lnTo>
                      <a:pt x="7620" y="126682"/>
                    </a:lnTo>
                    <a:lnTo>
                      <a:pt x="0" y="10953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6" name="Freeform: Shape 335">
                <a:extLst>
                  <a:ext uri="{FF2B5EF4-FFF2-40B4-BE49-F238E27FC236}">
                    <a16:creationId xmlns:a16="http://schemas.microsoft.com/office/drawing/2014/main" id="{A303ECA5-171B-9B32-F8F7-B2CBC66D4CA3}"/>
                  </a:ext>
                </a:extLst>
              </p:cNvPr>
              <p:cNvSpPr/>
              <p:nvPr/>
            </p:nvSpPr>
            <p:spPr>
              <a:xfrm>
                <a:off x="7392571" y="3818228"/>
                <a:ext cx="17740" cy="44725"/>
              </a:xfrm>
              <a:custGeom>
                <a:avLst/>
                <a:gdLst>
                  <a:gd name="connsiteX0" fmla="*/ 0 w 18097"/>
                  <a:gd name="connsiteY0" fmla="*/ 39053 h 45624"/>
                  <a:gd name="connsiteX1" fmla="*/ 0 w 18097"/>
                  <a:gd name="connsiteY1" fmla="*/ 18097 h 45624"/>
                  <a:gd name="connsiteX2" fmla="*/ 7620 w 18097"/>
                  <a:gd name="connsiteY2" fmla="*/ 0 h 45624"/>
                  <a:gd name="connsiteX3" fmla="*/ 14288 w 18097"/>
                  <a:gd name="connsiteY3" fmla="*/ 0 h 45624"/>
                  <a:gd name="connsiteX4" fmla="*/ 18098 w 18097"/>
                  <a:gd name="connsiteY4" fmla="*/ 14288 h 45624"/>
                  <a:gd name="connsiteX5" fmla="*/ 18098 w 18097"/>
                  <a:gd name="connsiteY5" fmla="*/ 24765 h 45624"/>
                  <a:gd name="connsiteX6" fmla="*/ 14288 w 18097"/>
                  <a:gd name="connsiteY6" fmla="*/ 39053 h 45624"/>
                  <a:gd name="connsiteX7" fmla="*/ 7620 w 18097"/>
                  <a:gd name="connsiteY7" fmla="*/ 45625 h 45624"/>
                  <a:gd name="connsiteX8" fmla="*/ 0 w 18097"/>
                  <a:gd name="connsiteY8" fmla="*/ 39053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8097" h="45624">
                    <a:moveTo>
                      <a:pt x="0" y="39053"/>
                    </a:moveTo>
                    <a:lnTo>
                      <a:pt x="0" y="18097"/>
                    </a:lnTo>
                    <a:lnTo>
                      <a:pt x="7620" y="0"/>
                    </a:lnTo>
                    <a:lnTo>
                      <a:pt x="14288" y="0"/>
                    </a:lnTo>
                    <a:lnTo>
                      <a:pt x="18098" y="14288"/>
                    </a:lnTo>
                    <a:lnTo>
                      <a:pt x="18098" y="24765"/>
                    </a:lnTo>
                    <a:lnTo>
                      <a:pt x="14288" y="39053"/>
                    </a:lnTo>
                    <a:lnTo>
                      <a:pt x="7620" y="45625"/>
                    </a:lnTo>
                    <a:lnTo>
                      <a:pt x="0" y="3905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7" name="Freeform: Shape 336">
                <a:extLst>
                  <a:ext uri="{FF2B5EF4-FFF2-40B4-BE49-F238E27FC236}">
                    <a16:creationId xmlns:a16="http://schemas.microsoft.com/office/drawing/2014/main" id="{03A796E8-FD08-5A28-542B-E8641484DDB5}"/>
                  </a:ext>
                </a:extLst>
              </p:cNvPr>
              <p:cNvSpPr/>
              <p:nvPr/>
            </p:nvSpPr>
            <p:spPr>
              <a:xfrm>
                <a:off x="6564358" y="3109432"/>
                <a:ext cx="244635" cy="155933"/>
              </a:xfrm>
              <a:custGeom>
                <a:avLst/>
                <a:gdLst>
                  <a:gd name="connsiteX0" fmla="*/ 56197 w 249554"/>
                  <a:gd name="connsiteY0" fmla="*/ 18193 h 159067"/>
                  <a:gd name="connsiteX1" fmla="*/ 80963 w 249554"/>
                  <a:gd name="connsiteY1" fmla="*/ 7715 h 159067"/>
                  <a:gd name="connsiteX2" fmla="*/ 95250 w 249554"/>
                  <a:gd name="connsiteY2" fmla="*/ 3905 h 159067"/>
                  <a:gd name="connsiteX3" fmla="*/ 116205 w 249554"/>
                  <a:gd name="connsiteY3" fmla="*/ 14288 h 159067"/>
                  <a:gd name="connsiteX4" fmla="*/ 151447 w 249554"/>
                  <a:gd name="connsiteY4" fmla="*/ 14288 h 159067"/>
                  <a:gd name="connsiteX5" fmla="*/ 158115 w 249554"/>
                  <a:gd name="connsiteY5" fmla="*/ 0 h 159067"/>
                  <a:gd name="connsiteX6" fmla="*/ 180022 w 249554"/>
                  <a:gd name="connsiteY6" fmla="*/ 0 h 159067"/>
                  <a:gd name="connsiteX7" fmla="*/ 186690 w 249554"/>
                  <a:gd name="connsiteY7" fmla="*/ 18193 h 159067"/>
                  <a:gd name="connsiteX8" fmla="*/ 190500 w 249554"/>
                  <a:gd name="connsiteY8" fmla="*/ 28575 h 159067"/>
                  <a:gd name="connsiteX9" fmla="*/ 211455 w 249554"/>
                  <a:gd name="connsiteY9" fmla="*/ 49530 h 159067"/>
                  <a:gd name="connsiteX10" fmla="*/ 215265 w 249554"/>
                  <a:gd name="connsiteY10" fmla="*/ 56293 h 159067"/>
                  <a:gd name="connsiteX11" fmla="*/ 207645 w 249554"/>
                  <a:gd name="connsiteY11" fmla="*/ 74390 h 159067"/>
                  <a:gd name="connsiteX12" fmla="*/ 211455 w 249554"/>
                  <a:gd name="connsiteY12" fmla="*/ 91535 h 159067"/>
                  <a:gd name="connsiteX13" fmla="*/ 215265 w 249554"/>
                  <a:gd name="connsiteY13" fmla="*/ 102965 h 159067"/>
                  <a:gd name="connsiteX14" fmla="*/ 232410 w 249554"/>
                  <a:gd name="connsiteY14" fmla="*/ 105823 h 159067"/>
                  <a:gd name="connsiteX15" fmla="*/ 239077 w 249554"/>
                  <a:gd name="connsiteY15" fmla="*/ 99155 h 159067"/>
                  <a:gd name="connsiteX16" fmla="*/ 249555 w 249554"/>
                  <a:gd name="connsiteY16" fmla="*/ 109538 h 159067"/>
                  <a:gd name="connsiteX17" fmla="*/ 242888 w 249554"/>
                  <a:gd name="connsiteY17" fmla="*/ 120110 h 159067"/>
                  <a:gd name="connsiteX18" fmla="*/ 228600 w 249554"/>
                  <a:gd name="connsiteY18" fmla="*/ 126778 h 159067"/>
                  <a:gd name="connsiteX19" fmla="*/ 221932 w 249554"/>
                  <a:gd name="connsiteY19" fmla="*/ 138113 h 159067"/>
                  <a:gd name="connsiteX20" fmla="*/ 218122 w 249554"/>
                  <a:gd name="connsiteY20" fmla="*/ 159067 h 159067"/>
                  <a:gd name="connsiteX21" fmla="*/ 207645 w 249554"/>
                  <a:gd name="connsiteY21" fmla="*/ 159067 h 159067"/>
                  <a:gd name="connsiteX22" fmla="*/ 186690 w 249554"/>
                  <a:gd name="connsiteY22" fmla="*/ 148685 h 159067"/>
                  <a:gd name="connsiteX23" fmla="*/ 161925 w 249554"/>
                  <a:gd name="connsiteY23" fmla="*/ 141065 h 159067"/>
                  <a:gd name="connsiteX24" fmla="*/ 147638 w 249554"/>
                  <a:gd name="connsiteY24" fmla="*/ 155353 h 159067"/>
                  <a:gd name="connsiteX25" fmla="*/ 126682 w 249554"/>
                  <a:gd name="connsiteY25" fmla="*/ 155353 h 159067"/>
                  <a:gd name="connsiteX26" fmla="*/ 77152 w 249554"/>
                  <a:gd name="connsiteY26" fmla="*/ 155353 h 159067"/>
                  <a:gd name="connsiteX27" fmla="*/ 56197 w 249554"/>
                  <a:gd name="connsiteY27" fmla="*/ 148685 h 159067"/>
                  <a:gd name="connsiteX28" fmla="*/ 56197 w 249554"/>
                  <a:gd name="connsiteY28" fmla="*/ 130492 h 159067"/>
                  <a:gd name="connsiteX29" fmla="*/ 28575 w 249554"/>
                  <a:gd name="connsiteY29" fmla="*/ 126778 h 159067"/>
                  <a:gd name="connsiteX30" fmla="*/ 14288 w 249554"/>
                  <a:gd name="connsiteY30" fmla="*/ 105823 h 159067"/>
                  <a:gd name="connsiteX31" fmla="*/ 3810 w 249554"/>
                  <a:gd name="connsiteY31" fmla="*/ 91535 h 159067"/>
                  <a:gd name="connsiteX32" fmla="*/ 0 w 249554"/>
                  <a:gd name="connsiteY32" fmla="*/ 78105 h 159067"/>
                  <a:gd name="connsiteX33" fmla="*/ 24765 w 249554"/>
                  <a:gd name="connsiteY33" fmla="*/ 53435 h 159067"/>
                  <a:gd name="connsiteX34" fmla="*/ 41910 w 249554"/>
                  <a:gd name="connsiteY34" fmla="*/ 28575 h 159067"/>
                  <a:gd name="connsiteX35" fmla="*/ 56197 w 249554"/>
                  <a:gd name="connsiteY35" fmla="*/ 18193 h 159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49554" h="159067">
                    <a:moveTo>
                      <a:pt x="56197" y="18193"/>
                    </a:moveTo>
                    <a:lnTo>
                      <a:pt x="80963" y="7715"/>
                    </a:lnTo>
                    <a:lnTo>
                      <a:pt x="95250" y="3905"/>
                    </a:lnTo>
                    <a:lnTo>
                      <a:pt x="116205" y="14288"/>
                    </a:lnTo>
                    <a:lnTo>
                      <a:pt x="151447" y="14288"/>
                    </a:lnTo>
                    <a:lnTo>
                      <a:pt x="158115" y="0"/>
                    </a:lnTo>
                    <a:lnTo>
                      <a:pt x="180022" y="0"/>
                    </a:lnTo>
                    <a:lnTo>
                      <a:pt x="186690" y="18193"/>
                    </a:lnTo>
                    <a:lnTo>
                      <a:pt x="190500" y="28575"/>
                    </a:lnTo>
                    <a:lnTo>
                      <a:pt x="211455" y="49530"/>
                    </a:lnTo>
                    <a:lnTo>
                      <a:pt x="215265" y="56293"/>
                    </a:lnTo>
                    <a:lnTo>
                      <a:pt x="207645" y="74390"/>
                    </a:lnTo>
                    <a:lnTo>
                      <a:pt x="211455" y="91535"/>
                    </a:lnTo>
                    <a:lnTo>
                      <a:pt x="215265" y="102965"/>
                    </a:lnTo>
                    <a:lnTo>
                      <a:pt x="232410" y="105823"/>
                    </a:lnTo>
                    <a:lnTo>
                      <a:pt x="239077" y="99155"/>
                    </a:lnTo>
                    <a:lnTo>
                      <a:pt x="249555" y="109538"/>
                    </a:lnTo>
                    <a:lnTo>
                      <a:pt x="242888" y="120110"/>
                    </a:lnTo>
                    <a:lnTo>
                      <a:pt x="228600" y="126778"/>
                    </a:lnTo>
                    <a:lnTo>
                      <a:pt x="221932" y="138113"/>
                    </a:lnTo>
                    <a:lnTo>
                      <a:pt x="218122" y="159067"/>
                    </a:lnTo>
                    <a:lnTo>
                      <a:pt x="207645" y="159067"/>
                    </a:lnTo>
                    <a:lnTo>
                      <a:pt x="186690" y="148685"/>
                    </a:lnTo>
                    <a:lnTo>
                      <a:pt x="161925" y="141065"/>
                    </a:lnTo>
                    <a:lnTo>
                      <a:pt x="147638" y="155353"/>
                    </a:lnTo>
                    <a:lnTo>
                      <a:pt x="126682" y="155353"/>
                    </a:lnTo>
                    <a:lnTo>
                      <a:pt x="77152" y="155353"/>
                    </a:lnTo>
                    <a:lnTo>
                      <a:pt x="56197" y="148685"/>
                    </a:lnTo>
                    <a:lnTo>
                      <a:pt x="56197" y="130492"/>
                    </a:lnTo>
                    <a:lnTo>
                      <a:pt x="28575" y="126778"/>
                    </a:lnTo>
                    <a:lnTo>
                      <a:pt x="14288" y="105823"/>
                    </a:lnTo>
                    <a:lnTo>
                      <a:pt x="3810" y="91535"/>
                    </a:lnTo>
                    <a:lnTo>
                      <a:pt x="0" y="78105"/>
                    </a:lnTo>
                    <a:lnTo>
                      <a:pt x="24765" y="53435"/>
                    </a:lnTo>
                    <a:lnTo>
                      <a:pt x="41910" y="28575"/>
                    </a:lnTo>
                    <a:lnTo>
                      <a:pt x="56197" y="1819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8" name="Freeform: Shape 337">
                <a:extLst>
                  <a:ext uri="{FF2B5EF4-FFF2-40B4-BE49-F238E27FC236}">
                    <a16:creationId xmlns:a16="http://schemas.microsoft.com/office/drawing/2014/main" id="{CAD2A9E2-69E1-3ECD-FA33-A5BCDD83A99C}"/>
                  </a:ext>
                </a:extLst>
              </p:cNvPr>
              <p:cNvSpPr/>
              <p:nvPr/>
            </p:nvSpPr>
            <p:spPr>
              <a:xfrm>
                <a:off x="2840665" y="3617476"/>
                <a:ext cx="76564" cy="31747"/>
              </a:xfrm>
              <a:custGeom>
                <a:avLst/>
                <a:gdLst>
                  <a:gd name="connsiteX0" fmla="*/ 32385 w 78104"/>
                  <a:gd name="connsiteY0" fmla="*/ 11335 h 32385"/>
                  <a:gd name="connsiteX1" fmla="*/ 0 w 78104"/>
                  <a:gd name="connsiteY1" fmla="*/ 0 h 32385"/>
                  <a:gd name="connsiteX2" fmla="*/ 78105 w 78104"/>
                  <a:gd name="connsiteY2" fmla="*/ 32385 h 32385"/>
                  <a:gd name="connsiteX3" fmla="*/ 32385 w 78104"/>
                  <a:gd name="connsiteY3" fmla="*/ 11335 h 32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8104" h="32385">
                    <a:moveTo>
                      <a:pt x="32385" y="11335"/>
                    </a:moveTo>
                    <a:lnTo>
                      <a:pt x="0" y="0"/>
                    </a:lnTo>
                    <a:lnTo>
                      <a:pt x="78105" y="32385"/>
                    </a:lnTo>
                    <a:lnTo>
                      <a:pt x="32385" y="1133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39" name="Freeform: Shape 338">
                <a:extLst>
                  <a:ext uri="{FF2B5EF4-FFF2-40B4-BE49-F238E27FC236}">
                    <a16:creationId xmlns:a16="http://schemas.microsoft.com/office/drawing/2014/main" id="{65EA80B6-35F9-9973-902C-C830A48641AB}"/>
                  </a:ext>
                </a:extLst>
              </p:cNvPr>
              <p:cNvSpPr/>
              <p:nvPr/>
            </p:nvSpPr>
            <p:spPr>
              <a:xfrm>
                <a:off x="2917231" y="3649223"/>
                <a:ext cx="120450" cy="10271"/>
              </a:xfrm>
              <a:custGeom>
                <a:avLst/>
                <a:gdLst>
                  <a:gd name="connsiteX0" fmla="*/ 108585 w 122872"/>
                  <a:gd name="connsiteY0" fmla="*/ 10477 h 10477"/>
                  <a:gd name="connsiteX1" fmla="*/ 122872 w 122872"/>
                  <a:gd name="connsiteY1" fmla="*/ 0 h 10477"/>
                  <a:gd name="connsiteX2" fmla="*/ 108585 w 122872"/>
                  <a:gd name="connsiteY2" fmla="*/ 10477 h 10477"/>
                  <a:gd name="connsiteX3" fmla="*/ 27622 w 122872"/>
                  <a:gd name="connsiteY3" fmla="*/ 10477 h 10477"/>
                  <a:gd name="connsiteX4" fmla="*/ 0 w 122872"/>
                  <a:gd name="connsiteY4" fmla="*/ 0 h 10477"/>
                  <a:gd name="connsiteX5" fmla="*/ 27622 w 122872"/>
                  <a:gd name="connsiteY5" fmla="*/ 10477 h 10477"/>
                  <a:gd name="connsiteX6" fmla="*/ 108585 w 122872"/>
                  <a:gd name="connsiteY6" fmla="*/ 10477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2872" h="10477">
                    <a:moveTo>
                      <a:pt x="108585" y="10477"/>
                    </a:moveTo>
                    <a:lnTo>
                      <a:pt x="122872" y="0"/>
                    </a:lnTo>
                    <a:lnTo>
                      <a:pt x="108585" y="10477"/>
                    </a:lnTo>
                    <a:lnTo>
                      <a:pt x="27622" y="10477"/>
                    </a:lnTo>
                    <a:lnTo>
                      <a:pt x="0" y="0"/>
                    </a:lnTo>
                    <a:lnTo>
                      <a:pt x="27622" y="10477"/>
                    </a:lnTo>
                    <a:lnTo>
                      <a:pt x="108585" y="1047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0" name="Freeform: Shape 339">
                <a:extLst>
                  <a:ext uri="{FF2B5EF4-FFF2-40B4-BE49-F238E27FC236}">
                    <a16:creationId xmlns:a16="http://schemas.microsoft.com/office/drawing/2014/main" id="{94AEEF3C-35C4-CBF2-98BD-243472F832CF}"/>
                  </a:ext>
                </a:extLst>
              </p:cNvPr>
              <p:cNvSpPr/>
              <p:nvPr/>
            </p:nvSpPr>
            <p:spPr>
              <a:xfrm>
                <a:off x="3179607" y="3700578"/>
                <a:ext cx="13071" cy="7470"/>
              </a:xfrm>
              <a:custGeom>
                <a:avLst/>
                <a:gdLst>
                  <a:gd name="connsiteX0" fmla="*/ 13335 w 13334"/>
                  <a:gd name="connsiteY0" fmla="*/ 0 h 7620"/>
                  <a:gd name="connsiteX1" fmla="*/ 0 w 13334"/>
                  <a:gd name="connsiteY1" fmla="*/ 7620 h 7620"/>
                  <a:gd name="connsiteX2" fmla="*/ 13335 w 13334"/>
                  <a:gd name="connsiteY2" fmla="*/ 0 h 7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34" h="7620">
                    <a:moveTo>
                      <a:pt x="13335" y="0"/>
                    </a:moveTo>
                    <a:lnTo>
                      <a:pt x="0" y="7620"/>
                    </a:lnTo>
                    <a:lnTo>
                      <a:pt x="1333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1" name="Freeform: Shape 340">
                <a:extLst>
                  <a:ext uri="{FF2B5EF4-FFF2-40B4-BE49-F238E27FC236}">
                    <a16:creationId xmlns:a16="http://schemas.microsoft.com/office/drawing/2014/main" id="{3D9BFE2C-0372-AF28-8190-2D788FF4F6A0}"/>
                  </a:ext>
                </a:extLst>
              </p:cNvPr>
              <p:cNvSpPr/>
              <p:nvPr/>
            </p:nvSpPr>
            <p:spPr>
              <a:xfrm>
                <a:off x="6609177" y="2280371"/>
                <a:ext cx="72830" cy="6443"/>
              </a:xfrm>
              <a:custGeom>
                <a:avLst/>
                <a:gdLst>
                  <a:gd name="connsiteX0" fmla="*/ 0 w 74294"/>
                  <a:gd name="connsiteY0" fmla="*/ 0 h 6572"/>
                  <a:gd name="connsiteX1" fmla="*/ 74295 w 74294"/>
                  <a:gd name="connsiteY1" fmla="*/ 6572 h 6572"/>
                  <a:gd name="connsiteX2" fmla="*/ 49530 w 74294"/>
                  <a:gd name="connsiteY2" fmla="*/ 2762 h 6572"/>
                  <a:gd name="connsiteX3" fmla="*/ 0 w 74294"/>
                  <a:gd name="connsiteY3" fmla="*/ 0 h 6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4294" h="6572">
                    <a:moveTo>
                      <a:pt x="0" y="0"/>
                    </a:moveTo>
                    <a:lnTo>
                      <a:pt x="74295" y="6572"/>
                    </a:lnTo>
                    <a:lnTo>
                      <a:pt x="49530" y="276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2" name="Freeform: Shape 341">
                <a:extLst>
                  <a:ext uri="{FF2B5EF4-FFF2-40B4-BE49-F238E27FC236}">
                    <a16:creationId xmlns:a16="http://schemas.microsoft.com/office/drawing/2014/main" id="{DD1AC806-2145-967B-6FD6-5F22E1B10F9F}"/>
                  </a:ext>
                </a:extLst>
              </p:cNvPr>
              <p:cNvSpPr/>
              <p:nvPr/>
            </p:nvSpPr>
            <p:spPr>
              <a:xfrm>
                <a:off x="6639989" y="2356004"/>
                <a:ext cx="20542" cy="58825"/>
              </a:xfrm>
              <a:custGeom>
                <a:avLst/>
                <a:gdLst>
                  <a:gd name="connsiteX0" fmla="*/ 14288 w 20955"/>
                  <a:gd name="connsiteY0" fmla="*/ 7620 h 60007"/>
                  <a:gd name="connsiteX1" fmla="*/ 0 w 20955"/>
                  <a:gd name="connsiteY1" fmla="*/ 0 h 60007"/>
                  <a:gd name="connsiteX2" fmla="*/ 14288 w 20955"/>
                  <a:gd name="connsiteY2" fmla="*/ 7620 h 60007"/>
                  <a:gd name="connsiteX3" fmla="*/ 3810 w 20955"/>
                  <a:gd name="connsiteY3" fmla="*/ 35147 h 60007"/>
                  <a:gd name="connsiteX4" fmla="*/ 20955 w 20955"/>
                  <a:gd name="connsiteY4" fmla="*/ 60007 h 60007"/>
                  <a:gd name="connsiteX5" fmla="*/ 3810 w 20955"/>
                  <a:gd name="connsiteY5" fmla="*/ 35147 h 60007"/>
                  <a:gd name="connsiteX6" fmla="*/ 14288 w 20955"/>
                  <a:gd name="connsiteY6" fmla="*/ 7620 h 60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0955" h="60007">
                    <a:moveTo>
                      <a:pt x="14288" y="7620"/>
                    </a:moveTo>
                    <a:lnTo>
                      <a:pt x="0" y="0"/>
                    </a:lnTo>
                    <a:lnTo>
                      <a:pt x="14288" y="7620"/>
                    </a:lnTo>
                    <a:lnTo>
                      <a:pt x="3810" y="35147"/>
                    </a:lnTo>
                    <a:lnTo>
                      <a:pt x="20955" y="60007"/>
                    </a:lnTo>
                    <a:lnTo>
                      <a:pt x="3810" y="35147"/>
                    </a:lnTo>
                    <a:lnTo>
                      <a:pt x="14288" y="762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3" name="Freeform: Shape 342">
                <a:extLst>
                  <a:ext uri="{FF2B5EF4-FFF2-40B4-BE49-F238E27FC236}">
                    <a16:creationId xmlns:a16="http://schemas.microsoft.com/office/drawing/2014/main" id="{C3A0B2EB-6143-CE8E-3D48-7C3186F93995}"/>
                  </a:ext>
                </a:extLst>
              </p:cNvPr>
              <p:cNvSpPr/>
              <p:nvPr/>
            </p:nvSpPr>
            <p:spPr>
              <a:xfrm>
                <a:off x="6584899" y="2252359"/>
                <a:ext cx="24277" cy="28012"/>
              </a:xfrm>
              <a:custGeom>
                <a:avLst/>
                <a:gdLst>
                  <a:gd name="connsiteX0" fmla="*/ 0 w 24765"/>
                  <a:gd name="connsiteY0" fmla="*/ 0 h 28575"/>
                  <a:gd name="connsiteX1" fmla="*/ 24765 w 24765"/>
                  <a:gd name="connsiteY1" fmla="*/ 28575 h 28575"/>
                  <a:gd name="connsiteX2" fmla="*/ 10478 w 24765"/>
                  <a:gd name="connsiteY2" fmla="*/ 10477 h 28575"/>
                  <a:gd name="connsiteX3" fmla="*/ 0 w 24765"/>
                  <a:gd name="connsiteY3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5" h="28575">
                    <a:moveTo>
                      <a:pt x="0" y="0"/>
                    </a:moveTo>
                    <a:lnTo>
                      <a:pt x="24765" y="28575"/>
                    </a:lnTo>
                    <a:lnTo>
                      <a:pt x="10478" y="104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4" name="Freeform: Shape 343">
                <a:extLst>
                  <a:ext uri="{FF2B5EF4-FFF2-40B4-BE49-F238E27FC236}">
                    <a16:creationId xmlns:a16="http://schemas.microsoft.com/office/drawing/2014/main" id="{1FD5284C-1EE8-6F23-7605-1420D36F82DA}"/>
                  </a:ext>
                </a:extLst>
              </p:cNvPr>
              <p:cNvSpPr/>
              <p:nvPr/>
            </p:nvSpPr>
            <p:spPr>
              <a:xfrm>
                <a:off x="4066645" y="3171993"/>
                <a:ext cx="6536" cy="27171"/>
              </a:xfrm>
              <a:custGeom>
                <a:avLst/>
                <a:gdLst>
                  <a:gd name="connsiteX0" fmla="*/ 0 w 6667"/>
                  <a:gd name="connsiteY0" fmla="*/ 27718 h 27717"/>
                  <a:gd name="connsiteX1" fmla="*/ 6668 w 6667"/>
                  <a:gd name="connsiteY1" fmla="*/ 0 h 27717"/>
                  <a:gd name="connsiteX2" fmla="*/ 0 w 6667"/>
                  <a:gd name="connsiteY2" fmla="*/ 17145 h 27717"/>
                  <a:gd name="connsiteX3" fmla="*/ 0 w 6667"/>
                  <a:gd name="connsiteY3" fmla="*/ 27718 h 2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7" h="27717">
                    <a:moveTo>
                      <a:pt x="0" y="27718"/>
                    </a:moveTo>
                    <a:lnTo>
                      <a:pt x="6668" y="0"/>
                    </a:lnTo>
                    <a:lnTo>
                      <a:pt x="0" y="17145"/>
                    </a:lnTo>
                    <a:lnTo>
                      <a:pt x="0" y="2771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5" name="Freeform: Shape 344">
                <a:extLst>
                  <a:ext uri="{FF2B5EF4-FFF2-40B4-BE49-F238E27FC236}">
                    <a16:creationId xmlns:a16="http://schemas.microsoft.com/office/drawing/2014/main" id="{7B985FDF-F8C3-105E-A09C-043FD73A4D7F}"/>
                  </a:ext>
                </a:extLst>
              </p:cNvPr>
              <p:cNvSpPr/>
              <p:nvPr/>
            </p:nvSpPr>
            <p:spPr>
              <a:xfrm>
                <a:off x="2388743" y="2794858"/>
                <a:ext cx="20541" cy="14005"/>
              </a:xfrm>
              <a:custGeom>
                <a:avLst/>
                <a:gdLst>
                  <a:gd name="connsiteX0" fmla="*/ 6667 w 20954"/>
                  <a:gd name="connsiteY0" fmla="*/ 3715 h 14287"/>
                  <a:gd name="connsiteX1" fmla="*/ 0 w 20954"/>
                  <a:gd name="connsiteY1" fmla="*/ 0 h 14287"/>
                  <a:gd name="connsiteX2" fmla="*/ 20955 w 20954"/>
                  <a:gd name="connsiteY2" fmla="*/ 14288 h 14287"/>
                  <a:gd name="connsiteX3" fmla="*/ 6667 w 20954"/>
                  <a:gd name="connsiteY3" fmla="*/ 3715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4" h="14287">
                    <a:moveTo>
                      <a:pt x="6667" y="3715"/>
                    </a:moveTo>
                    <a:lnTo>
                      <a:pt x="0" y="0"/>
                    </a:lnTo>
                    <a:lnTo>
                      <a:pt x="20955" y="14288"/>
                    </a:lnTo>
                    <a:lnTo>
                      <a:pt x="6667" y="3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6" name="Freeform: Shape 345">
                <a:extLst>
                  <a:ext uri="{FF2B5EF4-FFF2-40B4-BE49-F238E27FC236}">
                    <a16:creationId xmlns:a16="http://schemas.microsoft.com/office/drawing/2014/main" id="{A169A5C7-53A6-EAB7-438F-F7D34C1D4C1E}"/>
                  </a:ext>
                </a:extLst>
              </p:cNvPr>
              <p:cNvSpPr/>
              <p:nvPr/>
            </p:nvSpPr>
            <p:spPr>
              <a:xfrm>
                <a:off x="6706283" y="2235459"/>
                <a:ext cx="6536" cy="16900"/>
              </a:xfrm>
              <a:custGeom>
                <a:avLst/>
                <a:gdLst>
                  <a:gd name="connsiteX0" fmla="*/ 0 w 6667"/>
                  <a:gd name="connsiteY0" fmla="*/ 17240 h 17240"/>
                  <a:gd name="connsiteX1" fmla="*/ 6668 w 6667"/>
                  <a:gd name="connsiteY1" fmla="*/ 0 h 17240"/>
                  <a:gd name="connsiteX2" fmla="*/ 2858 w 6667"/>
                  <a:gd name="connsiteY2" fmla="*/ 2953 h 17240"/>
                  <a:gd name="connsiteX3" fmla="*/ 0 w 6667"/>
                  <a:gd name="connsiteY3" fmla="*/ 17240 h 1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667" h="17240">
                    <a:moveTo>
                      <a:pt x="0" y="17240"/>
                    </a:moveTo>
                    <a:lnTo>
                      <a:pt x="6668" y="0"/>
                    </a:lnTo>
                    <a:lnTo>
                      <a:pt x="2858" y="2953"/>
                    </a:lnTo>
                    <a:lnTo>
                      <a:pt x="0" y="1724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7" name="Freeform: Shape 346">
                <a:extLst>
                  <a:ext uri="{FF2B5EF4-FFF2-40B4-BE49-F238E27FC236}">
                    <a16:creationId xmlns:a16="http://schemas.microsoft.com/office/drawing/2014/main" id="{6FB1509F-9FF6-F635-B563-60898537BC5C}"/>
                  </a:ext>
                </a:extLst>
              </p:cNvPr>
              <p:cNvSpPr/>
              <p:nvPr/>
            </p:nvSpPr>
            <p:spPr>
              <a:xfrm>
                <a:off x="6574629" y="2252359"/>
                <a:ext cx="10270" cy="8403"/>
              </a:xfrm>
              <a:custGeom>
                <a:avLst/>
                <a:gdLst>
                  <a:gd name="connsiteX0" fmla="*/ 0 w 10477"/>
                  <a:gd name="connsiteY0" fmla="*/ 8572 h 8572"/>
                  <a:gd name="connsiteX1" fmla="*/ 10477 w 10477"/>
                  <a:gd name="connsiteY1" fmla="*/ 0 h 8572"/>
                  <a:gd name="connsiteX2" fmla="*/ 10477 w 10477"/>
                  <a:gd name="connsiteY2" fmla="*/ 0 h 8572"/>
                  <a:gd name="connsiteX3" fmla="*/ 0 w 10477"/>
                  <a:gd name="connsiteY3" fmla="*/ 8572 h 8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" h="8572">
                    <a:moveTo>
                      <a:pt x="0" y="8572"/>
                    </a:moveTo>
                    <a:lnTo>
                      <a:pt x="10477" y="0"/>
                    </a:lnTo>
                    <a:lnTo>
                      <a:pt x="10477" y="0"/>
                    </a:lnTo>
                    <a:lnTo>
                      <a:pt x="0" y="857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8" name="Freeform: Shape 347">
                <a:extLst>
                  <a:ext uri="{FF2B5EF4-FFF2-40B4-BE49-F238E27FC236}">
                    <a16:creationId xmlns:a16="http://schemas.microsoft.com/office/drawing/2014/main" id="{3D596AC2-8423-C152-CD20-E1B811A7F5E5}"/>
                  </a:ext>
                </a:extLst>
              </p:cNvPr>
              <p:cNvSpPr/>
              <p:nvPr/>
            </p:nvSpPr>
            <p:spPr>
              <a:xfrm>
                <a:off x="6159121" y="3044071"/>
                <a:ext cx="20542" cy="27171"/>
              </a:xfrm>
              <a:custGeom>
                <a:avLst/>
                <a:gdLst>
                  <a:gd name="connsiteX0" fmla="*/ 13335 w 20955"/>
                  <a:gd name="connsiteY0" fmla="*/ 6667 h 27717"/>
                  <a:gd name="connsiteX1" fmla="*/ 10478 w 20955"/>
                  <a:gd name="connsiteY1" fmla="*/ 0 h 27717"/>
                  <a:gd name="connsiteX2" fmla="*/ 0 w 20955"/>
                  <a:gd name="connsiteY2" fmla="*/ 0 h 27717"/>
                  <a:gd name="connsiteX3" fmla="*/ 0 w 20955"/>
                  <a:gd name="connsiteY3" fmla="*/ 20955 h 27717"/>
                  <a:gd name="connsiteX4" fmla="*/ 10478 w 20955"/>
                  <a:gd name="connsiteY4" fmla="*/ 20955 h 27717"/>
                  <a:gd name="connsiteX5" fmla="*/ 20955 w 20955"/>
                  <a:gd name="connsiteY5" fmla="*/ 27718 h 27717"/>
                  <a:gd name="connsiteX6" fmla="*/ 10478 w 20955"/>
                  <a:gd name="connsiteY6" fmla="*/ 20955 h 27717"/>
                  <a:gd name="connsiteX7" fmla="*/ 13335 w 20955"/>
                  <a:gd name="connsiteY7" fmla="*/ 6667 h 2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955" h="27717">
                    <a:moveTo>
                      <a:pt x="13335" y="6667"/>
                    </a:moveTo>
                    <a:lnTo>
                      <a:pt x="10478" y="0"/>
                    </a:lnTo>
                    <a:lnTo>
                      <a:pt x="0" y="0"/>
                    </a:lnTo>
                    <a:lnTo>
                      <a:pt x="0" y="20955"/>
                    </a:lnTo>
                    <a:lnTo>
                      <a:pt x="10478" y="20955"/>
                    </a:lnTo>
                    <a:lnTo>
                      <a:pt x="20955" y="27718"/>
                    </a:lnTo>
                    <a:lnTo>
                      <a:pt x="10478" y="20955"/>
                    </a:lnTo>
                    <a:lnTo>
                      <a:pt x="13335" y="666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49" name="Freeform: Shape 348">
                <a:extLst>
                  <a:ext uri="{FF2B5EF4-FFF2-40B4-BE49-F238E27FC236}">
                    <a16:creationId xmlns:a16="http://schemas.microsoft.com/office/drawing/2014/main" id="{657CF944-3681-6F5C-5E87-E407D18D6AA4}"/>
                  </a:ext>
                </a:extLst>
              </p:cNvPr>
              <p:cNvSpPr/>
              <p:nvPr/>
            </p:nvSpPr>
            <p:spPr>
              <a:xfrm>
                <a:off x="6806192" y="2453019"/>
                <a:ext cx="30812" cy="41177"/>
              </a:xfrm>
              <a:custGeom>
                <a:avLst/>
                <a:gdLst>
                  <a:gd name="connsiteX0" fmla="*/ 31432 w 31432"/>
                  <a:gd name="connsiteY0" fmla="*/ 42005 h 42005"/>
                  <a:gd name="connsiteX1" fmla="*/ 17145 w 31432"/>
                  <a:gd name="connsiteY1" fmla="*/ 17145 h 42005"/>
                  <a:gd name="connsiteX2" fmla="*/ 0 w 31432"/>
                  <a:gd name="connsiteY2" fmla="*/ 0 h 42005"/>
                  <a:gd name="connsiteX3" fmla="*/ 17145 w 31432"/>
                  <a:gd name="connsiteY3" fmla="*/ 17145 h 42005"/>
                  <a:gd name="connsiteX4" fmla="*/ 31432 w 31432"/>
                  <a:gd name="connsiteY4" fmla="*/ 42005 h 42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432" h="42005">
                    <a:moveTo>
                      <a:pt x="31432" y="42005"/>
                    </a:moveTo>
                    <a:lnTo>
                      <a:pt x="17145" y="17145"/>
                    </a:lnTo>
                    <a:lnTo>
                      <a:pt x="0" y="0"/>
                    </a:lnTo>
                    <a:lnTo>
                      <a:pt x="17145" y="17145"/>
                    </a:lnTo>
                    <a:lnTo>
                      <a:pt x="31432" y="4200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0" name="Freeform: Shape 349">
                <a:extLst>
                  <a:ext uri="{FF2B5EF4-FFF2-40B4-BE49-F238E27FC236}">
                    <a16:creationId xmlns:a16="http://schemas.microsoft.com/office/drawing/2014/main" id="{485129EE-792E-63D0-3783-EBEE6E8CA6B6}"/>
                  </a:ext>
                </a:extLst>
              </p:cNvPr>
              <p:cNvSpPr/>
              <p:nvPr/>
            </p:nvSpPr>
            <p:spPr>
              <a:xfrm>
                <a:off x="6626917" y="2297085"/>
                <a:ext cx="16807" cy="24370"/>
              </a:xfrm>
              <a:custGeom>
                <a:avLst/>
                <a:gdLst>
                  <a:gd name="connsiteX0" fmla="*/ 17145 w 17145"/>
                  <a:gd name="connsiteY0" fmla="*/ 24860 h 24860"/>
                  <a:gd name="connsiteX1" fmla="*/ 17145 w 17145"/>
                  <a:gd name="connsiteY1" fmla="*/ 24860 h 24860"/>
                  <a:gd name="connsiteX2" fmla="*/ 0 w 17145"/>
                  <a:gd name="connsiteY2" fmla="*/ 0 h 24860"/>
                  <a:gd name="connsiteX3" fmla="*/ 17145 w 17145"/>
                  <a:gd name="connsiteY3" fmla="*/ 24860 h 2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5" h="24860">
                    <a:moveTo>
                      <a:pt x="17145" y="24860"/>
                    </a:moveTo>
                    <a:lnTo>
                      <a:pt x="17145" y="24860"/>
                    </a:lnTo>
                    <a:lnTo>
                      <a:pt x="0" y="0"/>
                    </a:lnTo>
                    <a:lnTo>
                      <a:pt x="17145" y="2486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1" name="Freeform: Shape 350">
                <a:extLst>
                  <a:ext uri="{FF2B5EF4-FFF2-40B4-BE49-F238E27FC236}">
                    <a16:creationId xmlns:a16="http://schemas.microsoft.com/office/drawing/2014/main" id="{951862F4-5E88-BB2E-C856-C5615A5FFB65}"/>
                  </a:ext>
                </a:extLst>
              </p:cNvPr>
              <p:cNvSpPr/>
              <p:nvPr/>
            </p:nvSpPr>
            <p:spPr>
              <a:xfrm>
                <a:off x="6401889" y="2954526"/>
                <a:ext cx="3735" cy="41084"/>
              </a:xfrm>
              <a:custGeom>
                <a:avLst/>
                <a:gdLst>
                  <a:gd name="connsiteX0" fmla="*/ 0 w 3810"/>
                  <a:gd name="connsiteY0" fmla="*/ 17050 h 41910"/>
                  <a:gd name="connsiteX1" fmla="*/ 3810 w 3810"/>
                  <a:gd name="connsiteY1" fmla="*/ 41910 h 41910"/>
                  <a:gd name="connsiteX2" fmla="*/ 3810 w 3810"/>
                  <a:gd name="connsiteY2" fmla="*/ 0 h 41910"/>
                  <a:gd name="connsiteX3" fmla="*/ 0 w 3810"/>
                  <a:gd name="connsiteY3" fmla="*/ 17050 h 41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" h="41910">
                    <a:moveTo>
                      <a:pt x="0" y="17050"/>
                    </a:moveTo>
                    <a:lnTo>
                      <a:pt x="3810" y="41910"/>
                    </a:lnTo>
                    <a:lnTo>
                      <a:pt x="3810" y="0"/>
                    </a:lnTo>
                    <a:lnTo>
                      <a:pt x="0" y="170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2" name="Freeform: Shape 351">
                <a:extLst>
                  <a:ext uri="{FF2B5EF4-FFF2-40B4-BE49-F238E27FC236}">
                    <a16:creationId xmlns:a16="http://schemas.microsoft.com/office/drawing/2014/main" id="{8220BD8E-2E3A-0D9D-224D-A126050FB67A}"/>
                  </a:ext>
                </a:extLst>
              </p:cNvPr>
              <p:cNvSpPr/>
              <p:nvPr/>
            </p:nvSpPr>
            <p:spPr>
              <a:xfrm>
                <a:off x="6806192" y="2418471"/>
                <a:ext cx="14005" cy="34548"/>
              </a:xfrm>
              <a:custGeom>
                <a:avLst/>
                <a:gdLst>
                  <a:gd name="connsiteX0" fmla="*/ 14288 w 14287"/>
                  <a:gd name="connsiteY0" fmla="*/ 0 h 35242"/>
                  <a:gd name="connsiteX1" fmla="*/ 14288 w 14287"/>
                  <a:gd name="connsiteY1" fmla="*/ 0 h 35242"/>
                  <a:gd name="connsiteX2" fmla="*/ 0 w 14287"/>
                  <a:gd name="connsiteY2" fmla="*/ 35243 h 35242"/>
                  <a:gd name="connsiteX3" fmla="*/ 14288 w 14287"/>
                  <a:gd name="connsiteY3" fmla="*/ 0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4287" h="35242">
                    <a:moveTo>
                      <a:pt x="14288" y="0"/>
                    </a:moveTo>
                    <a:lnTo>
                      <a:pt x="14288" y="0"/>
                    </a:lnTo>
                    <a:lnTo>
                      <a:pt x="0" y="35243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3" name="Freeform: Shape 352">
                <a:extLst>
                  <a:ext uri="{FF2B5EF4-FFF2-40B4-BE49-F238E27FC236}">
                    <a16:creationId xmlns:a16="http://schemas.microsoft.com/office/drawing/2014/main" id="{5440C9E3-17C4-4769-5B4B-756897DBEE5F}"/>
                  </a:ext>
                </a:extLst>
              </p:cNvPr>
              <p:cNvSpPr/>
              <p:nvPr/>
            </p:nvSpPr>
            <p:spPr>
              <a:xfrm>
                <a:off x="6175928" y="2971240"/>
                <a:ext cx="10270" cy="7470"/>
              </a:xfrm>
              <a:custGeom>
                <a:avLst/>
                <a:gdLst>
                  <a:gd name="connsiteX0" fmla="*/ 10478 w 10477"/>
                  <a:gd name="connsiteY0" fmla="*/ 0 h 7620"/>
                  <a:gd name="connsiteX1" fmla="*/ 0 w 10477"/>
                  <a:gd name="connsiteY1" fmla="*/ 7620 h 7620"/>
                  <a:gd name="connsiteX2" fmla="*/ 10478 w 10477"/>
                  <a:gd name="connsiteY2" fmla="*/ 0 h 7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" h="7620">
                    <a:moveTo>
                      <a:pt x="10478" y="0"/>
                    </a:moveTo>
                    <a:lnTo>
                      <a:pt x="0" y="7620"/>
                    </a:lnTo>
                    <a:lnTo>
                      <a:pt x="1047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4" name="Freeform: Shape 353">
                <a:extLst>
                  <a:ext uri="{FF2B5EF4-FFF2-40B4-BE49-F238E27FC236}">
                    <a16:creationId xmlns:a16="http://schemas.microsoft.com/office/drawing/2014/main" id="{14EC8FAB-893C-E82A-5BA6-F17719256742}"/>
                  </a:ext>
                </a:extLst>
              </p:cNvPr>
              <p:cNvSpPr/>
              <p:nvPr/>
            </p:nvSpPr>
            <p:spPr>
              <a:xfrm>
                <a:off x="6241288" y="3185998"/>
                <a:ext cx="7469" cy="2801"/>
              </a:xfrm>
              <a:custGeom>
                <a:avLst/>
                <a:gdLst>
                  <a:gd name="connsiteX0" fmla="*/ 0 w 7619"/>
                  <a:gd name="connsiteY0" fmla="*/ 2858 h 2857"/>
                  <a:gd name="connsiteX1" fmla="*/ 7620 w 7619"/>
                  <a:gd name="connsiteY1" fmla="*/ 0 h 2857"/>
                  <a:gd name="connsiteX2" fmla="*/ 0 w 7619"/>
                  <a:gd name="connsiteY2" fmla="*/ 2858 h 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19" h="2857">
                    <a:moveTo>
                      <a:pt x="0" y="2858"/>
                    </a:moveTo>
                    <a:lnTo>
                      <a:pt x="7620" y="0"/>
                    </a:lnTo>
                    <a:lnTo>
                      <a:pt x="0" y="285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5" name="Freeform: Shape 354">
                <a:extLst>
                  <a:ext uri="{FF2B5EF4-FFF2-40B4-BE49-F238E27FC236}">
                    <a16:creationId xmlns:a16="http://schemas.microsoft.com/office/drawing/2014/main" id="{B80EC6DC-3A5B-5CA3-8C80-6244D6BD89AF}"/>
                  </a:ext>
                </a:extLst>
              </p:cNvPr>
              <p:cNvSpPr/>
              <p:nvPr/>
            </p:nvSpPr>
            <p:spPr>
              <a:xfrm>
                <a:off x="6155387" y="3005882"/>
                <a:ext cx="16806" cy="28012"/>
              </a:xfrm>
              <a:custGeom>
                <a:avLst/>
                <a:gdLst>
                  <a:gd name="connsiteX0" fmla="*/ 0 w 17144"/>
                  <a:gd name="connsiteY0" fmla="*/ 0 h 28575"/>
                  <a:gd name="connsiteX1" fmla="*/ 0 w 17144"/>
                  <a:gd name="connsiteY1" fmla="*/ 0 h 28575"/>
                  <a:gd name="connsiteX2" fmla="*/ 0 w 17144"/>
                  <a:gd name="connsiteY2" fmla="*/ 0 h 28575"/>
                  <a:gd name="connsiteX3" fmla="*/ 10478 w 17144"/>
                  <a:gd name="connsiteY3" fmla="*/ 14288 h 28575"/>
                  <a:gd name="connsiteX4" fmla="*/ 17145 w 17144"/>
                  <a:gd name="connsiteY4" fmla="*/ 28575 h 28575"/>
                  <a:gd name="connsiteX5" fmla="*/ 10478 w 17144"/>
                  <a:gd name="connsiteY5" fmla="*/ 10382 h 28575"/>
                  <a:gd name="connsiteX6" fmla="*/ 0 w 17144"/>
                  <a:gd name="connsiteY6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144" h="28575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10478" y="14288"/>
                    </a:lnTo>
                    <a:lnTo>
                      <a:pt x="17145" y="28575"/>
                    </a:lnTo>
                    <a:lnTo>
                      <a:pt x="10478" y="103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6" name="Freeform: Shape 355">
                <a:extLst>
                  <a:ext uri="{FF2B5EF4-FFF2-40B4-BE49-F238E27FC236}">
                    <a16:creationId xmlns:a16="http://schemas.microsoft.com/office/drawing/2014/main" id="{985798E9-143C-12A5-94AF-4B051468C501}"/>
                  </a:ext>
                </a:extLst>
              </p:cNvPr>
              <p:cNvSpPr/>
              <p:nvPr/>
            </p:nvSpPr>
            <p:spPr>
              <a:xfrm>
                <a:off x="6203939" y="3085248"/>
                <a:ext cx="16806" cy="34548"/>
              </a:xfrm>
              <a:custGeom>
                <a:avLst/>
                <a:gdLst>
                  <a:gd name="connsiteX0" fmla="*/ 6668 w 17144"/>
                  <a:gd name="connsiteY0" fmla="*/ 20955 h 35242"/>
                  <a:gd name="connsiteX1" fmla="*/ 0 w 17144"/>
                  <a:gd name="connsiteY1" fmla="*/ 35243 h 35242"/>
                  <a:gd name="connsiteX2" fmla="*/ 17145 w 17144"/>
                  <a:gd name="connsiteY2" fmla="*/ 0 h 35242"/>
                  <a:gd name="connsiteX3" fmla="*/ 6668 w 17144"/>
                  <a:gd name="connsiteY3" fmla="*/ 20955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4" h="35242">
                    <a:moveTo>
                      <a:pt x="6668" y="20955"/>
                    </a:moveTo>
                    <a:lnTo>
                      <a:pt x="0" y="35243"/>
                    </a:lnTo>
                    <a:lnTo>
                      <a:pt x="17145" y="0"/>
                    </a:lnTo>
                    <a:lnTo>
                      <a:pt x="6668" y="2095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7" name="Freeform: Shape 356">
                <a:extLst>
                  <a:ext uri="{FF2B5EF4-FFF2-40B4-BE49-F238E27FC236}">
                    <a16:creationId xmlns:a16="http://schemas.microsoft.com/office/drawing/2014/main" id="{24193D10-6BAC-7329-8623-5C92ED119949}"/>
                  </a:ext>
                </a:extLst>
              </p:cNvPr>
              <p:cNvSpPr/>
              <p:nvPr/>
            </p:nvSpPr>
            <p:spPr>
              <a:xfrm>
                <a:off x="6329993" y="2487660"/>
                <a:ext cx="55089" cy="16713"/>
              </a:xfrm>
              <a:custGeom>
                <a:avLst/>
                <a:gdLst>
                  <a:gd name="connsiteX0" fmla="*/ 27623 w 56197"/>
                  <a:gd name="connsiteY0" fmla="*/ 10382 h 17049"/>
                  <a:gd name="connsiteX1" fmla="*/ 56198 w 56197"/>
                  <a:gd name="connsiteY1" fmla="*/ 0 h 17049"/>
                  <a:gd name="connsiteX2" fmla="*/ 0 w 56197"/>
                  <a:gd name="connsiteY2" fmla="*/ 17050 h 17049"/>
                  <a:gd name="connsiteX3" fmla="*/ 27623 w 56197"/>
                  <a:gd name="connsiteY3" fmla="*/ 10382 h 17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6197" h="17049">
                    <a:moveTo>
                      <a:pt x="27623" y="10382"/>
                    </a:moveTo>
                    <a:lnTo>
                      <a:pt x="56198" y="0"/>
                    </a:lnTo>
                    <a:lnTo>
                      <a:pt x="0" y="17050"/>
                    </a:lnTo>
                    <a:lnTo>
                      <a:pt x="27623" y="103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8" name="Freeform: Shape 357">
                <a:extLst>
                  <a:ext uri="{FF2B5EF4-FFF2-40B4-BE49-F238E27FC236}">
                    <a16:creationId xmlns:a16="http://schemas.microsoft.com/office/drawing/2014/main" id="{A4ADD898-6A6E-A3AB-2548-81EED108AA5F}"/>
                  </a:ext>
                </a:extLst>
              </p:cNvPr>
              <p:cNvSpPr/>
              <p:nvPr/>
            </p:nvSpPr>
            <p:spPr>
              <a:xfrm>
                <a:off x="3710896" y="3293378"/>
                <a:ext cx="120450" cy="44819"/>
              </a:xfrm>
              <a:custGeom>
                <a:avLst/>
                <a:gdLst>
                  <a:gd name="connsiteX0" fmla="*/ 63817 w 122872"/>
                  <a:gd name="connsiteY0" fmla="*/ 10573 h 45720"/>
                  <a:gd name="connsiteX1" fmla="*/ 49530 w 122872"/>
                  <a:gd name="connsiteY1" fmla="*/ 13430 h 45720"/>
                  <a:gd name="connsiteX2" fmla="*/ 35242 w 122872"/>
                  <a:gd name="connsiteY2" fmla="*/ 23813 h 45720"/>
                  <a:gd name="connsiteX3" fmla="*/ 20955 w 122872"/>
                  <a:gd name="connsiteY3" fmla="*/ 31433 h 45720"/>
                  <a:gd name="connsiteX4" fmla="*/ 14288 w 122872"/>
                  <a:gd name="connsiteY4" fmla="*/ 27718 h 45720"/>
                  <a:gd name="connsiteX5" fmla="*/ 14288 w 122872"/>
                  <a:gd name="connsiteY5" fmla="*/ 13430 h 45720"/>
                  <a:gd name="connsiteX6" fmla="*/ 6667 w 122872"/>
                  <a:gd name="connsiteY6" fmla="*/ 21050 h 45720"/>
                  <a:gd name="connsiteX7" fmla="*/ 0 w 122872"/>
                  <a:gd name="connsiteY7" fmla="*/ 34385 h 45720"/>
                  <a:gd name="connsiteX8" fmla="*/ 14288 w 122872"/>
                  <a:gd name="connsiteY8" fmla="*/ 45720 h 45720"/>
                  <a:gd name="connsiteX9" fmla="*/ 45720 w 122872"/>
                  <a:gd name="connsiteY9" fmla="*/ 45720 h 45720"/>
                  <a:gd name="connsiteX10" fmla="*/ 66675 w 122872"/>
                  <a:gd name="connsiteY10" fmla="*/ 34385 h 45720"/>
                  <a:gd name="connsiteX11" fmla="*/ 87630 w 122872"/>
                  <a:gd name="connsiteY11" fmla="*/ 27718 h 45720"/>
                  <a:gd name="connsiteX12" fmla="*/ 109537 w 122872"/>
                  <a:gd name="connsiteY12" fmla="*/ 17145 h 45720"/>
                  <a:gd name="connsiteX13" fmla="*/ 120015 w 122872"/>
                  <a:gd name="connsiteY13" fmla="*/ 13430 h 45720"/>
                  <a:gd name="connsiteX14" fmla="*/ 122873 w 122872"/>
                  <a:gd name="connsiteY14" fmla="*/ 2858 h 45720"/>
                  <a:gd name="connsiteX15" fmla="*/ 121920 w 122872"/>
                  <a:gd name="connsiteY15" fmla="*/ 0 h 45720"/>
                  <a:gd name="connsiteX16" fmla="*/ 91440 w 122872"/>
                  <a:gd name="connsiteY16" fmla="*/ 2858 h 45720"/>
                  <a:gd name="connsiteX17" fmla="*/ 63817 w 122872"/>
                  <a:gd name="connsiteY17" fmla="*/ 10573 h 45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2872" h="45720">
                    <a:moveTo>
                      <a:pt x="63817" y="10573"/>
                    </a:moveTo>
                    <a:lnTo>
                      <a:pt x="49530" y="13430"/>
                    </a:lnTo>
                    <a:lnTo>
                      <a:pt x="35242" y="23813"/>
                    </a:lnTo>
                    <a:lnTo>
                      <a:pt x="20955" y="31433"/>
                    </a:lnTo>
                    <a:lnTo>
                      <a:pt x="14288" y="27718"/>
                    </a:lnTo>
                    <a:lnTo>
                      <a:pt x="14288" y="13430"/>
                    </a:lnTo>
                    <a:lnTo>
                      <a:pt x="6667" y="21050"/>
                    </a:lnTo>
                    <a:lnTo>
                      <a:pt x="0" y="34385"/>
                    </a:lnTo>
                    <a:lnTo>
                      <a:pt x="14288" y="45720"/>
                    </a:lnTo>
                    <a:lnTo>
                      <a:pt x="45720" y="45720"/>
                    </a:lnTo>
                    <a:lnTo>
                      <a:pt x="66675" y="34385"/>
                    </a:lnTo>
                    <a:lnTo>
                      <a:pt x="87630" y="27718"/>
                    </a:lnTo>
                    <a:lnTo>
                      <a:pt x="109537" y="17145"/>
                    </a:lnTo>
                    <a:lnTo>
                      <a:pt x="120015" y="13430"/>
                    </a:lnTo>
                    <a:lnTo>
                      <a:pt x="122873" y="2858"/>
                    </a:lnTo>
                    <a:lnTo>
                      <a:pt x="121920" y="0"/>
                    </a:lnTo>
                    <a:lnTo>
                      <a:pt x="91440" y="2858"/>
                    </a:lnTo>
                    <a:lnTo>
                      <a:pt x="63817" y="1057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59" name="Freeform: Shape 358">
                <a:extLst>
                  <a:ext uri="{FF2B5EF4-FFF2-40B4-BE49-F238E27FC236}">
                    <a16:creationId xmlns:a16="http://schemas.microsoft.com/office/drawing/2014/main" id="{87099490-59AB-E321-1045-0B3CFF7ABBD0}"/>
                  </a:ext>
                </a:extLst>
              </p:cNvPr>
              <p:cNvSpPr/>
              <p:nvPr/>
            </p:nvSpPr>
            <p:spPr>
              <a:xfrm>
                <a:off x="8673641" y="3818228"/>
                <a:ext cx="28012" cy="38283"/>
              </a:xfrm>
              <a:custGeom>
                <a:avLst/>
                <a:gdLst>
                  <a:gd name="connsiteX0" fmla="*/ 0 w 28575"/>
                  <a:gd name="connsiteY0" fmla="*/ 39053 h 39052"/>
                  <a:gd name="connsiteX1" fmla="*/ 28575 w 28575"/>
                  <a:gd name="connsiteY1" fmla="*/ 0 h 39052"/>
                  <a:gd name="connsiteX2" fmla="*/ 14288 w 28575"/>
                  <a:gd name="connsiteY2" fmla="*/ 18097 h 39052"/>
                  <a:gd name="connsiteX3" fmla="*/ 0 w 28575"/>
                  <a:gd name="connsiteY3" fmla="*/ 39053 h 3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" h="39052">
                    <a:moveTo>
                      <a:pt x="0" y="39053"/>
                    </a:moveTo>
                    <a:lnTo>
                      <a:pt x="28575" y="0"/>
                    </a:lnTo>
                    <a:lnTo>
                      <a:pt x="14288" y="18097"/>
                    </a:lnTo>
                    <a:lnTo>
                      <a:pt x="0" y="3905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0" name="Freeform: Shape 359">
                <a:extLst>
                  <a:ext uri="{FF2B5EF4-FFF2-40B4-BE49-F238E27FC236}">
                    <a16:creationId xmlns:a16="http://schemas.microsoft.com/office/drawing/2014/main" id="{D4EA8AA0-E109-358D-645D-1A9ABBF6EB7D}"/>
                  </a:ext>
                </a:extLst>
              </p:cNvPr>
              <p:cNvSpPr/>
              <p:nvPr/>
            </p:nvSpPr>
            <p:spPr>
              <a:xfrm>
                <a:off x="8673641" y="3862954"/>
                <a:ext cx="34547" cy="34641"/>
              </a:xfrm>
              <a:custGeom>
                <a:avLst/>
                <a:gdLst>
                  <a:gd name="connsiteX0" fmla="*/ 35243 w 35242"/>
                  <a:gd name="connsiteY0" fmla="*/ 35338 h 35337"/>
                  <a:gd name="connsiteX1" fmla="*/ 35243 w 35242"/>
                  <a:gd name="connsiteY1" fmla="*/ 35338 h 35337"/>
                  <a:gd name="connsiteX2" fmla="*/ 35243 w 35242"/>
                  <a:gd name="connsiteY2" fmla="*/ 10573 h 35337"/>
                  <a:gd name="connsiteX3" fmla="*/ 0 w 35242"/>
                  <a:gd name="connsiteY3" fmla="*/ 0 h 35337"/>
                  <a:gd name="connsiteX4" fmla="*/ 35243 w 35242"/>
                  <a:gd name="connsiteY4" fmla="*/ 10573 h 35337"/>
                  <a:gd name="connsiteX5" fmla="*/ 35243 w 35242"/>
                  <a:gd name="connsiteY5" fmla="*/ 35338 h 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242" h="35337">
                    <a:moveTo>
                      <a:pt x="35243" y="35338"/>
                    </a:moveTo>
                    <a:lnTo>
                      <a:pt x="35243" y="35338"/>
                    </a:lnTo>
                    <a:lnTo>
                      <a:pt x="35243" y="10573"/>
                    </a:lnTo>
                    <a:lnTo>
                      <a:pt x="0" y="0"/>
                    </a:lnTo>
                    <a:lnTo>
                      <a:pt x="35243" y="10573"/>
                    </a:lnTo>
                    <a:lnTo>
                      <a:pt x="35243" y="3533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1" name="Freeform: Shape 360">
                <a:extLst>
                  <a:ext uri="{FF2B5EF4-FFF2-40B4-BE49-F238E27FC236}">
                    <a16:creationId xmlns:a16="http://schemas.microsoft.com/office/drawing/2014/main" id="{7FFA04BF-E72E-1BD4-52A9-2172927E3413}"/>
                  </a:ext>
                </a:extLst>
              </p:cNvPr>
              <p:cNvSpPr/>
              <p:nvPr/>
            </p:nvSpPr>
            <p:spPr>
              <a:xfrm>
                <a:off x="8407529" y="2975068"/>
                <a:ext cx="877701" cy="359486"/>
              </a:xfrm>
              <a:custGeom>
                <a:avLst/>
                <a:gdLst>
                  <a:gd name="connsiteX0" fmla="*/ 24765 w 895350"/>
                  <a:gd name="connsiteY0" fmla="*/ 144780 h 366712"/>
                  <a:gd name="connsiteX1" fmla="*/ 53340 w 895350"/>
                  <a:gd name="connsiteY1" fmla="*/ 147638 h 366712"/>
                  <a:gd name="connsiteX2" fmla="*/ 78105 w 895350"/>
                  <a:gd name="connsiteY2" fmla="*/ 172307 h 366712"/>
                  <a:gd name="connsiteX3" fmla="*/ 92393 w 895350"/>
                  <a:gd name="connsiteY3" fmla="*/ 193357 h 366712"/>
                  <a:gd name="connsiteX4" fmla="*/ 92393 w 895350"/>
                  <a:gd name="connsiteY4" fmla="*/ 207645 h 366712"/>
                  <a:gd name="connsiteX5" fmla="*/ 80963 w 895350"/>
                  <a:gd name="connsiteY5" fmla="*/ 221932 h 366712"/>
                  <a:gd name="connsiteX6" fmla="*/ 88582 w 895350"/>
                  <a:gd name="connsiteY6" fmla="*/ 242888 h 366712"/>
                  <a:gd name="connsiteX7" fmla="*/ 102870 w 895350"/>
                  <a:gd name="connsiteY7" fmla="*/ 250507 h 366712"/>
                  <a:gd name="connsiteX8" fmla="*/ 161925 w 895350"/>
                  <a:gd name="connsiteY8" fmla="*/ 253270 h 366712"/>
                  <a:gd name="connsiteX9" fmla="*/ 180023 w 895350"/>
                  <a:gd name="connsiteY9" fmla="*/ 271463 h 366712"/>
                  <a:gd name="connsiteX10" fmla="*/ 219075 w 895350"/>
                  <a:gd name="connsiteY10" fmla="*/ 292417 h 366712"/>
                  <a:gd name="connsiteX11" fmla="*/ 229553 w 895350"/>
                  <a:gd name="connsiteY11" fmla="*/ 317182 h 366712"/>
                  <a:gd name="connsiteX12" fmla="*/ 240030 w 895350"/>
                  <a:gd name="connsiteY12" fmla="*/ 331470 h 366712"/>
                  <a:gd name="connsiteX13" fmla="*/ 335280 w 895350"/>
                  <a:gd name="connsiteY13" fmla="*/ 335280 h 366712"/>
                  <a:gd name="connsiteX14" fmla="*/ 383857 w 895350"/>
                  <a:gd name="connsiteY14" fmla="*/ 338138 h 366712"/>
                  <a:gd name="connsiteX15" fmla="*/ 426720 w 895350"/>
                  <a:gd name="connsiteY15" fmla="*/ 359092 h 366712"/>
                  <a:gd name="connsiteX16" fmla="*/ 489585 w 895350"/>
                  <a:gd name="connsiteY16" fmla="*/ 366713 h 366712"/>
                  <a:gd name="connsiteX17" fmla="*/ 528638 w 895350"/>
                  <a:gd name="connsiteY17" fmla="*/ 341852 h 366712"/>
                  <a:gd name="connsiteX18" fmla="*/ 605790 w 895350"/>
                  <a:gd name="connsiteY18" fmla="*/ 341852 h 366712"/>
                  <a:gd name="connsiteX19" fmla="*/ 638175 w 895350"/>
                  <a:gd name="connsiteY19" fmla="*/ 323850 h 366712"/>
                  <a:gd name="connsiteX20" fmla="*/ 638175 w 895350"/>
                  <a:gd name="connsiteY20" fmla="*/ 313277 h 366712"/>
                  <a:gd name="connsiteX21" fmla="*/ 669607 w 895350"/>
                  <a:gd name="connsiteY21" fmla="*/ 296132 h 366712"/>
                  <a:gd name="connsiteX22" fmla="*/ 659130 w 895350"/>
                  <a:gd name="connsiteY22" fmla="*/ 275177 h 366712"/>
                  <a:gd name="connsiteX23" fmla="*/ 669607 w 895350"/>
                  <a:gd name="connsiteY23" fmla="*/ 253270 h 366712"/>
                  <a:gd name="connsiteX24" fmla="*/ 694373 w 895350"/>
                  <a:gd name="connsiteY24" fmla="*/ 253270 h 366712"/>
                  <a:gd name="connsiteX25" fmla="*/ 725805 w 895350"/>
                  <a:gd name="connsiteY25" fmla="*/ 257175 h 366712"/>
                  <a:gd name="connsiteX26" fmla="*/ 750570 w 895350"/>
                  <a:gd name="connsiteY26" fmla="*/ 232315 h 366712"/>
                  <a:gd name="connsiteX27" fmla="*/ 779145 w 895350"/>
                  <a:gd name="connsiteY27" fmla="*/ 232315 h 366712"/>
                  <a:gd name="connsiteX28" fmla="*/ 810578 w 895350"/>
                  <a:gd name="connsiteY28" fmla="*/ 207645 h 366712"/>
                  <a:gd name="connsiteX29" fmla="*/ 845820 w 895350"/>
                  <a:gd name="connsiteY29" fmla="*/ 193357 h 366712"/>
                  <a:gd name="connsiteX30" fmla="*/ 866775 w 895350"/>
                  <a:gd name="connsiteY30" fmla="*/ 193357 h 366712"/>
                  <a:gd name="connsiteX31" fmla="*/ 895350 w 895350"/>
                  <a:gd name="connsiteY31" fmla="*/ 197167 h 366712"/>
                  <a:gd name="connsiteX32" fmla="*/ 891540 w 895350"/>
                  <a:gd name="connsiteY32" fmla="*/ 179927 h 366712"/>
                  <a:gd name="connsiteX33" fmla="*/ 856298 w 895350"/>
                  <a:gd name="connsiteY33" fmla="*/ 144780 h 366712"/>
                  <a:gd name="connsiteX34" fmla="*/ 838200 w 895350"/>
                  <a:gd name="connsiteY34" fmla="*/ 140970 h 366712"/>
                  <a:gd name="connsiteX35" fmla="*/ 824865 w 895350"/>
                  <a:gd name="connsiteY35" fmla="*/ 151352 h 366712"/>
                  <a:gd name="connsiteX36" fmla="*/ 775335 w 895350"/>
                  <a:gd name="connsiteY36" fmla="*/ 147638 h 366712"/>
                  <a:gd name="connsiteX37" fmla="*/ 782003 w 895350"/>
                  <a:gd name="connsiteY37" fmla="*/ 122777 h 366712"/>
                  <a:gd name="connsiteX38" fmla="*/ 796290 w 895350"/>
                  <a:gd name="connsiteY38" fmla="*/ 91345 h 366712"/>
                  <a:gd name="connsiteX39" fmla="*/ 806768 w 895350"/>
                  <a:gd name="connsiteY39" fmla="*/ 77057 h 366712"/>
                  <a:gd name="connsiteX40" fmla="*/ 764857 w 895350"/>
                  <a:gd name="connsiteY40" fmla="*/ 74295 h 366712"/>
                  <a:gd name="connsiteX41" fmla="*/ 750570 w 895350"/>
                  <a:gd name="connsiteY41" fmla="*/ 62770 h 366712"/>
                  <a:gd name="connsiteX42" fmla="*/ 732473 w 895350"/>
                  <a:gd name="connsiteY42" fmla="*/ 66675 h 366712"/>
                  <a:gd name="connsiteX43" fmla="*/ 701040 w 895350"/>
                  <a:gd name="connsiteY43" fmla="*/ 91345 h 366712"/>
                  <a:gd name="connsiteX44" fmla="*/ 648653 w 895350"/>
                  <a:gd name="connsiteY44" fmla="*/ 101917 h 366712"/>
                  <a:gd name="connsiteX45" fmla="*/ 616268 w 895350"/>
                  <a:gd name="connsiteY45" fmla="*/ 105632 h 366712"/>
                  <a:gd name="connsiteX46" fmla="*/ 578168 w 895350"/>
                  <a:gd name="connsiteY46" fmla="*/ 101917 h 366712"/>
                  <a:gd name="connsiteX47" fmla="*/ 567690 w 895350"/>
                  <a:gd name="connsiteY47" fmla="*/ 91345 h 366712"/>
                  <a:gd name="connsiteX48" fmla="*/ 557213 w 895350"/>
                  <a:gd name="connsiteY48" fmla="*/ 77057 h 366712"/>
                  <a:gd name="connsiteX49" fmla="*/ 539115 w 895350"/>
                  <a:gd name="connsiteY49" fmla="*/ 74295 h 366712"/>
                  <a:gd name="connsiteX50" fmla="*/ 528638 w 895350"/>
                  <a:gd name="connsiteY50" fmla="*/ 62770 h 366712"/>
                  <a:gd name="connsiteX51" fmla="*/ 486728 w 895350"/>
                  <a:gd name="connsiteY51" fmla="*/ 56102 h 366712"/>
                  <a:gd name="connsiteX52" fmla="*/ 461963 w 895350"/>
                  <a:gd name="connsiteY52" fmla="*/ 70390 h 366712"/>
                  <a:gd name="connsiteX53" fmla="*/ 416243 w 895350"/>
                  <a:gd name="connsiteY53" fmla="*/ 62770 h 366712"/>
                  <a:gd name="connsiteX54" fmla="*/ 398145 w 895350"/>
                  <a:gd name="connsiteY54" fmla="*/ 41815 h 366712"/>
                  <a:gd name="connsiteX55" fmla="*/ 395288 w 895350"/>
                  <a:gd name="connsiteY55" fmla="*/ 24670 h 366712"/>
                  <a:gd name="connsiteX56" fmla="*/ 352425 w 895350"/>
                  <a:gd name="connsiteY56" fmla="*/ 10382 h 366712"/>
                  <a:gd name="connsiteX57" fmla="*/ 302895 w 895350"/>
                  <a:gd name="connsiteY57" fmla="*/ 0 h 366712"/>
                  <a:gd name="connsiteX58" fmla="*/ 271463 w 895350"/>
                  <a:gd name="connsiteY58" fmla="*/ 31432 h 366712"/>
                  <a:gd name="connsiteX59" fmla="*/ 292418 w 895350"/>
                  <a:gd name="connsiteY59" fmla="*/ 56102 h 366712"/>
                  <a:gd name="connsiteX60" fmla="*/ 289560 w 895350"/>
                  <a:gd name="connsiteY60" fmla="*/ 70390 h 366712"/>
                  <a:gd name="connsiteX61" fmla="*/ 267653 w 895350"/>
                  <a:gd name="connsiteY61" fmla="*/ 87630 h 366712"/>
                  <a:gd name="connsiteX62" fmla="*/ 254318 w 895350"/>
                  <a:gd name="connsiteY62" fmla="*/ 77057 h 366712"/>
                  <a:gd name="connsiteX63" fmla="*/ 197168 w 895350"/>
                  <a:gd name="connsiteY63" fmla="*/ 77057 h 366712"/>
                  <a:gd name="connsiteX64" fmla="*/ 180023 w 895350"/>
                  <a:gd name="connsiteY64" fmla="*/ 56102 h 366712"/>
                  <a:gd name="connsiteX65" fmla="*/ 144780 w 895350"/>
                  <a:gd name="connsiteY65" fmla="*/ 49530 h 366712"/>
                  <a:gd name="connsiteX66" fmla="*/ 113348 w 895350"/>
                  <a:gd name="connsiteY66" fmla="*/ 45720 h 366712"/>
                  <a:gd name="connsiteX67" fmla="*/ 53340 w 895350"/>
                  <a:gd name="connsiteY67" fmla="*/ 77057 h 366712"/>
                  <a:gd name="connsiteX68" fmla="*/ 39053 w 895350"/>
                  <a:gd name="connsiteY68" fmla="*/ 91345 h 366712"/>
                  <a:gd name="connsiteX69" fmla="*/ 14288 w 895350"/>
                  <a:gd name="connsiteY69" fmla="*/ 95250 h 366712"/>
                  <a:gd name="connsiteX70" fmla="*/ 0 w 895350"/>
                  <a:gd name="connsiteY70" fmla="*/ 109538 h 366712"/>
                  <a:gd name="connsiteX71" fmla="*/ 7620 w 895350"/>
                  <a:gd name="connsiteY71" fmla="*/ 126682 h 366712"/>
                  <a:gd name="connsiteX72" fmla="*/ 24765 w 895350"/>
                  <a:gd name="connsiteY72" fmla="*/ 144780 h 366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</a:cxnLst>
                <a:rect l="l" t="t" r="r" b="b"/>
                <a:pathLst>
                  <a:path w="895350" h="366712">
                    <a:moveTo>
                      <a:pt x="24765" y="144780"/>
                    </a:moveTo>
                    <a:lnTo>
                      <a:pt x="53340" y="147638"/>
                    </a:lnTo>
                    <a:lnTo>
                      <a:pt x="78105" y="172307"/>
                    </a:lnTo>
                    <a:lnTo>
                      <a:pt x="92393" y="193357"/>
                    </a:lnTo>
                    <a:lnTo>
                      <a:pt x="92393" y="207645"/>
                    </a:lnTo>
                    <a:lnTo>
                      <a:pt x="80963" y="221932"/>
                    </a:lnTo>
                    <a:lnTo>
                      <a:pt x="88582" y="242888"/>
                    </a:lnTo>
                    <a:lnTo>
                      <a:pt x="102870" y="250507"/>
                    </a:lnTo>
                    <a:lnTo>
                      <a:pt x="161925" y="253270"/>
                    </a:lnTo>
                    <a:lnTo>
                      <a:pt x="180023" y="271463"/>
                    </a:lnTo>
                    <a:lnTo>
                      <a:pt x="219075" y="292417"/>
                    </a:lnTo>
                    <a:lnTo>
                      <a:pt x="229553" y="317182"/>
                    </a:lnTo>
                    <a:lnTo>
                      <a:pt x="240030" y="331470"/>
                    </a:lnTo>
                    <a:lnTo>
                      <a:pt x="335280" y="335280"/>
                    </a:lnTo>
                    <a:lnTo>
                      <a:pt x="383857" y="338138"/>
                    </a:lnTo>
                    <a:lnTo>
                      <a:pt x="426720" y="359092"/>
                    </a:lnTo>
                    <a:lnTo>
                      <a:pt x="489585" y="366713"/>
                    </a:lnTo>
                    <a:lnTo>
                      <a:pt x="528638" y="341852"/>
                    </a:lnTo>
                    <a:lnTo>
                      <a:pt x="605790" y="341852"/>
                    </a:lnTo>
                    <a:lnTo>
                      <a:pt x="638175" y="323850"/>
                    </a:lnTo>
                    <a:lnTo>
                      <a:pt x="638175" y="313277"/>
                    </a:lnTo>
                    <a:lnTo>
                      <a:pt x="669607" y="296132"/>
                    </a:lnTo>
                    <a:lnTo>
                      <a:pt x="659130" y="275177"/>
                    </a:lnTo>
                    <a:lnTo>
                      <a:pt x="669607" y="253270"/>
                    </a:lnTo>
                    <a:lnTo>
                      <a:pt x="694373" y="253270"/>
                    </a:lnTo>
                    <a:lnTo>
                      <a:pt x="725805" y="257175"/>
                    </a:lnTo>
                    <a:lnTo>
                      <a:pt x="750570" y="232315"/>
                    </a:lnTo>
                    <a:lnTo>
                      <a:pt x="779145" y="232315"/>
                    </a:lnTo>
                    <a:lnTo>
                      <a:pt x="810578" y="207645"/>
                    </a:lnTo>
                    <a:lnTo>
                      <a:pt x="845820" y="193357"/>
                    </a:lnTo>
                    <a:lnTo>
                      <a:pt x="866775" y="193357"/>
                    </a:lnTo>
                    <a:lnTo>
                      <a:pt x="895350" y="197167"/>
                    </a:lnTo>
                    <a:lnTo>
                      <a:pt x="891540" y="179927"/>
                    </a:lnTo>
                    <a:lnTo>
                      <a:pt x="856298" y="144780"/>
                    </a:lnTo>
                    <a:lnTo>
                      <a:pt x="838200" y="140970"/>
                    </a:lnTo>
                    <a:lnTo>
                      <a:pt x="824865" y="151352"/>
                    </a:lnTo>
                    <a:lnTo>
                      <a:pt x="775335" y="147638"/>
                    </a:lnTo>
                    <a:lnTo>
                      <a:pt x="782003" y="122777"/>
                    </a:lnTo>
                    <a:lnTo>
                      <a:pt x="796290" y="91345"/>
                    </a:lnTo>
                    <a:lnTo>
                      <a:pt x="806768" y="77057"/>
                    </a:lnTo>
                    <a:lnTo>
                      <a:pt x="764857" y="74295"/>
                    </a:lnTo>
                    <a:lnTo>
                      <a:pt x="750570" y="62770"/>
                    </a:lnTo>
                    <a:lnTo>
                      <a:pt x="732473" y="66675"/>
                    </a:lnTo>
                    <a:lnTo>
                      <a:pt x="701040" y="91345"/>
                    </a:lnTo>
                    <a:lnTo>
                      <a:pt x="648653" y="101917"/>
                    </a:lnTo>
                    <a:lnTo>
                      <a:pt x="616268" y="105632"/>
                    </a:lnTo>
                    <a:lnTo>
                      <a:pt x="578168" y="101917"/>
                    </a:lnTo>
                    <a:lnTo>
                      <a:pt x="567690" y="91345"/>
                    </a:lnTo>
                    <a:lnTo>
                      <a:pt x="557213" y="77057"/>
                    </a:lnTo>
                    <a:lnTo>
                      <a:pt x="539115" y="74295"/>
                    </a:lnTo>
                    <a:lnTo>
                      <a:pt x="528638" y="62770"/>
                    </a:lnTo>
                    <a:lnTo>
                      <a:pt x="486728" y="56102"/>
                    </a:lnTo>
                    <a:lnTo>
                      <a:pt x="461963" y="70390"/>
                    </a:lnTo>
                    <a:lnTo>
                      <a:pt x="416243" y="62770"/>
                    </a:lnTo>
                    <a:lnTo>
                      <a:pt x="398145" y="41815"/>
                    </a:lnTo>
                    <a:lnTo>
                      <a:pt x="395288" y="24670"/>
                    </a:lnTo>
                    <a:lnTo>
                      <a:pt x="352425" y="10382"/>
                    </a:lnTo>
                    <a:lnTo>
                      <a:pt x="302895" y="0"/>
                    </a:lnTo>
                    <a:lnTo>
                      <a:pt x="271463" y="31432"/>
                    </a:lnTo>
                    <a:lnTo>
                      <a:pt x="292418" y="56102"/>
                    </a:lnTo>
                    <a:lnTo>
                      <a:pt x="289560" y="70390"/>
                    </a:lnTo>
                    <a:lnTo>
                      <a:pt x="267653" y="87630"/>
                    </a:lnTo>
                    <a:lnTo>
                      <a:pt x="254318" y="77057"/>
                    </a:lnTo>
                    <a:lnTo>
                      <a:pt x="197168" y="77057"/>
                    </a:lnTo>
                    <a:lnTo>
                      <a:pt x="180023" y="56102"/>
                    </a:lnTo>
                    <a:lnTo>
                      <a:pt x="144780" y="49530"/>
                    </a:lnTo>
                    <a:lnTo>
                      <a:pt x="113348" y="45720"/>
                    </a:lnTo>
                    <a:lnTo>
                      <a:pt x="53340" y="77057"/>
                    </a:lnTo>
                    <a:lnTo>
                      <a:pt x="39053" y="91345"/>
                    </a:lnTo>
                    <a:lnTo>
                      <a:pt x="14288" y="95250"/>
                    </a:lnTo>
                    <a:lnTo>
                      <a:pt x="0" y="109538"/>
                    </a:lnTo>
                    <a:lnTo>
                      <a:pt x="7620" y="126682"/>
                    </a:lnTo>
                    <a:lnTo>
                      <a:pt x="24765" y="14478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2" name="Freeform: Shape 361">
                <a:extLst>
                  <a:ext uri="{FF2B5EF4-FFF2-40B4-BE49-F238E27FC236}">
                    <a16:creationId xmlns:a16="http://schemas.microsoft.com/office/drawing/2014/main" id="{A11976E4-23EB-AAEA-D8EC-F259D4153FBF}"/>
                  </a:ext>
                </a:extLst>
              </p:cNvPr>
              <p:cNvSpPr/>
              <p:nvPr/>
            </p:nvSpPr>
            <p:spPr>
              <a:xfrm>
                <a:off x="8134881" y="3513832"/>
                <a:ext cx="66294" cy="62560"/>
              </a:xfrm>
              <a:custGeom>
                <a:avLst/>
                <a:gdLst>
                  <a:gd name="connsiteX0" fmla="*/ 20955 w 67627"/>
                  <a:gd name="connsiteY0" fmla="*/ 49530 h 63817"/>
                  <a:gd name="connsiteX1" fmla="*/ 24765 w 67627"/>
                  <a:gd name="connsiteY1" fmla="*/ 63817 h 63817"/>
                  <a:gd name="connsiteX2" fmla="*/ 53340 w 67627"/>
                  <a:gd name="connsiteY2" fmla="*/ 49530 h 63817"/>
                  <a:gd name="connsiteX3" fmla="*/ 67628 w 67627"/>
                  <a:gd name="connsiteY3" fmla="*/ 35147 h 63817"/>
                  <a:gd name="connsiteX4" fmla="*/ 67628 w 67627"/>
                  <a:gd name="connsiteY4" fmla="*/ 21908 h 63817"/>
                  <a:gd name="connsiteX5" fmla="*/ 35243 w 67627"/>
                  <a:gd name="connsiteY5" fmla="*/ 0 h 63817"/>
                  <a:gd name="connsiteX6" fmla="*/ 0 w 67627"/>
                  <a:gd name="connsiteY6" fmla="*/ 14288 h 63817"/>
                  <a:gd name="connsiteX7" fmla="*/ 3810 w 67627"/>
                  <a:gd name="connsiteY7" fmla="*/ 39052 h 63817"/>
                  <a:gd name="connsiteX8" fmla="*/ 20955 w 67627"/>
                  <a:gd name="connsiteY8" fmla="*/ 49530 h 63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7627" h="63817">
                    <a:moveTo>
                      <a:pt x="20955" y="49530"/>
                    </a:moveTo>
                    <a:lnTo>
                      <a:pt x="24765" y="63817"/>
                    </a:lnTo>
                    <a:lnTo>
                      <a:pt x="53340" y="49530"/>
                    </a:lnTo>
                    <a:lnTo>
                      <a:pt x="67628" y="35147"/>
                    </a:lnTo>
                    <a:lnTo>
                      <a:pt x="67628" y="21908"/>
                    </a:lnTo>
                    <a:lnTo>
                      <a:pt x="35243" y="0"/>
                    </a:lnTo>
                    <a:lnTo>
                      <a:pt x="0" y="14288"/>
                    </a:lnTo>
                    <a:lnTo>
                      <a:pt x="3810" y="39052"/>
                    </a:lnTo>
                    <a:lnTo>
                      <a:pt x="20955" y="4953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3" name="Freeform: Shape 362">
                <a:extLst>
                  <a:ext uri="{FF2B5EF4-FFF2-40B4-BE49-F238E27FC236}">
                    <a16:creationId xmlns:a16="http://schemas.microsoft.com/office/drawing/2014/main" id="{6CE147B6-97E9-2522-60F9-AAEF4BB34967}"/>
                  </a:ext>
                </a:extLst>
              </p:cNvPr>
              <p:cNvSpPr/>
              <p:nvPr/>
            </p:nvSpPr>
            <p:spPr>
              <a:xfrm>
                <a:off x="9316043" y="2919885"/>
                <a:ext cx="75631" cy="6629"/>
              </a:xfrm>
              <a:custGeom>
                <a:avLst/>
                <a:gdLst>
                  <a:gd name="connsiteX0" fmla="*/ 77153 w 77152"/>
                  <a:gd name="connsiteY0" fmla="*/ 0 h 6762"/>
                  <a:gd name="connsiteX1" fmla="*/ 0 w 77152"/>
                  <a:gd name="connsiteY1" fmla="*/ 6763 h 6762"/>
                  <a:gd name="connsiteX2" fmla="*/ 45720 w 77152"/>
                  <a:gd name="connsiteY2" fmla="*/ 2858 h 6762"/>
                  <a:gd name="connsiteX3" fmla="*/ 77153 w 77152"/>
                  <a:gd name="connsiteY3" fmla="*/ 0 h 6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7152" h="6762">
                    <a:moveTo>
                      <a:pt x="77153" y="0"/>
                    </a:moveTo>
                    <a:lnTo>
                      <a:pt x="0" y="6763"/>
                    </a:lnTo>
                    <a:lnTo>
                      <a:pt x="45720" y="2858"/>
                    </a:lnTo>
                    <a:lnTo>
                      <a:pt x="7715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4" name="Freeform: Shape 363">
                <a:extLst>
                  <a:ext uri="{FF2B5EF4-FFF2-40B4-BE49-F238E27FC236}">
                    <a16:creationId xmlns:a16="http://schemas.microsoft.com/office/drawing/2014/main" id="{CCA70276-35D3-900D-A7FD-DD88362F454F}"/>
                  </a:ext>
                </a:extLst>
              </p:cNvPr>
              <p:cNvSpPr/>
              <p:nvPr/>
            </p:nvSpPr>
            <p:spPr>
              <a:xfrm>
                <a:off x="8189972" y="3683771"/>
                <a:ext cx="225027" cy="124186"/>
              </a:xfrm>
              <a:custGeom>
                <a:avLst/>
                <a:gdLst>
                  <a:gd name="connsiteX0" fmla="*/ 0 w 229552"/>
                  <a:gd name="connsiteY0" fmla="*/ 52388 h 126682"/>
                  <a:gd name="connsiteX1" fmla="*/ 35243 w 229552"/>
                  <a:gd name="connsiteY1" fmla="*/ 62770 h 126682"/>
                  <a:gd name="connsiteX2" fmla="*/ 84773 w 229552"/>
                  <a:gd name="connsiteY2" fmla="*/ 91345 h 126682"/>
                  <a:gd name="connsiteX3" fmla="*/ 127635 w 229552"/>
                  <a:gd name="connsiteY3" fmla="*/ 95250 h 126682"/>
                  <a:gd name="connsiteX4" fmla="*/ 155257 w 229552"/>
                  <a:gd name="connsiteY4" fmla="*/ 116110 h 126682"/>
                  <a:gd name="connsiteX5" fmla="*/ 180023 w 229552"/>
                  <a:gd name="connsiteY5" fmla="*/ 126683 h 126682"/>
                  <a:gd name="connsiteX6" fmla="*/ 229552 w 229552"/>
                  <a:gd name="connsiteY6" fmla="*/ 122872 h 126682"/>
                  <a:gd name="connsiteX7" fmla="*/ 225743 w 229552"/>
                  <a:gd name="connsiteY7" fmla="*/ 80963 h 126682"/>
                  <a:gd name="connsiteX8" fmla="*/ 186690 w 229552"/>
                  <a:gd name="connsiteY8" fmla="*/ 77057 h 126682"/>
                  <a:gd name="connsiteX9" fmla="*/ 159068 w 229552"/>
                  <a:gd name="connsiteY9" fmla="*/ 73247 h 126682"/>
                  <a:gd name="connsiteX10" fmla="*/ 127635 w 229552"/>
                  <a:gd name="connsiteY10" fmla="*/ 52388 h 126682"/>
                  <a:gd name="connsiteX11" fmla="*/ 105727 w 229552"/>
                  <a:gd name="connsiteY11" fmla="*/ 38100 h 126682"/>
                  <a:gd name="connsiteX12" fmla="*/ 78105 w 229552"/>
                  <a:gd name="connsiteY12" fmla="*/ 24670 h 126682"/>
                  <a:gd name="connsiteX13" fmla="*/ 53340 w 229552"/>
                  <a:gd name="connsiteY13" fmla="*/ 0 h 126682"/>
                  <a:gd name="connsiteX14" fmla="*/ 28575 w 229552"/>
                  <a:gd name="connsiteY14" fmla="*/ 10382 h 126682"/>
                  <a:gd name="connsiteX15" fmla="*/ 7620 w 229552"/>
                  <a:gd name="connsiteY15" fmla="*/ 24670 h 126682"/>
                  <a:gd name="connsiteX16" fmla="*/ 0 w 229552"/>
                  <a:gd name="connsiteY16" fmla="*/ 52388 h 126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29552" h="126682">
                    <a:moveTo>
                      <a:pt x="0" y="52388"/>
                    </a:moveTo>
                    <a:lnTo>
                      <a:pt x="35243" y="62770"/>
                    </a:lnTo>
                    <a:lnTo>
                      <a:pt x="84773" y="91345"/>
                    </a:lnTo>
                    <a:lnTo>
                      <a:pt x="127635" y="95250"/>
                    </a:lnTo>
                    <a:lnTo>
                      <a:pt x="155257" y="116110"/>
                    </a:lnTo>
                    <a:lnTo>
                      <a:pt x="180023" y="126683"/>
                    </a:lnTo>
                    <a:lnTo>
                      <a:pt x="229552" y="122872"/>
                    </a:lnTo>
                    <a:lnTo>
                      <a:pt x="225743" y="80963"/>
                    </a:lnTo>
                    <a:lnTo>
                      <a:pt x="186690" y="77057"/>
                    </a:lnTo>
                    <a:lnTo>
                      <a:pt x="159068" y="73247"/>
                    </a:lnTo>
                    <a:lnTo>
                      <a:pt x="127635" y="52388"/>
                    </a:lnTo>
                    <a:lnTo>
                      <a:pt x="105727" y="38100"/>
                    </a:lnTo>
                    <a:lnTo>
                      <a:pt x="78105" y="24670"/>
                    </a:lnTo>
                    <a:lnTo>
                      <a:pt x="53340" y="0"/>
                    </a:lnTo>
                    <a:lnTo>
                      <a:pt x="28575" y="10382"/>
                    </a:lnTo>
                    <a:lnTo>
                      <a:pt x="7620" y="24670"/>
                    </a:lnTo>
                    <a:lnTo>
                      <a:pt x="0" y="5238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5" name="Freeform: Shape 364">
                <a:extLst>
                  <a:ext uri="{FF2B5EF4-FFF2-40B4-BE49-F238E27FC236}">
                    <a16:creationId xmlns:a16="http://schemas.microsoft.com/office/drawing/2014/main" id="{4EB31EE6-A288-9694-74EB-D681313A7F7D}"/>
                  </a:ext>
                </a:extLst>
              </p:cNvPr>
              <p:cNvSpPr/>
              <p:nvPr/>
            </p:nvSpPr>
            <p:spPr>
              <a:xfrm>
                <a:off x="8439277" y="3752867"/>
                <a:ext cx="85903" cy="44725"/>
              </a:xfrm>
              <a:custGeom>
                <a:avLst/>
                <a:gdLst>
                  <a:gd name="connsiteX0" fmla="*/ 2857 w 87630"/>
                  <a:gd name="connsiteY0" fmla="*/ 35147 h 45624"/>
                  <a:gd name="connsiteX1" fmla="*/ 13335 w 87630"/>
                  <a:gd name="connsiteY1" fmla="*/ 41910 h 45624"/>
                  <a:gd name="connsiteX2" fmla="*/ 27622 w 87630"/>
                  <a:gd name="connsiteY2" fmla="*/ 45625 h 45624"/>
                  <a:gd name="connsiteX3" fmla="*/ 80963 w 87630"/>
                  <a:gd name="connsiteY3" fmla="*/ 39053 h 45624"/>
                  <a:gd name="connsiteX4" fmla="*/ 87630 w 87630"/>
                  <a:gd name="connsiteY4" fmla="*/ 27623 h 45624"/>
                  <a:gd name="connsiteX5" fmla="*/ 80963 w 87630"/>
                  <a:gd name="connsiteY5" fmla="*/ 10478 h 45624"/>
                  <a:gd name="connsiteX6" fmla="*/ 56197 w 87630"/>
                  <a:gd name="connsiteY6" fmla="*/ 6572 h 45624"/>
                  <a:gd name="connsiteX7" fmla="*/ 35243 w 87630"/>
                  <a:gd name="connsiteY7" fmla="*/ 0 h 45624"/>
                  <a:gd name="connsiteX8" fmla="*/ 17145 w 87630"/>
                  <a:gd name="connsiteY8" fmla="*/ 0 h 45624"/>
                  <a:gd name="connsiteX9" fmla="*/ 6668 w 87630"/>
                  <a:gd name="connsiteY9" fmla="*/ 10478 h 45624"/>
                  <a:gd name="connsiteX10" fmla="*/ 0 w 87630"/>
                  <a:gd name="connsiteY10" fmla="*/ 10478 h 45624"/>
                  <a:gd name="connsiteX11" fmla="*/ 0 w 87630"/>
                  <a:gd name="connsiteY11" fmla="*/ 24765 h 45624"/>
                  <a:gd name="connsiteX12" fmla="*/ 2857 w 87630"/>
                  <a:gd name="connsiteY12" fmla="*/ 35147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7630" h="45624">
                    <a:moveTo>
                      <a:pt x="2857" y="35147"/>
                    </a:moveTo>
                    <a:lnTo>
                      <a:pt x="13335" y="41910"/>
                    </a:lnTo>
                    <a:lnTo>
                      <a:pt x="27622" y="45625"/>
                    </a:lnTo>
                    <a:lnTo>
                      <a:pt x="80963" y="39053"/>
                    </a:lnTo>
                    <a:lnTo>
                      <a:pt x="87630" y="27623"/>
                    </a:lnTo>
                    <a:lnTo>
                      <a:pt x="80963" y="10478"/>
                    </a:lnTo>
                    <a:lnTo>
                      <a:pt x="56197" y="6572"/>
                    </a:lnTo>
                    <a:lnTo>
                      <a:pt x="35243" y="0"/>
                    </a:lnTo>
                    <a:lnTo>
                      <a:pt x="17145" y="0"/>
                    </a:lnTo>
                    <a:lnTo>
                      <a:pt x="6668" y="10478"/>
                    </a:lnTo>
                    <a:lnTo>
                      <a:pt x="0" y="10478"/>
                    </a:lnTo>
                    <a:lnTo>
                      <a:pt x="0" y="24765"/>
                    </a:lnTo>
                    <a:lnTo>
                      <a:pt x="2857" y="3514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6" name="Freeform: Shape 365">
                <a:extLst>
                  <a:ext uri="{FF2B5EF4-FFF2-40B4-BE49-F238E27FC236}">
                    <a16:creationId xmlns:a16="http://schemas.microsoft.com/office/drawing/2014/main" id="{B9050C32-D5B6-C282-7C88-6524F29ADFA0}"/>
                  </a:ext>
                </a:extLst>
              </p:cNvPr>
              <p:cNvSpPr/>
              <p:nvPr/>
            </p:nvSpPr>
            <p:spPr>
              <a:xfrm>
                <a:off x="9464505" y="2975068"/>
                <a:ext cx="18674" cy="44818"/>
              </a:xfrm>
              <a:custGeom>
                <a:avLst/>
                <a:gdLst>
                  <a:gd name="connsiteX0" fmla="*/ 19050 w 19050"/>
                  <a:gd name="connsiteY0" fmla="*/ 45720 h 45719"/>
                  <a:gd name="connsiteX1" fmla="*/ 0 w 19050"/>
                  <a:gd name="connsiteY1" fmla="*/ 0 h 45719"/>
                  <a:gd name="connsiteX2" fmla="*/ 14288 w 19050"/>
                  <a:gd name="connsiteY2" fmla="*/ 35242 h 45719"/>
                  <a:gd name="connsiteX3" fmla="*/ 19050 w 19050"/>
                  <a:gd name="connsiteY3" fmla="*/ 45720 h 457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5719">
                    <a:moveTo>
                      <a:pt x="19050" y="45720"/>
                    </a:moveTo>
                    <a:lnTo>
                      <a:pt x="0" y="0"/>
                    </a:lnTo>
                    <a:lnTo>
                      <a:pt x="14288" y="35242"/>
                    </a:lnTo>
                    <a:lnTo>
                      <a:pt x="19050" y="4572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7" name="Freeform: Shape 366">
                <a:extLst>
                  <a:ext uri="{FF2B5EF4-FFF2-40B4-BE49-F238E27FC236}">
                    <a16:creationId xmlns:a16="http://schemas.microsoft.com/office/drawing/2014/main" id="{0713ADFC-A9A1-C27E-017E-E758961D46C0}"/>
                  </a:ext>
                </a:extLst>
              </p:cNvPr>
              <p:cNvSpPr/>
              <p:nvPr/>
            </p:nvSpPr>
            <p:spPr>
              <a:xfrm>
                <a:off x="9529866" y="3064613"/>
                <a:ext cx="52288" cy="28012"/>
              </a:xfrm>
              <a:custGeom>
                <a:avLst/>
                <a:gdLst>
                  <a:gd name="connsiteX0" fmla="*/ 41910 w 53339"/>
                  <a:gd name="connsiteY0" fmla="*/ 24860 h 28575"/>
                  <a:gd name="connsiteX1" fmla="*/ 53340 w 53339"/>
                  <a:gd name="connsiteY1" fmla="*/ 28575 h 28575"/>
                  <a:gd name="connsiteX2" fmla="*/ 0 w 53339"/>
                  <a:gd name="connsiteY2" fmla="*/ 0 h 28575"/>
                  <a:gd name="connsiteX3" fmla="*/ 18098 w 53339"/>
                  <a:gd name="connsiteY3" fmla="*/ 10573 h 28575"/>
                  <a:gd name="connsiteX4" fmla="*/ 41910 w 53339"/>
                  <a:gd name="connsiteY4" fmla="*/ 2486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3339" h="28575">
                    <a:moveTo>
                      <a:pt x="41910" y="24860"/>
                    </a:moveTo>
                    <a:lnTo>
                      <a:pt x="53340" y="28575"/>
                    </a:lnTo>
                    <a:lnTo>
                      <a:pt x="0" y="0"/>
                    </a:lnTo>
                    <a:lnTo>
                      <a:pt x="18098" y="10573"/>
                    </a:lnTo>
                    <a:lnTo>
                      <a:pt x="41910" y="2486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8" name="Freeform: Shape 367">
                <a:extLst>
                  <a:ext uri="{FF2B5EF4-FFF2-40B4-BE49-F238E27FC236}">
                    <a16:creationId xmlns:a16="http://schemas.microsoft.com/office/drawing/2014/main" id="{6F64EF14-150F-BB6A-5613-7CE1856C47CA}"/>
                  </a:ext>
                </a:extLst>
              </p:cNvPr>
              <p:cNvSpPr/>
              <p:nvPr/>
            </p:nvSpPr>
            <p:spPr>
              <a:xfrm>
                <a:off x="3476531" y="3088983"/>
                <a:ext cx="331472" cy="249213"/>
              </a:xfrm>
              <a:custGeom>
                <a:avLst/>
                <a:gdLst>
                  <a:gd name="connsiteX0" fmla="*/ 280988 w 338137"/>
                  <a:gd name="connsiteY0" fmla="*/ 197072 h 254222"/>
                  <a:gd name="connsiteX1" fmla="*/ 284798 w 338137"/>
                  <a:gd name="connsiteY1" fmla="*/ 179927 h 254222"/>
                  <a:gd name="connsiteX2" fmla="*/ 288608 w 338137"/>
                  <a:gd name="connsiteY2" fmla="*/ 165640 h 254222"/>
                  <a:gd name="connsiteX3" fmla="*/ 299085 w 338137"/>
                  <a:gd name="connsiteY3" fmla="*/ 155258 h 254222"/>
                  <a:gd name="connsiteX4" fmla="*/ 302895 w 338137"/>
                  <a:gd name="connsiteY4" fmla="*/ 144685 h 254222"/>
                  <a:gd name="connsiteX5" fmla="*/ 309563 w 338137"/>
                  <a:gd name="connsiteY5" fmla="*/ 144685 h 254222"/>
                  <a:gd name="connsiteX6" fmla="*/ 320040 w 338137"/>
                  <a:gd name="connsiteY6" fmla="*/ 155258 h 254222"/>
                  <a:gd name="connsiteX7" fmla="*/ 334327 w 338137"/>
                  <a:gd name="connsiteY7" fmla="*/ 151352 h 254222"/>
                  <a:gd name="connsiteX8" fmla="*/ 338138 w 338137"/>
                  <a:gd name="connsiteY8" fmla="*/ 137065 h 254222"/>
                  <a:gd name="connsiteX9" fmla="*/ 326708 w 338137"/>
                  <a:gd name="connsiteY9" fmla="*/ 120015 h 254222"/>
                  <a:gd name="connsiteX10" fmla="*/ 313373 w 338137"/>
                  <a:gd name="connsiteY10" fmla="*/ 105727 h 254222"/>
                  <a:gd name="connsiteX11" fmla="*/ 292418 w 338137"/>
                  <a:gd name="connsiteY11" fmla="*/ 98965 h 254222"/>
                  <a:gd name="connsiteX12" fmla="*/ 270510 w 338137"/>
                  <a:gd name="connsiteY12" fmla="*/ 95250 h 254222"/>
                  <a:gd name="connsiteX13" fmla="*/ 242888 w 338137"/>
                  <a:gd name="connsiteY13" fmla="*/ 95250 h 254222"/>
                  <a:gd name="connsiteX14" fmla="*/ 221933 w 338137"/>
                  <a:gd name="connsiteY14" fmla="*/ 91440 h 254222"/>
                  <a:gd name="connsiteX15" fmla="*/ 210503 w 338137"/>
                  <a:gd name="connsiteY15" fmla="*/ 80963 h 254222"/>
                  <a:gd name="connsiteX16" fmla="*/ 203835 w 338137"/>
                  <a:gd name="connsiteY16" fmla="*/ 63722 h 254222"/>
                  <a:gd name="connsiteX17" fmla="*/ 197168 w 338137"/>
                  <a:gd name="connsiteY17" fmla="*/ 41815 h 254222"/>
                  <a:gd name="connsiteX18" fmla="*/ 193358 w 338137"/>
                  <a:gd name="connsiteY18" fmla="*/ 35147 h 254222"/>
                  <a:gd name="connsiteX19" fmla="*/ 172403 w 338137"/>
                  <a:gd name="connsiteY19" fmla="*/ 35147 h 254222"/>
                  <a:gd name="connsiteX20" fmla="*/ 164783 w 338137"/>
                  <a:gd name="connsiteY20" fmla="*/ 20860 h 254222"/>
                  <a:gd name="connsiteX21" fmla="*/ 154305 w 338137"/>
                  <a:gd name="connsiteY21" fmla="*/ 6572 h 254222"/>
                  <a:gd name="connsiteX22" fmla="*/ 137160 w 338137"/>
                  <a:gd name="connsiteY22" fmla="*/ 6572 h 254222"/>
                  <a:gd name="connsiteX23" fmla="*/ 119063 w 338137"/>
                  <a:gd name="connsiteY23" fmla="*/ 0 h 254222"/>
                  <a:gd name="connsiteX24" fmla="*/ 105728 w 338137"/>
                  <a:gd name="connsiteY24" fmla="*/ 0 h 254222"/>
                  <a:gd name="connsiteX25" fmla="*/ 91440 w 338137"/>
                  <a:gd name="connsiteY25" fmla="*/ 10477 h 254222"/>
                  <a:gd name="connsiteX26" fmla="*/ 73343 w 338137"/>
                  <a:gd name="connsiteY26" fmla="*/ 20860 h 254222"/>
                  <a:gd name="connsiteX27" fmla="*/ 59055 w 338137"/>
                  <a:gd name="connsiteY27" fmla="*/ 31433 h 254222"/>
                  <a:gd name="connsiteX28" fmla="*/ 48578 w 338137"/>
                  <a:gd name="connsiteY28" fmla="*/ 28575 h 254222"/>
                  <a:gd name="connsiteX29" fmla="*/ 38100 w 338137"/>
                  <a:gd name="connsiteY29" fmla="*/ 28575 h 254222"/>
                  <a:gd name="connsiteX30" fmla="*/ 59055 w 338137"/>
                  <a:gd name="connsiteY30" fmla="*/ 31433 h 254222"/>
                  <a:gd name="connsiteX31" fmla="*/ 56198 w 338137"/>
                  <a:gd name="connsiteY31" fmla="*/ 39052 h 254222"/>
                  <a:gd name="connsiteX32" fmla="*/ 35243 w 338137"/>
                  <a:gd name="connsiteY32" fmla="*/ 45720 h 254222"/>
                  <a:gd name="connsiteX33" fmla="*/ 20955 w 338137"/>
                  <a:gd name="connsiteY33" fmla="*/ 53340 h 254222"/>
                  <a:gd name="connsiteX34" fmla="*/ 6668 w 338137"/>
                  <a:gd name="connsiteY34" fmla="*/ 66675 h 254222"/>
                  <a:gd name="connsiteX35" fmla="*/ 0 w 338137"/>
                  <a:gd name="connsiteY35" fmla="*/ 74295 h 254222"/>
                  <a:gd name="connsiteX36" fmla="*/ 17145 w 338137"/>
                  <a:gd name="connsiteY36" fmla="*/ 80963 h 254222"/>
                  <a:gd name="connsiteX37" fmla="*/ 41910 w 338137"/>
                  <a:gd name="connsiteY37" fmla="*/ 80963 h 254222"/>
                  <a:gd name="connsiteX38" fmla="*/ 62865 w 338137"/>
                  <a:gd name="connsiteY38" fmla="*/ 80963 h 254222"/>
                  <a:gd name="connsiteX39" fmla="*/ 73343 w 338137"/>
                  <a:gd name="connsiteY39" fmla="*/ 74295 h 254222"/>
                  <a:gd name="connsiteX40" fmla="*/ 80963 w 338137"/>
                  <a:gd name="connsiteY40" fmla="*/ 66675 h 254222"/>
                  <a:gd name="connsiteX41" fmla="*/ 94298 w 338137"/>
                  <a:gd name="connsiteY41" fmla="*/ 56102 h 254222"/>
                  <a:gd name="connsiteX42" fmla="*/ 101918 w 338137"/>
                  <a:gd name="connsiteY42" fmla="*/ 66675 h 254222"/>
                  <a:gd name="connsiteX43" fmla="*/ 119063 w 338137"/>
                  <a:gd name="connsiteY43" fmla="*/ 77152 h 254222"/>
                  <a:gd name="connsiteX44" fmla="*/ 137160 w 338137"/>
                  <a:gd name="connsiteY44" fmla="*/ 84677 h 254222"/>
                  <a:gd name="connsiteX45" fmla="*/ 154305 w 338137"/>
                  <a:gd name="connsiteY45" fmla="*/ 80963 h 254222"/>
                  <a:gd name="connsiteX46" fmla="*/ 168593 w 338137"/>
                  <a:gd name="connsiteY46" fmla="*/ 80963 h 254222"/>
                  <a:gd name="connsiteX47" fmla="*/ 186690 w 338137"/>
                  <a:gd name="connsiteY47" fmla="*/ 77152 h 254222"/>
                  <a:gd name="connsiteX48" fmla="*/ 197168 w 338137"/>
                  <a:gd name="connsiteY48" fmla="*/ 84677 h 254222"/>
                  <a:gd name="connsiteX49" fmla="*/ 210503 w 338137"/>
                  <a:gd name="connsiteY49" fmla="*/ 95250 h 254222"/>
                  <a:gd name="connsiteX50" fmla="*/ 210503 w 338137"/>
                  <a:gd name="connsiteY50" fmla="*/ 101822 h 254222"/>
                  <a:gd name="connsiteX51" fmla="*/ 197168 w 338137"/>
                  <a:gd name="connsiteY51" fmla="*/ 95250 h 254222"/>
                  <a:gd name="connsiteX52" fmla="*/ 179070 w 338137"/>
                  <a:gd name="connsiteY52" fmla="*/ 95250 h 254222"/>
                  <a:gd name="connsiteX53" fmla="*/ 164783 w 338137"/>
                  <a:gd name="connsiteY53" fmla="*/ 105727 h 254222"/>
                  <a:gd name="connsiteX54" fmla="*/ 154305 w 338137"/>
                  <a:gd name="connsiteY54" fmla="*/ 109538 h 254222"/>
                  <a:gd name="connsiteX55" fmla="*/ 147638 w 338137"/>
                  <a:gd name="connsiteY55" fmla="*/ 101822 h 254222"/>
                  <a:gd name="connsiteX56" fmla="*/ 140970 w 338137"/>
                  <a:gd name="connsiteY56" fmla="*/ 109538 h 254222"/>
                  <a:gd name="connsiteX57" fmla="*/ 126683 w 338137"/>
                  <a:gd name="connsiteY57" fmla="*/ 123825 h 254222"/>
                  <a:gd name="connsiteX58" fmla="*/ 108585 w 338137"/>
                  <a:gd name="connsiteY58" fmla="*/ 137065 h 254222"/>
                  <a:gd name="connsiteX59" fmla="*/ 112395 w 338137"/>
                  <a:gd name="connsiteY59" fmla="*/ 151352 h 254222"/>
                  <a:gd name="connsiteX60" fmla="*/ 126683 w 338137"/>
                  <a:gd name="connsiteY60" fmla="*/ 147638 h 254222"/>
                  <a:gd name="connsiteX61" fmla="*/ 133350 w 338137"/>
                  <a:gd name="connsiteY61" fmla="*/ 134302 h 254222"/>
                  <a:gd name="connsiteX62" fmla="*/ 119063 w 338137"/>
                  <a:gd name="connsiteY62" fmla="*/ 165640 h 254222"/>
                  <a:gd name="connsiteX63" fmla="*/ 112395 w 338137"/>
                  <a:gd name="connsiteY63" fmla="*/ 207645 h 254222"/>
                  <a:gd name="connsiteX64" fmla="*/ 112395 w 338137"/>
                  <a:gd name="connsiteY64" fmla="*/ 229552 h 254222"/>
                  <a:gd name="connsiteX65" fmla="*/ 119063 w 338137"/>
                  <a:gd name="connsiteY65" fmla="*/ 254222 h 254222"/>
                  <a:gd name="connsiteX66" fmla="*/ 137160 w 338137"/>
                  <a:gd name="connsiteY66" fmla="*/ 250508 h 254222"/>
                  <a:gd name="connsiteX67" fmla="*/ 154305 w 338137"/>
                  <a:gd name="connsiteY67" fmla="*/ 236220 h 254222"/>
                  <a:gd name="connsiteX68" fmla="*/ 161925 w 338137"/>
                  <a:gd name="connsiteY68" fmla="*/ 219075 h 254222"/>
                  <a:gd name="connsiteX69" fmla="*/ 161925 w 338137"/>
                  <a:gd name="connsiteY69" fmla="*/ 197072 h 254222"/>
                  <a:gd name="connsiteX70" fmla="*/ 161925 w 338137"/>
                  <a:gd name="connsiteY70" fmla="*/ 179927 h 254222"/>
                  <a:gd name="connsiteX71" fmla="*/ 161925 w 338137"/>
                  <a:gd name="connsiteY71" fmla="*/ 158972 h 254222"/>
                  <a:gd name="connsiteX72" fmla="*/ 161925 w 338137"/>
                  <a:gd name="connsiteY72" fmla="*/ 144685 h 254222"/>
                  <a:gd name="connsiteX73" fmla="*/ 164783 w 338137"/>
                  <a:gd name="connsiteY73" fmla="*/ 137065 h 254222"/>
                  <a:gd name="connsiteX74" fmla="*/ 176213 w 338137"/>
                  <a:gd name="connsiteY74" fmla="*/ 137065 h 254222"/>
                  <a:gd name="connsiteX75" fmla="*/ 182880 w 338137"/>
                  <a:gd name="connsiteY75" fmla="*/ 130397 h 254222"/>
                  <a:gd name="connsiteX76" fmla="*/ 189548 w 338137"/>
                  <a:gd name="connsiteY76" fmla="*/ 120015 h 254222"/>
                  <a:gd name="connsiteX77" fmla="*/ 203835 w 338137"/>
                  <a:gd name="connsiteY77" fmla="*/ 116110 h 254222"/>
                  <a:gd name="connsiteX78" fmla="*/ 218123 w 338137"/>
                  <a:gd name="connsiteY78" fmla="*/ 123825 h 254222"/>
                  <a:gd name="connsiteX79" fmla="*/ 235268 w 338137"/>
                  <a:gd name="connsiteY79" fmla="*/ 126683 h 254222"/>
                  <a:gd name="connsiteX80" fmla="*/ 242888 w 338137"/>
                  <a:gd name="connsiteY80" fmla="*/ 140970 h 254222"/>
                  <a:gd name="connsiteX81" fmla="*/ 239078 w 338137"/>
                  <a:gd name="connsiteY81" fmla="*/ 158972 h 254222"/>
                  <a:gd name="connsiteX82" fmla="*/ 232410 w 338137"/>
                  <a:gd name="connsiteY82" fmla="*/ 172402 h 254222"/>
                  <a:gd name="connsiteX83" fmla="*/ 224790 w 338137"/>
                  <a:gd name="connsiteY83" fmla="*/ 179927 h 254222"/>
                  <a:gd name="connsiteX84" fmla="*/ 228600 w 338137"/>
                  <a:gd name="connsiteY84" fmla="*/ 186690 h 254222"/>
                  <a:gd name="connsiteX85" fmla="*/ 239078 w 338137"/>
                  <a:gd name="connsiteY85" fmla="*/ 179927 h 254222"/>
                  <a:gd name="connsiteX86" fmla="*/ 249555 w 338137"/>
                  <a:gd name="connsiteY86" fmla="*/ 172402 h 254222"/>
                  <a:gd name="connsiteX87" fmla="*/ 260033 w 338137"/>
                  <a:gd name="connsiteY87" fmla="*/ 176213 h 254222"/>
                  <a:gd name="connsiteX88" fmla="*/ 260033 w 338137"/>
                  <a:gd name="connsiteY88" fmla="*/ 194215 h 254222"/>
                  <a:gd name="connsiteX89" fmla="*/ 257175 w 338137"/>
                  <a:gd name="connsiteY89" fmla="*/ 204788 h 254222"/>
                  <a:gd name="connsiteX90" fmla="*/ 267653 w 338137"/>
                  <a:gd name="connsiteY90" fmla="*/ 200977 h 254222"/>
                  <a:gd name="connsiteX91" fmla="*/ 280988 w 338137"/>
                  <a:gd name="connsiteY91" fmla="*/ 197072 h 2542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338137" h="254222">
                    <a:moveTo>
                      <a:pt x="280988" y="197072"/>
                    </a:moveTo>
                    <a:lnTo>
                      <a:pt x="284798" y="179927"/>
                    </a:lnTo>
                    <a:lnTo>
                      <a:pt x="288608" y="165640"/>
                    </a:lnTo>
                    <a:lnTo>
                      <a:pt x="299085" y="155258"/>
                    </a:lnTo>
                    <a:lnTo>
                      <a:pt x="302895" y="144685"/>
                    </a:lnTo>
                    <a:lnTo>
                      <a:pt x="309563" y="144685"/>
                    </a:lnTo>
                    <a:lnTo>
                      <a:pt x="320040" y="155258"/>
                    </a:lnTo>
                    <a:lnTo>
                      <a:pt x="334327" y="151352"/>
                    </a:lnTo>
                    <a:lnTo>
                      <a:pt x="338138" y="137065"/>
                    </a:lnTo>
                    <a:lnTo>
                      <a:pt x="326708" y="120015"/>
                    </a:lnTo>
                    <a:lnTo>
                      <a:pt x="313373" y="105727"/>
                    </a:lnTo>
                    <a:lnTo>
                      <a:pt x="292418" y="98965"/>
                    </a:lnTo>
                    <a:lnTo>
                      <a:pt x="270510" y="95250"/>
                    </a:lnTo>
                    <a:lnTo>
                      <a:pt x="242888" y="95250"/>
                    </a:lnTo>
                    <a:lnTo>
                      <a:pt x="221933" y="91440"/>
                    </a:lnTo>
                    <a:lnTo>
                      <a:pt x="210503" y="80963"/>
                    </a:lnTo>
                    <a:lnTo>
                      <a:pt x="203835" y="63722"/>
                    </a:lnTo>
                    <a:lnTo>
                      <a:pt x="197168" y="41815"/>
                    </a:lnTo>
                    <a:lnTo>
                      <a:pt x="193358" y="35147"/>
                    </a:lnTo>
                    <a:lnTo>
                      <a:pt x="172403" y="35147"/>
                    </a:lnTo>
                    <a:lnTo>
                      <a:pt x="164783" y="20860"/>
                    </a:lnTo>
                    <a:lnTo>
                      <a:pt x="154305" y="6572"/>
                    </a:lnTo>
                    <a:lnTo>
                      <a:pt x="137160" y="6572"/>
                    </a:lnTo>
                    <a:lnTo>
                      <a:pt x="119063" y="0"/>
                    </a:lnTo>
                    <a:lnTo>
                      <a:pt x="105728" y="0"/>
                    </a:lnTo>
                    <a:lnTo>
                      <a:pt x="91440" y="10477"/>
                    </a:lnTo>
                    <a:lnTo>
                      <a:pt x="73343" y="20860"/>
                    </a:lnTo>
                    <a:lnTo>
                      <a:pt x="59055" y="31433"/>
                    </a:lnTo>
                    <a:lnTo>
                      <a:pt x="48578" y="28575"/>
                    </a:lnTo>
                    <a:lnTo>
                      <a:pt x="38100" y="28575"/>
                    </a:lnTo>
                    <a:lnTo>
                      <a:pt x="59055" y="31433"/>
                    </a:lnTo>
                    <a:lnTo>
                      <a:pt x="56198" y="39052"/>
                    </a:lnTo>
                    <a:lnTo>
                      <a:pt x="35243" y="45720"/>
                    </a:lnTo>
                    <a:lnTo>
                      <a:pt x="20955" y="53340"/>
                    </a:lnTo>
                    <a:lnTo>
                      <a:pt x="6668" y="66675"/>
                    </a:lnTo>
                    <a:lnTo>
                      <a:pt x="0" y="74295"/>
                    </a:lnTo>
                    <a:lnTo>
                      <a:pt x="17145" y="80963"/>
                    </a:lnTo>
                    <a:lnTo>
                      <a:pt x="41910" y="80963"/>
                    </a:lnTo>
                    <a:lnTo>
                      <a:pt x="62865" y="80963"/>
                    </a:lnTo>
                    <a:lnTo>
                      <a:pt x="73343" y="74295"/>
                    </a:lnTo>
                    <a:lnTo>
                      <a:pt x="80963" y="66675"/>
                    </a:lnTo>
                    <a:lnTo>
                      <a:pt x="94298" y="56102"/>
                    </a:lnTo>
                    <a:lnTo>
                      <a:pt x="101918" y="66675"/>
                    </a:lnTo>
                    <a:lnTo>
                      <a:pt x="119063" y="77152"/>
                    </a:lnTo>
                    <a:lnTo>
                      <a:pt x="137160" y="84677"/>
                    </a:lnTo>
                    <a:lnTo>
                      <a:pt x="154305" y="80963"/>
                    </a:lnTo>
                    <a:lnTo>
                      <a:pt x="168593" y="80963"/>
                    </a:lnTo>
                    <a:lnTo>
                      <a:pt x="186690" y="77152"/>
                    </a:lnTo>
                    <a:lnTo>
                      <a:pt x="197168" y="84677"/>
                    </a:lnTo>
                    <a:lnTo>
                      <a:pt x="210503" y="95250"/>
                    </a:lnTo>
                    <a:lnTo>
                      <a:pt x="210503" y="101822"/>
                    </a:lnTo>
                    <a:lnTo>
                      <a:pt x="197168" y="95250"/>
                    </a:lnTo>
                    <a:lnTo>
                      <a:pt x="179070" y="95250"/>
                    </a:lnTo>
                    <a:lnTo>
                      <a:pt x="164783" y="105727"/>
                    </a:lnTo>
                    <a:lnTo>
                      <a:pt x="154305" y="109538"/>
                    </a:lnTo>
                    <a:lnTo>
                      <a:pt x="147638" y="101822"/>
                    </a:lnTo>
                    <a:lnTo>
                      <a:pt x="140970" y="109538"/>
                    </a:lnTo>
                    <a:lnTo>
                      <a:pt x="126683" y="123825"/>
                    </a:lnTo>
                    <a:lnTo>
                      <a:pt x="108585" y="137065"/>
                    </a:lnTo>
                    <a:lnTo>
                      <a:pt x="112395" y="151352"/>
                    </a:lnTo>
                    <a:lnTo>
                      <a:pt x="126683" y="147638"/>
                    </a:lnTo>
                    <a:lnTo>
                      <a:pt x="133350" y="134302"/>
                    </a:lnTo>
                    <a:lnTo>
                      <a:pt x="119063" y="165640"/>
                    </a:lnTo>
                    <a:lnTo>
                      <a:pt x="112395" y="207645"/>
                    </a:lnTo>
                    <a:lnTo>
                      <a:pt x="112395" y="229552"/>
                    </a:lnTo>
                    <a:lnTo>
                      <a:pt x="119063" y="254222"/>
                    </a:lnTo>
                    <a:lnTo>
                      <a:pt x="137160" y="250508"/>
                    </a:lnTo>
                    <a:lnTo>
                      <a:pt x="154305" y="236220"/>
                    </a:lnTo>
                    <a:lnTo>
                      <a:pt x="161925" y="219075"/>
                    </a:lnTo>
                    <a:lnTo>
                      <a:pt x="161925" y="197072"/>
                    </a:lnTo>
                    <a:lnTo>
                      <a:pt x="161925" y="179927"/>
                    </a:lnTo>
                    <a:lnTo>
                      <a:pt x="161925" y="158972"/>
                    </a:lnTo>
                    <a:lnTo>
                      <a:pt x="161925" y="144685"/>
                    </a:lnTo>
                    <a:lnTo>
                      <a:pt x="164783" y="137065"/>
                    </a:lnTo>
                    <a:lnTo>
                      <a:pt x="176213" y="137065"/>
                    </a:lnTo>
                    <a:lnTo>
                      <a:pt x="182880" y="130397"/>
                    </a:lnTo>
                    <a:lnTo>
                      <a:pt x="189548" y="120015"/>
                    </a:lnTo>
                    <a:lnTo>
                      <a:pt x="203835" y="116110"/>
                    </a:lnTo>
                    <a:lnTo>
                      <a:pt x="218123" y="123825"/>
                    </a:lnTo>
                    <a:lnTo>
                      <a:pt x="235268" y="126683"/>
                    </a:lnTo>
                    <a:lnTo>
                      <a:pt x="242888" y="140970"/>
                    </a:lnTo>
                    <a:lnTo>
                      <a:pt x="239078" y="158972"/>
                    </a:lnTo>
                    <a:lnTo>
                      <a:pt x="232410" y="172402"/>
                    </a:lnTo>
                    <a:lnTo>
                      <a:pt x="224790" y="179927"/>
                    </a:lnTo>
                    <a:lnTo>
                      <a:pt x="228600" y="186690"/>
                    </a:lnTo>
                    <a:lnTo>
                      <a:pt x="239078" y="179927"/>
                    </a:lnTo>
                    <a:lnTo>
                      <a:pt x="249555" y="172402"/>
                    </a:lnTo>
                    <a:lnTo>
                      <a:pt x="260033" y="176213"/>
                    </a:lnTo>
                    <a:lnTo>
                      <a:pt x="260033" y="194215"/>
                    </a:lnTo>
                    <a:lnTo>
                      <a:pt x="257175" y="204788"/>
                    </a:lnTo>
                    <a:lnTo>
                      <a:pt x="267653" y="200977"/>
                    </a:lnTo>
                    <a:lnTo>
                      <a:pt x="280988" y="19707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69" name="Freeform: Shape 368">
                <a:extLst>
                  <a:ext uri="{FF2B5EF4-FFF2-40B4-BE49-F238E27FC236}">
                    <a16:creationId xmlns:a16="http://schemas.microsoft.com/office/drawing/2014/main" id="{4E587D99-6A41-6E06-6EFA-09CD8F387493}"/>
                  </a:ext>
                </a:extLst>
              </p:cNvPr>
              <p:cNvSpPr/>
              <p:nvPr/>
            </p:nvSpPr>
            <p:spPr>
              <a:xfrm>
                <a:off x="7437390" y="3907867"/>
                <a:ext cx="76564" cy="14005"/>
              </a:xfrm>
              <a:custGeom>
                <a:avLst/>
                <a:gdLst>
                  <a:gd name="connsiteX0" fmla="*/ 0 w 78104"/>
                  <a:gd name="connsiteY0" fmla="*/ 0 h 14287"/>
                  <a:gd name="connsiteX1" fmla="*/ 14288 w 78104"/>
                  <a:gd name="connsiteY1" fmla="*/ 3810 h 14287"/>
                  <a:gd name="connsiteX2" fmla="*/ 35242 w 78104"/>
                  <a:gd name="connsiteY2" fmla="*/ 10382 h 14287"/>
                  <a:gd name="connsiteX3" fmla="*/ 45720 w 78104"/>
                  <a:gd name="connsiteY3" fmla="*/ 14288 h 14287"/>
                  <a:gd name="connsiteX4" fmla="*/ 78105 w 78104"/>
                  <a:gd name="connsiteY4" fmla="*/ 10382 h 14287"/>
                  <a:gd name="connsiteX5" fmla="*/ 45720 w 78104"/>
                  <a:gd name="connsiteY5" fmla="*/ 10382 h 14287"/>
                  <a:gd name="connsiteX6" fmla="*/ 0 w 78104"/>
                  <a:gd name="connsiteY6" fmla="*/ 0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8104" h="14287">
                    <a:moveTo>
                      <a:pt x="0" y="0"/>
                    </a:moveTo>
                    <a:lnTo>
                      <a:pt x="14288" y="3810"/>
                    </a:lnTo>
                    <a:lnTo>
                      <a:pt x="35242" y="10382"/>
                    </a:lnTo>
                    <a:lnTo>
                      <a:pt x="45720" y="14288"/>
                    </a:lnTo>
                    <a:lnTo>
                      <a:pt x="78105" y="10382"/>
                    </a:lnTo>
                    <a:lnTo>
                      <a:pt x="45720" y="1038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0" name="Freeform: Shape 369">
                <a:extLst>
                  <a:ext uri="{FF2B5EF4-FFF2-40B4-BE49-F238E27FC236}">
                    <a16:creationId xmlns:a16="http://schemas.microsoft.com/office/drawing/2014/main" id="{5FE50166-B236-718C-D300-04406E3AA67E}"/>
                  </a:ext>
                </a:extLst>
              </p:cNvPr>
              <p:cNvSpPr/>
              <p:nvPr/>
            </p:nvSpPr>
            <p:spPr>
              <a:xfrm>
                <a:off x="6889294" y="3531479"/>
                <a:ext cx="51354" cy="27078"/>
              </a:xfrm>
              <a:custGeom>
                <a:avLst/>
                <a:gdLst>
                  <a:gd name="connsiteX0" fmla="*/ 27622 w 52387"/>
                  <a:gd name="connsiteY0" fmla="*/ 6763 h 27622"/>
                  <a:gd name="connsiteX1" fmla="*/ 13335 w 52387"/>
                  <a:gd name="connsiteY1" fmla="*/ 10573 h 27622"/>
                  <a:gd name="connsiteX2" fmla="*/ 0 w 52387"/>
                  <a:gd name="connsiteY2" fmla="*/ 10573 h 27622"/>
                  <a:gd name="connsiteX3" fmla="*/ 0 w 52387"/>
                  <a:gd name="connsiteY3" fmla="*/ 21050 h 27622"/>
                  <a:gd name="connsiteX4" fmla="*/ 6668 w 52387"/>
                  <a:gd name="connsiteY4" fmla="*/ 27622 h 27622"/>
                  <a:gd name="connsiteX5" fmla="*/ 20955 w 52387"/>
                  <a:gd name="connsiteY5" fmla="*/ 27622 h 27622"/>
                  <a:gd name="connsiteX6" fmla="*/ 31432 w 52387"/>
                  <a:gd name="connsiteY6" fmla="*/ 21050 h 27622"/>
                  <a:gd name="connsiteX7" fmla="*/ 38100 w 52387"/>
                  <a:gd name="connsiteY7" fmla="*/ 14288 h 27622"/>
                  <a:gd name="connsiteX8" fmla="*/ 52388 w 52387"/>
                  <a:gd name="connsiteY8" fmla="*/ 0 h 27622"/>
                  <a:gd name="connsiteX9" fmla="*/ 41910 w 52387"/>
                  <a:gd name="connsiteY9" fmla="*/ 6763 h 27622"/>
                  <a:gd name="connsiteX10" fmla="*/ 27622 w 52387"/>
                  <a:gd name="connsiteY10" fmla="*/ 6763 h 2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2387" h="27622">
                    <a:moveTo>
                      <a:pt x="27622" y="6763"/>
                    </a:moveTo>
                    <a:lnTo>
                      <a:pt x="13335" y="10573"/>
                    </a:lnTo>
                    <a:lnTo>
                      <a:pt x="0" y="10573"/>
                    </a:lnTo>
                    <a:lnTo>
                      <a:pt x="0" y="21050"/>
                    </a:lnTo>
                    <a:lnTo>
                      <a:pt x="6668" y="27622"/>
                    </a:lnTo>
                    <a:lnTo>
                      <a:pt x="20955" y="27622"/>
                    </a:lnTo>
                    <a:lnTo>
                      <a:pt x="31432" y="21050"/>
                    </a:lnTo>
                    <a:lnTo>
                      <a:pt x="38100" y="14288"/>
                    </a:lnTo>
                    <a:lnTo>
                      <a:pt x="52388" y="0"/>
                    </a:lnTo>
                    <a:lnTo>
                      <a:pt x="41910" y="6763"/>
                    </a:lnTo>
                    <a:lnTo>
                      <a:pt x="27622" y="67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1" name="Freeform: Shape 370">
                <a:extLst>
                  <a:ext uri="{FF2B5EF4-FFF2-40B4-BE49-F238E27FC236}">
                    <a16:creationId xmlns:a16="http://schemas.microsoft.com/office/drawing/2014/main" id="{49D230FC-5BA9-669E-0FA6-855866084312}"/>
                  </a:ext>
                </a:extLst>
              </p:cNvPr>
              <p:cNvSpPr/>
              <p:nvPr/>
            </p:nvSpPr>
            <p:spPr>
              <a:xfrm>
                <a:off x="6161922" y="3127267"/>
                <a:ext cx="121384" cy="65361"/>
              </a:xfrm>
              <a:custGeom>
                <a:avLst/>
                <a:gdLst>
                  <a:gd name="connsiteX0" fmla="*/ 101918 w 123825"/>
                  <a:gd name="connsiteY0" fmla="*/ 2762 h 66675"/>
                  <a:gd name="connsiteX1" fmla="*/ 88582 w 123825"/>
                  <a:gd name="connsiteY1" fmla="*/ 0 h 66675"/>
                  <a:gd name="connsiteX2" fmla="*/ 70485 w 123825"/>
                  <a:gd name="connsiteY2" fmla="*/ 2762 h 66675"/>
                  <a:gd name="connsiteX3" fmla="*/ 53340 w 123825"/>
                  <a:gd name="connsiteY3" fmla="*/ 2762 h 66675"/>
                  <a:gd name="connsiteX4" fmla="*/ 42863 w 123825"/>
                  <a:gd name="connsiteY4" fmla="*/ 2762 h 66675"/>
                  <a:gd name="connsiteX5" fmla="*/ 39053 w 123825"/>
                  <a:gd name="connsiteY5" fmla="*/ 10382 h 66675"/>
                  <a:gd name="connsiteX6" fmla="*/ 31432 w 123825"/>
                  <a:gd name="connsiteY6" fmla="*/ 10382 h 66675"/>
                  <a:gd name="connsiteX7" fmla="*/ 14288 w 123825"/>
                  <a:gd name="connsiteY7" fmla="*/ 27623 h 66675"/>
                  <a:gd name="connsiteX8" fmla="*/ 0 w 123825"/>
                  <a:gd name="connsiteY8" fmla="*/ 49530 h 66675"/>
                  <a:gd name="connsiteX9" fmla="*/ 28575 w 123825"/>
                  <a:gd name="connsiteY9" fmla="*/ 49530 h 66675"/>
                  <a:gd name="connsiteX10" fmla="*/ 28575 w 123825"/>
                  <a:gd name="connsiteY10" fmla="*/ 66675 h 66675"/>
                  <a:gd name="connsiteX11" fmla="*/ 53340 w 123825"/>
                  <a:gd name="connsiteY11" fmla="*/ 62770 h 66675"/>
                  <a:gd name="connsiteX12" fmla="*/ 53340 w 123825"/>
                  <a:gd name="connsiteY12" fmla="*/ 56198 h 66675"/>
                  <a:gd name="connsiteX13" fmla="*/ 60007 w 123825"/>
                  <a:gd name="connsiteY13" fmla="*/ 52388 h 66675"/>
                  <a:gd name="connsiteX14" fmla="*/ 70485 w 123825"/>
                  <a:gd name="connsiteY14" fmla="*/ 59912 h 66675"/>
                  <a:gd name="connsiteX15" fmla="*/ 80963 w 123825"/>
                  <a:gd name="connsiteY15" fmla="*/ 62770 h 66675"/>
                  <a:gd name="connsiteX16" fmla="*/ 88582 w 123825"/>
                  <a:gd name="connsiteY16" fmla="*/ 59912 h 66675"/>
                  <a:gd name="connsiteX17" fmla="*/ 88582 w 123825"/>
                  <a:gd name="connsiteY17" fmla="*/ 41910 h 66675"/>
                  <a:gd name="connsiteX18" fmla="*/ 99060 w 123825"/>
                  <a:gd name="connsiteY18" fmla="*/ 52388 h 66675"/>
                  <a:gd name="connsiteX19" fmla="*/ 116205 w 123825"/>
                  <a:gd name="connsiteY19" fmla="*/ 49530 h 66675"/>
                  <a:gd name="connsiteX20" fmla="*/ 123825 w 123825"/>
                  <a:gd name="connsiteY20" fmla="*/ 35243 h 66675"/>
                  <a:gd name="connsiteX21" fmla="*/ 120015 w 123825"/>
                  <a:gd name="connsiteY21" fmla="*/ 27623 h 66675"/>
                  <a:gd name="connsiteX22" fmla="*/ 113348 w 123825"/>
                  <a:gd name="connsiteY22" fmla="*/ 27623 h 66675"/>
                  <a:gd name="connsiteX23" fmla="*/ 99060 w 123825"/>
                  <a:gd name="connsiteY23" fmla="*/ 24670 h 66675"/>
                  <a:gd name="connsiteX24" fmla="*/ 101918 w 123825"/>
                  <a:gd name="connsiteY24" fmla="*/ 14288 h 66675"/>
                  <a:gd name="connsiteX25" fmla="*/ 105728 w 123825"/>
                  <a:gd name="connsiteY25" fmla="*/ 6668 h 66675"/>
                  <a:gd name="connsiteX26" fmla="*/ 101918 w 123825"/>
                  <a:gd name="connsiteY26" fmla="*/ 2762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123825" h="66675">
                    <a:moveTo>
                      <a:pt x="101918" y="2762"/>
                    </a:moveTo>
                    <a:lnTo>
                      <a:pt x="88582" y="0"/>
                    </a:lnTo>
                    <a:lnTo>
                      <a:pt x="70485" y="2762"/>
                    </a:lnTo>
                    <a:lnTo>
                      <a:pt x="53340" y="2762"/>
                    </a:lnTo>
                    <a:lnTo>
                      <a:pt x="42863" y="2762"/>
                    </a:lnTo>
                    <a:lnTo>
                      <a:pt x="39053" y="10382"/>
                    </a:lnTo>
                    <a:lnTo>
                      <a:pt x="31432" y="10382"/>
                    </a:lnTo>
                    <a:lnTo>
                      <a:pt x="14288" y="27623"/>
                    </a:lnTo>
                    <a:lnTo>
                      <a:pt x="0" y="49530"/>
                    </a:lnTo>
                    <a:lnTo>
                      <a:pt x="28575" y="49530"/>
                    </a:lnTo>
                    <a:lnTo>
                      <a:pt x="28575" y="66675"/>
                    </a:lnTo>
                    <a:lnTo>
                      <a:pt x="53340" y="62770"/>
                    </a:lnTo>
                    <a:lnTo>
                      <a:pt x="53340" y="56198"/>
                    </a:lnTo>
                    <a:lnTo>
                      <a:pt x="60007" y="52388"/>
                    </a:lnTo>
                    <a:lnTo>
                      <a:pt x="70485" y="59912"/>
                    </a:lnTo>
                    <a:lnTo>
                      <a:pt x="80963" y="62770"/>
                    </a:lnTo>
                    <a:lnTo>
                      <a:pt x="88582" y="59912"/>
                    </a:lnTo>
                    <a:lnTo>
                      <a:pt x="88582" y="41910"/>
                    </a:lnTo>
                    <a:lnTo>
                      <a:pt x="99060" y="52388"/>
                    </a:lnTo>
                    <a:lnTo>
                      <a:pt x="116205" y="49530"/>
                    </a:lnTo>
                    <a:lnTo>
                      <a:pt x="123825" y="35243"/>
                    </a:lnTo>
                    <a:lnTo>
                      <a:pt x="120015" y="27623"/>
                    </a:lnTo>
                    <a:lnTo>
                      <a:pt x="113348" y="27623"/>
                    </a:lnTo>
                    <a:lnTo>
                      <a:pt x="99060" y="24670"/>
                    </a:lnTo>
                    <a:lnTo>
                      <a:pt x="101918" y="14288"/>
                    </a:lnTo>
                    <a:lnTo>
                      <a:pt x="105728" y="6668"/>
                    </a:lnTo>
                    <a:lnTo>
                      <a:pt x="101918" y="276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2" name="Freeform: Shape 371">
                <a:extLst>
                  <a:ext uri="{FF2B5EF4-FFF2-40B4-BE49-F238E27FC236}">
                    <a16:creationId xmlns:a16="http://schemas.microsoft.com/office/drawing/2014/main" id="{64BC2595-4960-0B62-1886-0E7970B93822}"/>
                  </a:ext>
                </a:extLst>
              </p:cNvPr>
              <p:cNvSpPr/>
              <p:nvPr/>
            </p:nvSpPr>
            <p:spPr>
              <a:xfrm>
                <a:off x="6751103" y="1809771"/>
                <a:ext cx="4452931" cy="1538790"/>
              </a:xfrm>
              <a:custGeom>
                <a:avLst/>
                <a:gdLst>
                  <a:gd name="connsiteX0" fmla="*/ 4521518 w 4542472"/>
                  <a:gd name="connsiteY0" fmla="*/ 585788 h 1569720"/>
                  <a:gd name="connsiteX1" fmla="*/ 4490085 w 4542472"/>
                  <a:gd name="connsiteY1" fmla="*/ 564832 h 1569720"/>
                  <a:gd name="connsiteX2" fmla="*/ 4454843 w 4542472"/>
                  <a:gd name="connsiteY2" fmla="*/ 557213 h 1569720"/>
                  <a:gd name="connsiteX3" fmla="*/ 4426268 w 4542472"/>
                  <a:gd name="connsiteY3" fmla="*/ 553307 h 1569720"/>
                  <a:gd name="connsiteX4" fmla="*/ 4436745 w 4542472"/>
                  <a:gd name="connsiteY4" fmla="*/ 585788 h 1569720"/>
                  <a:gd name="connsiteX5" fmla="*/ 4423410 w 4542472"/>
                  <a:gd name="connsiteY5" fmla="*/ 592360 h 1569720"/>
                  <a:gd name="connsiteX6" fmla="*/ 4405312 w 4542472"/>
                  <a:gd name="connsiteY6" fmla="*/ 564832 h 1569720"/>
                  <a:gd name="connsiteX7" fmla="*/ 4394835 w 4542472"/>
                  <a:gd name="connsiteY7" fmla="*/ 542925 h 1569720"/>
                  <a:gd name="connsiteX8" fmla="*/ 4380547 w 4542472"/>
                  <a:gd name="connsiteY8" fmla="*/ 521970 h 1569720"/>
                  <a:gd name="connsiteX9" fmla="*/ 4299585 w 4542472"/>
                  <a:gd name="connsiteY9" fmla="*/ 486632 h 1569720"/>
                  <a:gd name="connsiteX10" fmla="*/ 4253865 w 4542472"/>
                  <a:gd name="connsiteY10" fmla="*/ 461963 h 1569720"/>
                  <a:gd name="connsiteX11" fmla="*/ 4176713 w 4542472"/>
                  <a:gd name="connsiteY11" fmla="*/ 434245 h 1569720"/>
                  <a:gd name="connsiteX12" fmla="*/ 4110038 w 4542472"/>
                  <a:gd name="connsiteY12" fmla="*/ 422910 h 1569720"/>
                  <a:gd name="connsiteX13" fmla="*/ 4052888 w 4542472"/>
                  <a:gd name="connsiteY13" fmla="*/ 422910 h 1569720"/>
                  <a:gd name="connsiteX14" fmla="*/ 4021455 w 4542472"/>
                  <a:gd name="connsiteY14" fmla="*/ 409575 h 1569720"/>
                  <a:gd name="connsiteX15" fmla="*/ 4000500 w 4542472"/>
                  <a:gd name="connsiteY15" fmla="*/ 412432 h 1569720"/>
                  <a:gd name="connsiteX16" fmla="*/ 4004310 w 4542472"/>
                  <a:gd name="connsiteY16" fmla="*/ 444722 h 1569720"/>
                  <a:gd name="connsiteX17" fmla="*/ 4014788 w 4542472"/>
                  <a:gd name="connsiteY17" fmla="*/ 465773 h 1569720"/>
                  <a:gd name="connsiteX18" fmla="*/ 4004310 w 4542472"/>
                  <a:gd name="connsiteY18" fmla="*/ 480060 h 1569720"/>
                  <a:gd name="connsiteX19" fmla="*/ 3969067 w 4542472"/>
                  <a:gd name="connsiteY19" fmla="*/ 476250 h 1569720"/>
                  <a:gd name="connsiteX20" fmla="*/ 3936683 w 4542472"/>
                  <a:gd name="connsiteY20" fmla="*/ 451485 h 1569720"/>
                  <a:gd name="connsiteX21" fmla="*/ 3936683 w 4542472"/>
                  <a:gd name="connsiteY21" fmla="*/ 430435 h 1569720"/>
                  <a:gd name="connsiteX22" fmla="*/ 3926205 w 4542472"/>
                  <a:gd name="connsiteY22" fmla="*/ 426720 h 1569720"/>
                  <a:gd name="connsiteX23" fmla="*/ 3898583 w 4542472"/>
                  <a:gd name="connsiteY23" fmla="*/ 441007 h 1569720"/>
                  <a:gd name="connsiteX24" fmla="*/ 3884295 w 4542472"/>
                  <a:gd name="connsiteY24" fmla="*/ 441007 h 1569720"/>
                  <a:gd name="connsiteX25" fmla="*/ 3768090 w 4542472"/>
                  <a:gd name="connsiteY25" fmla="*/ 434245 h 1569720"/>
                  <a:gd name="connsiteX26" fmla="*/ 3743325 w 4542472"/>
                  <a:gd name="connsiteY26" fmla="*/ 444722 h 1569720"/>
                  <a:gd name="connsiteX27" fmla="*/ 3711892 w 4542472"/>
                  <a:gd name="connsiteY27" fmla="*/ 434245 h 1569720"/>
                  <a:gd name="connsiteX28" fmla="*/ 3704272 w 4542472"/>
                  <a:gd name="connsiteY28" fmla="*/ 419957 h 1569720"/>
                  <a:gd name="connsiteX29" fmla="*/ 3708083 w 4542472"/>
                  <a:gd name="connsiteY29" fmla="*/ 395288 h 1569720"/>
                  <a:gd name="connsiteX30" fmla="*/ 3669030 w 4542472"/>
                  <a:gd name="connsiteY30" fmla="*/ 374332 h 1569720"/>
                  <a:gd name="connsiteX31" fmla="*/ 3574733 w 4542472"/>
                  <a:gd name="connsiteY31" fmla="*/ 370523 h 1569720"/>
                  <a:gd name="connsiteX32" fmla="*/ 3482340 w 4542472"/>
                  <a:gd name="connsiteY32" fmla="*/ 366713 h 1569720"/>
                  <a:gd name="connsiteX33" fmla="*/ 3429952 w 4542472"/>
                  <a:gd name="connsiteY33" fmla="*/ 345757 h 1569720"/>
                  <a:gd name="connsiteX34" fmla="*/ 3405188 w 4542472"/>
                  <a:gd name="connsiteY34" fmla="*/ 335185 h 1569720"/>
                  <a:gd name="connsiteX35" fmla="*/ 3419475 w 4542472"/>
                  <a:gd name="connsiteY35" fmla="*/ 317182 h 1569720"/>
                  <a:gd name="connsiteX36" fmla="*/ 3390900 w 4542472"/>
                  <a:gd name="connsiteY36" fmla="*/ 303848 h 1569720"/>
                  <a:gd name="connsiteX37" fmla="*/ 3328035 w 4542472"/>
                  <a:gd name="connsiteY37" fmla="*/ 310420 h 1569720"/>
                  <a:gd name="connsiteX38" fmla="*/ 3317558 w 4542472"/>
                  <a:gd name="connsiteY38" fmla="*/ 303848 h 1569720"/>
                  <a:gd name="connsiteX39" fmla="*/ 3295650 w 4542472"/>
                  <a:gd name="connsiteY39" fmla="*/ 285750 h 1569720"/>
                  <a:gd name="connsiteX40" fmla="*/ 3176588 w 4542472"/>
                  <a:gd name="connsiteY40" fmla="*/ 279082 h 1569720"/>
                  <a:gd name="connsiteX41" fmla="*/ 3137535 w 4542472"/>
                  <a:gd name="connsiteY41" fmla="*/ 292322 h 1569720"/>
                  <a:gd name="connsiteX42" fmla="*/ 3141345 w 4542472"/>
                  <a:gd name="connsiteY42" fmla="*/ 324707 h 1569720"/>
                  <a:gd name="connsiteX43" fmla="*/ 3112770 w 4542472"/>
                  <a:gd name="connsiteY43" fmla="*/ 338995 h 1569720"/>
                  <a:gd name="connsiteX44" fmla="*/ 3073717 w 4542472"/>
                  <a:gd name="connsiteY44" fmla="*/ 352425 h 1569720"/>
                  <a:gd name="connsiteX45" fmla="*/ 3027997 w 4542472"/>
                  <a:gd name="connsiteY45" fmla="*/ 335185 h 1569720"/>
                  <a:gd name="connsiteX46" fmla="*/ 2986088 w 4542472"/>
                  <a:gd name="connsiteY46" fmla="*/ 349472 h 1569720"/>
                  <a:gd name="connsiteX47" fmla="*/ 2940367 w 4542472"/>
                  <a:gd name="connsiteY47" fmla="*/ 324707 h 1569720"/>
                  <a:gd name="connsiteX48" fmla="*/ 2905125 w 4542472"/>
                  <a:gd name="connsiteY48" fmla="*/ 377095 h 1569720"/>
                  <a:gd name="connsiteX49" fmla="*/ 2866072 w 4542472"/>
                  <a:gd name="connsiteY49" fmla="*/ 366713 h 1569720"/>
                  <a:gd name="connsiteX50" fmla="*/ 2827972 w 4542472"/>
                  <a:gd name="connsiteY50" fmla="*/ 320897 h 1569720"/>
                  <a:gd name="connsiteX51" fmla="*/ 2848927 w 4542472"/>
                  <a:gd name="connsiteY51" fmla="*/ 306610 h 1569720"/>
                  <a:gd name="connsiteX52" fmla="*/ 2841308 w 4542472"/>
                  <a:gd name="connsiteY52" fmla="*/ 275273 h 1569720"/>
                  <a:gd name="connsiteX53" fmla="*/ 2809875 w 4542472"/>
                  <a:gd name="connsiteY53" fmla="*/ 239935 h 1569720"/>
                  <a:gd name="connsiteX54" fmla="*/ 2753677 w 4542472"/>
                  <a:gd name="connsiteY54" fmla="*/ 243745 h 1569720"/>
                  <a:gd name="connsiteX55" fmla="*/ 2718435 w 4542472"/>
                  <a:gd name="connsiteY55" fmla="*/ 225647 h 1569720"/>
                  <a:gd name="connsiteX56" fmla="*/ 2693670 w 4542472"/>
                  <a:gd name="connsiteY56" fmla="*/ 221932 h 1569720"/>
                  <a:gd name="connsiteX57" fmla="*/ 2679383 w 4542472"/>
                  <a:gd name="connsiteY57" fmla="*/ 268510 h 1569720"/>
                  <a:gd name="connsiteX58" fmla="*/ 2552700 w 4542472"/>
                  <a:gd name="connsiteY58" fmla="*/ 254222 h 1569720"/>
                  <a:gd name="connsiteX59" fmla="*/ 2552700 w 4542472"/>
                  <a:gd name="connsiteY59" fmla="*/ 236220 h 1569720"/>
                  <a:gd name="connsiteX60" fmla="*/ 2422208 w 4542472"/>
                  <a:gd name="connsiteY60" fmla="*/ 233363 h 1569720"/>
                  <a:gd name="connsiteX61" fmla="*/ 2405063 w 4542472"/>
                  <a:gd name="connsiteY61" fmla="*/ 243745 h 1569720"/>
                  <a:gd name="connsiteX62" fmla="*/ 2373630 w 4542472"/>
                  <a:gd name="connsiteY62" fmla="*/ 221932 h 1569720"/>
                  <a:gd name="connsiteX63" fmla="*/ 2352675 w 4542472"/>
                  <a:gd name="connsiteY63" fmla="*/ 215170 h 1569720"/>
                  <a:gd name="connsiteX64" fmla="*/ 2345055 w 4542472"/>
                  <a:gd name="connsiteY64" fmla="*/ 198120 h 1569720"/>
                  <a:gd name="connsiteX65" fmla="*/ 2317433 w 4542472"/>
                  <a:gd name="connsiteY65" fmla="*/ 204788 h 1569720"/>
                  <a:gd name="connsiteX66" fmla="*/ 2299335 w 4542472"/>
                  <a:gd name="connsiteY66" fmla="*/ 221932 h 1569720"/>
                  <a:gd name="connsiteX67" fmla="*/ 2303145 w 4542472"/>
                  <a:gd name="connsiteY67" fmla="*/ 236220 h 1569720"/>
                  <a:gd name="connsiteX68" fmla="*/ 2228850 w 4542472"/>
                  <a:gd name="connsiteY68" fmla="*/ 257175 h 1569720"/>
                  <a:gd name="connsiteX69" fmla="*/ 2189797 w 4542472"/>
                  <a:gd name="connsiteY69" fmla="*/ 271463 h 1569720"/>
                  <a:gd name="connsiteX70" fmla="*/ 2183130 w 4542472"/>
                  <a:gd name="connsiteY70" fmla="*/ 264795 h 1569720"/>
                  <a:gd name="connsiteX71" fmla="*/ 2270760 w 4542472"/>
                  <a:gd name="connsiteY71" fmla="*/ 215170 h 1569720"/>
                  <a:gd name="connsiteX72" fmla="*/ 2334577 w 4542472"/>
                  <a:gd name="connsiteY72" fmla="*/ 180022 h 1569720"/>
                  <a:gd name="connsiteX73" fmla="*/ 2394585 w 4542472"/>
                  <a:gd name="connsiteY73" fmla="*/ 148495 h 1569720"/>
                  <a:gd name="connsiteX74" fmla="*/ 2408872 w 4542472"/>
                  <a:gd name="connsiteY74" fmla="*/ 113347 h 1569720"/>
                  <a:gd name="connsiteX75" fmla="*/ 2401252 w 4542472"/>
                  <a:gd name="connsiteY75" fmla="*/ 91345 h 1569720"/>
                  <a:gd name="connsiteX76" fmla="*/ 2352675 w 4542472"/>
                  <a:gd name="connsiteY76" fmla="*/ 60007 h 1569720"/>
                  <a:gd name="connsiteX77" fmla="*/ 2218372 w 4542472"/>
                  <a:gd name="connsiteY77" fmla="*/ 63722 h 1569720"/>
                  <a:gd name="connsiteX78" fmla="*/ 2232660 w 4542472"/>
                  <a:gd name="connsiteY78" fmla="*/ 38957 h 1569720"/>
                  <a:gd name="connsiteX79" fmla="*/ 2158365 w 4542472"/>
                  <a:gd name="connsiteY79" fmla="*/ 35147 h 1569720"/>
                  <a:gd name="connsiteX80" fmla="*/ 2197417 w 4542472"/>
                  <a:gd name="connsiteY80" fmla="*/ 14288 h 1569720"/>
                  <a:gd name="connsiteX81" fmla="*/ 2165985 w 4542472"/>
                  <a:gd name="connsiteY81" fmla="*/ 3810 h 1569720"/>
                  <a:gd name="connsiteX82" fmla="*/ 2105977 w 4542472"/>
                  <a:gd name="connsiteY82" fmla="*/ 0 h 1569720"/>
                  <a:gd name="connsiteX83" fmla="*/ 2063115 w 4542472"/>
                  <a:gd name="connsiteY83" fmla="*/ 35147 h 1569720"/>
                  <a:gd name="connsiteX84" fmla="*/ 2070735 w 4542472"/>
                  <a:gd name="connsiteY84" fmla="*/ 63722 h 1569720"/>
                  <a:gd name="connsiteX85" fmla="*/ 1982152 w 4542472"/>
                  <a:gd name="connsiteY85" fmla="*/ 91345 h 1569720"/>
                  <a:gd name="connsiteX86" fmla="*/ 1922145 w 4542472"/>
                  <a:gd name="connsiteY86" fmla="*/ 84772 h 1569720"/>
                  <a:gd name="connsiteX87" fmla="*/ 1859280 w 4542472"/>
                  <a:gd name="connsiteY87" fmla="*/ 91345 h 1569720"/>
                  <a:gd name="connsiteX88" fmla="*/ 1711642 w 4542472"/>
                  <a:gd name="connsiteY88" fmla="*/ 140970 h 1569720"/>
                  <a:gd name="connsiteX89" fmla="*/ 1644015 w 4542472"/>
                  <a:gd name="connsiteY89" fmla="*/ 173260 h 1569720"/>
                  <a:gd name="connsiteX90" fmla="*/ 1665922 w 4542472"/>
                  <a:gd name="connsiteY90" fmla="*/ 211360 h 1569720"/>
                  <a:gd name="connsiteX91" fmla="*/ 1584007 w 4542472"/>
                  <a:gd name="connsiteY91" fmla="*/ 225647 h 1569720"/>
                  <a:gd name="connsiteX92" fmla="*/ 1503045 w 4542472"/>
                  <a:gd name="connsiteY92" fmla="*/ 229457 h 1569720"/>
                  <a:gd name="connsiteX93" fmla="*/ 1482090 w 4542472"/>
                  <a:gd name="connsiteY93" fmla="*/ 243745 h 1569720"/>
                  <a:gd name="connsiteX94" fmla="*/ 1492567 w 4542472"/>
                  <a:gd name="connsiteY94" fmla="*/ 281845 h 1569720"/>
                  <a:gd name="connsiteX95" fmla="*/ 1524952 w 4542472"/>
                  <a:gd name="connsiteY95" fmla="*/ 306610 h 1569720"/>
                  <a:gd name="connsiteX96" fmla="*/ 1548765 w 4542472"/>
                  <a:gd name="connsiteY96" fmla="*/ 331470 h 1569720"/>
                  <a:gd name="connsiteX97" fmla="*/ 1500188 w 4542472"/>
                  <a:gd name="connsiteY97" fmla="*/ 331470 h 1569720"/>
                  <a:gd name="connsiteX98" fmla="*/ 1464945 w 4542472"/>
                  <a:gd name="connsiteY98" fmla="*/ 303848 h 1569720"/>
                  <a:gd name="connsiteX99" fmla="*/ 1404938 w 4542472"/>
                  <a:gd name="connsiteY99" fmla="*/ 285750 h 1569720"/>
                  <a:gd name="connsiteX100" fmla="*/ 1394460 w 4542472"/>
                  <a:gd name="connsiteY100" fmla="*/ 292322 h 1569720"/>
                  <a:gd name="connsiteX101" fmla="*/ 1419225 w 4542472"/>
                  <a:gd name="connsiteY101" fmla="*/ 320897 h 1569720"/>
                  <a:gd name="connsiteX102" fmla="*/ 1383982 w 4542472"/>
                  <a:gd name="connsiteY102" fmla="*/ 314325 h 1569720"/>
                  <a:gd name="connsiteX103" fmla="*/ 1363027 w 4542472"/>
                  <a:gd name="connsiteY103" fmla="*/ 320897 h 1569720"/>
                  <a:gd name="connsiteX104" fmla="*/ 1376363 w 4542472"/>
                  <a:gd name="connsiteY104" fmla="*/ 341948 h 1569720"/>
                  <a:gd name="connsiteX105" fmla="*/ 1411605 w 4542472"/>
                  <a:gd name="connsiteY105" fmla="*/ 352425 h 1569720"/>
                  <a:gd name="connsiteX106" fmla="*/ 1436370 w 4542472"/>
                  <a:gd name="connsiteY106" fmla="*/ 370523 h 1569720"/>
                  <a:gd name="connsiteX107" fmla="*/ 1415415 w 4542472"/>
                  <a:gd name="connsiteY107" fmla="*/ 370523 h 1569720"/>
                  <a:gd name="connsiteX108" fmla="*/ 1373505 w 4542472"/>
                  <a:gd name="connsiteY108" fmla="*/ 360045 h 1569720"/>
                  <a:gd name="connsiteX109" fmla="*/ 1344930 w 4542472"/>
                  <a:gd name="connsiteY109" fmla="*/ 352425 h 1569720"/>
                  <a:gd name="connsiteX110" fmla="*/ 1338263 w 4542472"/>
                  <a:gd name="connsiteY110" fmla="*/ 335185 h 1569720"/>
                  <a:gd name="connsiteX111" fmla="*/ 1348740 w 4542472"/>
                  <a:gd name="connsiteY111" fmla="*/ 310420 h 1569720"/>
                  <a:gd name="connsiteX112" fmla="*/ 1344930 w 4542472"/>
                  <a:gd name="connsiteY112" fmla="*/ 279082 h 1569720"/>
                  <a:gd name="connsiteX113" fmla="*/ 1330642 w 4542472"/>
                  <a:gd name="connsiteY113" fmla="*/ 279082 h 1569720"/>
                  <a:gd name="connsiteX114" fmla="*/ 1327785 w 4542472"/>
                  <a:gd name="connsiteY114" fmla="*/ 306610 h 1569720"/>
                  <a:gd name="connsiteX115" fmla="*/ 1303020 w 4542472"/>
                  <a:gd name="connsiteY115" fmla="*/ 317182 h 1569720"/>
                  <a:gd name="connsiteX116" fmla="*/ 1281113 w 4542472"/>
                  <a:gd name="connsiteY116" fmla="*/ 338995 h 1569720"/>
                  <a:gd name="connsiteX117" fmla="*/ 1292542 w 4542472"/>
                  <a:gd name="connsiteY117" fmla="*/ 360045 h 1569720"/>
                  <a:gd name="connsiteX118" fmla="*/ 1309688 w 4542472"/>
                  <a:gd name="connsiteY118" fmla="*/ 387572 h 1569720"/>
                  <a:gd name="connsiteX119" fmla="*/ 1295400 w 4542472"/>
                  <a:gd name="connsiteY119" fmla="*/ 422910 h 1569720"/>
                  <a:gd name="connsiteX120" fmla="*/ 1295400 w 4542472"/>
                  <a:gd name="connsiteY120" fmla="*/ 458057 h 1569720"/>
                  <a:gd name="connsiteX121" fmla="*/ 1369695 w 4542472"/>
                  <a:gd name="connsiteY121" fmla="*/ 461963 h 1569720"/>
                  <a:gd name="connsiteX122" fmla="*/ 1404938 w 4542472"/>
                  <a:gd name="connsiteY122" fmla="*/ 472345 h 1569720"/>
                  <a:gd name="connsiteX123" fmla="*/ 1419225 w 4542472"/>
                  <a:gd name="connsiteY123" fmla="*/ 500920 h 1569720"/>
                  <a:gd name="connsiteX124" fmla="*/ 1394460 w 4542472"/>
                  <a:gd name="connsiteY124" fmla="*/ 521970 h 1569720"/>
                  <a:gd name="connsiteX125" fmla="*/ 1386840 w 4542472"/>
                  <a:gd name="connsiteY125" fmla="*/ 493395 h 1569720"/>
                  <a:gd name="connsiteX126" fmla="*/ 1369695 w 4542472"/>
                  <a:gd name="connsiteY126" fmla="*/ 476250 h 1569720"/>
                  <a:gd name="connsiteX127" fmla="*/ 1330642 w 4542472"/>
                  <a:gd name="connsiteY127" fmla="*/ 469582 h 1569720"/>
                  <a:gd name="connsiteX128" fmla="*/ 1313497 w 4542472"/>
                  <a:gd name="connsiteY128" fmla="*/ 497110 h 1569720"/>
                  <a:gd name="connsiteX129" fmla="*/ 1327785 w 4542472"/>
                  <a:gd name="connsiteY129" fmla="*/ 525685 h 1569720"/>
                  <a:gd name="connsiteX130" fmla="*/ 1278255 w 4542472"/>
                  <a:gd name="connsiteY130" fmla="*/ 575215 h 1569720"/>
                  <a:gd name="connsiteX131" fmla="*/ 1243013 w 4542472"/>
                  <a:gd name="connsiteY131" fmla="*/ 602932 h 1569720"/>
                  <a:gd name="connsiteX132" fmla="*/ 1211580 w 4542472"/>
                  <a:gd name="connsiteY132" fmla="*/ 600075 h 1569720"/>
                  <a:gd name="connsiteX133" fmla="*/ 1179195 w 4542472"/>
                  <a:gd name="connsiteY133" fmla="*/ 592360 h 1569720"/>
                  <a:gd name="connsiteX134" fmla="*/ 1158240 w 4542472"/>
                  <a:gd name="connsiteY134" fmla="*/ 578072 h 1569720"/>
                  <a:gd name="connsiteX135" fmla="*/ 1172527 w 4542472"/>
                  <a:gd name="connsiteY135" fmla="*/ 571500 h 1569720"/>
                  <a:gd name="connsiteX136" fmla="*/ 1200150 w 4542472"/>
                  <a:gd name="connsiteY136" fmla="*/ 578072 h 1569720"/>
                  <a:gd name="connsiteX137" fmla="*/ 1224915 w 4542472"/>
                  <a:gd name="connsiteY137" fmla="*/ 567690 h 1569720"/>
                  <a:gd name="connsiteX138" fmla="*/ 1274445 w 4542472"/>
                  <a:gd name="connsiteY138" fmla="*/ 525685 h 1569720"/>
                  <a:gd name="connsiteX139" fmla="*/ 1288732 w 4542472"/>
                  <a:gd name="connsiteY139" fmla="*/ 493395 h 1569720"/>
                  <a:gd name="connsiteX140" fmla="*/ 1260157 w 4542472"/>
                  <a:gd name="connsiteY140" fmla="*/ 472345 h 1569720"/>
                  <a:gd name="connsiteX141" fmla="*/ 1267777 w 4542472"/>
                  <a:gd name="connsiteY141" fmla="*/ 395288 h 1569720"/>
                  <a:gd name="connsiteX142" fmla="*/ 1260157 w 4542472"/>
                  <a:gd name="connsiteY142" fmla="*/ 363760 h 1569720"/>
                  <a:gd name="connsiteX143" fmla="*/ 1243013 w 4542472"/>
                  <a:gd name="connsiteY143" fmla="*/ 349472 h 1569720"/>
                  <a:gd name="connsiteX144" fmla="*/ 1260157 w 4542472"/>
                  <a:gd name="connsiteY144" fmla="*/ 320897 h 1569720"/>
                  <a:gd name="connsiteX145" fmla="*/ 1267777 w 4542472"/>
                  <a:gd name="connsiteY145" fmla="*/ 289560 h 1569720"/>
                  <a:gd name="connsiteX146" fmla="*/ 1260157 w 4542472"/>
                  <a:gd name="connsiteY146" fmla="*/ 279082 h 1569720"/>
                  <a:gd name="connsiteX147" fmla="*/ 1172527 w 4542472"/>
                  <a:gd name="connsiteY147" fmla="*/ 271463 h 1569720"/>
                  <a:gd name="connsiteX148" fmla="*/ 1143952 w 4542472"/>
                  <a:gd name="connsiteY148" fmla="*/ 327660 h 1569720"/>
                  <a:gd name="connsiteX149" fmla="*/ 1102042 w 4542472"/>
                  <a:gd name="connsiteY149" fmla="*/ 360045 h 1569720"/>
                  <a:gd name="connsiteX150" fmla="*/ 1098232 w 4542472"/>
                  <a:gd name="connsiteY150" fmla="*/ 370523 h 1569720"/>
                  <a:gd name="connsiteX151" fmla="*/ 1116330 w 4542472"/>
                  <a:gd name="connsiteY151" fmla="*/ 381000 h 1569720"/>
                  <a:gd name="connsiteX152" fmla="*/ 1102042 w 4542472"/>
                  <a:gd name="connsiteY152" fmla="*/ 416147 h 1569720"/>
                  <a:gd name="connsiteX153" fmla="*/ 1102042 w 4542472"/>
                  <a:gd name="connsiteY153" fmla="*/ 434245 h 1569720"/>
                  <a:gd name="connsiteX154" fmla="*/ 1133475 w 4542472"/>
                  <a:gd name="connsiteY154" fmla="*/ 451485 h 1569720"/>
                  <a:gd name="connsiteX155" fmla="*/ 1158240 w 4542472"/>
                  <a:gd name="connsiteY155" fmla="*/ 476250 h 1569720"/>
                  <a:gd name="connsiteX156" fmla="*/ 1143952 w 4542472"/>
                  <a:gd name="connsiteY156" fmla="*/ 500920 h 1569720"/>
                  <a:gd name="connsiteX157" fmla="*/ 1091565 w 4542472"/>
                  <a:gd name="connsiteY157" fmla="*/ 472345 h 1569720"/>
                  <a:gd name="connsiteX158" fmla="*/ 1042035 w 4542472"/>
                  <a:gd name="connsiteY158" fmla="*/ 451485 h 1569720"/>
                  <a:gd name="connsiteX159" fmla="*/ 982027 w 4542472"/>
                  <a:gd name="connsiteY159" fmla="*/ 430435 h 1569720"/>
                  <a:gd name="connsiteX160" fmla="*/ 925830 w 4542472"/>
                  <a:gd name="connsiteY160" fmla="*/ 426720 h 1569720"/>
                  <a:gd name="connsiteX161" fmla="*/ 890588 w 4542472"/>
                  <a:gd name="connsiteY161" fmla="*/ 395288 h 1569720"/>
                  <a:gd name="connsiteX162" fmla="*/ 876300 w 4542472"/>
                  <a:gd name="connsiteY162" fmla="*/ 399098 h 1569720"/>
                  <a:gd name="connsiteX163" fmla="*/ 876300 w 4542472"/>
                  <a:gd name="connsiteY163" fmla="*/ 422910 h 1569720"/>
                  <a:gd name="connsiteX164" fmla="*/ 915352 w 4542472"/>
                  <a:gd name="connsiteY164" fmla="*/ 437198 h 1569720"/>
                  <a:gd name="connsiteX165" fmla="*/ 936307 w 4542472"/>
                  <a:gd name="connsiteY165" fmla="*/ 465773 h 1569720"/>
                  <a:gd name="connsiteX166" fmla="*/ 908685 w 4542472"/>
                  <a:gd name="connsiteY166" fmla="*/ 482822 h 1569720"/>
                  <a:gd name="connsiteX167" fmla="*/ 901065 w 4542472"/>
                  <a:gd name="connsiteY167" fmla="*/ 497110 h 1569720"/>
                  <a:gd name="connsiteX168" fmla="*/ 883920 w 4542472"/>
                  <a:gd name="connsiteY168" fmla="*/ 497110 h 1569720"/>
                  <a:gd name="connsiteX169" fmla="*/ 886777 w 4542472"/>
                  <a:gd name="connsiteY169" fmla="*/ 482822 h 1569720"/>
                  <a:gd name="connsiteX170" fmla="*/ 880110 w 4542472"/>
                  <a:gd name="connsiteY170" fmla="*/ 465773 h 1569720"/>
                  <a:gd name="connsiteX171" fmla="*/ 838200 w 4542472"/>
                  <a:gd name="connsiteY171" fmla="*/ 490538 h 1569720"/>
                  <a:gd name="connsiteX172" fmla="*/ 774382 w 4542472"/>
                  <a:gd name="connsiteY172" fmla="*/ 486632 h 1569720"/>
                  <a:gd name="connsiteX173" fmla="*/ 767715 w 4542472"/>
                  <a:gd name="connsiteY173" fmla="*/ 500920 h 1569720"/>
                  <a:gd name="connsiteX174" fmla="*/ 732472 w 4542472"/>
                  <a:gd name="connsiteY174" fmla="*/ 500920 h 1569720"/>
                  <a:gd name="connsiteX175" fmla="*/ 739140 w 4542472"/>
                  <a:gd name="connsiteY175" fmla="*/ 469582 h 1569720"/>
                  <a:gd name="connsiteX176" fmla="*/ 718185 w 4542472"/>
                  <a:gd name="connsiteY176" fmla="*/ 476250 h 1569720"/>
                  <a:gd name="connsiteX177" fmla="*/ 697230 w 4542472"/>
                  <a:gd name="connsiteY177" fmla="*/ 497110 h 1569720"/>
                  <a:gd name="connsiteX178" fmla="*/ 679132 w 4542472"/>
                  <a:gd name="connsiteY178" fmla="*/ 493395 h 1569720"/>
                  <a:gd name="connsiteX179" fmla="*/ 577215 w 4542472"/>
                  <a:gd name="connsiteY179" fmla="*/ 532448 h 1569720"/>
                  <a:gd name="connsiteX180" fmla="*/ 560070 w 4542472"/>
                  <a:gd name="connsiteY180" fmla="*/ 575215 h 1569720"/>
                  <a:gd name="connsiteX181" fmla="*/ 517207 w 4542472"/>
                  <a:gd name="connsiteY181" fmla="*/ 571500 h 1569720"/>
                  <a:gd name="connsiteX182" fmla="*/ 489585 w 4542472"/>
                  <a:gd name="connsiteY182" fmla="*/ 546735 h 1569720"/>
                  <a:gd name="connsiteX183" fmla="*/ 506730 w 4542472"/>
                  <a:gd name="connsiteY183" fmla="*/ 529495 h 1569720"/>
                  <a:gd name="connsiteX184" fmla="*/ 535305 w 4542472"/>
                  <a:gd name="connsiteY184" fmla="*/ 529495 h 1569720"/>
                  <a:gd name="connsiteX185" fmla="*/ 535305 w 4542472"/>
                  <a:gd name="connsiteY185" fmla="*/ 515207 h 1569720"/>
                  <a:gd name="connsiteX186" fmla="*/ 513397 w 4542472"/>
                  <a:gd name="connsiteY186" fmla="*/ 490538 h 1569720"/>
                  <a:gd name="connsiteX187" fmla="*/ 454342 w 4542472"/>
                  <a:gd name="connsiteY187" fmla="*/ 493395 h 1569720"/>
                  <a:gd name="connsiteX188" fmla="*/ 467677 w 4542472"/>
                  <a:gd name="connsiteY188" fmla="*/ 507682 h 1569720"/>
                  <a:gd name="connsiteX189" fmla="*/ 461010 w 4542472"/>
                  <a:gd name="connsiteY189" fmla="*/ 546735 h 1569720"/>
                  <a:gd name="connsiteX190" fmla="*/ 475297 w 4542472"/>
                  <a:gd name="connsiteY190" fmla="*/ 560927 h 1569720"/>
                  <a:gd name="connsiteX191" fmla="*/ 464820 w 4542472"/>
                  <a:gd name="connsiteY191" fmla="*/ 602932 h 1569720"/>
                  <a:gd name="connsiteX192" fmla="*/ 415290 w 4542472"/>
                  <a:gd name="connsiteY192" fmla="*/ 588645 h 1569720"/>
                  <a:gd name="connsiteX193" fmla="*/ 397192 w 4542472"/>
                  <a:gd name="connsiteY193" fmla="*/ 602932 h 1569720"/>
                  <a:gd name="connsiteX194" fmla="*/ 365760 w 4542472"/>
                  <a:gd name="connsiteY194" fmla="*/ 620935 h 1569720"/>
                  <a:gd name="connsiteX195" fmla="*/ 344805 w 4542472"/>
                  <a:gd name="connsiteY195" fmla="*/ 641890 h 1569720"/>
                  <a:gd name="connsiteX196" fmla="*/ 361950 w 4542472"/>
                  <a:gd name="connsiteY196" fmla="*/ 662940 h 1569720"/>
                  <a:gd name="connsiteX197" fmla="*/ 361950 w 4542472"/>
                  <a:gd name="connsiteY197" fmla="*/ 681038 h 1569720"/>
                  <a:gd name="connsiteX198" fmla="*/ 316230 w 4542472"/>
                  <a:gd name="connsiteY198" fmla="*/ 670465 h 1569720"/>
                  <a:gd name="connsiteX199" fmla="*/ 295275 w 4542472"/>
                  <a:gd name="connsiteY199" fmla="*/ 662940 h 1569720"/>
                  <a:gd name="connsiteX200" fmla="*/ 274320 w 4542472"/>
                  <a:gd name="connsiteY200" fmla="*/ 645795 h 1569720"/>
                  <a:gd name="connsiteX201" fmla="*/ 260032 w 4542472"/>
                  <a:gd name="connsiteY201" fmla="*/ 662940 h 1569720"/>
                  <a:gd name="connsiteX202" fmla="*/ 278130 w 4542472"/>
                  <a:gd name="connsiteY202" fmla="*/ 683895 h 1569720"/>
                  <a:gd name="connsiteX203" fmla="*/ 299085 w 4542472"/>
                  <a:gd name="connsiteY203" fmla="*/ 691515 h 1569720"/>
                  <a:gd name="connsiteX204" fmla="*/ 295275 w 4542472"/>
                  <a:gd name="connsiteY204" fmla="*/ 708565 h 1569720"/>
                  <a:gd name="connsiteX205" fmla="*/ 260032 w 4542472"/>
                  <a:gd name="connsiteY205" fmla="*/ 708565 h 1569720"/>
                  <a:gd name="connsiteX206" fmla="*/ 232410 w 4542472"/>
                  <a:gd name="connsiteY206" fmla="*/ 683895 h 1569720"/>
                  <a:gd name="connsiteX207" fmla="*/ 214313 w 4542472"/>
                  <a:gd name="connsiteY207" fmla="*/ 681038 h 1569720"/>
                  <a:gd name="connsiteX208" fmla="*/ 203835 w 4542472"/>
                  <a:gd name="connsiteY208" fmla="*/ 635222 h 1569720"/>
                  <a:gd name="connsiteX209" fmla="*/ 200025 w 4542472"/>
                  <a:gd name="connsiteY209" fmla="*/ 613315 h 1569720"/>
                  <a:gd name="connsiteX210" fmla="*/ 186690 w 4542472"/>
                  <a:gd name="connsiteY210" fmla="*/ 602932 h 1569720"/>
                  <a:gd name="connsiteX211" fmla="*/ 158115 w 4542472"/>
                  <a:gd name="connsiteY211" fmla="*/ 588645 h 1569720"/>
                  <a:gd name="connsiteX212" fmla="*/ 133350 w 4542472"/>
                  <a:gd name="connsiteY212" fmla="*/ 557213 h 1569720"/>
                  <a:gd name="connsiteX213" fmla="*/ 164782 w 4542472"/>
                  <a:gd name="connsiteY213" fmla="*/ 571500 h 1569720"/>
                  <a:gd name="connsiteX214" fmla="*/ 203835 w 4542472"/>
                  <a:gd name="connsiteY214" fmla="*/ 585788 h 1569720"/>
                  <a:gd name="connsiteX215" fmla="*/ 257175 w 4542472"/>
                  <a:gd name="connsiteY215" fmla="*/ 596265 h 1569720"/>
                  <a:gd name="connsiteX216" fmla="*/ 302895 w 4542472"/>
                  <a:gd name="connsiteY216" fmla="*/ 613315 h 1569720"/>
                  <a:gd name="connsiteX217" fmla="*/ 355282 w 4542472"/>
                  <a:gd name="connsiteY217" fmla="*/ 600075 h 1569720"/>
                  <a:gd name="connsiteX218" fmla="*/ 386715 w 4542472"/>
                  <a:gd name="connsiteY218" fmla="*/ 571500 h 1569720"/>
                  <a:gd name="connsiteX219" fmla="*/ 383857 w 4542472"/>
                  <a:gd name="connsiteY219" fmla="*/ 539972 h 1569720"/>
                  <a:gd name="connsiteX220" fmla="*/ 330517 w 4542472"/>
                  <a:gd name="connsiteY220" fmla="*/ 511397 h 1569720"/>
                  <a:gd name="connsiteX221" fmla="*/ 284797 w 4542472"/>
                  <a:gd name="connsiteY221" fmla="*/ 482822 h 1569720"/>
                  <a:gd name="connsiteX222" fmla="*/ 235267 w 4542472"/>
                  <a:gd name="connsiteY222" fmla="*/ 458057 h 1569720"/>
                  <a:gd name="connsiteX223" fmla="*/ 168592 w 4542472"/>
                  <a:gd name="connsiteY223" fmla="*/ 455295 h 1569720"/>
                  <a:gd name="connsiteX224" fmla="*/ 151447 w 4542472"/>
                  <a:gd name="connsiteY224" fmla="*/ 447675 h 1569720"/>
                  <a:gd name="connsiteX225" fmla="*/ 140970 w 4542472"/>
                  <a:gd name="connsiteY225" fmla="*/ 430435 h 1569720"/>
                  <a:gd name="connsiteX226" fmla="*/ 108585 w 4542472"/>
                  <a:gd name="connsiteY226" fmla="*/ 430435 h 1569720"/>
                  <a:gd name="connsiteX227" fmla="*/ 70485 w 4542472"/>
                  <a:gd name="connsiteY227" fmla="*/ 437198 h 1569720"/>
                  <a:gd name="connsiteX228" fmla="*/ 70485 w 4542472"/>
                  <a:gd name="connsiteY228" fmla="*/ 447675 h 1569720"/>
                  <a:gd name="connsiteX229" fmla="*/ 52388 w 4542472"/>
                  <a:gd name="connsiteY229" fmla="*/ 451485 h 1569720"/>
                  <a:gd name="connsiteX230" fmla="*/ 35242 w 4542472"/>
                  <a:gd name="connsiteY230" fmla="*/ 469582 h 1569720"/>
                  <a:gd name="connsiteX231" fmla="*/ 27622 w 4542472"/>
                  <a:gd name="connsiteY231" fmla="*/ 507682 h 1569720"/>
                  <a:gd name="connsiteX232" fmla="*/ 70485 w 4542472"/>
                  <a:gd name="connsiteY232" fmla="*/ 532448 h 1569720"/>
                  <a:gd name="connsiteX233" fmla="*/ 41910 w 4542472"/>
                  <a:gd name="connsiteY233" fmla="*/ 560927 h 1569720"/>
                  <a:gd name="connsiteX234" fmla="*/ 59055 w 4542472"/>
                  <a:gd name="connsiteY234" fmla="*/ 592360 h 1569720"/>
                  <a:gd name="connsiteX235" fmla="*/ 70485 w 4542472"/>
                  <a:gd name="connsiteY235" fmla="*/ 620935 h 1569720"/>
                  <a:gd name="connsiteX236" fmla="*/ 70485 w 4542472"/>
                  <a:gd name="connsiteY236" fmla="*/ 620935 h 1569720"/>
                  <a:gd name="connsiteX237" fmla="*/ 70485 w 4542472"/>
                  <a:gd name="connsiteY237" fmla="*/ 620935 h 1569720"/>
                  <a:gd name="connsiteX238" fmla="*/ 56197 w 4542472"/>
                  <a:gd name="connsiteY238" fmla="*/ 656177 h 1569720"/>
                  <a:gd name="connsiteX239" fmla="*/ 73342 w 4542472"/>
                  <a:gd name="connsiteY239" fmla="*/ 673322 h 1569720"/>
                  <a:gd name="connsiteX240" fmla="*/ 87630 w 4542472"/>
                  <a:gd name="connsiteY240" fmla="*/ 698182 h 1569720"/>
                  <a:gd name="connsiteX241" fmla="*/ 70485 w 4542472"/>
                  <a:gd name="connsiteY241" fmla="*/ 716185 h 1569720"/>
                  <a:gd name="connsiteX242" fmla="*/ 112395 w 4542472"/>
                  <a:gd name="connsiteY242" fmla="*/ 747713 h 1569720"/>
                  <a:gd name="connsiteX243" fmla="*/ 98107 w 4542472"/>
                  <a:gd name="connsiteY243" fmla="*/ 772478 h 1569720"/>
                  <a:gd name="connsiteX244" fmla="*/ 52388 w 4542472"/>
                  <a:gd name="connsiteY244" fmla="*/ 814388 h 1569720"/>
                  <a:gd name="connsiteX245" fmla="*/ 21907 w 4542472"/>
                  <a:gd name="connsiteY245" fmla="*/ 837152 h 1569720"/>
                  <a:gd name="connsiteX246" fmla="*/ 38100 w 4542472"/>
                  <a:gd name="connsiteY246" fmla="*/ 857250 h 1569720"/>
                  <a:gd name="connsiteX247" fmla="*/ 70485 w 4542472"/>
                  <a:gd name="connsiteY247" fmla="*/ 871538 h 1569720"/>
                  <a:gd name="connsiteX248" fmla="*/ 45720 w 4542472"/>
                  <a:gd name="connsiteY248" fmla="*/ 874395 h 1569720"/>
                  <a:gd name="connsiteX249" fmla="*/ 13335 w 4542472"/>
                  <a:gd name="connsiteY249" fmla="*/ 899065 h 1569720"/>
                  <a:gd name="connsiteX250" fmla="*/ 2857 w 4542472"/>
                  <a:gd name="connsiteY250" fmla="*/ 920115 h 1569720"/>
                  <a:gd name="connsiteX251" fmla="*/ 2857 w 4542472"/>
                  <a:gd name="connsiteY251" fmla="*/ 948690 h 1569720"/>
                  <a:gd name="connsiteX252" fmla="*/ 0 w 4542472"/>
                  <a:gd name="connsiteY252" fmla="*/ 969645 h 1569720"/>
                  <a:gd name="connsiteX253" fmla="*/ 10477 w 4542472"/>
                  <a:gd name="connsiteY253" fmla="*/ 990600 h 1569720"/>
                  <a:gd name="connsiteX254" fmla="*/ 17145 w 4542472"/>
                  <a:gd name="connsiteY254" fmla="*/ 1019175 h 1569720"/>
                  <a:gd name="connsiteX255" fmla="*/ 24765 w 4542472"/>
                  <a:gd name="connsiteY255" fmla="*/ 1029652 h 1569720"/>
                  <a:gd name="connsiteX256" fmla="*/ 56197 w 4542472"/>
                  <a:gd name="connsiteY256" fmla="*/ 1037177 h 1569720"/>
                  <a:gd name="connsiteX257" fmla="*/ 56197 w 4542472"/>
                  <a:gd name="connsiteY257" fmla="*/ 1047750 h 1569720"/>
                  <a:gd name="connsiteX258" fmla="*/ 91440 w 4542472"/>
                  <a:gd name="connsiteY258" fmla="*/ 1050608 h 1569720"/>
                  <a:gd name="connsiteX259" fmla="*/ 98107 w 4542472"/>
                  <a:gd name="connsiteY259" fmla="*/ 1089565 h 1569720"/>
                  <a:gd name="connsiteX260" fmla="*/ 147638 w 4542472"/>
                  <a:gd name="connsiteY260" fmla="*/ 1143000 h 1569720"/>
                  <a:gd name="connsiteX261" fmla="*/ 143827 w 4542472"/>
                  <a:gd name="connsiteY261" fmla="*/ 1145858 h 1569720"/>
                  <a:gd name="connsiteX262" fmla="*/ 112395 w 4542472"/>
                  <a:gd name="connsiteY262" fmla="*/ 1145858 h 1569720"/>
                  <a:gd name="connsiteX263" fmla="*/ 112395 w 4542472"/>
                  <a:gd name="connsiteY263" fmla="*/ 1181100 h 1569720"/>
                  <a:gd name="connsiteX264" fmla="*/ 126682 w 4542472"/>
                  <a:gd name="connsiteY264" fmla="*/ 1188720 h 1569720"/>
                  <a:gd name="connsiteX265" fmla="*/ 137160 w 4542472"/>
                  <a:gd name="connsiteY265" fmla="*/ 1184815 h 1569720"/>
                  <a:gd name="connsiteX266" fmla="*/ 143827 w 4542472"/>
                  <a:gd name="connsiteY266" fmla="*/ 1178147 h 1569720"/>
                  <a:gd name="connsiteX267" fmla="*/ 186690 w 4542472"/>
                  <a:gd name="connsiteY267" fmla="*/ 1178147 h 1569720"/>
                  <a:gd name="connsiteX268" fmla="*/ 193357 w 4542472"/>
                  <a:gd name="connsiteY268" fmla="*/ 1195388 h 1569720"/>
                  <a:gd name="connsiteX269" fmla="*/ 189547 w 4542472"/>
                  <a:gd name="connsiteY269" fmla="*/ 1216247 h 1569720"/>
                  <a:gd name="connsiteX270" fmla="*/ 221932 w 4542472"/>
                  <a:gd name="connsiteY270" fmla="*/ 1223963 h 1569720"/>
                  <a:gd name="connsiteX271" fmla="*/ 228600 w 4542472"/>
                  <a:gd name="connsiteY271" fmla="*/ 1248727 h 1569720"/>
                  <a:gd name="connsiteX272" fmla="*/ 284797 w 4542472"/>
                  <a:gd name="connsiteY272" fmla="*/ 1251490 h 1569720"/>
                  <a:gd name="connsiteX273" fmla="*/ 288607 w 4542472"/>
                  <a:gd name="connsiteY273" fmla="*/ 1263015 h 1569720"/>
                  <a:gd name="connsiteX274" fmla="*/ 323850 w 4542472"/>
                  <a:gd name="connsiteY274" fmla="*/ 1263015 h 1569720"/>
                  <a:gd name="connsiteX275" fmla="*/ 351472 w 4542472"/>
                  <a:gd name="connsiteY275" fmla="*/ 1280065 h 1569720"/>
                  <a:gd name="connsiteX276" fmla="*/ 348615 w 4542472"/>
                  <a:gd name="connsiteY276" fmla="*/ 1336358 h 1569720"/>
                  <a:gd name="connsiteX277" fmla="*/ 320040 w 4542472"/>
                  <a:gd name="connsiteY277" fmla="*/ 1343977 h 1569720"/>
                  <a:gd name="connsiteX278" fmla="*/ 302895 w 4542472"/>
                  <a:gd name="connsiteY278" fmla="*/ 1350645 h 1569720"/>
                  <a:gd name="connsiteX279" fmla="*/ 299085 w 4542472"/>
                  <a:gd name="connsiteY279" fmla="*/ 1364933 h 1569720"/>
                  <a:gd name="connsiteX280" fmla="*/ 330517 w 4542472"/>
                  <a:gd name="connsiteY280" fmla="*/ 1368647 h 1569720"/>
                  <a:gd name="connsiteX281" fmla="*/ 302895 w 4542472"/>
                  <a:gd name="connsiteY281" fmla="*/ 1385888 h 1569720"/>
                  <a:gd name="connsiteX282" fmla="*/ 305752 w 4542472"/>
                  <a:gd name="connsiteY282" fmla="*/ 1403890 h 1569720"/>
                  <a:gd name="connsiteX283" fmla="*/ 284797 w 4542472"/>
                  <a:gd name="connsiteY283" fmla="*/ 1424940 h 1569720"/>
                  <a:gd name="connsiteX284" fmla="*/ 278130 w 4542472"/>
                  <a:gd name="connsiteY284" fmla="*/ 1449610 h 1569720"/>
                  <a:gd name="connsiteX285" fmla="*/ 302895 w 4542472"/>
                  <a:gd name="connsiteY285" fmla="*/ 1460183 h 1569720"/>
                  <a:gd name="connsiteX286" fmla="*/ 348615 w 4542472"/>
                  <a:gd name="connsiteY286" fmla="*/ 1491615 h 1569720"/>
                  <a:gd name="connsiteX287" fmla="*/ 369570 w 4542472"/>
                  <a:gd name="connsiteY287" fmla="*/ 1487710 h 1569720"/>
                  <a:gd name="connsiteX288" fmla="*/ 390525 w 4542472"/>
                  <a:gd name="connsiteY288" fmla="*/ 1501997 h 1569720"/>
                  <a:gd name="connsiteX289" fmla="*/ 408622 w 4542472"/>
                  <a:gd name="connsiteY289" fmla="*/ 1499140 h 1569720"/>
                  <a:gd name="connsiteX290" fmla="*/ 421957 w 4542472"/>
                  <a:gd name="connsiteY290" fmla="*/ 1499140 h 1569720"/>
                  <a:gd name="connsiteX291" fmla="*/ 446722 w 4542472"/>
                  <a:gd name="connsiteY291" fmla="*/ 1512570 h 1569720"/>
                  <a:gd name="connsiteX292" fmla="*/ 464820 w 4542472"/>
                  <a:gd name="connsiteY292" fmla="*/ 1520190 h 1569720"/>
                  <a:gd name="connsiteX293" fmla="*/ 475297 w 4542472"/>
                  <a:gd name="connsiteY293" fmla="*/ 1520190 h 1569720"/>
                  <a:gd name="connsiteX294" fmla="*/ 492442 w 4542472"/>
                  <a:gd name="connsiteY294" fmla="*/ 1516285 h 1569720"/>
                  <a:gd name="connsiteX295" fmla="*/ 510540 w 4542472"/>
                  <a:gd name="connsiteY295" fmla="*/ 1526858 h 1569720"/>
                  <a:gd name="connsiteX296" fmla="*/ 527685 w 4542472"/>
                  <a:gd name="connsiteY296" fmla="*/ 1544860 h 1569720"/>
                  <a:gd name="connsiteX297" fmla="*/ 538163 w 4542472"/>
                  <a:gd name="connsiteY297" fmla="*/ 1547813 h 1569720"/>
                  <a:gd name="connsiteX298" fmla="*/ 566738 w 4542472"/>
                  <a:gd name="connsiteY298" fmla="*/ 1569720 h 1569720"/>
                  <a:gd name="connsiteX299" fmla="*/ 573405 w 4542472"/>
                  <a:gd name="connsiteY299" fmla="*/ 1565815 h 1569720"/>
                  <a:gd name="connsiteX300" fmla="*/ 591502 w 4542472"/>
                  <a:gd name="connsiteY300" fmla="*/ 1547813 h 1569720"/>
                  <a:gd name="connsiteX301" fmla="*/ 566738 w 4542472"/>
                  <a:gd name="connsiteY301" fmla="*/ 1520190 h 1569720"/>
                  <a:gd name="connsiteX302" fmla="*/ 562927 w 4542472"/>
                  <a:gd name="connsiteY302" fmla="*/ 1487710 h 1569720"/>
                  <a:gd name="connsiteX303" fmla="*/ 552450 w 4542472"/>
                  <a:gd name="connsiteY303" fmla="*/ 1470565 h 1569720"/>
                  <a:gd name="connsiteX304" fmla="*/ 538163 w 4542472"/>
                  <a:gd name="connsiteY304" fmla="*/ 1460183 h 1569720"/>
                  <a:gd name="connsiteX305" fmla="*/ 552450 w 4542472"/>
                  <a:gd name="connsiteY305" fmla="*/ 1441990 h 1569720"/>
                  <a:gd name="connsiteX306" fmla="*/ 560070 w 4542472"/>
                  <a:gd name="connsiteY306" fmla="*/ 1428750 h 1569720"/>
                  <a:gd name="connsiteX307" fmla="*/ 577215 w 4542472"/>
                  <a:gd name="connsiteY307" fmla="*/ 1417320 h 1569720"/>
                  <a:gd name="connsiteX308" fmla="*/ 605790 w 4542472"/>
                  <a:gd name="connsiteY308" fmla="*/ 1396365 h 1569720"/>
                  <a:gd name="connsiteX309" fmla="*/ 598170 w 4542472"/>
                  <a:gd name="connsiteY309" fmla="*/ 1371600 h 1569720"/>
                  <a:gd name="connsiteX310" fmla="*/ 577215 w 4542472"/>
                  <a:gd name="connsiteY310" fmla="*/ 1343977 h 1569720"/>
                  <a:gd name="connsiteX311" fmla="*/ 552450 w 4542472"/>
                  <a:gd name="connsiteY311" fmla="*/ 1336358 h 1569720"/>
                  <a:gd name="connsiteX312" fmla="*/ 535305 w 4542472"/>
                  <a:gd name="connsiteY312" fmla="*/ 1311497 h 1569720"/>
                  <a:gd name="connsiteX313" fmla="*/ 545782 w 4542472"/>
                  <a:gd name="connsiteY313" fmla="*/ 1269683 h 1569720"/>
                  <a:gd name="connsiteX314" fmla="*/ 566738 w 4542472"/>
                  <a:gd name="connsiteY314" fmla="*/ 1244822 h 1569720"/>
                  <a:gd name="connsiteX315" fmla="*/ 581025 w 4542472"/>
                  <a:gd name="connsiteY315" fmla="*/ 1273397 h 1569720"/>
                  <a:gd name="connsiteX316" fmla="*/ 594360 w 4542472"/>
                  <a:gd name="connsiteY316" fmla="*/ 1265777 h 1569720"/>
                  <a:gd name="connsiteX317" fmla="*/ 598170 w 4542472"/>
                  <a:gd name="connsiteY317" fmla="*/ 1244822 h 1569720"/>
                  <a:gd name="connsiteX318" fmla="*/ 641032 w 4542472"/>
                  <a:gd name="connsiteY318" fmla="*/ 1213390 h 1569720"/>
                  <a:gd name="connsiteX319" fmla="*/ 668655 w 4542472"/>
                  <a:gd name="connsiteY319" fmla="*/ 1203008 h 1569720"/>
                  <a:gd name="connsiteX320" fmla="*/ 732472 w 4542472"/>
                  <a:gd name="connsiteY320" fmla="*/ 1213390 h 1569720"/>
                  <a:gd name="connsiteX321" fmla="*/ 770572 w 4542472"/>
                  <a:gd name="connsiteY321" fmla="*/ 1238250 h 1569720"/>
                  <a:gd name="connsiteX322" fmla="*/ 799147 w 4542472"/>
                  <a:gd name="connsiteY322" fmla="*/ 1241108 h 1569720"/>
                  <a:gd name="connsiteX323" fmla="*/ 838200 w 4542472"/>
                  <a:gd name="connsiteY323" fmla="*/ 1223963 h 1569720"/>
                  <a:gd name="connsiteX324" fmla="*/ 869632 w 4542472"/>
                  <a:gd name="connsiteY324" fmla="*/ 1223963 h 1569720"/>
                  <a:gd name="connsiteX325" fmla="*/ 886777 w 4542472"/>
                  <a:gd name="connsiteY325" fmla="*/ 1241108 h 1569720"/>
                  <a:gd name="connsiteX326" fmla="*/ 932497 w 4542472"/>
                  <a:gd name="connsiteY326" fmla="*/ 1238250 h 1569720"/>
                  <a:gd name="connsiteX327" fmla="*/ 950595 w 4542472"/>
                  <a:gd name="connsiteY327" fmla="*/ 1220152 h 1569720"/>
                  <a:gd name="connsiteX328" fmla="*/ 936307 w 4542472"/>
                  <a:gd name="connsiteY328" fmla="*/ 1205865 h 1569720"/>
                  <a:gd name="connsiteX329" fmla="*/ 911542 w 4542472"/>
                  <a:gd name="connsiteY329" fmla="*/ 1199102 h 1569720"/>
                  <a:gd name="connsiteX330" fmla="*/ 922020 w 4542472"/>
                  <a:gd name="connsiteY330" fmla="*/ 1184815 h 1569720"/>
                  <a:gd name="connsiteX331" fmla="*/ 932497 w 4542472"/>
                  <a:gd name="connsiteY331" fmla="*/ 1174433 h 1569720"/>
                  <a:gd name="connsiteX332" fmla="*/ 936307 w 4542472"/>
                  <a:gd name="connsiteY332" fmla="*/ 1156240 h 1569720"/>
                  <a:gd name="connsiteX333" fmla="*/ 957263 w 4542472"/>
                  <a:gd name="connsiteY333" fmla="*/ 1149572 h 1569720"/>
                  <a:gd name="connsiteX334" fmla="*/ 950595 w 4542472"/>
                  <a:gd name="connsiteY334" fmla="*/ 1135285 h 1569720"/>
                  <a:gd name="connsiteX335" fmla="*/ 943927 w 4542472"/>
                  <a:gd name="connsiteY335" fmla="*/ 1118140 h 1569720"/>
                  <a:gd name="connsiteX336" fmla="*/ 982027 w 4542472"/>
                  <a:gd name="connsiteY336" fmla="*/ 1114425 h 1569720"/>
                  <a:gd name="connsiteX337" fmla="*/ 1137285 w 4542472"/>
                  <a:gd name="connsiteY337" fmla="*/ 1072515 h 1569720"/>
                  <a:gd name="connsiteX338" fmla="*/ 1176338 w 4542472"/>
                  <a:gd name="connsiteY338" fmla="*/ 1064895 h 1569720"/>
                  <a:gd name="connsiteX339" fmla="*/ 1211580 w 4542472"/>
                  <a:gd name="connsiteY339" fmla="*/ 1068610 h 1569720"/>
                  <a:gd name="connsiteX340" fmla="*/ 1218247 w 4542472"/>
                  <a:gd name="connsiteY340" fmla="*/ 1093470 h 1569720"/>
                  <a:gd name="connsiteX341" fmla="*/ 1235392 w 4542472"/>
                  <a:gd name="connsiteY341" fmla="*/ 1103852 h 1569720"/>
                  <a:gd name="connsiteX342" fmla="*/ 1270635 w 4542472"/>
                  <a:gd name="connsiteY342" fmla="*/ 1114425 h 1569720"/>
                  <a:gd name="connsiteX343" fmla="*/ 1305877 w 4542472"/>
                  <a:gd name="connsiteY343" fmla="*/ 1132427 h 1569720"/>
                  <a:gd name="connsiteX344" fmla="*/ 1338263 w 4542472"/>
                  <a:gd name="connsiteY344" fmla="*/ 1114425 h 1569720"/>
                  <a:gd name="connsiteX345" fmla="*/ 1376363 w 4542472"/>
                  <a:gd name="connsiteY345" fmla="*/ 1103852 h 1569720"/>
                  <a:gd name="connsiteX346" fmla="*/ 1380172 w 4542472"/>
                  <a:gd name="connsiteY346" fmla="*/ 1120997 h 1569720"/>
                  <a:gd name="connsiteX347" fmla="*/ 1411605 w 4542472"/>
                  <a:gd name="connsiteY347" fmla="*/ 1143000 h 1569720"/>
                  <a:gd name="connsiteX348" fmla="*/ 1440180 w 4542472"/>
                  <a:gd name="connsiteY348" fmla="*/ 1184815 h 1569720"/>
                  <a:gd name="connsiteX349" fmla="*/ 1464945 w 4542472"/>
                  <a:gd name="connsiteY349" fmla="*/ 1227677 h 1569720"/>
                  <a:gd name="connsiteX350" fmla="*/ 1479232 w 4542472"/>
                  <a:gd name="connsiteY350" fmla="*/ 1227677 h 1569720"/>
                  <a:gd name="connsiteX351" fmla="*/ 1485900 w 4542472"/>
                  <a:gd name="connsiteY351" fmla="*/ 1213390 h 1569720"/>
                  <a:gd name="connsiteX352" fmla="*/ 1524952 w 4542472"/>
                  <a:gd name="connsiteY352" fmla="*/ 1234440 h 1569720"/>
                  <a:gd name="connsiteX353" fmla="*/ 1573530 w 4542472"/>
                  <a:gd name="connsiteY353" fmla="*/ 1227677 h 1569720"/>
                  <a:gd name="connsiteX354" fmla="*/ 1591627 w 4542472"/>
                  <a:gd name="connsiteY354" fmla="*/ 1251490 h 1569720"/>
                  <a:gd name="connsiteX355" fmla="*/ 1616392 w 4542472"/>
                  <a:gd name="connsiteY355" fmla="*/ 1269683 h 1569720"/>
                  <a:gd name="connsiteX356" fmla="*/ 1654492 w 4542472"/>
                  <a:gd name="connsiteY356" fmla="*/ 1273397 h 1569720"/>
                  <a:gd name="connsiteX357" fmla="*/ 1662113 w 4542472"/>
                  <a:gd name="connsiteY357" fmla="*/ 1298258 h 1569720"/>
                  <a:gd name="connsiteX358" fmla="*/ 1689735 w 4542472"/>
                  <a:gd name="connsiteY358" fmla="*/ 1298258 h 1569720"/>
                  <a:gd name="connsiteX359" fmla="*/ 1704022 w 4542472"/>
                  <a:gd name="connsiteY359" fmla="*/ 1283970 h 1569720"/>
                  <a:gd name="connsiteX360" fmla="*/ 1728788 w 4542472"/>
                  <a:gd name="connsiteY360" fmla="*/ 1280065 h 1569720"/>
                  <a:gd name="connsiteX361" fmla="*/ 1743075 w 4542472"/>
                  <a:gd name="connsiteY361" fmla="*/ 1265777 h 1569720"/>
                  <a:gd name="connsiteX362" fmla="*/ 1803082 w 4542472"/>
                  <a:gd name="connsiteY362" fmla="*/ 1234440 h 1569720"/>
                  <a:gd name="connsiteX363" fmla="*/ 1834515 w 4542472"/>
                  <a:gd name="connsiteY363" fmla="*/ 1238250 h 1569720"/>
                  <a:gd name="connsiteX364" fmla="*/ 1869757 w 4542472"/>
                  <a:gd name="connsiteY364" fmla="*/ 1244822 h 1569720"/>
                  <a:gd name="connsiteX365" fmla="*/ 1886902 w 4542472"/>
                  <a:gd name="connsiteY365" fmla="*/ 1265777 h 1569720"/>
                  <a:gd name="connsiteX366" fmla="*/ 1944052 w 4542472"/>
                  <a:gd name="connsiteY366" fmla="*/ 1265777 h 1569720"/>
                  <a:gd name="connsiteX367" fmla="*/ 1957388 w 4542472"/>
                  <a:gd name="connsiteY367" fmla="*/ 1276350 h 1569720"/>
                  <a:gd name="connsiteX368" fmla="*/ 1979295 w 4542472"/>
                  <a:gd name="connsiteY368" fmla="*/ 1259110 h 1569720"/>
                  <a:gd name="connsiteX369" fmla="*/ 1982152 w 4542472"/>
                  <a:gd name="connsiteY369" fmla="*/ 1244822 h 1569720"/>
                  <a:gd name="connsiteX370" fmla="*/ 1961197 w 4542472"/>
                  <a:gd name="connsiteY370" fmla="*/ 1220152 h 1569720"/>
                  <a:gd name="connsiteX371" fmla="*/ 1992630 w 4542472"/>
                  <a:gd name="connsiteY371" fmla="*/ 1188720 h 1569720"/>
                  <a:gd name="connsiteX372" fmla="*/ 2042160 w 4542472"/>
                  <a:gd name="connsiteY372" fmla="*/ 1199102 h 1569720"/>
                  <a:gd name="connsiteX373" fmla="*/ 2085022 w 4542472"/>
                  <a:gd name="connsiteY373" fmla="*/ 1213390 h 1569720"/>
                  <a:gd name="connsiteX374" fmla="*/ 2087880 w 4542472"/>
                  <a:gd name="connsiteY374" fmla="*/ 1230535 h 1569720"/>
                  <a:gd name="connsiteX375" fmla="*/ 2105977 w 4542472"/>
                  <a:gd name="connsiteY375" fmla="*/ 1251490 h 1569720"/>
                  <a:gd name="connsiteX376" fmla="*/ 2151697 w 4542472"/>
                  <a:gd name="connsiteY376" fmla="*/ 1259110 h 1569720"/>
                  <a:gd name="connsiteX377" fmla="*/ 2176463 w 4542472"/>
                  <a:gd name="connsiteY377" fmla="*/ 1244822 h 1569720"/>
                  <a:gd name="connsiteX378" fmla="*/ 2218372 w 4542472"/>
                  <a:gd name="connsiteY378" fmla="*/ 1251490 h 1569720"/>
                  <a:gd name="connsiteX379" fmla="*/ 2228850 w 4542472"/>
                  <a:gd name="connsiteY379" fmla="*/ 1263015 h 1569720"/>
                  <a:gd name="connsiteX380" fmla="*/ 2246947 w 4542472"/>
                  <a:gd name="connsiteY380" fmla="*/ 1265777 h 1569720"/>
                  <a:gd name="connsiteX381" fmla="*/ 2257425 w 4542472"/>
                  <a:gd name="connsiteY381" fmla="*/ 1280065 h 1569720"/>
                  <a:gd name="connsiteX382" fmla="*/ 2267902 w 4542472"/>
                  <a:gd name="connsiteY382" fmla="*/ 1290638 h 1569720"/>
                  <a:gd name="connsiteX383" fmla="*/ 2306002 w 4542472"/>
                  <a:gd name="connsiteY383" fmla="*/ 1294352 h 1569720"/>
                  <a:gd name="connsiteX384" fmla="*/ 2338388 w 4542472"/>
                  <a:gd name="connsiteY384" fmla="*/ 1290638 h 1569720"/>
                  <a:gd name="connsiteX385" fmla="*/ 2390775 w 4542472"/>
                  <a:gd name="connsiteY385" fmla="*/ 1280065 h 1569720"/>
                  <a:gd name="connsiteX386" fmla="*/ 2422208 w 4542472"/>
                  <a:gd name="connsiteY386" fmla="*/ 1255395 h 1569720"/>
                  <a:gd name="connsiteX387" fmla="*/ 2440305 w 4542472"/>
                  <a:gd name="connsiteY387" fmla="*/ 1251490 h 1569720"/>
                  <a:gd name="connsiteX388" fmla="*/ 2454592 w 4542472"/>
                  <a:gd name="connsiteY388" fmla="*/ 1263015 h 1569720"/>
                  <a:gd name="connsiteX389" fmla="*/ 2496502 w 4542472"/>
                  <a:gd name="connsiteY389" fmla="*/ 1265777 h 1569720"/>
                  <a:gd name="connsiteX390" fmla="*/ 2527935 w 4542472"/>
                  <a:gd name="connsiteY390" fmla="*/ 1283970 h 1569720"/>
                  <a:gd name="connsiteX391" fmla="*/ 2546033 w 4542472"/>
                  <a:gd name="connsiteY391" fmla="*/ 1265777 h 1569720"/>
                  <a:gd name="connsiteX392" fmla="*/ 2566988 w 4542472"/>
                  <a:gd name="connsiteY392" fmla="*/ 1263015 h 1569720"/>
                  <a:gd name="connsiteX393" fmla="*/ 2573655 w 4542472"/>
                  <a:gd name="connsiteY393" fmla="*/ 1234440 h 1569720"/>
                  <a:gd name="connsiteX394" fmla="*/ 2591752 w 4542472"/>
                  <a:gd name="connsiteY394" fmla="*/ 1203008 h 1569720"/>
                  <a:gd name="connsiteX395" fmla="*/ 2608897 w 4542472"/>
                  <a:gd name="connsiteY395" fmla="*/ 1192435 h 1569720"/>
                  <a:gd name="connsiteX396" fmla="*/ 2608897 w 4542472"/>
                  <a:gd name="connsiteY396" fmla="*/ 1167765 h 1569720"/>
                  <a:gd name="connsiteX397" fmla="*/ 2587942 w 4542472"/>
                  <a:gd name="connsiteY397" fmla="*/ 1163860 h 1569720"/>
                  <a:gd name="connsiteX398" fmla="*/ 2591752 w 4542472"/>
                  <a:gd name="connsiteY398" fmla="*/ 1149572 h 1569720"/>
                  <a:gd name="connsiteX399" fmla="*/ 2616517 w 4542472"/>
                  <a:gd name="connsiteY399" fmla="*/ 1139190 h 1569720"/>
                  <a:gd name="connsiteX400" fmla="*/ 2693670 w 4542472"/>
                  <a:gd name="connsiteY400" fmla="*/ 1132427 h 1569720"/>
                  <a:gd name="connsiteX401" fmla="*/ 2722245 w 4542472"/>
                  <a:gd name="connsiteY401" fmla="*/ 1143000 h 1569720"/>
                  <a:gd name="connsiteX402" fmla="*/ 2747010 w 4542472"/>
                  <a:gd name="connsiteY402" fmla="*/ 1153477 h 1569720"/>
                  <a:gd name="connsiteX403" fmla="*/ 2767965 w 4542472"/>
                  <a:gd name="connsiteY403" fmla="*/ 1188720 h 1569720"/>
                  <a:gd name="connsiteX404" fmla="*/ 2787015 w 4542472"/>
                  <a:gd name="connsiteY404" fmla="*/ 1234440 h 1569720"/>
                  <a:gd name="connsiteX405" fmla="*/ 2795588 w 4542472"/>
                  <a:gd name="connsiteY405" fmla="*/ 1251490 h 1569720"/>
                  <a:gd name="connsiteX406" fmla="*/ 2806065 w 4542472"/>
                  <a:gd name="connsiteY406" fmla="*/ 1280065 h 1569720"/>
                  <a:gd name="connsiteX407" fmla="*/ 2834640 w 4542472"/>
                  <a:gd name="connsiteY407" fmla="*/ 1280065 h 1569720"/>
                  <a:gd name="connsiteX408" fmla="*/ 2887980 w 4542472"/>
                  <a:gd name="connsiteY408" fmla="*/ 1308640 h 1569720"/>
                  <a:gd name="connsiteX409" fmla="*/ 2894647 w 4542472"/>
                  <a:gd name="connsiteY409" fmla="*/ 1343977 h 1569720"/>
                  <a:gd name="connsiteX410" fmla="*/ 2933700 w 4542472"/>
                  <a:gd name="connsiteY410" fmla="*/ 1346740 h 1569720"/>
                  <a:gd name="connsiteX411" fmla="*/ 2944177 w 4542472"/>
                  <a:gd name="connsiteY411" fmla="*/ 1333500 h 1569720"/>
                  <a:gd name="connsiteX412" fmla="*/ 2968942 w 4542472"/>
                  <a:gd name="connsiteY412" fmla="*/ 1329690 h 1569720"/>
                  <a:gd name="connsiteX413" fmla="*/ 2996565 w 4542472"/>
                  <a:gd name="connsiteY413" fmla="*/ 1325785 h 1569720"/>
                  <a:gd name="connsiteX414" fmla="*/ 3000375 w 4542472"/>
                  <a:gd name="connsiteY414" fmla="*/ 1350645 h 1569720"/>
                  <a:gd name="connsiteX415" fmla="*/ 2986088 w 4542472"/>
                  <a:gd name="connsiteY415" fmla="*/ 1358265 h 1569720"/>
                  <a:gd name="connsiteX416" fmla="*/ 2975610 w 4542472"/>
                  <a:gd name="connsiteY416" fmla="*/ 1396365 h 1569720"/>
                  <a:gd name="connsiteX417" fmla="*/ 2954655 w 4542472"/>
                  <a:gd name="connsiteY417" fmla="*/ 1435322 h 1569720"/>
                  <a:gd name="connsiteX418" fmla="*/ 2933700 w 4542472"/>
                  <a:gd name="connsiteY418" fmla="*/ 1439227 h 1569720"/>
                  <a:gd name="connsiteX419" fmla="*/ 2922270 w 4542472"/>
                  <a:gd name="connsiteY419" fmla="*/ 1428750 h 1569720"/>
                  <a:gd name="connsiteX420" fmla="*/ 2898458 w 4542472"/>
                  <a:gd name="connsiteY420" fmla="*/ 1445895 h 1569720"/>
                  <a:gd name="connsiteX421" fmla="*/ 2898458 w 4542472"/>
                  <a:gd name="connsiteY421" fmla="*/ 1509713 h 1569720"/>
                  <a:gd name="connsiteX422" fmla="*/ 2929890 w 4542472"/>
                  <a:gd name="connsiteY422" fmla="*/ 1501997 h 1569720"/>
                  <a:gd name="connsiteX423" fmla="*/ 2954655 w 4542472"/>
                  <a:gd name="connsiteY423" fmla="*/ 1516285 h 1569720"/>
                  <a:gd name="connsiteX424" fmla="*/ 2986088 w 4542472"/>
                  <a:gd name="connsiteY424" fmla="*/ 1501997 h 1569720"/>
                  <a:gd name="connsiteX425" fmla="*/ 3010852 w 4542472"/>
                  <a:gd name="connsiteY425" fmla="*/ 1484852 h 1569720"/>
                  <a:gd name="connsiteX426" fmla="*/ 3042285 w 4542472"/>
                  <a:gd name="connsiteY426" fmla="*/ 1445895 h 1569720"/>
                  <a:gd name="connsiteX427" fmla="*/ 3148013 w 4542472"/>
                  <a:gd name="connsiteY427" fmla="*/ 1315402 h 1569720"/>
                  <a:gd name="connsiteX428" fmla="*/ 3158490 w 4542472"/>
                  <a:gd name="connsiteY428" fmla="*/ 1283970 h 1569720"/>
                  <a:gd name="connsiteX429" fmla="*/ 3162300 w 4542472"/>
                  <a:gd name="connsiteY429" fmla="*/ 1227677 h 1569720"/>
                  <a:gd name="connsiteX430" fmla="*/ 3176588 w 4542472"/>
                  <a:gd name="connsiteY430" fmla="*/ 1188720 h 1569720"/>
                  <a:gd name="connsiteX431" fmla="*/ 3183255 w 4542472"/>
                  <a:gd name="connsiteY431" fmla="*/ 1149572 h 1569720"/>
                  <a:gd name="connsiteX432" fmla="*/ 3155633 w 4542472"/>
                  <a:gd name="connsiteY432" fmla="*/ 1114425 h 1569720"/>
                  <a:gd name="connsiteX433" fmla="*/ 3116580 w 4542472"/>
                  <a:gd name="connsiteY433" fmla="*/ 1107758 h 1569720"/>
                  <a:gd name="connsiteX434" fmla="*/ 3091815 w 4542472"/>
                  <a:gd name="connsiteY434" fmla="*/ 1128713 h 1569720"/>
                  <a:gd name="connsiteX435" fmla="*/ 3073717 w 4542472"/>
                  <a:gd name="connsiteY435" fmla="*/ 1100138 h 1569720"/>
                  <a:gd name="connsiteX436" fmla="*/ 3056572 w 4542472"/>
                  <a:gd name="connsiteY436" fmla="*/ 1120997 h 1569720"/>
                  <a:gd name="connsiteX437" fmla="*/ 3052763 w 4542472"/>
                  <a:gd name="connsiteY437" fmla="*/ 1093470 h 1569720"/>
                  <a:gd name="connsiteX438" fmla="*/ 3017520 w 4542472"/>
                  <a:gd name="connsiteY438" fmla="*/ 1097185 h 1569720"/>
                  <a:gd name="connsiteX439" fmla="*/ 3014663 w 4542472"/>
                  <a:gd name="connsiteY439" fmla="*/ 1079183 h 1569720"/>
                  <a:gd name="connsiteX440" fmla="*/ 3218497 w 4542472"/>
                  <a:gd name="connsiteY440" fmla="*/ 902970 h 1569720"/>
                  <a:gd name="connsiteX441" fmla="*/ 3309938 w 4542472"/>
                  <a:gd name="connsiteY441" fmla="*/ 902970 h 1569720"/>
                  <a:gd name="connsiteX442" fmla="*/ 3334702 w 4542472"/>
                  <a:gd name="connsiteY442" fmla="*/ 899065 h 1569720"/>
                  <a:gd name="connsiteX443" fmla="*/ 3388042 w 4542472"/>
                  <a:gd name="connsiteY443" fmla="*/ 902970 h 1569720"/>
                  <a:gd name="connsiteX444" fmla="*/ 3398520 w 4542472"/>
                  <a:gd name="connsiteY444" fmla="*/ 888683 h 1569720"/>
                  <a:gd name="connsiteX445" fmla="*/ 3423285 w 4542472"/>
                  <a:gd name="connsiteY445" fmla="*/ 884777 h 1569720"/>
                  <a:gd name="connsiteX446" fmla="*/ 3461385 w 4542472"/>
                  <a:gd name="connsiteY446" fmla="*/ 888683 h 1569720"/>
                  <a:gd name="connsiteX447" fmla="*/ 3471863 w 4542472"/>
                  <a:gd name="connsiteY447" fmla="*/ 902970 h 1569720"/>
                  <a:gd name="connsiteX448" fmla="*/ 3457575 w 4542472"/>
                  <a:gd name="connsiteY448" fmla="*/ 917258 h 1569720"/>
                  <a:gd name="connsiteX449" fmla="*/ 3510915 w 4542472"/>
                  <a:gd name="connsiteY449" fmla="*/ 913352 h 1569720"/>
                  <a:gd name="connsiteX450" fmla="*/ 3539490 w 4542472"/>
                  <a:gd name="connsiteY450" fmla="*/ 909638 h 1569720"/>
                  <a:gd name="connsiteX451" fmla="*/ 3567113 w 4542472"/>
                  <a:gd name="connsiteY451" fmla="*/ 909638 h 1569720"/>
                  <a:gd name="connsiteX452" fmla="*/ 3549967 w 4542472"/>
                  <a:gd name="connsiteY452" fmla="*/ 892397 h 1569720"/>
                  <a:gd name="connsiteX453" fmla="*/ 3542347 w 4542472"/>
                  <a:gd name="connsiteY453" fmla="*/ 884777 h 1569720"/>
                  <a:gd name="connsiteX454" fmla="*/ 3556635 w 4542472"/>
                  <a:gd name="connsiteY454" fmla="*/ 857250 h 1569720"/>
                  <a:gd name="connsiteX455" fmla="*/ 3623310 w 4542472"/>
                  <a:gd name="connsiteY455" fmla="*/ 803815 h 1569720"/>
                  <a:gd name="connsiteX456" fmla="*/ 3693795 w 4542472"/>
                  <a:gd name="connsiteY456" fmla="*/ 803815 h 1569720"/>
                  <a:gd name="connsiteX457" fmla="*/ 3711892 w 4542472"/>
                  <a:gd name="connsiteY457" fmla="*/ 797147 h 1569720"/>
                  <a:gd name="connsiteX458" fmla="*/ 3697605 w 4542472"/>
                  <a:gd name="connsiteY458" fmla="*/ 824865 h 1569720"/>
                  <a:gd name="connsiteX459" fmla="*/ 3711892 w 4542472"/>
                  <a:gd name="connsiteY459" fmla="*/ 839152 h 1569720"/>
                  <a:gd name="connsiteX460" fmla="*/ 3768090 w 4542472"/>
                  <a:gd name="connsiteY460" fmla="*/ 803815 h 1569720"/>
                  <a:gd name="connsiteX461" fmla="*/ 3792855 w 4542472"/>
                  <a:gd name="connsiteY461" fmla="*/ 803815 h 1569720"/>
                  <a:gd name="connsiteX462" fmla="*/ 3792855 w 4542472"/>
                  <a:gd name="connsiteY462" fmla="*/ 772478 h 1569720"/>
                  <a:gd name="connsiteX463" fmla="*/ 3803333 w 4542472"/>
                  <a:gd name="connsiteY463" fmla="*/ 762000 h 1569720"/>
                  <a:gd name="connsiteX464" fmla="*/ 3813810 w 4542472"/>
                  <a:gd name="connsiteY464" fmla="*/ 758190 h 1569720"/>
                  <a:gd name="connsiteX465" fmla="*/ 3841433 w 4542472"/>
                  <a:gd name="connsiteY465" fmla="*/ 768572 h 1569720"/>
                  <a:gd name="connsiteX466" fmla="*/ 3828097 w 4542472"/>
                  <a:gd name="connsiteY466" fmla="*/ 776288 h 1569720"/>
                  <a:gd name="connsiteX467" fmla="*/ 3799522 w 4542472"/>
                  <a:gd name="connsiteY467" fmla="*/ 839152 h 1569720"/>
                  <a:gd name="connsiteX468" fmla="*/ 3782377 w 4542472"/>
                  <a:gd name="connsiteY468" fmla="*/ 846677 h 1569720"/>
                  <a:gd name="connsiteX469" fmla="*/ 3725227 w 4542472"/>
                  <a:gd name="connsiteY469" fmla="*/ 884777 h 1569720"/>
                  <a:gd name="connsiteX470" fmla="*/ 3651885 w 4542472"/>
                  <a:gd name="connsiteY470" fmla="*/ 955358 h 1569720"/>
                  <a:gd name="connsiteX471" fmla="*/ 3623310 w 4542472"/>
                  <a:gd name="connsiteY471" fmla="*/ 962977 h 1569720"/>
                  <a:gd name="connsiteX472" fmla="*/ 3602355 w 4542472"/>
                  <a:gd name="connsiteY472" fmla="*/ 1001935 h 1569720"/>
                  <a:gd name="connsiteX473" fmla="*/ 3581400 w 4542472"/>
                  <a:gd name="connsiteY473" fmla="*/ 1026795 h 1569720"/>
                  <a:gd name="connsiteX474" fmla="*/ 3581400 w 4542472"/>
                  <a:gd name="connsiteY474" fmla="*/ 1089565 h 1569720"/>
                  <a:gd name="connsiteX475" fmla="*/ 3602355 w 4542472"/>
                  <a:gd name="connsiteY475" fmla="*/ 1178147 h 1569720"/>
                  <a:gd name="connsiteX476" fmla="*/ 3609022 w 4542472"/>
                  <a:gd name="connsiteY476" fmla="*/ 1234440 h 1569720"/>
                  <a:gd name="connsiteX477" fmla="*/ 3662363 w 4542472"/>
                  <a:gd name="connsiteY477" fmla="*/ 1181100 h 1569720"/>
                  <a:gd name="connsiteX478" fmla="*/ 3662363 w 4542472"/>
                  <a:gd name="connsiteY478" fmla="*/ 1156240 h 1569720"/>
                  <a:gd name="connsiteX479" fmla="*/ 3704272 w 4542472"/>
                  <a:gd name="connsiteY479" fmla="*/ 1143000 h 1569720"/>
                  <a:gd name="connsiteX480" fmla="*/ 3708083 w 4542472"/>
                  <a:gd name="connsiteY480" fmla="*/ 1135285 h 1569720"/>
                  <a:gd name="connsiteX481" fmla="*/ 3704272 w 4542472"/>
                  <a:gd name="connsiteY481" fmla="*/ 1128713 h 1569720"/>
                  <a:gd name="connsiteX482" fmla="*/ 3704272 w 4542472"/>
                  <a:gd name="connsiteY482" fmla="*/ 1118140 h 1569720"/>
                  <a:gd name="connsiteX483" fmla="*/ 3718560 w 4542472"/>
                  <a:gd name="connsiteY483" fmla="*/ 1103852 h 1569720"/>
                  <a:gd name="connsiteX484" fmla="*/ 3760470 w 4542472"/>
                  <a:gd name="connsiteY484" fmla="*/ 1089565 h 1569720"/>
                  <a:gd name="connsiteX485" fmla="*/ 3749992 w 4542472"/>
                  <a:gd name="connsiteY485" fmla="*/ 1058227 h 1569720"/>
                  <a:gd name="connsiteX486" fmla="*/ 3760470 w 4542472"/>
                  <a:gd name="connsiteY486" fmla="*/ 1033463 h 1569720"/>
                  <a:gd name="connsiteX487" fmla="*/ 3792855 w 4542472"/>
                  <a:gd name="connsiteY487" fmla="*/ 1022890 h 1569720"/>
                  <a:gd name="connsiteX488" fmla="*/ 3782377 w 4542472"/>
                  <a:gd name="connsiteY488" fmla="*/ 994315 h 1569720"/>
                  <a:gd name="connsiteX489" fmla="*/ 3789045 w 4542472"/>
                  <a:gd name="connsiteY489" fmla="*/ 962977 h 1569720"/>
                  <a:gd name="connsiteX490" fmla="*/ 3760470 w 4542472"/>
                  <a:gd name="connsiteY490" fmla="*/ 962977 h 1569720"/>
                  <a:gd name="connsiteX491" fmla="*/ 3760470 w 4542472"/>
                  <a:gd name="connsiteY491" fmla="*/ 941927 h 1569720"/>
                  <a:gd name="connsiteX492" fmla="*/ 3803333 w 4542472"/>
                  <a:gd name="connsiteY492" fmla="*/ 874395 h 1569720"/>
                  <a:gd name="connsiteX493" fmla="*/ 3852863 w 4542472"/>
                  <a:gd name="connsiteY493" fmla="*/ 874395 h 1569720"/>
                  <a:gd name="connsiteX494" fmla="*/ 3859530 w 4542472"/>
                  <a:gd name="connsiteY494" fmla="*/ 853440 h 1569720"/>
                  <a:gd name="connsiteX495" fmla="*/ 3876675 w 4542472"/>
                  <a:gd name="connsiteY495" fmla="*/ 853440 h 1569720"/>
                  <a:gd name="connsiteX496" fmla="*/ 3884295 w 4542472"/>
                  <a:gd name="connsiteY496" fmla="*/ 882015 h 1569720"/>
                  <a:gd name="connsiteX497" fmla="*/ 3911917 w 4542472"/>
                  <a:gd name="connsiteY497" fmla="*/ 853440 h 1569720"/>
                  <a:gd name="connsiteX498" fmla="*/ 3965258 w 4542472"/>
                  <a:gd name="connsiteY498" fmla="*/ 853440 h 1569720"/>
                  <a:gd name="connsiteX499" fmla="*/ 3990022 w 4542472"/>
                  <a:gd name="connsiteY499" fmla="*/ 874395 h 1569720"/>
                  <a:gd name="connsiteX500" fmla="*/ 4060508 w 4542472"/>
                  <a:gd name="connsiteY500" fmla="*/ 818102 h 1569720"/>
                  <a:gd name="connsiteX501" fmla="*/ 4095750 w 4542472"/>
                  <a:gd name="connsiteY501" fmla="*/ 801053 h 1569720"/>
                  <a:gd name="connsiteX502" fmla="*/ 4158615 w 4542472"/>
                  <a:gd name="connsiteY502" fmla="*/ 772478 h 1569720"/>
                  <a:gd name="connsiteX503" fmla="*/ 4179570 w 4542472"/>
                  <a:gd name="connsiteY503" fmla="*/ 754285 h 1569720"/>
                  <a:gd name="connsiteX504" fmla="*/ 4226242 w 4542472"/>
                  <a:gd name="connsiteY504" fmla="*/ 772478 h 1569720"/>
                  <a:gd name="connsiteX505" fmla="*/ 4250055 w 4542472"/>
                  <a:gd name="connsiteY505" fmla="*/ 758190 h 1569720"/>
                  <a:gd name="connsiteX506" fmla="*/ 4229100 w 4542472"/>
                  <a:gd name="connsiteY506" fmla="*/ 726757 h 1569720"/>
                  <a:gd name="connsiteX507" fmla="*/ 4218622 w 4542472"/>
                  <a:gd name="connsiteY507" fmla="*/ 695325 h 1569720"/>
                  <a:gd name="connsiteX508" fmla="*/ 4193858 w 4542472"/>
                  <a:gd name="connsiteY508" fmla="*/ 681038 h 1569720"/>
                  <a:gd name="connsiteX509" fmla="*/ 4169092 w 4542472"/>
                  <a:gd name="connsiteY509" fmla="*/ 670465 h 1569720"/>
                  <a:gd name="connsiteX510" fmla="*/ 4172902 w 4542472"/>
                  <a:gd name="connsiteY510" fmla="*/ 656177 h 1569720"/>
                  <a:gd name="connsiteX511" fmla="*/ 4187190 w 4542472"/>
                  <a:gd name="connsiteY511" fmla="*/ 666750 h 1569720"/>
                  <a:gd name="connsiteX512" fmla="*/ 4211955 w 4542472"/>
                  <a:gd name="connsiteY512" fmla="*/ 670465 h 1569720"/>
                  <a:gd name="connsiteX513" fmla="*/ 4247197 w 4542472"/>
                  <a:gd name="connsiteY513" fmla="*/ 666750 h 1569720"/>
                  <a:gd name="connsiteX514" fmla="*/ 4278630 w 4542472"/>
                  <a:gd name="connsiteY514" fmla="*/ 638175 h 1569720"/>
                  <a:gd name="connsiteX515" fmla="*/ 4268153 w 4542472"/>
                  <a:gd name="connsiteY515" fmla="*/ 627602 h 1569720"/>
                  <a:gd name="connsiteX516" fmla="*/ 4271963 w 4542472"/>
                  <a:gd name="connsiteY516" fmla="*/ 602932 h 1569720"/>
                  <a:gd name="connsiteX517" fmla="*/ 4295775 w 4542472"/>
                  <a:gd name="connsiteY517" fmla="*/ 600075 h 1569720"/>
                  <a:gd name="connsiteX518" fmla="*/ 4307205 w 4542472"/>
                  <a:gd name="connsiteY518" fmla="*/ 635222 h 1569720"/>
                  <a:gd name="connsiteX519" fmla="*/ 4380547 w 4542472"/>
                  <a:gd name="connsiteY519" fmla="*/ 631507 h 1569720"/>
                  <a:gd name="connsiteX520" fmla="*/ 4377691 w 4542472"/>
                  <a:gd name="connsiteY520" fmla="*/ 659035 h 1569720"/>
                  <a:gd name="connsiteX521" fmla="*/ 4405312 w 4542472"/>
                  <a:gd name="connsiteY521" fmla="*/ 670465 h 1569720"/>
                  <a:gd name="connsiteX522" fmla="*/ 4454843 w 4542472"/>
                  <a:gd name="connsiteY522" fmla="*/ 695325 h 1569720"/>
                  <a:gd name="connsiteX523" fmla="*/ 4469130 w 4542472"/>
                  <a:gd name="connsiteY523" fmla="*/ 662940 h 1569720"/>
                  <a:gd name="connsiteX524" fmla="*/ 4475797 w 4542472"/>
                  <a:gd name="connsiteY524" fmla="*/ 638175 h 1569720"/>
                  <a:gd name="connsiteX525" fmla="*/ 4521518 w 4542472"/>
                  <a:gd name="connsiteY525" fmla="*/ 627602 h 1569720"/>
                  <a:gd name="connsiteX526" fmla="*/ 4542472 w 4542472"/>
                  <a:gd name="connsiteY526" fmla="*/ 606647 h 1569720"/>
                  <a:gd name="connsiteX527" fmla="*/ 4521518 w 4542472"/>
                  <a:gd name="connsiteY527" fmla="*/ 585788 h 15697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</a:cxnLst>
                <a:rect l="l" t="t" r="r" b="b"/>
                <a:pathLst>
                  <a:path w="4542472" h="1569720">
                    <a:moveTo>
                      <a:pt x="4521518" y="585788"/>
                    </a:moveTo>
                    <a:lnTo>
                      <a:pt x="4490085" y="564832"/>
                    </a:lnTo>
                    <a:lnTo>
                      <a:pt x="4454843" y="557213"/>
                    </a:lnTo>
                    <a:lnTo>
                      <a:pt x="4426268" y="553307"/>
                    </a:lnTo>
                    <a:lnTo>
                      <a:pt x="4436745" y="585788"/>
                    </a:lnTo>
                    <a:lnTo>
                      <a:pt x="4423410" y="592360"/>
                    </a:lnTo>
                    <a:lnTo>
                      <a:pt x="4405312" y="564832"/>
                    </a:lnTo>
                    <a:lnTo>
                      <a:pt x="4394835" y="542925"/>
                    </a:lnTo>
                    <a:lnTo>
                      <a:pt x="4380547" y="521970"/>
                    </a:lnTo>
                    <a:lnTo>
                      <a:pt x="4299585" y="486632"/>
                    </a:lnTo>
                    <a:lnTo>
                      <a:pt x="4253865" y="461963"/>
                    </a:lnTo>
                    <a:lnTo>
                      <a:pt x="4176713" y="434245"/>
                    </a:lnTo>
                    <a:lnTo>
                      <a:pt x="4110038" y="422910"/>
                    </a:lnTo>
                    <a:lnTo>
                      <a:pt x="4052888" y="422910"/>
                    </a:lnTo>
                    <a:lnTo>
                      <a:pt x="4021455" y="409575"/>
                    </a:lnTo>
                    <a:lnTo>
                      <a:pt x="4000500" y="412432"/>
                    </a:lnTo>
                    <a:lnTo>
                      <a:pt x="4004310" y="444722"/>
                    </a:lnTo>
                    <a:lnTo>
                      <a:pt x="4014788" y="465773"/>
                    </a:lnTo>
                    <a:lnTo>
                      <a:pt x="4004310" y="480060"/>
                    </a:lnTo>
                    <a:lnTo>
                      <a:pt x="3969067" y="476250"/>
                    </a:lnTo>
                    <a:lnTo>
                      <a:pt x="3936683" y="451485"/>
                    </a:lnTo>
                    <a:lnTo>
                      <a:pt x="3936683" y="430435"/>
                    </a:lnTo>
                    <a:lnTo>
                      <a:pt x="3926205" y="426720"/>
                    </a:lnTo>
                    <a:lnTo>
                      <a:pt x="3898583" y="441007"/>
                    </a:lnTo>
                    <a:lnTo>
                      <a:pt x="3884295" y="441007"/>
                    </a:lnTo>
                    <a:lnTo>
                      <a:pt x="3768090" y="434245"/>
                    </a:lnTo>
                    <a:lnTo>
                      <a:pt x="3743325" y="444722"/>
                    </a:lnTo>
                    <a:lnTo>
                      <a:pt x="3711892" y="434245"/>
                    </a:lnTo>
                    <a:lnTo>
                      <a:pt x="3704272" y="419957"/>
                    </a:lnTo>
                    <a:lnTo>
                      <a:pt x="3708083" y="395288"/>
                    </a:lnTo>
                    <a:lnTo>
                      <a:pt x="3669030" y="374332"/>
                    </a:lnTo>
                    <a:lnTo>
                      <a:pt x="3574733" y="370523"/>
                    </a:lnTo>
                    <a:lnTo>
                      <a:pt x="3482340" y="366713"/>
                    </a:lnTo>
                    <a:lnTo>
                      <a:pt x="3429952" y="345757"/>
                    </a:lnTo>
                    <a:lnTo>
                      <a:pt x="3405188" y="335185"/>
                    </a:lnTo>
                    <a:lnTo>
                      <a:pt x="3419475" y="317182"/>
                    </a:lnTo>
                    <a:lnTo>
                      <a:pt x="3390900" y="303848"/>
                    </a:lnTo>
                    <a:lnTo>
                      <a:pt x="3328035" y="310420"/>
                    </a:lnTo>
                    <a:lnTo>
                      <a:pt x="3317558" y="303848"/>
                    </a:lnTo>
                    <a:lnTo>
                      <a:pt x="3295650" y="285750"/>
                    </a:lnTo>
                    <a:lnTo>
                      <a:pt x="3176588" y="279082"/>
                    </a:lnTo>
                    <a:lnTo>
                      <a:pt x="3137535" y="292322"/>
                    </a:lnTo>
                    <a:lnTo>
                      <a:pt x="3141345" y="324707"/>
                    </a:lnTo>
                    <a:lnTo>
                      <a:pt x="3112770" y="338995"/>
                    </a:lnTo>
                    <a:lnTo>
                      <a:pt x="3073717" y="352425"/>
                    </a:lnTo>
                    <a:lnTo>
                      <a:pt x="3027997" y="335185"/>
                    </a:lnTo>
                    <a:lnTo>
                      <a:pt x="2986088" y="349472"/>
                    </a:lnTo>
                    <a:lnTo>
                      <a:pt x="2940367" y="324707"/>
                    </a:lnTo>
                    <a:lnTo>
                      <a:pt x="2905125" y="377095"/>
                    </a:lnTo>
                    <a:lnTo>
                      <a:pt x="2866072" y="366713"/>
                    </a:lnTo>
                    <a:lnTo>
                      <a:pt x="2827972" y="320897"/>
                    </a:lnTo>
                    <a:lnTo>
                      <a:pt x="2848927" y="306610"/>
                    </a:lnTo>
                    <a:lnTo>
                      <a:pt x="2841308" y="275273"/>
                    </a:lnTo>
                    <a:lnTo>
                      <a:pt x="2809875" y="239935"/>
                    </a:lnTo>
                    <a:lnTo>
                      <a:pt x="2753677" y="243745"/>
                    </a:lnTo>
                    <a:lnTo>
                      <a:pt x="2718435" y="225647"/>
                    </a:lnTo>
                    <a:lnTo>
                      <a:pt x="2693670" y="221932"/>
                    </a:lnTo>
                    <a:lnTo>
                      <a:pt x="2679383" y="268510"/>
                    </a:lnTo>
                    <a:lnTo>
                      <a:pt x="2552700" y="254222"/>
                    </a:lnTo>
                    <a:lnTo>
                      <a:pt x="2552700" y="236220"/>
                    </a:lnTo>
                    <a:lnTo>
                      <a:pt x="2422208" y="233363"/>
                    </a:lnTo>
                    <a:lnTo>
                      <a:pt x="2405063" y="243745"/>
                    </a:lnTo>
                    <a:lnTo>
                      <a:pt x="2373630" y="221932"/>
                    </a:lnTo>
                    <a:lnTo>
                      <a:pt x="2352675" y="215170"/>
                    </a:lnTo>
                    <a:lnTo>
                      <a:pt x="2345055" y="198120"/>
                    </a:lnTo>
                    <a:lnTo>
                      <a:pt x="2317433" y="204788"/>
                    </a:lnTo>
                    <a:lnTo>
                      <a:pt x="2299335" y="221932"/>
                    </a:lnTo>
                    <a:lnTo>
                      <a:pt x="2303145" y="236220"/>
                    </a:lnTo>
                    <a:lnTo>
                      <a:pt x="2228850" y="257175"/>
                    </a:lnTo>
                    <a:lnTo>
                      <a:pt x="2189797" y="271463"/>
                    </a:lnTo>
                    <a:lnTo>
                      <a:pt x="2183130" y="264795"/>
                    </a:lnTo>
                    <a:lnTo>
                      <a:pt x="2270760" y="215170"/>
                    </a:lnTo>
                    <a:lnTo>
                      <a:pt x="2334577" y="180022"/>
                    </a:lnTo>
                    <a:lnTo>
                      <a:pt x="2394585" y="148495"/>
                    </a:lnTo>
                    <a:lnTo>
                      <a:pt x="2408872" y="113347"/>
                    </a:lnTo>
                    <a:lnTo>
                      <a:pt x="2401252" y="91345"/>
                    </a:lnTo>
                    <a:lnTo>
                      <a:pt x="2352675" y="60007"/>
                    </a:lnTo>
                    <a:lnTo>
                      <a:pt x="2218372" y="63722"/>
                    </a:lnTo>
                    <a:lnTo>
                      <a:pt x="2232660" y="38957"/>
                    </a:lnTo>
                    <a:lnTo>
                      <a:pt x="2158365" y="35147"/>
                    </a:lnTo>
                    <a:lnTo>
                      <a:pt x="2197417" y="14288"/>
                    </a:lnTo>
                    <a:lnTo>
                      <a:pt x="2165985" y="3810"/>
                    </a:lnTo>
                    <a:lnTo>
                      <a:pt x="2105977" y="0"/>
                    </a:lnTo>
                    <a:lnTo>
                      <a:pt x="2063115" y="35147"/>
                    </a:lnTo>
                    <a:lnTo>
                      <a:pt x="2070735" y="63722"/>
                    </a:lnTo>
                    <a:lnTo>
                      <a:pt x="1982152" y="91345"/>
                    </a:lnTo>
                    <a:lnTo>
                      <a:pt x="1922145" y="84772"/>
                    </a:lnTo>
                    <a:lnTo>
                      <a:pt x="1859280" y="91345"/>
                    </a:lnTo>
                    <a:lnTo>
                      <a:pt x="1711642" y="140970"/>
                    </a:lnTo>
                    <a:lnTo>
                      <a:pt x="1644015" y="173260"/>
                    </a:lnTo>
                    <a:lnTo>
                      <a:pt x="1665922" y="211360"/>
                    </a:lnTo>
                    <a:lnTo>
                      <a:pt x="1584007" y="225647"/>
                    </a:lnTo>
                    <a:lnTo>
                      <a:pt x="1503045" y="229457"/>
                    </a:lnTo>
                    <a:lnTo>
                      <a:pt x="1482090" y="243745"/>
                    </a:lnTo>
                    <a:lnTo>
                      <a:pt x="1492567" y="281845"/>
                    </a:lnTo>
                    <a:lnTo>
                      <a:pt x="1524952" y="306610"/>
                    </a:lnTo>
                    <a:lnTo>
                      <a:pt x="1548765" y="331470"/>
                    </a:lnTo>
                    <a:lnTo>
                      <a:pt x="1500188" y="331470"/>
                    </a:lnTo>
                    <a:lnTo>
                      <a:pt x="1464945" y="303848"/>
                    </a:lnTo>
                    <a:lnTo>
                      <a:pt x="1404938" y="285750"/>
                    </a:lnTo>
                    <a:lnTo>
                      <a:pt x="1394460" y="292322"/>
                    </a:lnTo>
                    <a:lnTo>
                      <a:pt x="1419225" y="320897"/>
                    </a:lnTo>
                    <a:lnTo>
                      <a:pt x="1383982" y="314325"/>
                    </a:lnTo>
                    <a:lnTo>
                      <a:pt x="1363027" y="320897"/>
                    </a:lnTo>
                    <a:lnTo>
                      <a:pt x="1376363" y="341948"/>
                    </a:lnTo>
                    <a:lnTo>
                      <a:pt x="1411605" y="352425"/>
                    </a:lnTo>
                    <a:lnTo>
                      <a:pt x="1436370" y="370523"/>
                    </a:lnTo>
                    <a:lnTo>
                      <a:pt x="1415415" y="370523"/>
                    </a:lnTo>
                    <a:lnTo>
                      <a:pt x="1373505" y="360045"/>
                    </a:lnTo>
                    <a:lnTo>
                      <a:pt x="1344930" y="352425"/>
                    </a:lnTo>
                    <a:lnTo>
                      <a:pt x="1338263" y="335185"/>
                    </a:lnTo>
                    <a:lnTo>
                      <a:pt x="1348740" y="310420"/>
                    </a:lnTo>
                    <a:lnTo>
                      <a:pt x="1344930" y="279082"/>
                    </a:lnTo>
                    <a:lnTo>
                      <a:pt x="1330642" y="279082"/>
                    </a:lnTo>
                    <a:lnTo>
                      <a:pt x="1327785" y="306610"/>
                    </a:lnTo>
                    <a:lnTo>
                      <a:pt x="1303020" y="317182"/>
                    </a:lnTo>
                    <a:lnTo>
                      <a:pt x="1281113" y="338995"/>
                    </a:lnTo>
                    <a:lnTo>
                      <a:pt x="1292542" y="360045"/>
                    </a:lnTo>
                    <a:lnTo>
                      <a:pt x="1309688" y="387572"/>
                    </a:lnTo>
                    <a:lnTo>
                      <a:pt x="1295400" y="422910"/>
                    </a:lnTo>
                    <a:lnTo>
                      <a:pt x="1295400" y="458057"/>
                    </a:lnTo>
                    <a:lnTo>
                      <a:pt x="1369695" y="461963"/>
                    </a:lnTo>
                    <a:lnTo>
                      <a:pt x="1404938" y="472345"/>
                    </a:lnTo>
                    <a:lnTo>
                      <a:pt x="1419225" y="500920"/>
                    </a:lnTo>
                    <a:lnTo>
                      <a:pt x="1394460" y="521970"/>
                    </a:lnTo>
                    <a:lnTo>
                      <a:pt x="1386840" y="493395"/>
                    </a:lnTo>
                    <a:lnTo>
                      <a:pt x="1369695" y="476250"/>
                    </a:lnTo>
                    <a:lnTo>
                      <a:pt x="1330642" y="469582"/>
                    </a:lnTo>
                    <a:lnTo>
                      <a:pt x="1313497" y="497110"/>
                    </a:lnTo>
                    <a:lnTo>
                      <a:pt x="1327785" y="525685"/>
                    </a:lnTo>
                    <a:lnTo>
                      <a:pt x="1278255" y="575215"/>
                    </a:lnTo>
                    <a:lnTo>
                      <a:pt x="1243013" y="602932"/>
                    </a:lnTo>
                    <a:lnTo>
                      <a:pt x="1211580" y="600075"/>
                    </a:lnTo>
                    <a:lnTo>
                      <a:pt x="1179195" y="592360"/>
                    </a:lnTo>
                    <a:lnTo>
                      <a:pt x="1158240" y="578072"/>
                    </a:lnTo>
                    <a:lnTo>
                      <a:pt x="1172527" y="571500"/>
                    </a:lnTo>
                    <a:lnTo>
                      <a:pt x="1200150" y="578072"/>
                    </a:lnTo>
                    <a:lnTo>
                      <a:pt x="1224915" y="567690"/>
                    </a:lnTo>
                    <a:lnTo>
                      <a:pt x="1274445" y="525685"/>
                    </a:lnTo>
                    <a:lnTo>
                      <a:pt x="1288732" y="493395"/>
                    </a:lnTo>
                    <a:lnTo>
                      <a:pt x="1260157" y="472345"/>
                    </a:lnTo>
                    <a:lnTo>
                      <a:pt x="1267777" y="395288"/>
                    </a:lnTo>
                    <a:lnTo>
                      <a:pt x="1260157" y="363760"/>
                    </a:lnTo>
                    <a:lnTo>
                      <a:pt x="1243013" y="349472"/>
                    </a:lnTo>
                    <a:lnTo>
                      <a:pt x="1260157" y="320897"/>
                    </a:lnTo>
                    <a:lnTo>
                      <a:pt x="1267777" y="289560"/>
                    </a:lnTo>
                    <a:lnTo>
                      <a:pt x="1260157" y="279082"/>
                    </a:lnTo>
                    <a:lnTo>
                      <a:pt x="1172527" y="271463"/>
                    </a:lnTo>
                    <a:lnTo>
                      <a:pt x="1143952" y="327660"/>
                    </a:lnTo>
                    <a:lnTo>
                      <a:pt x="1102042" y="360045"/>
                    </a:lnTo>
                    <a:lnTo>
                      <a:pt x="1098232" y="370523"/>
                    </a:lnTo>
                    <a:lnTo>
                      <a:pt x="1116330" y="381000"/>
                    </a:lnTo>
                    <a:lnTo>
                      <a:pt x="1102042" y="416147"/>
                    </a:lnTo>
                    <a:lnTo>
                      <a:pt x="1102042" y="434245"/>
                    </a:lnTo>
                    <a:lnTo>
                      <a:pt x="1133475" y="451485"/>
                    </a:lnTo>
                    <a:lnTo>
                      <a:pt x="1158240" y="476250"/>
                    </a:lnTo>
                    <a:lnTo>
                      <a:pt x="1143952" y="500920"/>
                    </a:lnTo>
                    <a:lnTo>
                      <a:pt x="1091565" y="472345"/>
                    </a:lnTo>
                    <a:lnTo>
                      <a:pt x="1042035" y="451485"/>
                    </a:lnTo>
                    <a:lnTo>
                      <a:pt x="982027" y="430435"/>
                    </a:lnTo>
                    <a:lnTo>
                      <a:pt x="925830" y="426720"/>
                    </a:lnTo>
                    <a:lnTo>
                      <a:pt x="890588" y="395288"/>
                    </a:lnTo>
                    <a:lnTo>
                      <a:pt x="876300" y="399098"/>
                    </a:lnTo>
                    <a:lnTo>
                      <a:pt x="876300" y="422910"/>
                    </a:lnTo>
                    <a:lnTo>
                      <a:pt x="915352" y="437198"/>
                    </a:lnTo>
                    <a:lnTo>
                      <a:pt x="936307" y="465773"/>
                    </a:lnTo>
                    <a:lnTo>
                      <a:pt x="908685" y="482822"/>
                    </a:lnTo>
                    <a:lnTo>
                      <a:pt x="901065" y="497110"/>
                    </a:lnTo>
                    <a:lnTo>
                      <a:pt x="883920" y="497110"/>
                    </a:lnTo>
                    <a:lnTo>
                      <a:pt x="886777" y="482822"/>
                    </a:lnTo>
                    <a:lnTo>
                      <a:pt x="880110" y="465773"/>
                    </a:lnTo>
                    <a:lnTo>
                      <a:pt x="838200" y="490538"/>
                    </a:lnTo>
                    <a:lnTo>
                      <a:pt x="774382" y="486632"/>
                    </a:lnTo>
                    <a:lnTo>
                      <a:pt x="767715" y="500920"/>
                    </a:lnTo>
                    <a:lnTo>
                      <a:pt x="732472" y="500920"/>
                    </a:lnTo>
                    <a:lnTo>
                      <a:pt x="739140" y="469582"/>
                    </a:lnTo>
                    <a:lnTo>
                      <a:pt x="718185" y="476250"/>
                    </a:lnTo>
                    <a:lnTo>
                      <a:pt x="697230" y="497110"/>
                    </a:lnTo>
                    <a:lnTo>
                      <a:pt x="679132" y="493395"/>
                    </a:lnTo>
                    <a:lnTo>
                      <a:pt x="577215" y="532448"/>
                    </a:lnTo>
                    <a:lnTo>
                      <a:pt x="560070" y="575215"/>
                    </a:lnTo>
                    <a:lnTo>
                      <a:pt x="517207" y="571500"/>
                    </a:lnTo>
                    <a:lnTo>
                      <a:pt x="489585" y="546735"/>
                    </a:lnTo>
                    <a:lnTo>
                      <a:pt x="506730" y="529495"/>
                    </a:lnTo>
                    <a:lnTo>
                      <a:pt x="535305" y="529495"/>
                    </a:lnTo>
                    <a:lnTo>
                      <a:pt x="535305" y="515207"/>
                    </a:lnTo>
                    <a:lnTo>
                      <a:pt x="513397" y="490538"/>
                    </a:lnTo>
                    <a:lnTo>
                      <a:pt x="454342" y="493395"/>
                    </a:lnTo>
                    <a:lnTo>
                      <a:pt x="467677" y="507682"/>
                    </a:lnTo>
                    <a:lnTo>
                      <a:pt x="461010" y="546735"/>
                    </a:lnTo>
                    <a:lnTo>
                      <a:pt x="475297" y="560927"/>
                    </a:lnTo>
                    <a:lnTo>
                      <a:pt x="464820" y="602932"/>
                    </a:lnTo>
                    <a:lnTo>
                      <a:pt x="415290" y="588645"/>
                    </a:lnTo>
                    <a:lnTo>
                      <a:pt x="397192" y="602932"/>
                    </a:lnTo>
                    <a:lnTo>
                      <a:pt x="365760" y="620935"/>
                    </a:lnTo>
                    <a:lnTo>
                      <a:pt x="344805" y="641890"/>
                    </a:lnTo>
                    <a:lnTo>
                      <a:pt x="361950" y="662940"/>
                    </a:lnTo>
                    <a:lnTo>
                      <a:pt x="361950" y="681038"/>
                    </a:lnTo>
                    <a:lnTo>
                      <a:pt x="316230" y="670465"/>
                    </a:lnTo>
                    <a:lnTo>
                      <a:pt x="295275" y="662940"/>
                    </a:lnTo>
                    <a:lnTo>
                      <a:pt x="274320" y="645795"/>
                    </a:lnTo>
                    <a:lnTo>
                      <a:pt x="260032" y="662940"/>
                    </a:lnTo>
                    <a:lnTo>
                      <a:pt x="278130" y="683895"/>
                    </a:lnTo>
                    <a:lnTo>
                      <a:pt x="299085" y="691515"/>
                    </a:lnTo>
                    <a:lnTo>
                      <a:pt x="295275" y="708565"/>
                    </a:lnTo>
                    <a:lnTo>
                      <a:pt x="260032" y="708565"/>
                    </a:lnTo>
                    <a:lnTo>
                      <a:pt x="232410" y="683895"/>
                    </a:lnTo>
                    <a:lnTo>
                      <a:pt x="214313" y="681038"/>
                    </a:lnTo>
                    <a:lnTo>
                      <a:pt x="203835" y="635222"/>
                    </a:lnTo>
                    <a:lnTo>
                      <a:pt x="200025" y="613315"/>
                    </a:lnTo>
                    <a:lnTo>
                      <a:pt x="186690" y="602932"/>
                    </a:lnTo>
                    <a:lnTo>
                      <a:pt x="158115" y="588645"/>
                    </a:lnTo>
                    <a:lnTo>
                      <a:pt x="133350" y="557213"/>
                    </a:lnTo>
                    <a:lnTo>
                      <a:pt x="164782" y="571500"/>
                    </a:lnTo>
                    <a:lnTo>
                      <a:pt x="203835" y="585788"/>
                    </a:lnTo>
                    <a:lnTo>
                      <a:pt x="257175" y="596265"/>
                    </a:lnTo>
                    <a:lnTo>
                      <a:pt x="302895" y="613315"/>
                    </a:lnTo>
                    <a:lnTo>
                      <a:pt x="355282" y="600075"/>
                    </a:lnTo>
                    <a:lnTo>
                      <a:pt x="386715" y="571500"/>
                    </a:lnTo>
                    <a:lnTo>
                      <a:pt x="383857" y="539972"/>
                    </a:lnTo>
                    <a:lnTo>
                      <a:pt x="330517" y="511397"/>
                    </a:lnTo>
                    <a:lnTo>
                      <a:pt x="284797" y="482822"/>
                    </a:lnTo>
                    <a:lnTo>
                      <a:pt x="235267" y="458057"/>
                    </a:lnTo>
                    <a:lnTo>
                      <a:pt x="168592" y="455295"/>
                    </a:lnTo>
                    <a:lnTo>
                      <a:pt x="151447" y="447675"/>
                    </a:lnTo>
                    <a:lnTo>
                      <a:pt x="140970" y="430435"/>
                    </a:lnTo>
                    <a:lnTo>
                      <a:pt x="108585" y="430435"/>
                    </a:lnTo>
                    <a:lnTo>
                      <a:pt x="70485" y="437198"/>
                    </a:lnTo>
                    <a:lnTo>
                      <a:pt x="70485" y="447675"/>
                    </a:lnTo>
                    <a:lnTo>
                      <a:pt x="52388" y="451485"/>
                    </a:lnTo>
                    <a:lnTo>
                      <a:pt x="35242" y="469582"/>
                    </a:lnTo>
                    <a:lnTo>
                      <a:pt x="27622" y="507682"/>
                    </a:lnTo>
                    <a:lnTo>
                      <a:pt x="70485" y="532448"/>
                    </a:lnTo>
                    <a:lnTo>
                      <a:pt x="41910" y="560927"/>
                    </a:lnTo>
                    <a:lnTo>
                      <a:pt x="59055" y="592360"/>
                    </a:lnTo>
                    <a:lnTo>
                      <a:pt x="70485" y="620935"/>
                    </a:lnTo>
                    <a:lnTo>
                      <a:pt x="70485" y="620935"/>
                    </a:lnTo>
                    <a:lnTo>
                      <a:pt x="70485" y="620935"/>
                    </a:lnTo>
                    <a:lnTo>
                      <a:pt x="56197" y="656177"/>
                    </a:lnTo>
                    <a:lnTo>
                      <a:pt x="73342" y="673322"/>
                    </a:lnTo>
                    <a:lnTo>
                      <a:pt x="87630" y="698182"/>
                    </a:lnTo>
                    <a:lnTo>
                      <a:pt x="70485" y="716185"/>
                    </a:lnTo>
                    <a:lnTo>
                      <a:pt x="112395" y="747713"/>
                    </a:lnTo>
                    <a:lnTo>
                      <a:pt x="98107" y="772478"/>
                    </a:lnTo>
                    <a:lnTo>
                      <a:pt x="52388" y="814388"/>
                    </a:lnTo>
                    <a:lnTo>
                      <a:pt x="21907" y="837152"/>
                    </a:lnTo>
                    <a:lnTo>
                      <a:pt x="38100" y="857250"/>
                    </a:lnTo>
                    <a:lnTo>
                      <a:pt x="70485" y="871538"/>
                    </a:lnTo>
                    <a:lnTo>
                      <a:pt x="45720" y="874395"/>
                    </a:lnTo>
                    <a:lnTo>
                      <a:pt x="13335" y="899065"/>
                    </a:lnTo>
                    <a:lnTo>
                      <a:pt x="2857" y="920115"/>
                    </a:lnTo>
                    <a:lnTo>
                      <a:pt x="2857" y="948690"/>
                    </a:lnTo>
                    <a:lnTo>
                      <a:pt x="0" y="969645"/>
                    </a:lnTo>
                    <a:lnTo>
                      <a:pt x="10477" y="990600"/>
                    </a:lnTo>
                    <a:lnTo>
                      <a:pt x="17145" y="1019175"/>
                    </a:lnTo>
                    <a:lnTo>
                      <a:pt x="24765" y="1029652"/>
                    </a:lnTo>
                    <a:lnTo>
                      <a:pt x="56197" y="1037177"/>
                    </a:lnTo>
                    <a:lnTo>
                      <a:pt x="56197" y="1047750"/>
                    </a:lnTo>
                    <a:lnTo>
                      <a:pt x="91440" y="1050608"/>
                    </a:lnTo>
                    <a:lnTo>
                      <a:pt x="98107" y="1089565"/>
                    </a:lnTo>
                    <a:lnTo>
                      <a:pt x="147638" y="1143000"/>
                    </a:lnTo>
                    <a:lnTo>
                      <a:pt x="143827" y="1145858"/>
                    </a:lnTo>
                    <a:lnTo>
                      <a:pt x="112395" y="1145858"/>
                    </a:lnTo>
                    <a:lnTo>
                      <a:pt x="112395" y="1181100"/>
                    </a:lnTo>
                    <a:lnTo>
                      <a:pt x="126682" y="1188720"/>
                    </a:lnTo>
                    <a:lnTo>
                      <a:pt x="137160" y="1184815"/>
                    </a:lnTo>
                    <a:lnTo>
                      <a:pt x="143827" y="1178147"/>
                    </a:lnTo>
                    <a:lnTo>
                      <a:pt x="186690" y="1178147"/>
                    </a:lnTo>
                    <a:lnTo>
                      <a:pt x="193357" y="1195388"/>
                    </a:lnTo>
                    <a:lnTo>
                      <a:pt x="189547" y="1216247"/>
                    </a:lnTo>
                    <a:lnTo>
                      <a:pt x="221932" y="1223963"/>
                    </a:lnTo>
                    <a:lnTo>
                      <a:pt x="228600" y="1248727"/>
                    </a:lnTo>
                    <a:lnTo>
                      <a:pt x="284797" y="1251490"/>
                    </a:lnTo>
                    <a:lnTo>
                      <a:pt x="288607" y="1263015"/>
                    </a:lnTo>
                    <a:lnTo>
                      <a:pt x="323850" y="1263015"/>
                    </a:lnTo>
                    <a:lnTo>
                      <a:pt x="351472" y="1280065"/>
                    </a:lnTo>
                    <a:lnTo>
                      <a:pt x="348615" y="1336358"/>
                    </a:lnTo>
                    <a:lnTo>
                      <a:pt x="320040" y="1343977"/>
                    </a:lnTo>
                    <a:lnTo>
                      <a:pt x="302895" y="1350645"/>
                    </a:lnTo>
                    <a:lnTo>
                      <a:pt x="299085" y="1364933"/>
                    </a:lnTo>
                    <a:lnTo>
                      <a:pt x="330517" y="1368647"/>
                    </a:lnTo>
                    <a:lnTo>
                      <a:pt x="302895" y="1385888"/>
                    </a:lnTo>
                    <a:lnTo>
                      <a:pt x="305752" y="1403890"/>
                    </a:lnTo>
                    <a:lnTo>
                      <a:pt x="284797" y="1424940"/>
                    </a:lnTo>
                    <a:lnTo>
                      <a:pt x="278130" y="1449610"/>
                    </a:lnTo>
                    <a:lnTo>
                      <a:pt x="302895" y="1460183"/>
                    </a:lnTo>
                    <a:lnTo>
                      <a:pt x="348615" y="1491615"/>
                    </a:lnTo>
                    <a:lnTo>
                      <a:pt x="369570" y="1487710"/>
                    </a:lnTo>
                    <a:lnTo>
                      <a:pt x="390525" y="1501997"/>
                    </a:lnTo>
                    <a:lnTo>
                      <a:pt x="408622" y="1499140"/>
                    </a:lnTo>
                    <a:lnTo>
                      <a:pt x="421957" y="1499140"/>
                    </a:lnTo>
                    <a:lnTo>
                      <a:pt x="446722" y="1512570"/>
                    </a:lnTo>
                    <a:lnTo>
                      <a:pt x="464820" y="1520190"/>
                    </a:lnTo>
                    <a:lnTo>
                      <a:pt x="475297" y="1520190"/>
                    </a:lnTo>
                    <a:lnTo>
                      <a:pt x="492442" y="1516285"/>
                    </a:lnTo>
                    <a:lnTo>
                      <a:pt x="510540" y="1526858"/>
                    </a:lnTo>
                    <a:lnTo>
                      <a:pt x="527685" y="1544860"/>
                    </a:lnTo>
                    <a:lnTo>
                      <a:pt x="538163" y="1547813"/>
                    </a:lnTo>
                    <a:lnTo>
                      <a:pt x="566738" y="1569720"/>
                    </a:lnTo>
                    <a:lnTo>
                      <a:pt x="573405" y="1565815"/>
                    </a:lnTo>
                    <a:lnTo>
                      <a:pt x="591502" y="1547813"/>
                    </a:lnTo>
                    <a:lnTo>
                      <a:pt x="566738" y="1520190"/>
                    </a:lnTo>
                    <a:lnTo>
                      <a:pt x="562927" y="1487710"/>
                    </a:lnTo>
                    <a:lnTo>
                      <a:pt x="552450" y="1470565"/>
                    </a:lnTo>
                    <a:lnTo>
                      <a:pt x="538163" y="1460183"/>
                    </a:lnTo>
                    <a:lnTo>
                      <a:pt x="552450" y="1441990"/>
                    </a:lnTo>
                    <a:lnTo>
                      <a:pt x="560070" y="1428750"/>
                    </a:lnTo>
                    <a:lnTo>
                      <a:pt x="577215" y="1417320"/>
                    </a:lnTo>
                    <a:lnTo>
                      <a:pt x="605790" y="1396365"/>
                    </a:lnTo>
                    <a:lnTo>
                      <a:pt x="598170" y="1371600"/>
                    </a:lnTo>
                    <a:lnTo>
                      <a:pt x="577215" y="1343977"/>
                    </a:lnTo>
                    <a:lnTo>
                      <a:pt x="552450" y="1336358"/>
                    </a:lnTo>
                    <a:lnTo>
                      <a:pt x="535305" y="1311497"/>
                    </a:lnTo>
                    <a:lnTo>
                      <a:pt x="545782" y="1269683"/>
                    </a:lnTo>
                    <a:lnTo>
                      <a:pt x="566738" y="1244822"/>
                    </a:lnTo>
                    <a:lnTo>
                      <a:pt x="581025" y="1273397"/>
                    </a:lnTo>
                    <a:lnTo>
                      <a:pt x="594360" y="1265777"/>
                    </a:lnTo>
                    <a:lnTo>
                      <a:pt x="598170" y="1244822"/>
                    </a:lnTo>
                    <a:lnTo>
                      <a:pt x="641032" y="1213390"/>
                    </a:lnTo>
                    <a:lnTo>
                      <a:pt x="668655" y="1203008"/>
                    </a:lnTo>
                    <a:lnTo>
                      <a:pt x="732472" y="1213390"/>
                    </a:lnTo>
                    <a:lnTo>
                      <a:pt x="770572" y="1238250"/>
                    </a:lnTo>
                    <a:lnTo>
                      <a:pt x="799147" y="1241108"/>
                    </a:lnTo>
                    <a:lnTo>
                      <a:pt x="838200" y="1223963"/>
                    </a:lnTo>
                    <a:lnTo>
                      <a:pt x="869632" y="1223963"/>
                    </a:lnTo>
                    <a:lnTo>
                      <a:pt x="886777" y="1241108"/>
                    </a:lnTo>
                    <a:lnTo>
                      <a:pt x="932497" y="1238250"/>
                    </a:lnTo>
                    <a:lnTo>
                      <a:pt x="950595" y="1220152"/>
                    </a:lnTo>
                    <a:lnTo>
                      <a:pt x="936307" y="1205865"/>
                    </a:lnTo>
                    <a:lnTo>
                      <a:pt x="911542" y="1199102"/>
                    </a:lnTo>
                    <a:lnTo>
                      <a:pt x="922020" y="1184815"/>
                    </a:lnTo>
                    <a:lnTo>
                      <a:pt x="932497" y="1174433"/>
                    </a:lnTo>
                    <a:lnTo>
                      <a:pt x="936307" y="1156240"/>
                    </a:lnTo>
                    <a:lnTo>
                      <a:pt x="957263" y="1149572"/>
                    </a:lnTo>
                    <a:lnTo>
                      <a:pt x="950595" y="1135285"/>
                    </a:lnTo>
                    <a:lnTo>
                      <a:pt x="943927" y="1118140"/>
                    </a:lnTo>
                    <a:lnTo>
                      <a:pt x="982027" y="1114425"/>
                    </a:lnTo>
                    <a:lnTo>
                      <a:pt x="1137285" y="1072515"/>
                    </a:lnTo>
                    <a:lnTo>
                      <a:pt x="1176338" y="1064895"/>
                    </a:lnTo>
                    <a:lnTo>
                      <a:pt x="1211580" y="1068610"/>
                    </a:lnTo>
                    <a:lnTo>
                      <a:pt x="1218247" y="1093470"/>
                    </a:lnTo>
                    <a:lnTo>
                      <a:pt x="1235392" y="1103852"/>
                    </a:lnTo>
                    <a:lnTo>
                      <a:pt x="1270635" y="1114425"/>
                    </a:lnTo>
                    <a:lnTo>
                      <a:pt x="1305877" y="1132427"/>
                    </a:lnTo>
                    <a:lnTo>
                      <a:pt x="1338263" y="1114425"/>
                    </a:lnTo>
                    <a:lnTo>
                      <a:pt x="1376363" y="1103852"/>
                    </a:lnTo>
                    <a:lnTo>
                      <a:pt x="1380172" y="1120997"/>
                    </a:lnTo>
                    <a:lnTo>
                      <a:pt x="1411605" y="1143000"/>
                    </a:lnTo>
                    <a:lnTo>
                      <a:pt x="1440180" y="1184815"/>
                    </a:lnTo>
                    <a:lnTo>
                      <a:pt x="1464945" y="1227677"/>
                    </a:lnTo>
                    <a:lnTo>
                      <a:pt x="1479232" y="1227677"/>
                    </a:lnTo>
                    <a:lnTo>
                      <a:pt x="1485900" y="1213390"/>
                    </a:lnTo>
                    <a:lnTo>
                      <a:pt x="1524952" y="1234440"/>
                    </a:lnTo>
                    <a:lnTo>
                      <a:pt x="1573530" y="1227677"/>
                    </a:lnTo>
                    <a:lnTo>
                      <a:pt x="1591627" y="1251490"/>
                    </a:lnTo>
                    <a:lnTo>
                      <a:pt x="1616392" y="1269683"/>
                    </a:lnTo>
                    <a:lnTo>
                      <a:pt x="1654492" y="1273397"/>
                    </a:lnTo>
                    <a:lnTo>
                      <a:pt x="1662113" y="1298258"/>
                    </a:lnTo>
                    <a:lnTo>
                      <a:pt x="1689735" y="1298258"/>
                    </a:lnTo>
                    <a:lnTo>
                      <a:pt x="1704022" y="1283970"/>
                    </a:lnTo>
                    <a:lnTo>
                      <a:pt x="1728788" y="1280065"/>
                    </a:lnTo>
                    <a:lnTo>
                      <a:pt x="1743075" y="1265777"/>
                    </a:lnTo>
                    <a:lnTo>
                      <a:pt x="1803082" y="1234440"/>
                    </a:lnTo>
                    <a:lnTo>
                      <a:pt x="1834515" y="1238250"/>
                    </a:lnTo>
                    <a:lnTo>
                      <a:pt x="1869757" y="1244822"/>
                    </a:lnTo>
                    <a:lnTo>
                      <a:pt x="1886902" y="1265777"/>
                    </a:lnTo>
                    <a:lnTo>
                      <a:pt x="1944052" y="1265777"/>
                    </a:lnTo>
                    <a:lnTo>
                      <a:pt x="1957388" y="1276350"/>
                    </a:lnTo>
                    <a:lnTo>
                      <a:pt x="1979295" y="1259110"/>
                    </a:lnTo>
                    <a:lnTo>
                      <a:pt x="1982152" y="1244822"/>
                    </a:lnTo>
                    <a:lnTo>
                      <a:pt x="1961197" y="1220152"/>
                    </a:lnTo>
                    <a:lnTo>
                      <a:pt x="1992630" y="1188720"/>
                    </a:lnTo>
                    <a:lnTo>
                      <a:pt x="2042160" y="1199102"/>
                    </a:lnTo>
                    <a:lnTo>
                      <a:pt x="2085022" y="1213390"/>
                    </a:lnTo>
                    <a:lnTo>
                      <a:pt x="2087880" y="1230535"/>
                    </a:lnTo>
                    <a:lnTo>
                      <a:pt x="2105977" y="1251490"/>
                    </a:lnTo>
                    <a:lnTo>
                      <a:pt x="2151697" y="1259110"/>
                    </a:lnTo>
                    <a:lnTo>
                      <a:pt x="2176463" y="1244822"/>
                    </a:lnTo>
                    <a:lnTo>
                      <a:pt x="2218372" y="1251490"/>
                    </a:lnTo>
                    <a:lnTo>
                      <a:pt x="2228850" y="1263015"/>
                    </a:lnTo>
                    <a:lnTo>
                      <a:pt x="2246947" y="1265777"/>
                    </a:lnTo>
                    <a:lnTo>
                      <a:pt x="2257425" y="1280065"/>
                    </a:lnTo>
                    <a:lnTo>
                      <a:pt x="2267902" y="1290638"/>
                    </a:lnTo>
                    <a:lnTo>
                      <a:pt x="2306002" y="1294352"/>
                    </a:lnTo>
                    <a:lnTo>
                      <a:pt x="2338388" y="1290638"/>
                    </a:lnTo>
                    <a:lnTo>
                      <a:pt x="2390775" y="1280065"/>
                    </a:lnTo>
                    <a:lnTo>
                      <a:pt x="2422208" y="1255395"/>
                    </a:lnTo>
                    <a:lnTo>
                      <a:pt x="2440305" y="1251490"/>
                    </a:lnTo>
                    <a:lnTo>
                      <a:pt x="2454592" y="1263015"/>
                    </a:lnTo>
                    <a:lnTo>
                      <a:pt x="2496502" y="1265777"/>
                    </a:lnTo>
                    <a:lnTo>
                      <a:pt x="2527935" y="1283970"/>
                    </a:lnTo>
                    <a:lnTo>
                      <a:pt x="2546033" y="1265777"/>
                    </a:lnTo>
                    <a:lnTo>
                      <a:pt x="2566988" y="1263015"/>
                    </a:lnTo>
                    <a:lnTo>
                      <a:pt x="2573655" y="1234440"/>
                    </a:lnTo>
                    <a:lnTo>
                      <a:pt x="2591752" y="1203008"/>
                    </a:lnTo>
                    <a:lnTo>
                      <a:pt x="2608897" y="1192435"/>
                    </a:lnTo>
                    <a:lnTo>
                      <a:pt x="2608897" y="1167765"/>
                    </a:lnTo>
                    <a:lnTo>
                      <a:pt x="2587942" y="1163860"/>
                    </a:lnTo>
                    <a:lnTo>
                      <a:pt x="2591752" y="1149572"/>
                    </a:lnTo>
                    <a:lnTo>
                      <a:pt x="2616517" y="1139190"/>
                    </a:lnTo>
                    <a:lnTo>
                      <a:pt x="2693670" y="1132427"/>
                    </a:lnTo>
                    <a:lnTo>
                      <a:pt x="2722245" y="1143000"/>
                    </a:lnTo>
                    <a:lnTo>
                      <a:pt x="2747010" y="1153477"/>
                    </a:lnTo>
                    <a:lnTo>
                      <a:pt x="2767965" y="1188720"/>
                    </a:lnTo>
                    <a:lnTo>
                      <a:pt x="2787015" y="1234440"/>
                    </a:lnTo>
                    <a:lnTo>
                      <a:pt x="2795588" y="1251490"/>
                    </a:lnTo>
                    <a:lnTo>
                      <a:pt x="2806065" y="1280065"/>
                    </a:lnTo>
                    <a:lnTo>
                      <a:pt x="2834640" y="1280065"/>
                    </a:lnTo>
                    <a:lnTo>
                      <a:pt x="2887980" y="1308640"/>
                    </a:lnTo>
                    <a:lnTo>
                      <a:pt x="2894647" y="1343977"/>
                    </a:lnTo>
                    <a:lnTo>
                      <a:pt x="2933700" y="1346740"/>
                    </a:lnTo>
                    <a:lnTo>
                      <a:pt x="2944177" y="1333500"/>
                    </a:lnTo>
                    <a:lnTo>
                      <a:pt x="2968942" y="1329690"/>
                    </a:lnTo>
                    <a:lnTo>
                      <a:pt x="2996565" y="1325785"/>
                    </a:lnTo>
                    <a:lnTo>
                      <a:pt x="3000375" y="1350645"/>
                    </a:lnTo>
                    <a:lnTo>
                      <a:pt x="2986088" y="1358265"/>
                    </a:lnTo>
                    <a:lnTo>
                      <a:pt x="2975610" y="1396365"/>
                    </a:lnTo>
                    <a:lnTo>
                      <a:pt x="2954655" y="1435322"/>
                    </a:lnTo>
                    <a:lnTo>
                      <a:pt x="2933700" y="1439227"/>
                    </a:lnTo>
                    <a:lnTo>
                      <a:pt x="2922270" y="1428750"/>
                    </a:lnTo>
                    <a:lnTo>
                      <a:pt x="2898458" y="1445895"/>
                    </a:lnTo>
                    <a:lnTo>
                      <a:pt x="2898458" y="1509713"/>
                    </a:lnTo>
                    <a:lnTo>
                      <a:pt x="2929890" y="1501997"/>
                    </a:lnTo>
                    <a:lnTo>
                      <a:pt x="2954655" y="1516285"/>
                    </a:lnTo>
                    <a:lnTo>
                      <a:pt x="2986088" y="1501997"/>
                    </a:lnTo>
                    <a:lnTo>
                      <a:pt x="3010852" y="1484852"/>
                    </a:lnTo>
                    <a:lnTo>
                      <a:pt x="3042285" y="1445895"/>
                    </a:lnTo>
                    <a:lnTo>
                      <a:pt x="3148013" y="1315402"/>
                    </a:lnTo>
                    <a:lnTo>
                      <a:pt x="3158490" y="1283970"/>
                    </a:lnTo>
                    <a:lnTo>
                      <a:pt x="3162300" y="1227677"/>
                    </a:lnTo>
                    <a:lnTo>
                      <a:pt x="3176588" y="1188720"/>
                    </a:lnTo>
                    <a:lnTo>
                      <a:pt x="3183255" y="1149572"/>
                    </a:lnTo>
                    <a:lnTo>
                      <a:pt x="3155633" y="1114425"/>
                    </a:lnTo>
                    <a:lnTo>
                      <a:pt x="3116580" y="1107758"/>
                    </a:lnTo>
                    <a:lnTo>
                      <a:pt x="3091815" y="1128713"/>
                    </a:lnTo>
                    <a:lnTo>
                      <a:pt x="3073717" y="1100138"/>
                    </a:lnTo>
                    <a:lnTo>
                      <a:pt x="3056572" y="1120997"/>
                    </a:lnTo>
                    <a:lnTo>
                      <a:pt x="3052763" y="1093470"/>
                    </a:lnTo>
                    <a:lnTo>
                      <a:pt x="3017520" y="1097185"/>
                    </a:lnTo>
                    <a:lnTo>
                      <a:pt x="3014663" y="1079183"/>
                    </a:lnTo>
                    <a:lnTo>
                      <a:pt x="3218497" y="902970"/>
                    </a:lnTo>
                    <a:lnTo>
                      <a:pt x="3309938" y="902970"/>
                    </a:lnTo>
                    <a:lnTo>
                      <a:pt x="3334702" y="899065"/>
                    </a:lnTo>
                    <a:lnTo>
                      <a:pt x="3388042" y="902970"/>
                    </a:lnTo>
                    <a:lnTo>
                      <a:pt x="3398520" y="888683"/>
                    </a:lnTo>
                    <a:lnTo>
                      <a:pt x="3423285" y="884777"/>
                    </a:lnTo>
                    <a:lnTo>
                      <a:pt x="3461385" y="888683"/>
                    </a:lnTo>
                    <a:lnTo>
                      <a:pt x="3471863" y="902970"/>
                    </a:lnTo>
                    <a:lnTo>
                      <a:pt x="3457575" y="917258"/>
                    </a:lnTo>
                    <a:lnTo>
                      <a:pt x="3510915" y="913352"/>
                    </a:lnTo>
                    <a:lnTo>
                      <a:pt x="3539490" y="909638"/>
                    </a:lnTo>
                    <a:lnTo>
                      <a:pt x="3567113" y="909638"/>
                    </a:lnTo>
                    <a:lnTo>
                      <a:pt x="3549967" y="892397"/>
                    </a:lnTo>
                    <a:lnTo>
                      <a:pt x="3542347" y="884777"/>
                    </a:lnTo>
                    <a:lnTo>
                      <a:pt x="3556635" y="857250"/>
                    </a:lnTo>
                    <a:lnTo>
                      <a:pt x="3623310" y="803815"/>
                    </a:lnTo>
                    <a:lnTo>
                      <a:pt x="3693795" y="803815"/>
                    </a:lnTo>
                    <a:lnTo>
                      <a:pt x="3711892" y="797147"/>
                    </a:lnTo>
                    <a:lnTo>
                      <a:pt x="3697605" y="824865"/>
                    </a:lnTo>
                    <a:lnTo>
                      <a:pt x="3711892" y="839152"/>
                    </a:lnTo>
                    <a:lnTo>
                      <a:pt x="3768090" y="803815"/>
                    </a:lnTo>
                    <a:lnTo>
                      <a:pt x="3792855" y="803815"/>
                    </a:lnTo>
                    <a:lnTo>
                      <a:pt x="3792855" y="772478"/>
                    </a:lnTo>
                    <a:lnTo>
                      <a:pt x="3803333" y="762000"/>
                    </a:lnTo>
                    <a:lnTo>
                      <a:pt x="3813810" y="758190"/>
                    </a:lnTo>
                    <a:lnTo>
                      <a:pt x="3841433" y="768572"/>
                    </a:lnTo>
                    <a:lnTo>
                      <a:pt x="3828097" y="776288"/>
                    </a:lnTo>
                    <a:lnTo>
                      <a:pt x="3799522" y="839152"/>
                    </a:lnTo>
                    <a:lnTo>
                      <a:pt x="3782377" y="846677"/>
                    </a:lnTo>
                    <a:lnTo>
                      <a:pt x="3725227" y="884777"/>
                    </a:lnTo>
                    <a:lnTo>
                      <a:pt x="3651885" y="955358"/>
                    </a:lnTo>
                    <a:lnTo>
                      <a:pt x="3623310" y="962977"/>
                    </a:lnTo>
                    <a:lnTo>
                      <a:pt x="3602355" y="1001935"/>
                    </a:lnTo>
                    <a:lnTo>
                      <a:pt x="3581400" y="1026795"/>
                    </a:lnTo>
                    <a:lnTo>
                      <a:pt x="3581400" y="1089565"/>
                    </a:lnTo>
                    <a:lnTo>
                      <a:pt x="3602355" y="1178147"/>
                    </a:lnTo>
                    <a:lnTo>
                      <a:pt x="3609022" y="1234440"/>
                    </a:lnTo>
                    <a:lnTo>
                      <a:pt x="3662363" y="1181100"/>
                    </a:lnTo>
                    <a:lnTo>
                      <a:pt x="3662363" y="1156240"/>
                    </a:lnTo>
                    <a:lnTo>
                      <a:pt x="3704272" y="1143000"/>
                    </a:lnTo>
                    <a:lnTo>
                      <a:pt x="3708083" y="1135285"/>
                    </a:lnTo>
                    <a:lnTo>
                      <a:pt x="3704272" y="1128713"/>
                    </a:lnTo>
                    <a:lnTo>
                      <a:pt x="3704272" y="1118140"/>
                    </a:lnTo>
                    <a:lnTo>
                      <a:pt x="3718560" y="1103852"/>
                    </a:lnTo>
                    <a:lnTo>
                      <a:pt x="3760470" y="1089565"/>
                    </a:lnTo>
                    <a:lnTo>
                      <a:pt x="3749992" y="1058227"/>
                    </a:lnTo>
                    <a:lnTo>
                      <a:pt x="3760470" y="1033463"/>
                    </a:lnTo>
                    <a:lnTo>
                      <a:pt x="3792855" y="1022890"/>
                    </a:lnTo>
                    <a:lnTo>
                      <a:pt x="3782377" y="994315"/>
                    </a:lnTo>
                    <a:lnTo>
                      <a:pt x="3789045" y="962977"/>
                    </a:lnTo>
                    <a:lnTo>
                      <a:pt x="3760470" y="962977"/>
                    </a:lnTo>
                    <a:lnTo>
                      <a:pt x="3760470" y="941927"/>
                    </a:lnTo>
                    <a:lnTo>
                      <a:pt x="3803333" y="874395"/>
                    </a:lnTo>
                    <a:lnTo>
                      <a:pt x="3852863" y="874395"/>
                    </a:lnTo>
                    <a:lnTo>
                      <a:pt x="3859530" y="853440"/>
                    </a:lnTo>
                    <a:lnTo>
                      <a:pt x="3876675" y="853440"/>
                    </a:lnTo>
                    <a:lnTo>
                      <a:pt x="3884295" y="882015"/>
                    </a:lnTo>
                    <a:lnTo>
                      <a:pt x="3911917" y="853440"/>
                    </a:lnTo>
                    <a:lnTo>
                      <a:pt x="3965258" y="853440"/>
                    </a:lnTo>
                    <a:lnTo>
                      <a:pt x="3990022" y="874395"/>
                    </a:lnTo>
                    <a:lnTo>
                      <a:pt x="4060508" y="818102"/>
                    </a:lnTo>
                    <a:lnTo>
                      <a:pt x="4095750" y="801053"/>
                    </a:lnTo>
                    <a:lnTo>
                      <a:pt x="4158615" y="772478"/>
                    </a:lnTo>
                    <a:lnTo>
                      <a:pt x="4179570" y="754285"/>
                    </a:lnTo>
                    <a:lnTo>
                      <a:pt x="4226242" y="772478"/>
                    </a:lnTo>
                    <a:lnTo>
                      <a:pt x="4250055" y="758190"/>
                    </a:lnTo>
                    <a:lnTo>
                      <a:pt x="4229100" y="726757"/>
                    </a:lnTo>
                    <a:lnTo>
                      <a:pt x="4218622" y="695325"/>
                    </a:lnTo>
                    <a:lnTo>
                      <a:pt x="4193858" y="681038"/>
                    </a:lnTo>
                    <a:lnTo>
                      <a:pt x="4169092" y="670465"/>
                    </a:lnTo>
                    <a:lnTo>
                      <a:pt x="4172902" y="656177"/>
                    </a:lnTo>
                    <a:lnTo>
                      <a:pt x="4187190" y="666750"/>
                    </a:lnTo>
                    <a:lnTo>
                      <a:pt x="4211955" y="670465"/>
                    </a:lnTo>
                    <a:lnTo>
                      <a:pt x="4247197" y="666750"/>
                    </a:lnTo>
                    <a:lnTo>
                      <a:pt x="4278630" y="638175"/>
                    </a:lnTo>
                    <a:lnTo>
                      <a:pt x="4268153" y="627602"/>
                    </a:lnTo>
                    <a:lnTo>
                      <a:pt x="4271963" y="602932"/>
                    </a:lnTo>
                    <a:lnTo>
                      <a:pt x="4295775" y="600075"/>
                    </a:lnTo>
                    <a:lnTo>
                      <a:pt x="4307205" y="635222"/>
                    </a:lnTo>
                    <a:lnTo>
                      <a:pt x="4380547" y="631507"/>
                    </a:lnTo>
                    <a:lnTo>
                      <a:pt x="4377691" y="659035"/>
                    </a:lnTo>
                    <a:lnTo>
                      <a:pt x="4405312" y="670465"/>
                    </a:lnTo>
                    <a:lnTo>
                      <a:pt x="4454843" y="695325"/>
                    </a:lnTo>
                    <a:lnTo>
                      <a:pt x="4469130" y="662940"/>
                    </a:lnTo>
                    <a:lnTo>
                      <a:pt x="4475797" y="638175"/>
                    </a:lnTo>
                    <a:lnTo>
                      <a:pt x="4521518" y="627602"/>
                    </a:lnTo>
                    <a:lnTo>
                      <a:pt x="4542472" y="606647"/>
                    </a:lnTo>
                    <a:lnTo>
                      <a:pt x="4521518" y="5857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3" name="Freeform: Shape 372">
                <a:extLst>
                  <a:ext uri="{FF2B5EF4-FFF2-40B4-BE49-F238E27FC236}">
                    <a16:creationId xmlns:a16="http://schemas.microsoft.com/office/drawing/2014/main" id="{FA0B1836-8ED5-379A-85C3-6953A06CCCD5}"/>
                  </a:ext>
                </a:extLst>
              </p:cNvPr>
              <p:cNvSpPr/>
              <p:nvPr/>
            </p:nvSpPr>
            <p:spPr>
              <a:xfrm>
                <a:off x="7410311" y="1847960"/>
                <a:ext cx="476199" cy="339037"/>
              </a:xfrm>
              <a:custGeom>
                <a:avLst/>
                <a:gdLst>
                  <a:gd name="connsiteX0" fmla="*/ 35243 w 485775"/>
                  <a:gd name="connsiteY0" fmla="*/ 321088 h 345852"/>
                  <a:gd name="connsiteX1" fmla="*/ 52388 w 485775"/>
                  <a:gd name="connsiteY1" fmla="*/ 310515 h 345852"/>
                  <a:gd name="connsiteX2" fmla="*/ 62865 w 485775"/>
                  <a:gd name="connsiteY2" fmla="*/ 321088 h 345852"/>
                  <a:gd name="connsiteX3" fmla="*/ 62865 w 485775"/>
                  <a:gd name="connsiteY3" fmla="*/ 342043 h 345852"/>
                  <a:gd name="connsiteX4" fmla="*/ 155257 w 485775"/>
                  <a:gd name="connsiteY4" fmla="*/ 345853 h 345852"/>
                  <a:gd name="connsiteX5" fmla="*/ 130493 w 485775"/>
                  <a:gd name="connsiteY5" fmla="*/ 324803 h 345852"/>
                  <a:gd name="connsiteX6" fmla="*/ 126682 w 485775"/>
                  <a:gd name="connsiteY6" fmla="*/ 306800 h 345852"/>
                  <a:gd name="connsiteX7" fmla="*/ 108585 w 485775"/>
                  <a:gd name="connsiteY7" fmla="*/ 292513 h 345852"/>
                  <a:gd name="connsiteX8" fmla="*/ 112395 w 485775"/>
                  <a:gd name="connsiteY8" fmla="*/ 246793 h 345852"/>
                  <a:gd name="connsiteX9" fmla="*/ 151448 w 485775"/>
                  <a:gd name="connsiteY9" fmla="*/ 204788 h 345852"/>
                  <a:gd name="connsiteX10" fmla="*/ 168593 w 485775"/>
                  <a:gd name="connsiteY10" fmla="*/ 180118 h 345852"/>
                  <a:gd name="connsiteX11" fmla="*/ 193357 w 485775"/>
                  <a:gd name="connsiteY11" fmla="*/ 165830 h 345852"/>
                  <a:gd name="connsiteX12" fmla="*/ 193357 w 485775"/>
                  <a:gd name="connsiteY12" fmla="*/ 144875 h 345852"/>
                  <a:gd name="connsiteX13" fmla="*/ 214313 w 485775"/>
                  <a:gd name="connsiteY13" fmla="*/ 141065 h 345852"/>
                  <a:gd name="connsiteX14" fmla="*/ 239077 w 485775"/>
                  <a:gd name="connsiteY14" fmla="*/ 130588 h 345852"/>
                  <a:gd name="connsiteX15" fmla="*/ 292418 w 485775"/>
                  <a:gd name="connsiteY15" fmla="*/ 87725 h 345852"/>
                  <a:gd name="connsiteX16" fmla="*/ 390525 w 485775"/>
                  <a:gd name="connsiteY16" fmla="*/ 70580 h 345852"/>
                  <a:gd name="connsiteX17" fmla="*/ 446723 w 485775"/>
                  <a:gd name="connsiteY17" fmla="*/ 52388 h 345852"/>
                  <a:gd name="connsiteX18" fmla="*/ 479107 w 485775"/>
                  <a:gd name="connsiteY18" fmla="*/ 31528 h 345852"/>
                  <a:gd name="connsiteX19" fmla="*/ 485775 w 485775"/>
                  <a:gd name="connsiteY19" fmla="*/ 10478 h 345852"/>
                  <a:gd name="connsiteX20" fmla="*/ 468630 w 485775"/>
                  <a:gd name="connsiteY20" fmla="*/ 0 h 345852"/>
                  <a:gd name="connsiteX21" fmla="*/ 440055 w 485775"/>
                  <a:gd name="connsiteY21" fmla="*/ 0 h 345852"/>
                  <a:gd name="connsiteX22" fmla="*/ 404813 w 485775"/>
                  <a:gd name="connsiteY22" fmla="*/ 14288 h 345852"/>
                  <a:gd name="connsiteX23" fmla="*/ 369570 w 485775"/>
                  <a:gd name="connsiteY23" fmla="*/ 35338 h 345852"/>
                  <a:gd name="connsiteX24" fmla="*/ 309563 w 485775"/>
                  <a:gd name="connsiteY24" fmla="*/ 42005 h 345852"/>
                  <a:gd name="connsiteX25" fmla="*/ 246698 w 485775"/>
                  <a:gd name="connsiteY25" fmla="*/ 49625 h 345852"/>
                  <a:gd name="connsiteX26" fmla="*/ 232410 w 485775"/>
                  <a:gd name="connsiteY26" fmla="*/ 63913 h 345852"/>
                  <a:gd name="connsiteX27" fmla="*/ 193357 w 485775"/>
                  <a:gd name="connsiteY27" fmla="*/ 70580 h 345852"/>
                  <a:gd name="connsiteX28" fmla="*/ 133350 w 485775"/>
                  <a:gd name="connsiteY28" fmla="*/ 116300 h 345852"/>
                  <a:gd name="connsiteX29" fmla="*/ 112395 w 485775"/>
                  <a:gd name="connsiteY29" fmla="*/ 147638 h 345852"/>
                  <a:gd name="connsiteX30" fmla="*/ 66675 w 485775"/>
                  <a:gd name="connsiteY30" fmla="*/ 186690 h 345852"/>
                  <a:gd name="connsiteX31" fmla="*/ 84773 w 485775"/>
                  <a:gd name="connsiteY31" fmla="*/ 190500 h 345852"/>
                  <a:gd name="connsiteX32" fmla="*/ 77152 w 485775"/>
                  <a:gd name="connsiteY32" fmla="*/ 204788 h 345852"/>
                  <a:gd name="connsiteX33" fmla="*/ 60007 w 485775"/>
                  <a:gd name="connsiteY33" fmla="*/ 207740 h 345852"/>
                  <a:gd name="connsiteX34" fmla="*/ 35243 w 485775"/>
                  <a:gd name="connsiteY34" fmla="*/ 232505 h 345852"/>
                  <a:gd name="connsiteX35" fmla="*/ 35243 w 485775"/>
                  <a:gd name="connsiteY35" fmla="*/ 250603 h 345852"/>
                  <a:gd name="connsiteX36" fmla="*/ 20955 w 485775"/>
                  <a:gd name="connsiteY36" fmla="*/ 264890 h 345852"/>
                  <a:gd name="connsiteX37" fmla="*/ 0 w 485775"/>
                  <a:gd name="connsiteY37" fmla="*/ 271463 h 345852"/>
                  <a:gd name="connsiteX38" fmla="*/ 0 w 485775"/>
                  <a:gd name="connsiteY38" fmla="*/ 292513 h 345852"/>
                  <a:gd name="connsiteX39" fmla="*/ 17145 w 485775"/>
                  <a:gd name="connsiteY39" fmla="*/ 310515 h 345852"/>
                  <a:gd name="connsiteX40" fmla="*/ 35243 w 485775"/>
                  <a:gd name="connsiteY40" fmla="*/ 321088 h 345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</a:cxnLst>
                <a:rect l="l" t="t" r="r" b="b"/>
                <a:pathLst>
                  <a:path w="485775" h="345852">
                    <a:moveTo>
                      <a:pt x="35243" y="321088"/>
                    </a:moveTo>
                    <a:lnTo>
                      <a:pt x="52388" y="310515"/>
                    </a:lnTo>
                    <a:lnTo>
                      <a:pt x="62865" y="321088"/>
                    </a:lnTo>
                    <a:lnTo>
                      <a:pt x="62865" y="342043"/>
                    </a:lnTo>
                    <a:lnTo>
                      <a:pt x="155257" y="345853"/>
                    </a:lnTo>
                    <a:lnTo>
                      <a:pt x="130493" y="324803"/>
                    </a:lnTo>
                    <a:lnTo>
                      <a:pt x="126682" y="306800"/>
                    </a:lnTo>
                    <a:lnTo>
                      <a:pt x="108585" y="292513"/>
                    </a:lnTo>
                    <a:lnTo>
                      <a:pt x="112395" y="246793"/>
                    </a:lnTo>
                    <a:lnTo>
                      <a:pt x="151448" y="204788"/>
                    </a:lnTo>
                    <a:lnTo>
                      <a:pt x="168593" y="180118"/>
                    </a:lnTo>
                    <a:lnTo>
                      <a:pt x="193357" y="165830"/>
                    </a:lnTo>
                    <a:lnTo>
                      <a:pt x="193357" y="144875"/>
                    </a:lnTo>
                    <a:lnTo>
                      <a:pt x="214313" y="141065"/>
                    </a:lnTo>
                    <a:lnTo>
                      <a:pt x="239077" y="130588"/>
                    </a:lnTo>
                    <a:lnTo>
                      <a:pt x="292418" y="87725"/>
                    </a:lnTo>
                    <a:lnTo>
                      <a:pt x="390525" y="70580"/>
                    </a:lnTo>
                    <a:lnTo>
                      <a:pt x="446723" y="52388"/>
                    </a:lnTo>
                    <a:lnTo>
                      <a:pt x="479107" y="31528"/>
                    </a:lnTo>
                    <a:lnTo>
                      <a:pt x="485775" y="10478"/>
                    </a:lnTo>
                    <a:lnTo>
                      <a:pt x="468630" y="0"/>
                    </a:lnTo>
                    <a:lnTo>
                      <a:pt x="440055" y="0"/>
                    </a:lnTo>
                    <a:lnTo>
                      <a:pt x="404813" y="14288"/>
                    </a:lnTo>
                    <a:lnTo>
                      <a:pt x="369570" y="35338"/>
                    </a:lnTo>
                    <a:lnTo>
                      <a:pt x="309563" y="42005"/>
                    </a:lnTo>
                    <a:lnTo>
                      <a:pt x="246698" y="49625"/>
                    </a:lnTo>
                    <a:lnTo>
                      <a:pt x="232410" y="63913"/>
                    </a:lnTo>
                    <a:lnTo>
                      <a:pt x="193357" y="70580"/>
                    </a:lnTo>
                    <a:lnTo>
                      <a:pt x="133350" y="116300"/>
                    </a:lnTo>
                    <a:lnTo>
                      <a:pt x="112395" y="147638"/>
                    </a:lnTo>
                    <a:lnTo>
                      <a:pt x="66675" y="186690"/>
                    </a:lnTo>
                    <a:lnTo>
                      <a:pt x="84773" y="190500"/>
                    </a:lnTo>
                    <a:lnTo>
                      <a:pt x="77152" y="204788"/>
                    </a:lnTo>
                    <a:lnTo>
                      <a:pt x="60007" y="207740"/>
                    </a:lnTo>
                    <a:lnTo>
                      <a:pt x="35243" y="232505"/>
                    </a:lnTo>
                    <a:lnTo>
                      <a:pt x="35243" y="250603"/>
                    </a:lnTo>
                    <a:lnTo>
                      <a:pt x="20955" y="264890"/>
                    </a:lnTo>
                    <a:lnTo>
                      <a:pt x="0" y="271463"/>
                    </a:lnTo>
                    <a:lnTo>
                      <a:pt x="0" y="292513"/>
                    </a:lnTo>
                    <a:lnTo>
                      <a:pt x="17145" y="310515"/>
                    </a:lnTo>
                    <a:lnTo>
                      <a:pt x="35243" y="3210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4" name="Freeform: Shape 373">
                <a:extLst>
                  <a:ext uri="{FF2B5EF4-FFF2-40B4-BE49-F238E27FC236}">
                    <a16:creationId xmlns:a16="http://schemas.microsoft.com/office/drawing/2014/main" id="{97542804-2364-C2FF-FD96-04A57FCF3FDE}"/>
                  </a:ext>
                </a:extLst>
              </p:cNvPr>
              <p:cNvSpPr/>
              <p:nvPr/>
            </p:nvSpPr>
            <p:spPr>
              <a:xfrm>
                <a:off x="8718460" y="1706127"/>
                <a:ext cx="166203" cy="89638"/>
              </a:xfrm>
              <a:custGeom>
                <a:avLst/>
                <a:gdLst>
                  <a:gd name="connsiteX0" fmla="*/ 14288 w 169545"/>
                  <a:gd name="connsiteY0" fmla="*/ 91440 h 91440"/>
                  <a:gd name="connsiteX1" fmla="*/ 35243 w 169545"/>
                  <a:gd name="connsiteY1" fmla="*/ 84773 h 91440"/>
                  <a:gd name="connsiteX2" fmla="*/ 45720 w 169545"/>
                  <a:gd name="connsiteY2" fmla="*/ 74200 h 91440"/>
                  <a:gd name="connsiteX3" fmla="*/ 101918 w 169545"/>
                  <a:gd name="connsiteY3" fmla="*/ 70485 h 91440"/>
                  <a:gd name="connsiteX4" fmla="*/ 151448 w 169545"/>
                  <a:gd name="connsiteY4" fmla="*/ 70485 h 91440"/>
                  <a:gd name="connsiteX5" fmla="*/ 165735 w 169545"/>
                  <a:gd name="connsiteY5" fmla="*/ 56198 h 91440"/>
                  <a:gd name="connsiteX6" fmla="*/ 169545 w 169545"/>
                  <a:gd name="connsiteY6" fmla="*/ 39053 h 91440"/>
                  <a:gd name="connsiteX7" fmla="*/ 144780 w 169545"/>
                  <a:gd name="connsiteY7" fmla="*/ 28575 h 91440"/>
                  <a:gd name="connsiteX8" fmla="*/ 123825 w 169545"/>
                  <a:gd name="connsiteY8" fmla="*/ 10478 h 91440"/>
                  <a:gd name="connsiteX9" fmla="*/ 95250 w 169545"/>
                  <a:gd name="connsiteY9" fmla="*/ 24765 h 91440"/>
                  <a:gd name="connsiteX10" fmla="*/ 101918 w 169545"/>
                  <a:gd name="connsiteY10" fmla="*/ 0 h 91440"/>
                  <a:gd name="connsiteX11" fmla="*/ 70485 w 169545"/>
                  <a:gd name="connsiteY11" fmla="*/ 3715 h 91440"/>
                  <a:gd name="connsiteX12" fmla="*/ 49530 w 169545"/>
                  <a:gd name="connsiteY12" fmla="*/ 24765 h 91440"/>
                  <a:gd name="connsiteX13" fmla="*/ 28575 w 169545"/>
                  <a:gd name="connsiteY13" fmla="*/ 53340 h 91440"/>
                  <a:gd name="connsiteX14" fmla="*/ 0 w 169545"/>
                  <a:gd name="connsiteY14" fmla="*/ 84773 h 91440"/>
                  <a:gd name="connsiteX15" fmla="*/ 14288 w 169545"/>
                  <a:gd name="connsiteY15" fmla="*/ 91440 h 91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9545" h="91440">
                    <a:moveTo>
                      <a:pt x="14288" y="91440"/>
                    </a:moveTo>
                    <a:lnTo>
                      <a:pt x="35243" y="84773"/>
                    </a:lnTo>
                    <a:lnTo>
                      <a:pt x="45720" y="74200"/>
                    </a:lnTo>
                    <a:lnTo>
                      <a:pt x="101918" y="70485"/>
                    </a:lnTo>
                    <a:lnTo>
                      <a:pt x="151448" y="70485"/>
                    </a:lnTo>
                    <a:lnTo>
                      <a:pt x="165735" y="56198"/>
                    </a:lnTo>
                    <a:lnTo>
                      <a:pt x="169545" y="39053"/>
                    </a:lnTo>
                    <a:lnTo>
                      <a:pt x="144780" y="28575"/>
                    </a:lnTo>
                    <a:lnTo>
                      <a:pt x="123825" y="10478"/>
                    </a:lnTo>
                    <a:lnTo>
                      <a:pt x="95250" y="24765"/>
                    </a:lnTo>
                    <a:lnTo>
                      <a:pt x="101918" y="0"/>
                    </a:lnTo>
                    <a:lnTo>
                      <a:pt x="70485" y="3715"/>
                    </a:lnTo>
                    <a:lnTo>
                      <a:pt x="49530" y="24765"/>
                    </a:lnTo>
                    <a:lnTo>
                      <a:pt x="28575" y="53340"/>
                    </a:lnTo>
                    <a:lnTo>
                      <a:pt x="0" y="84773"/>
                    </a:lnTo>
                    <a:lnTo>
                      <a:pt x="14288" y="9144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5" name="Freeform: Shape 374">
                <a:extLst>
                  <a:ext uri="{FF2B5EF4-FFF2-40B4-BE49-F238E27FC236}">
                    <a16:creationId xmlns:a16="http://schemas.microsoft.com/office/drawing/2014/main" id="{8BEAB810-CD2C-1174-83E8-5C88BBB99DBE}"/>
                  </a:ext>
                </a:extLst>
              </p:cNvPr>
              <p:cNvSpPr/>
              <p:nvPr/>
            </p:nvSpPr>
            <p:spPr>
              <a:xfrm>
                <a:off x="8566262" y="1657573"/>
                <a:ext cx="166202" cy="79367"/>
              </a:xfrm>
              <a:custGeom>
                <a:avLst/>
                <a:gdLst>
                  <a:gd name="connsiteX0" fmla="*/ 81915 w 169544"/>
                  <a:gd name="connsiteY0" fmla="*/ 0 h 80962"/>
                  <a:gd name="connsiteX1" fmla="*/ 28575 w 169544"/>
                  <a:gd name="connsiteY1" fmla="*/ 10382 h 80962"/>
                  <a:gd name="connsiteX2" fmla="*/ 0 w 169544"/>
                  <a:gd name="connsiteY2" fmla="*/ 38957 h 80962"/>
                  <a:gd name="connsiteX3" fmla="*/ 14288 w 169544"/>
                  <a:gd name="connsiteY3" fmla="*/ 49530 h 80962"/>
                  <a:gd name="connsiteX4" fmla="*/ 28575 w 169544"/>
                  <a:gd name="connsiteY4" fmla="*/ 70390 h 80962"/>
                  <a:gd name="connsiteX5" fmla="*/ 70485 w 169544"/>
                  <a:gd name="connsiteY5" fmla="*/ 70390 h 80962"/>
                  <a:gd name="connsiteX6" fmla="*/ 95250 w 169544"/>
                  <a:gd name="connsiteY6" fmla="*/ 80962 h 80962"/>
                  <a:gd name="connsiteX7" fmla="*/ 162878 w 169544"/>
                  <a:gd name="connsiteY7" fmla="*/ 80962 h 80962"/>
                  <a:gd name="connsiteX8" fmla="*/ 148590 w 169544"/>
                  <a:gd name="connsiteY8" fmla="*/ 63817 h 80962"/>
                  <a:gd name="connsiteX9" fmla="*/ 169545 w 169544"/>
                  <a:gd name="connsiteY9" fmla="*/ 45720 h 80962"/>
                  <a:gd name="connsiteX10" fmla="*/ 169545 w 169544"/>
                  <a:gd name="connsiteY10" fmla="*/ 24670 h 80962"/>
                  <a:gd name="connsiteX11" fmla="*/ 155257 w 169544"/>
                  <a:gd name="connsiteY11" fmla="*/ 10382 h 80962"/>
                  <a:gd name="connsiteX12" fmla="*/ 134303 w 169544"/>
                  <a:gd name="connsiteY12" fmla="*/ 14288 h 80962"/>
                  <a:gd name="connsiteX13" fmla="*/ 113348 w 169544"/>
                  <a:gd name="connsiteY13" fmla="*/ 18002 h 80962"/>
                  <a:gd name="connsiteX14" fmla="*/ 113348 w 169544"/>
                  <a:gd name="connsiteY14" fmla="*/ 3715 h 80962"/>
                  <a:gd name="connsiteX15" fmla="*/ 81915 w 169544"/>
                  <a:gd name="connsiteY15" fmla="*/ 0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69544" h="80962">
                    <a:moveTo>
                      <a:pt x="81915" y="0"/>
                    </a:moveTo>
                    <a:lnTo>
                      <a:pt x="28575" y="10382"/>
                    </a:lnTo>
                    <a:lnTo>
                      <a:pt x="0" y="38957"/>
                    </a:lnTo>
                    <a:lnTo>
                      <a:pt x="14288" y="49530"/>
                    </a:lnTo>
                    <a:lnTo>
                      <a:pt x="28575" y="70390"/>
                    </a:lnTo>
                    <a:lnTo>
                      <a:pt x="70485" y="70390"/>
                    </a:lnTo>
                    <a:lnTo>
                      <a:pt x="95250" y="80962"/>
                    </a:lnTo>
                    <a:lnTo>
                      <a:pt x="162878" y="80962"/>
                    </a:lnTo>
                    <a:lnTo>
                      <a:pt x="148590" y="63817"/>
                    </a:lnTo>
                    <a:lnTo>
                      <a:pt x="169545" y="45720"/>
                    </a:lnTo>
                    <a:lnTo>
                      <a:pt x="169545" y="24670"/>
                    </a:lnTo>
                    <a:lnTo>
                      <a:pt x="155257" y="10382"/>
                    </a:lnTo>
                    <a:lnTo>
                      <a:pt x="134303" y="14288"/>
                    </a:lnTo>
                    <a:lnTo>
                      <a:pt x="113348" y="18002"/>
                    </a:lnTo>
                    <a:lnTo>
                      <a:pt x="113348" y="3715"/>
                    </a:lnTo>
                    <a:lnTo>
                      <a:pt x="8191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6" name="Freeform: Shape 375">
                <a:extLst>
                  <a:ext uri="{FF2B5EF4-FFF2-40B4-BE49-F238E27FC236}">
                    <a16:creationId xmlns:a16="http://schemas.microsoft.com/office/drawing/2014/main" id="{980C4B43-8CA7-C188-04B8-F36983E44B02}"/>
                  </a:ext>
                </a:extLst>
              </p:cNvPr>
              <p:cNvSpPr/>
              <p:nvPr/>
            </p:nvSpPr>
            <p:spPr>
              <a:xfrm>
                <a:off x="8525179" y="1585675"/>
                <a:ext cx="144727" cy="75539"/>
              </a:xfrm>
              <a:custGeom>
                <a:avLst/>
                <a:gdLst>
                  <a:gd name="connsiteX0" fmla="*/ 63817 w 147637"/>
                  <a:gd name="connsiteY0" fmla="*/ 73343 h 77057"/>
                  <a:gd name="connsiteX1" fmla="*/ 99060 w 147637"/>
                  <a:gd name="connsiteY1" fmla="*/ 66675 h 77057"/>
                  <a:gd name="connsiteX2" fmla="*/ 130492 w 147637"/>
                  <a:gd name="connsiteY2" fmla="*/ 62770 h 77057"/>
                  <a:gd name="connsiteX3" fmla="*/ 134302 w 147637"/>
                  <a:gd name="connsiteY3" fmla="*/ 48482 h 77057"/>
                  <a:gd name="connsiteX4" fmla="*/ 147638 w 147637"/>
                  <a:gd name="connsiteY4" fmla="*/ 38100 h 77057"/>
                  <a:gd name="connsiteX5" fmla="*/ 126682 w 147637"/>
                  <a:gd name="connsiteY5" fmla="*/ 23813 h 77057"/>
                  <a:gd name="connsiteX6" fmla="*/ 105727 w 147637"/>
                  <a:gd name="connsiteY6" fmla="*/ 2762 h 77057"/>
                  <a:gd name="connsiteX7" fmla="*/ 77152 w 147637"/>
                  <a:gd name="connsiteY7" fmla="*/ 0 h 77057"/>
                  <a:gd name="connsiteX8" fmla="*/ 70485 w 147637"/>
                  <a:gd name="connsiteY8" fmla="*/ 17050 h 77057"/>
                  <a:gd name="connsiteX9" fmla="*/ 28575 w 147637"/>
                  <a:gd name="connsiteY9" fmla="*/ 20955 h 77057"/>
                  <a:gd name="connsiteX10" fmla="*/ 20955 w 147637"/>
                  <a:gd name="connsiteY10" fmla="*/ 31337 h 77057"/>
                  <a:gd name="connsiteX11" fmla="*/ 18097 w 147637"/>
                  <a:gd name="connsiteY11" fmla="*/ 48482 h 77057"/>
                  <a:gd name="connsiteX12" fmla="*/ 0 w 147637"/>
                  <a:gd name="connsiteY12" fmla="*/ 59055 h 77057"/>
                  <a:gd name="connsiteX13" fmla="*/ 39052 w 147637"/>
                  <a:gd name="connsiteY13" fmla="*/ 77057 h 77057"/>
                  <a:gd name="connsiteX14" fmla="*/ 63817 w 147637"/>
                  <a:gd name="connsiteY14" fmla="*/ 73343 h 770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7637" h="77057">
                    <a:moveTo>
                      <a:pt x="63817" y="73343"/>
                    </a:moveTo>
                    <a:lnTo>
                      <a:pt x="99060" y="66675"/>
                    </a:lnTo>
                    <a:lnTo>
                      <a:pt x="130492" y="62770"/>
                    </a:lnTo>
                    <a:lnTo>
                      <a:pt x="134302" y="48482"/>
                    </a:lnTo>
                    <a:lnTo>
                      <a:pt x="147638" y="38100"/>
                    </a:lnTo>
                    <a:lnTo>
                      <a:pt x="126682" y="23813"/>
                    </a:lnTo>
                    <a:lnTo>
                      <a:pt x="105727" y="2762"/>
                    </a:lnTo>
                    <a:lnTo>
                      <a:pt x="77152" y="0"/>
                    </a:lnTo>
                    <a:lnTo>
                      <a:pt x="70485" y="17050"/>
                    </a:lnTo>
                    <a:lnTo>
                      <a:pt x="28575" y="20955"/>
                    </a:lnTo>
                    <a:lnTo>
                      <a:pt x="20955" y="31337"/>
                    </a:lnTo>
                    <a:lnTo>
                      <a:pt x="18097" y="48482"/>
                    </a:lnTo>
                    <a:lnTo>
                      <a:pt x="0" y="59055"/>
                    </a:lnTo>
                    <a:lnTo>
                      <a:pt x="39052" y="77057"/>
                    </a:lnTo>
                    <a:lnTo>
                      <a:pt x="63817" y="7334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7" name="Freeform: Shape 376">
                <a:extLst>
                  <a:ext uri="{FF2B5EF4-FFF2-40B4-BE49-F238E27FC236}">
                    <a16:creationId xmlns:a16="http://schemas.microsoft.com/office/drawing/2014/main" id="{E0DE4BB3-CEBE-1F9C-5C1B-225C84399BD4}"/>
                  </a:ext>
                </a:extLst>
              </p:cNvPr>
              <p:cNvSpPr/>
              <p:nvPr/>
            </p:nvSpPr>
            <p:spPr>
              <a:xfrm>
                <a:off x="9753960" y="1899316"/>
                <a:ext cx="221292" cy="76659"/>
              </a:xfrm>
              <a:custGeom>
                <a:avLst/>
                <a:gdLst>
                  <a:gd name="connsiteX0" fmla="*/ 45720 w 225742"/>
                  <a:gd name="connsiteY0" fmla="*/ 78200 h 78200"/>
                  <a:gd name="connsiteX1" fmla="*/ 67627 w 225742"/>
                  <a:gd name="connsiteY1" fmla="*/ 74390 h 78200"/>
                  <a:gd name="connsiteX2" fmla="*/ 67627 w 225742"/>
                  <a:gd name="connsiteY2" fmla="*/ 60103 h 78200"/>
                  <a:gd name="connsiteX3" fmla="*/ 84773 w 225742"/>
                  <a:gd name="connsiteY3" fmla="*/ 63913 h 78200"/>
                  <a:gd name="connsiteX4" fmla="*/ 109538 w 225742"/>
                  <a:gd name="connsiteY4" fmla="*/ 63913 h 78200"/>
                  <a:gd name="connsiteX5" fmla="*/ 138113 w 225742"/>
                  <a:gd name="connsiteY5" fmla="*/ 67628 h 78200"/>
                  <a:gd name="connsiteX6" fmla="*/ 155257 w 225742"/>
                  <a:gd name="connsiteY6" fmla="*/ 67628 h 78200"/>
                  <a:gd name="connsiteX7" fmla="*/ 148590 w 225742"/>
                  <a:gd name="connsiteY7" fmla="*/ 53340 h 78200"/>
                  <a:gd name="connsiteX8" fmla="*/ 140970 w 225742"/>
                  <a:gd name="connsiteY8" fmla="*/ 42863 h 78200"/>
                  <a:gd name="connsiteX9" fmla="*/ 138113 w 225742"/>
                  <a:gd name="connsiteY9" fmla="*/ 28575 h 78200"/>
                  <a:gd name="connsiteX10" fmla="*/ 159068 w 225742"/>
                  <a:gd name="connsiteY10" fmla="*/ 24765 h 78200"/>
                  <a:gd name="connsiteX11" fmla="*/ 151448 w 225742"/>
                  <a:gd name="connsiteY11" fmla="*/ 42863 h 78200"/>
                  <a:gd name="connsiteX12" fmla="*/ 161925 w 225742"/>
                  <a:gd name="connsiteY12" fmla="*/ 57150 h 78200"/>
                  <a:gd name="connsiteX13" fmla="*/ 183832 w 225742"/>
                  <a:gd name="connsiteY13" fmla="*/ 63913 h 78200"/>
                  <a:gd name="connsiteX14" fmla="*/ 211455 w 225742"/>
                  <a:gd name="connsiteY14" fmla="*/ 57150 h 78200"/>
                  <a:gd name="connsiteX15" fmla="*/ 225743 w 225742"/>
                  <a:gd name="connsiteY15" fmla="*/ 35338 h 78200"/>
                  <a:gd name="connsiteX16" fmla="*/ 211455 w 225742"/>
                  <a:gd name="connsiteY16" fmla="*/ 24765 h 78200"/>
                  <a:gd name="connsiteX17" fmla="*/ 176213 w 225742"/>
                  <a:gd name="connsiteY17" fmla="*/ 14288 h 78200"/>
                  <a:gd name="connsiteX18" fmla="*/ 151448 w 225742"/>
                  <a:gd name="connsiteY18" fmla="*/ 18193 h 78200"/>
                  <a:gd name="connsiteX19" fmla="*/ 134302 w 225742"/>
                  <a:gd name="connsiteY19" fmla="*/ 7715 h 78200"/>
                  <a:gd name="connsiteX20" fmla="*/ 113348 w 225742"/>
                  <a:gd name="connsiteY20" fmla="*/ 7715 h 78200"/>
                  <a:gd name="connsiteX21" fmla="*/ 102870 w 225742"/>
                  <a:gd name="connsiteY21" fmla="*/ 28575 h 78200"/>
                  <a:gd name="connsiteX22" fmla="*/ 80963 w 225742"/>
                  <a:gd name="connsiteY22" fmla="*/ 14288 h 78200"/>
                  <a:gd name="connsiteX23" fmla="*/ 53340 w 225742"/>
                  <a:gd name="connsiteY23" fmla="*/ 0 h 78200"/>
                  <a:gd name="connsiteX24" fmla="*/ 32385 w 225742"/>
                  <a:gd name="connsiteY24" fmla="*/ 0 h 78200"/>
                  <a:gd name="connsiteX25" fmla="*/ 10477 w 225742"/>
                  <a:gd name="connsiteY25" fmla="*/ 11525 h 78200"/>
                  <a:gd name="connsiteX26" fmla="*/ 0 w 225742"/>
                  <a:gd name="connsiteY26" fmla="*/ 35338 h 78200"/>
                  <a:gd name="connsiteX27" fmla="*/ 3810 w 225742"/>
                  <a:gd name="connsiteY27" fmla="*/ 57150 h 78200"/>
                  <a:gd name="connsiteX28" fmla="*/ 45720 w 225742"/>
                  <a:gd name="connsiteY28" fmla="*/ 78200 h 78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225742" h="78200">
                    <a:moveTo>
                      <a:pt x="45720" y="78200"/>
                    </a:moveTo>
                    <a:lnTo>
                      <a:pt x="67627" y="74390"/>
                    </a:lnTo>
                    <a:lnTo>
                      <a:pt x="67627" y="60103"/>
                    </a:lnTo>
                    <a:lnTo>
                      <a:pt x="84773" y="63913"/>
                    </a:lnTo>
                    <a:lnTo>
                      <a:pt x="109538" y="63913"/>
                    </a:lnTo>
                    <a:lnTo>
                      <a:pt x="138113" y="67628"/>
                    </a:lnTo>
                    <a:lnTo>
                      <a:pt x="155257" y="67628"/>
                    </a:lnTo>
                    <a:lnTo>
                      <a:pt x="148590" y="53340"/>
                    </a:lnTo>
                    <a:lnTo>
                      <a:pt x="140970" y="42863"/>
                    </a:lnTo>
                    <a:lnTo>
                      <a:pt x="138113" y="28575"/>
                    </a:lnTo>
                    <a:lnTo>
                      <a:pt x="159068" y="24765"/>
                    </a:lnTo>
                    <a:lnTo>
                      <a:pt x="151448" y="42863"/>
                    </a:lnTo>
                    <a:lnTo>
                      <a:pt x="161925" y="57150"/>
                    </a:lnTo>
                    <a:lnTo>
                      <a:pt x="183832" y="63913"/>
                    </a:lnTo>
                    <a:lnTo>
                      <a:pt x="211455" y="57150"/>
                    </a:lnTo>
                    <a:lnTo>
                      <a:pt x="225743" y="35338"/>
                    </a:lnTo>
                    <a:lnTo>
                      <a:pt x="211455" y="24765"/>
                    </a:lnTo>
                    <a:lnTo>
                      <a:pt x="176213" y="14288"/>
                    </a:lnTo>
                    <a:lnTo>
                      <a:pt x="151448" y="18193"/>
                    </a:lnTo>
                    <a:lnTo>
                      <a:pt x="134302" y="7715"/>
                    </a:lnTo>
                    <a:lnTo>
                      <a:pt x="113348" y="7715"/>
                    </a:lnTo>
                    <a:lnTo>
                      <a:pt x="102870" y="28575"/>
                    </a:lnTo>
                    <a:lnTo>
                      <a:pt x="80963" y="14288"/>
                    </a:lnTo>
                    <a:lnTo>
                      <a:pt x="53340" y="0"/>
                    </a:lnTo>
                    <a:lnTo>
                      <a:pt x="32385" y="0"/>
                    </a:lnTo>
                    <a:lnTo>
                      <a:pt x="10477" y="11525"/>
                    </a:lnTo>
                    <a:lnTo>
                      <a:pt x="0" y="35338"/>
                    </a:lnTo>
                    <a:lnTo>
                      <a:pt x="3810" y="57150"/>
                    </a:lnTo>
                    <a:lnTo>
                      <a:pt x="45720" y="7820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8" name="Freeform: Shape 377">
                <a:extLst>
                  <a:ext uri="{FF2B5EF4-FFF2-40B4-BE49-F238E27FC236}">
                    <a16:creationId xmlns:a16="http://schemas.microsoft.com/office/drawing/2014/main" id="{6BBB1970-8071-1416-C501-CDBA22E10457}"/>
                  </a:ext>
                </a:extLst>
              </p:cNvPr>
              <p:cNvSpPr/>
              <p:nvPr/>
            </p:nvSpPr>
            <p:spPr>
              <a:xfrm>
                <a:off x="10003264" y="1933957"/>
                <a:ext cx="126986" cy="42017"/>
              </a:xfrm>
              <a:custGeom>
                <a:avLst/>
                <a:gdLst>
                  <a:gd name="connsiteX0" fmla="*/ 35243 w 129539"/>
                  <a:gd name="connsiteY0" fmla="*/ 35243 h 42862"/>
                  <a:gd name="connsiteX1" fmla="*/ 62865 w 129539"/>
                  <a:gd name="connsiteY1" fmla="*/ 42863 h 42862"/>
                  <a:gd name="connsiteX2" fmla="*/ 83820 w 129539"/>
                  <a:gd name="connsiteY2" fmla="*/ 42863 h 42862"/>
                  <a:gd name="connsiteX3" fmla="*/ 105727 w 129539"/>
                  <a:gd name="connsiteY3" fmla="*/ 35243 h 42862"/>
                  <a:gd name="connsiteX4" fmla="*/ 129540 w 129539"/>
                  <a:gd name="connsiteY4" fmla="*/ 24765 h 42862"/>
                  <a:gd name="connsiteX5" fmla="*/ 119063 w 129539"/>
                  <a:gd name="connsiteY5" fmla="*/ 18002 h 42862"/>
                  <a:gd name="connsiteX6" fmla="*/ 87630 w 129539"/>
                  <a:gd name="connsiteY6" fmla="*/ 14288 h 42862"/>
                  <a:gd name="connsiteX7" fmla="*/ 62865 w 129539"/>
                  <a:gd name="connsiteY7" fmla="*/ 7525 h 42862"/>
                  <a:gd name="connsiteX8" fmla="*/ 27622 w 129539"/>
                  <a:gd name="connsiteY8" fmla="*/ 7525 h 42862"/>
                  <a:gd name="connsiteX9" fmla="*/ 10477 w 129539"/>
                  <a:gd name="connsiteY9" fmla="*/ 0 h 42862"/>
                  <a:gd name="connsiteX10" fmla="*/ 0 w 129539"/>
                  <a:gd name="connsiteY10" fmla="*/ 14288 h 42862"/>
                  <a:gd name="connsiteX11" fmla="*/ 6668 w 129539"/>
                  <a:gd name="connsiteY11" fmla="*/ 28575 h 42862"/>
                  <a:gd name="connsiteX12" fmla="*/ 35243 w 129539"/>
                  <a:gd name="connsiteY12" fmla="*/ 35243 h 4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29539" h="42862">
                    <a:moveTo>
                      <a:pt x="35243" y="35243"/>
                    </a:moveTo>
                    <a:lnTo>
                      <a:pt x="62865" y="42863"/>
                    </a:lnTo>
                    <a:lnTo>
                      <a:pt x="83820" y="42863"/>
                    </a:lnTo>
                    <a:lnTo>
                      <a:pt x="105727" y="35243"/>
                    </a:lnTo>
                    <a:lnTo>
                      <a:pt x="129540" y="24765"/>
                    </a:lnTo>
                    <a:lnTo>
                      <a:pt x="119063" y="18002"/>
                    </a:lnTo>
                    <a:lnTo>
                      <a:pt x="87630" y="14288"/>
                    </a:lnTo>
                    <a:lnTo>
                      <a:pt x="62865" y="7525"/>
                    </a:lnTo>
                    <a:lnTo>
                      <a:pt x="27622" y="7525"/>
                    </a:lnTo>
                    <a:lnTo>
                      <a:pt x="10477" y="0"/>
                    </a:lnTo>
                    <a:lnTo>
                      <a:pt x="0" y="14288"/>
                    </a:lnTo>
                    <a:lnTo>
                      <a:pt x="6668" y="28575"/>
                    </a:lnTo>
                    <a:lnTo>
                      <a:pt x="35243" y="3524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79" name="Freeform: Shape 378">
                <a:extLst>
                  <a:ext uri="{FF2B5EF4-FFF2-40B4-BE49-F238E27FC236}">
                    <a16:creationId xmlns:a16="http://schemas.microsoft.com/office/drawing/2014/main" id="{EF913C94-0FE1-DCF1-046C-85E9C01575C2}"/>
                  </a:ext>
                </a:extLst>
              </p:cNvPr>
              <p:cNvSpPr/>
              <p:nvPr/>
            </p:nvSpPr>
            <p:spPr>
              <a:xfrm>
                <a:off x="10894038" y="2134709"/>
                <a:ext cx="99908" cy="42017"/>
              </a:xfrm>
              <a:custGeom>
                <a:avLst/>
                <a:gdLst>
                  <a:gd name="connsiteX0" fmla="*/ 17145 w 101917"/>
                  <a:gd name="connsiteY0" fmla="*/ 42863 h 42862"/>
                  <a:gd name="connsiteX1" fmla="*/ 41910 w 101917"/>
                  <a:gd name="connsiteY1" fmla="*/ 42863 h 42862"/>
                  <a:gd name="connsiteX2" fmla="*/ 80963 w 101917"/>
                  <a:gd name="connsiteY2" fmla="*/ 35243 h 42862"/>
                  <a:gd name="connsiteX3" fmla="*/ 101918 w 101917"/>
                  <a:gd name="connsiteY3" fmla="*/ 32290 h 42862"/>
                  <a:gd name="connsiteX4" fmla="*/ 101918 w 101917"/>
                  <a:gd name="connsiteY4" fmla="*/ 14288 h 42862"/>
                  <a:gd name="connsiteX5" fmla="*/ 83820 w 101917"/>
                  <a:gd name="connsiteY5" fmla="*/ 7525 h 42862"/>
                  <a:gd name="connsiteX6" fmla="*/ 62865 w 101917"/>
                  <a:gd name="connsiteY6" fmla="*/ 0 h 42862"/>
                  <a:gd name="connsiteX7" fmla="*/ 38100 w 101917"/>
                  <a:gd name="connsiteY7" fmla="*/ 3715 h 42862"/>
                  <a:gd name="connsiteX8" fmla="*/ 23813 w 101917"/>
                  <a:gd name="connsiteY8" fmla="*/ 14288 h 42862"/>
                  <a:gd name="connsiteX9" fmla="*/ 0 w 101917"/>
                  <a:gd name="connsiteY9" fmla="*/ 28575 h 42862"/>
                  <a:gd name="connsiteX10" fmla="*/ 2858 w 101917"/>
                  <a:gd name="connsiteY10" fmla="*/ 42863 h 42862"/>
                  <a:gd name="connsiteX11" fmla="*/ 17145 w 101917"/>
                  <a:gd name="connsiteY11" fmla="*/ 42863 h 4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01917" h="42862">
                    <a:moveTo>
                      <a:pt x="17145" y="42863"/>
                    </a:moveTo>
                    <a:lnTo>
                      <a:pt x="41910" y="42863"/>
                    </a:lnTo>
                    <a:lnTo>
                      <a:pt x="80963" y="35243"/>
                    </a:lnTo>
                    <a:lnTo>
                      <a:pt x="101918" y="32290"/>
                    </a:lnTo>
                    <a:lnTo>
                      <a:pt x="101918" y="14288"/>
                    </a:lnTo>
                    <a:lnTo>
                      <a:pt x="83820" y="7525"/>
                    </a:lnTo>
                    <a:lnTo>
                      <a:pt x="62865" y="0"/>
                    </a:lnTo>
                    <a:lnTo>
                      <a:pt x="38100" y="3715"/>
                    </a:lnTo>
                    <a:lnTo>
                      <a:pt x="23813" y="14288"/>
                    </a:lnTo>
                    <a:lnTo>
                      <a:pt x="0" y="28575"/>
                    </a:lnTo>
                    <a:lnTo>
                      <a:pt x="2858" y="42863"/>
                    </a:lnTo>
                    <a:lnTo>
                      <a:pt x="17145" y="4286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0" name="Freeform: Shape 379">
                <a:extLst>
                  <a:ext uri="{FF2B5EF4-FFF2-40B4-BE49-F238E27FC236}">
                    <a16:creationId xmlns:a16="http://schemas.microsoft.com/office/drawing/2014/main" id="{6EDDA6BD-CC5D-23AB-2A54-61AA59A47799}"/>
                  </a:ext>
                </a:extLst>
              </p:cNvPr>
              <p:cNvSpPr/>
              <p:nvPr/>
            </p:nvSpPr>
            <p:spPr>
              <a:xfrm>
                <a:off x="6296379" y="1667750"/>
                <a:ext cx="288520" cy="208222"/>
              </a:xfrm>
              <a:custGeom>
                <a:avLst/>
                <a:gdLst>
                  <a:gd name="connsiteX0" fmla="*/ 20002 w 294322"/>
                  <a:gd name="connsiteY0" fmla="*/ 42863 h 212407"/>
                  <a:gd name="connsiteX1" fmla="*/ 34290 w 294322"/>
                  <a:gd name="connsiteY1" fmla="*/ 42863 h 212407"/>
                  <a:gd name="connsiteX2" fmla="*/ 34290 w 294322"/>
                  <a:gd name="connsiteY2" fmla="*/ 49625 h 212407"/>
                  <a:gd name="connsiteX3" fmla="*/ 12382 w 294322"/>
                  <a:gd name="connsiteY3" fmla="*/ 63913 h 212407"/>
                  <a:gd name="connsiteX4" fmla="*/ 20002 w 294322"/>
                  <a:gd name="connsiteY4" fmla="*/ 82010 h 212407"/>
                  <a:gd name="connsiteX5" fmla="*/ 47625 w 294322"/>
                  <a:gd name="connsiteY5" fmla="*/ 102870 h 212407"/>
                  <a:gd name="connsiteX6" fmla="*/ 65722 w 294322"/>
                  <a:gd name="connsiteY6" fmla="*/ 113348 h 212407"/>
                  <a:gd name="connsiteX7" fmla="*/ 90488 w 294322"/>
                  <a:gd name="connsiteY7" fmla="*/ 99060 h 212407"/>
                  <a:gd name="connsiteX8" fmla="*/ 97155 w 294322"/>
                  <a:gd name="connsiteY8" fmla="*/ 84868 h 212407"/>
                  <a:gd name="connsiteX9" fmla="*/ 107632 w 294322"/>
                  <a:gd name="connsiteY9" fmla="*/ 84868 h 212407"/>
                  <a:gd name="connsiteX10" fmla="*/ 115252 w 294322"/>
                  <a:gd name="connsiteY10" fmla="*/ 74295 h 212407"/>
                  <a:gd name="connsiteX11" fmla="*/ 125730 w 294322"/>
                  <a:gd name="connsiteY11" fmla="*/ 78200 h 212407"/>
                  <a:gd name="connsiteX12" fmla="*/ 125730 w 294322"/>
                  <a:gd name="connsiteY12" fmla="*/ 92488 h 212407"/>
                  <a:gd name="connsiteX13" fmla="*/ 146685 w 294322"/>
                  <a:gd name="connsiteY13" fmla="*/ 92488 h 212407"/>
                  <a:gd name="connsiteX14" fmla="*/ 157163 w 294322"/>
                  <a:gd name="connsiteY14" fmla="*/ 84868 h 212407"/>
                  <a:gd name="connsiteX15" fmla="*/ 171450 w 294322"/>
                  <a:gd name="connsiteY15" fmla="*/ 99060 h 212407"/>
                  <a:gd name="connsiteX16" fmla="*/ 150495 w 294322"/>
                  <a:gd name="connsiteY16" fmla="*/ 105823 h 212407"/>
                  <a:gd name="connsiteX17" fmla="*/ 121920 w 294322"/>
                  <a:gd name="connsiteY17" fmla="*/ 105823 h 212407"/>
                  <a:gd name="connsiteX18" fmla="*/ 97155 w 294322"/>
                  <a:gd name="connsiteY18" fmla="*/ 113348 h 212407"/>
                  <a:gd name="connsiteX19" fmla="*/ 76200 w 294322"/>
                  <a:gd name="connsiteY19" fmla="*/ 120110 h 212407"/>
                  <a:gd name="connsiteX20" fmla="*/ 76200 w 294322"/>
                  <a:gd name="connsiteY20" fmla="*/ 138208 h 212407"/>
                  <a:gd name="connsiteX21" fmla="*/ 103822 w 294322"/>
                  <a:gd name="connsiteY21" fmla="*/ 134398 h 212407"/>
                  <a:gd name="connsiteX22" fmla="*/ 125730 w 294322"/>
                  <a:gd name="connsiteY22" fmla="*/ 140970 h 212407"/>
                  <a:gd name="connsiteX23" fmla="*/ 146685 w 294322"/>
                  <a:gd name="connsiteY23" fmla="*/ 155257 h 212407"/>
                  <a:gd name="connsiteX24" fmla="*/ 97155 w 294322"/>
                  <a:gd name="connsiteY24" fmla="*/ 148685 h 212407"/>
                  <a:gd name="connsiteX25" fmla="*/ 80010 w 294322"/>
                  <a:gd name="connsiteY25" fmla="*/ 162973 h 212407"/>
                  <a:gd name="connsiteX26" fmla="*/ 103822 w 294322"/>
                  <a:gd name="connsiteY26" fmla="*/ 173450 h 212407"/>
                  <a:gd name="connsiteX27" fmla="*/ 118110 w 294322"/>
                  <a:gd name="connsiteY27" fmla="*/ 183832 h 212407"/>
                  <a:gd name="connsiteX28" fmla="*/ 142875 w 294322"/>
                  <a:gd name="connsiteY28" fmla="*/ 180023 h 212407"/>
                  <a:gd name="connsiteX29" fmla="*/ 142875 w 294322"/>
                  <a:gd name="connsiteY29" fmla="*/ 201073 h 212407"/>
                  <a:gd name="connsiteX30" fmla="*/ 163830 w 294322"/>
                  <a:gd name="connsiteY30" fmla="*/ 212407 h 212407"/>
                  <a:gd name="connsiteX31" fmla="*/ 178118 w 294322"/>
                  <a:gd name="connsiteY31" fmla="*/ 180023 h 212407"/>
                  <a:gd name="connsiteX32" fmla="*/ 188595 w 294322"/>
                  <a:gd name="connsiteY32" fmla="*/ 155257 h 212407"/>
                  <a:gd name="connsiteX33" fmla="*/ 206693 w 294322"/>
                  <a:gd name="connsiteY33" fmla="*/ 148685 h 212407"/>
                  <a:gd name="connsiteX34" fmla="*/ 209550 w 294322"/>
                  <a:gd name="connsiteY34" fmla="*/ 120110 h 212407"/>
                  <a:gd name="connsiteX35" fmla="*/ 217170 w 294322"/>
                  <a:gd name="connsiteY35" fmla="*/ 105823 h 212407"/>
                  <a:gd name="connsiteX36" fmla="*/ 241935 w 294322"/>
                  <a:gd name="connsiteY36" fmla="*/ 92488 h 212407"/>
                  <a:gd name="connsiteX37" fmla="*/ 280035 w 294322"/>
                  <a:gd name="connsiteY37" fmla="*/ 84868 h 212407"/>
                  <a:gd name="connsiteX38" fmla="*/ 294322 w 294322"/>
                  <a:gd name="connsiteY38" fmla="*/ 78200 h 212407"/>
                  <a:gd name="connsiteX39" fmla="*/ 266700 w 294322"/>
                  <a:gd name="connsiteY39" fmla="*/ 63913 h 212407"/>
                  <a:gd name="connsiteX40" fmla="*/ 223838 w 294322"/>
                  <a:gd name="connsiteY40" fmla="*/ 53435 h 212407"/>
                  <a:gd name="connsiteX41" fmla="*/ 223838 w 294322"/>
                  <a:gd name="connsiteY41" fmla="*/ 39148 h 212407"/>
                  <a:gd name="connsiteX42" fmla="*/ 202882 w 294322"/>
                  <a:gd name="connsiteY42" fmla="*/ 28575 h 212407"/>
                  <a:gd name="connsiteX43" fmla="*/ 196215 w 294322"/>
                  <a:gd name="connsiteY43" fmla="*/ 39148 h 212407"/>
                  <a:gd name="connsiteX44" fmla="*/ 181927 w 294322"/>
                  <a:gd name="connsiteY44" fmla="*/ 35338 h 212407"/>
                  <a:gd name="connsiteX45" fmla="*/ 188595 w 294322"/>
                  <a:gd name="connsiteY45" fmla="*/ 14288 h 212407"/>
                  <a:gd name="connsiteX46" fmla="*/ 167640 w 294322"/>
                  <a:gd name="connsiteY46" fmla="*/ 7620 h 212407"/>
                  <a:gd name="connsiteX47" fmla="*/ 150495 w 294322"/>
                  <a:gd name="connsiteY47" fmla="*/ 0 h 212407"/>
                  <a:gd name="connsiteX48" fmla="*/ 142875 w 294322"/>
                  <a:gd name="connsiteY48" fmla="*/ 7620 h 212407"/>
                  <a:gd name="connsiteX49" fmla="*/ 146685 w 294322"/>
                  <a:gd name="connsiteY49" fmla="*/ 21907 h 212407"/>
                  <a:gd name="connsiteX50" fmla="*/ 153352 w 294322"/>
                  <a:gd name="connsiteY50" fmla="*/ 42863 h 212407"/>
                  <a:gd name="connsiteX51" fmla="*/ 157163 w 294322"/>
                  <a:gd name="connsiteY51" fmla="*/ 67723 h 212407"/>
                  <a:gd name="connsiteX52" fmla="*/ 146685 w 294322"/>
                  <a:gd name="connsiteY52" fmla="*/ 63913 h 212407"/>
                  <a:gd name="connsiteX53" fmla="*/ 136207 w 294322"/>
                  <a:gd name="connsiteY53" fmla="*/ 49625 h 212407"/>
                  <a:gd name="connsiteX54" fmla="*/ 132397 w 294322"/>
                  <a:gd name="connsiteY54" fmla="*/ 39148 h 212407"/>
                  <a:gd name="connsiteX55" fmla="*/ 128588 w 294322"/>
                  <a:gd name="connsiteY55" fmla="*/ 24860 h 212407"/>
                  <a:gd name="connsiteX56" fmla="*/ 111443 w 294322"/>
                  <a:gd name="connsiteY56" fmla="*/ 18193 h 212407"/>
                  <a:gd name="connsiteX57" fmla="*/ 97155 w 294322"/>
                  <a:gd name="connsiteY57" fmla="*/ 21907 h 212407"/>
                  <a:gd name="connsiteX58" fmla="*/ 90488 w 294322"/>
                  <a:gd name="connsiteY58" fmla="*/ 46768 h 212407"/>
                  <a:gd name="connsiteX59" fmla="*/ 82868 w 294322"/>
                  <a:gd name="connsiteY59" fmla="*/ 18193 h 212407"/>
                  <a:gd name="connsiteX60" fmla="*/ 58102 w 294322"/>
                  <a:gd name="connsiteY60" fmla="*/ 14288 h 212407"/>
                  <a:gd name="connsiteX61" fmla="*/ 34290 w 294322"/>
                  <a:gd name="connsiteY61" fmla="*/ 14288 h 212407"/>
                  <a:gd name="connsiteX62" fmla="*/ 7620 w 294322"/>
                  <a:gd name="connsiteY62" fmla="*/ 21907 h 212407"/>
                  <a:gd name="connsiteX63" fmla="*/ 0 w 294322"/>
                  <a:gd name="connsiteY63" fmla="*/ 35338 h 212407"/>
                  <a:gd name="connsiteX64" fmla="*/ 3810 w 294322"/>
                  <a:gd name="connsiteY64" fmla="*/ 53435 h 212407"/>
                  <a:gd name="connsiteX65" fmla="*/ 20002 w 294322"/>
                  <a:gd name="connsiteY65" fmla="*/ 42863 h 212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</a:cxnLst>
                <a:rect l="l" t="t" r="r" b="b"/>
                <a:pathLst>
                  <a:path w="294322" h="212407">
                    <a:moveTo>
                      <a:pt x="20002" y="42863"/>
                    </a:moveTo>
                    <a:lnTo>
                      <a:pt x="34290" y="42863"/>
                    </a:lnTo>
                    <a:lnTo>
                      <a:pt x="34290" y="49625"/>
                    </a:lnTo>
                    <a:lnTo>
                      <a:pt x="12382" y="63913"/>
                    </a:lnTo>
                    <a:lnTo>
                      <a:pt x="20002" y="82010"/>
                    </a:lnTo>
                    <a:lnTo>
                      <a:pt x="47625" y="102870"/>
                    </a:lnTo>
                    <a:lnTo>
                      <a:pt x="65722" y="113348"/>
                    </a:lnTo>
                    <a:lnTo>
                      <a:pt x="90488" y="99060"/>
                    </a:lnTo>
                    <a:lnTo>
                      <a:pt x="97155" y="84868"/>
                    </a:lnTo>
                    <a:lnTo>
                      <a:pt x="107632" y="84868"/>
                    </a:lnTo>
                    <a:lnTo>
                      <a:pt x="115252" y="74295"/>
                    </a:lnTo>
                    <a:lnTo>
                      <a:pt x="125730" y="78200"/>
                    </a:lnTo>
                    <a:lnTo>
                      <a:pt x="125730" y="92488"/>
                    </a:lnTo>
                    <a:lnTo>
                      <a:pt x="146685" y="92488"/>
                    </a:lnTo>
                    <a:lnTo>
                      <a:pt x="157163" y="84868"/>
                    </a:lnTo>
                    <a:lnTo>
                      <a:pt x="171450" y="99060"/>
                    </a:lnTo>
                    <a:lnTo>
                      <a:pt x="150495" y="105823"/>
                    </a:lnTo>
                    <a:lnTo>
                      <a:pt x="121920" y="105823"/>
                    </a:lnTo>
                    <a:lnTo>
                      <a:pt x="97155" y="113348"/>
                    </a:lnTo>
                    <a:lnTo>
                      <a:pt x="76200" y="120110"/>
                    </a:lnTo>
                    <a:lnTo>
                      <a:pt x="76200" y="138208"/>
                    </a:lnTo>
                    <a:lnTo>
                      <a:pt x="103822" y="134398"/>
                    </a:lnTo>
                    <a:lnTo>
                      <a:pt x="125730" y="140970"/>
                    </a:lnTo>
                    <a:lnTo>
                      <a:pt x="146685" y="155257"/>
                    </a:lnTo>
                    <a:lnTo>
                      <a:pt x="97155" y="148685"/>
                    </a:lnTo>
                    <a:lnTo>
                      <a:pt x="80010" y="162973"/>
                    </a:lnTo>
                    <a:lnTo>
                      <a:pt x="103822" y="173450"/>
                    </a:lnTo>
                    <a:lnTo>
                      <a:pt x="118110" y="183832"/>
                    </a:lnTo>
                    <a:lnTo>
                      <a:pt x="142875" y="180023"/>
                    </a:lnTo>
                    <a:lnTo>
                      <a:pt x="142875" y="201073"/>
                    </a:lnTo>
                    <a:lnTo>
                      <a:pt x="163830" y="212407"/>
                    </a:lnTo>
                    <a:lnTo>
                      <a:pt x="178118" y="180023"/>
                    </a:lnTo>
                    <a:lnTo>
                      <a:pt x="188595" y="155257"/>
                    </a:lnTo>
                    <a:lnTo>
                      <a:pt x="206693" y="148685"/>
                    </a:lnTo>
                    <a:lnTo>
                      <a:pt x="209550" y="120110"/>
                    </a:lnTo>
                    <a:lnTo>
                      <a:pt x="217170" y="105823"/>
                    </a:lnTo>
                    <a:lnTo>
                      <a:pt x="241935" y="92488"/>
                    </a:lnTo>
                    <a:lnTo>
                      <a:pt x="280035" y="84868"/>
                    </a:lnTo>
                    <a:lnTo>
                      <a:pt x="294322" y="78200"/>
                    </a:lnTo>
                    <a:lnTo>
                      <a:pt x="266700" y="63913"/>
                    </a:lnTo>
                    <a:lnTo>
                      <a:pt x="223838" y="53435"/>
                    </a:lnTo>
                    <a:lnTo>
                      <a:pt x="223838" y="39148"/>
                    </a:lnTo>
                    <a:lnTo>
                      <a:pt x="202882" y="28575"/>
                    </a:lnTo>
                    <a:lnTo>
                      <a:pt x="196215" y="39148"/>
                    </a:lnTo>
                    <a:lnTo>
                      <a:pt x="181927" y="35338"/>
                    </a:lnTo>
                    <a:lnTo>
                      <a:pt x="188595" y="14288"/>
                    </a:lnTo>
                    <a:lnTo>
                      <a:pt x="167640" y="7620"/>
                    </a:lnTo>
                    <a:lnTo>
                      <a:pt x="150495" y="0"/>
                    </a:lnTo>
                    <a:lnTo>
                      <a:pt x="142875" y="7620"/>
                    </a:lnTo>
                    <a:lnTo>
                      <a:pt x="146685" y="21907"/>
                    </a:lnTo>
                    <a:lnTo>
                      <a:pt x="153352" y="42863"/>
                    </a:lnTo>
                    <a:lnTo>
                      <a:pt x="157163" y="67723"/>
                    </a:lnTo>
                    <a:lnTo>
                      <a:pt x="146685" y="63913"/>
                    </a:lnTo>
                    <a:lnTo>
                      <a:pt x="136207" y="49625"/>
                    </a:lnTo>
                    <a:lnTo>
                      <a:pt x="132397" y="39148"/>
                    </a:lnTo>
                    <a:lnTo>
                      <a:pt x="128588" y="24860"/>
                    </a:lnTo>
                    <a:lnTo>
                      <a:pt x="111443" y="18193"/>
                    </a:lnTo>
                    <a:lnTo>
                      <a:pt x="97155" y="21907"/>
                    </a:lnTo>
                    <a:lnTo>
                      <a:pt x="90488" y="46768"/>
                    </a:lnTo>
                    <a:lnTo>
                      <a:pt x="82868" y="18193"/>
                    </a:lnTo>
                    <a:lnTo>
                      <a:pt x="58102" y="14288"/>
                    </a:lnTo>
                    <a:lnTo>
                      <a:pt x="34290" y="14288"/>
                    </a:lnTo>
                    <a:lnTo>
                      <a:pt x="7620" y="21907"/>
                    </a:lnTo>
                    <a:lnTo>
                      <a:pt x="0" y="35338"/>
                    </a:lnTo>
                    <a:lnTo>
                      <a:pt x="3810" y="53435"/>
                    </a:lnTo>
                    <a:lnTo>
                      <a:pt x="20002" y="428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1" name="Freeform: Shape 380">
                <a:extLst>
                  <a:ext uri="{FF2B5EF4-FFF2-40B4-BE49-F238E27FC236}">
                    <a16:creationId xmlns:a16="http://schemas.microsoft.com/office/drawing/2014/main" id="{2E84D955-812D-43AE-B862-19941C1BB0E2}"/>
                  </a:ext>
                </a:extLst>
              </p:cNvPr>
              <p:cNvSpPr/>
              <p:nvPr/>
            </p:nvSpPr>
            <p:spPr>
              <a:xfrm>
                <a:off x="6498997" y="1637031"/>
                <a:ext cx="248370" cy="86743"/>
              </a:xfrm>
              <a:custGeom>
                <a:avLst/>
                <a:gdLst>
                  <a:gd name="connsiteX0" fmla="*/ 31432 w 253364"/>
                  <a:gd name="connsiteY0" fmla="*/ 45625 h 88487"/>
                  <a:gd name="connsiteX1" fmla="*/ 60007 w 253364"/>
                  <a:gd name="connsiteY1" fmla="*/ 38957 h 88487"/>
                  <a:gd name="connsiteX2" fmla="*/ 87630 w 253364"/>
                  <a:gd name="connsiteY2" fmla="*/ 38957 h 88487"/>
                  <a:gd name="connsiteX3" fmla="*/ 105727 w 253364"/>
                  <a:gd name="connsiteY3" fmla="*/ 42863 h 88487"/>
                  <a:gd name="connsiteX4" fmla="*/ 95250 w 253364"/>
                  <a:gd name="connsiteY4" fmla="*/ 49530 h 88487"/>
                  <a:gd name="connsiteX5" fmla="*/ 62865 w 253364"/>
                  <a:gd name="connsiteY5" fmla="*/ 53245 h 88487"/>
                  <a:gd name="connsiteX6" fmla="*/ 60007 w 253364"/>
                  <a:gd name="connsiteY6" fmla="*/ 66675 h 88487"/>
                  <a:gd name="connsiteX7" fmla="*/ 91440 w 253364"/>
                  <a:gd name="connsiteY7" fmla="*/ 66675 h 88487"/>
                  <a:gd name="connsiteX8" fmla="*/ 108585 w 253364"/>
                  <a:gd name="connsiteY8" fmla="*/ 66675 h 88487"/>
                  <a:gd name="connsiteX9" fmla="*/ 119063 w 253364"/>
                  <a:gd name="connsiteY9" fmla="*/ 66675 h 88487"/>
                  <a:gd name="connsiteX10" fmla="*/ 130492 w 253364"/>
                  <a:gd name="connsiteY10" fmla="*/ 80963 h 88487"/>
                  <a:gd name="connsiteX11" fmla="*/ 161925 w 253364"/>
                  <a:gd name="connsiteY11" fmla="*/ 88487 h 88487"/>
                  <a:gd name="connsiteX12" fmla="*/ 176213 w 253364"/>
                  <a:gd name="connsiteY12" fmla="*/ 66675 h 88487"/>
                  <a:gd name="connsiteX13" fmla="*/ 200025 w 253364"/>
                  <a:gd name="connsiteY13" fmla="*/ 66675 h 88487"/>
                  <a:gd name="connsiteX14" fmla="*/ 214313 w 253364"/>
                  <a:gd name="connsiteY14" fmla="*/ 53245 h 88487"/>
                  <a:gd name="connsiteX15" fmla="*/ 242888 w 253364"/>
                  <a:gd name="connsiteY15" fmla="*/ 38957 h 88487"/>
                  <a:gd name="connsiteX16" fmla="*/ 253365 w 253364"/>
                  <a:gd name="connsiteY16" fmla="*/ 28575 h 88487"/>
                  <a:gd name="connsiteX17" fmla="*/ 232410 w 253364"/>
                  <a:gd name="connsiteY17" fmla="*/ 24670 h 88487"/>
                  <a:gd name="connsiteX18" fmla="*/ 200025 w 253364"/>
                  <a:gd name="connsiteY18" fmla="*/ 18097 h 88487"/>
                  <a:gd name="connsiteX19" fmla="*/ 168592 w 253364"/>
                  <a:gd name="connsiteY19" fmla="*/ 14288 h 88487"/>
                  <a:gd name="connsiteX20" fmla="*/ 143827 w 253364"/>
                  <a:gd name="connsiteY20" fmla="*/ 24670 h 88487"/>
                  <a:gd name="connsiteX21" fmla="*/ 130492 w 253364"/>
                  <a:gd name="connsiteY21" fmla="*/ 0 h 88487"/>
                  <a:gd name="connsiteX22" fmla="*/ 116205 w 253364"/>
                  <a:gd name="connsiteY22" fmla="*/ 20955 h 88487"/>
                  <a:gd name="connsiteX23" fmla="*/ 98107 w 253364"/>
                  <a:gd name="connsiteY23" fmla="*/ 18097 h 88487"/>
                  <a:gd name="connsiteX24" fmla="*/ 80963 w 253364"/>
                  <a:gd name="connsiteY24" fmla="*/ 18097 h 88487"/>
                  <a:gd name="connsiteX25" fmla="*/ 52388 w 253364"/>
                  <a:gd name="connsiteY25" fmla="*/ 10382 h 88487"/>
                  <a:gd name="connsiteX26" fmla="*/ 38100 w 253364"/>
                  <a:gd name="connsiteY26" fmla="*/ 10382 h 88487"/>
                  <a:gd name="connsiteX27" fmla="*/ 17145 w 253364"/>
                  <a:gd name="connsiteY27" fmla="*/ 24670 h 88487"/>
                  <a:gd name="connsiteX28" fmla="*/ 0 w 253364"/>
                  <a:gd name="connsiteY28" fmla="*/ 31337 h 88487"/>
                  <a:gd name="connsiteX29" fmla="*/ 2857 w 253364"/>
                  <a:gd name="connsiteY29" fmla="*/ 42863 h 88487"/>
                  <a:gd name="connsiteX30" fmla="*/ 31432 w 253364"/>
                  <a:gd name="connsiteY30" fmla="*/ 45625 h 88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53364" h="88487">
                    <a:moveTo>
                      <a:pt x="31432" y="45625"/>
                    </a:moveTo>
                    <a:lnTo>
                      <a:pt x="60007" y="38957"/>
                    </a:lnTo>
                    <a:lnTo>
                      <a:pt x="87630" y="38957"/>
                    </a:lnTo>
                    <a:lnTo>
                      <a:pt x="105727" y="42863"/>
                    </a:lnTo>
                    <a:lnTo>
                      <a:pt x="95250" y="49530"/>
                    </a:lnTo>
                    <a:lnTo>
                      <a:pt x="62865" y="53245"/>
                    </a:lnTo>
                    <a:lnTo>
                      <a:pt x="60007" y="66675"/>
                    </a:lnTo>
                    <a:lnTo>
                      <a:pt x="91440" y="66675"/>
                    </a:lnTo>
                    <a:lnTo>
                      <a:pt x="108585" y="66675"/>
                    </a:lnTo>
                    <a:lnTo>
                      <a:pt x="119063" y="66675"/>
                    </a:lnTo>
                    <a:lnTo>
                      <a:pt x="130492" y="80963"/>
                    </a:lnTo>
                    <a:lnTo>
                      <a:pt x="161925" y="88487"/>
                    </a:lnTo>
                    <a:lnTo>
                      <a:pt x="176213" y="66675"/>
                    </a:lnTo>
                    <a:lnTo>
                      <a:pt x="200025" y="66675"/>
                    </a:lnTo>
                    <a:lnTo>
                      <a:pt x="214313" y="53245"/>
                    </a:lnTo>
                    <a:lnTo>
                      <a:pt x="242888" y="38957"/>
                    </a:lnTo>
                    <a:lnTo>
                      <a:pt x="253365" y="28575"/>
                    </a:lnTo>
                    <a:lnTo>
                      <a:pt x="232410" y="24670"/>
                    </a:lnTo>
                    <a:lnTo>
                      <a:pt x="200025" y="18097"/>
                    </a:lnTo>
                    <a:lnTo>
                      <a:pt x="168592" y="14288"/>
                    </a:lnTo>
                    <a:lnTo>
                      <a:pt x="143827" y="24670"/>
                    </a:lnTo>
                    <a:lnTo>
                      <a:pt x="130492" y="0"/>
                    </a:lnTo>
                    <a:lnTo>
                      <a:pt x="116205" y="20955"/>
                    </a:lnTo>
                    <a:lnTo>
                      <a:pt x="98107" y="18097"/>
                    </a:lnTo>
                    <a:lnTo>
                      <a:pt x="80963" y="18097"/>
                    </a:lnTo>
                    <a:lnTo>
                      <a:pt x="52388" y="10382"/>
                    </a:lnTo>
                    <a:lnTo>
                      <a:pt x="38100" y="10382"/>
                    </a:lnTo>
                    <a:lnTo>
                      <a:pt x="17145" y="24670"/>
                    </a:lnTo>
                    <a:lnTo>
                      <a:pt x="0" y="31337"/>
                    </a:lnTo>
                    <a:lnTo>
                      <a:pt x="2857" y="42863"/>
                    </a:lnTo>
                    <a:lnTo>
                      <a:pt x="31432" y="456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2" name="Freeform: Shape 381">
                <a:extLst>
                  <a:ext uri="{FF2B5EF4-FFF2-40B4-BE49-F238E27FC236}">
                    <a16:creationId xmlns:a16="http://schemas.microsoft.com/office/drawing/2014/main" id="{49931460-E326-0AEC-7B71-58C47F2F8D46}"/>
                  </a:ext>
                </a:extLst>
              </p:cNvPr>
              <p:cNvSpPr/>
              <p:nvPr/>
            </p:nvSpPr>
            <p:spPr>
              <a:xfrm>
                <a:off x="6568092" y="1778865"/>
                <a:ext cx="99908" cy="55090"/>
              </a:xfrm>
              <a:custGeom>
                <a:avLst/>
                <a:gdLst>
                  <a:gd name="connsiteX0" fmla="*/ 66675 w 101917"/>
                  <a:gd name="connsiteY0" fmla="*/ 49625 h 56197"/>
                  <a:gd name="connsiteX1" fmla="*/ 91440 w 101917"/>
                  <a:gd name="connsiteY1" fmla="*/ 35338 h 56197"/>
                  <a:gd name="connsiteX2" fmla="*/ 101918 w 101917"/>
                  <a:gd name="connsiteY2" fmla="*/ 21050 h 56197"/>
                  <a:gd name="connsiteX3" fmla="*/ 83820 w 101917"/>
                  <a:gd name="connsiteY3" fmla="*/ 21050 h 56197"/>
                  <a:gd name="connsiteX4" fmla="*/ 73343 w 101917"/>
                  <a:gd name="connsiteY4" fmla="*/ 14288 h 56197"/>
                  <a:gd name="connsiteX5" fmla="*/ 66675 w 101917"/>
                  <a:gd name="connsiteY5" fmla="*/ 0 h 56197"/>
                  <a:gd name="connsiteX6" fmla="*/ 52388 w 101917"/>
                  <a:gd name="connsiteY6" fmla="*/ 0 h 56197"/>
                  <a:gd name="connsiteX7" fmla="*/ 24765 w 101917"/>
                  <a:gd name="connsiteY7" fmla="*/ 6763 h 56197"/>
                  <a:gd name="connsiteX8" fmla="*/ 17145 w 101917"/>
                  <a:gd name="connsiteY8" fmla="*/ 14288 h 56197"/>
                  <a:gd name="connsiteX9" fmla="*/ 10478 w 101917"/>
                  <a:gd name="connsiteY9" fmla="*/ 24860 h 56197"/>
                  <a:gd name="connsiteX10" fmla="*/ 0 w 101917"/>
                  <a:gd name="connsiteY10" fmla="*/ 35338 h 56197"/>
                  <a:gd name="connsiteX11" fmla="*/ 6668 w 101917"/>
                  <a:gd name="connsiteY11" fmla="*/ 49625 h 56197"/>
                  <a:gd name="connsiteX12" fmla="*/ 17145 w 101917"/>
                  <a:gd name="connsiteY12" fmla="*/ 39148 h 56197"/>
                  <a:gd name="connsiteX13" fmla="*/ 31432 w 101917"/>
                  <a:gd name="connsiteY13" fmla="*/ 35338 h 56197"/>
                  <a:gd name="connsiteX14" fmla="*/ 45720 w 101917"/>
                  <a:gd name="connsiteY14" fmla="*/ 35338 h 56197"/>
                  <a:gd name="connsiteX15" fmla="*/ 45720 w 101917"/>
                  <a:gd name="connsiteY15" fmla="*/ 56197 h 56197"/>
                  <a:gd name="connsiteX16" fmla="*/ 66675 w 101917"/>
                  <a:gd name="connsiteY16" fmla="*/ 49625 h 561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1917" h="56197">
                    <a:moveTo>
                      <a:pt x="66675" y="49625"/>
                    </a:moveTo>
                    <a:lnTo>
                      <a:pt x="91440" y="35338"/>
                    </a:lnTo>
                    <a:lnTo>
                      <a:pt x="101918" y="21050"/>
                    </a:lnTo>
                    <a:lnTo>
                      <a:pt x="83820" y="21050"/>
                    </a:lnTo>
                    <a:lnTo>
                      <a:pt x="73343" y="14288"/>
                    </a:lnTo>
                    <a:lnTo>
                      <a:pt x="66675" y="0"/>
                    </a:lnTo>
                    <a:lnTo>
                      <a:pt x="52388" y="0"/>
                    </a:lnTo>
                    <a:lnTo>
                      <a:pt x="24765" y="6763"/>
                    </a:lnTo>
                    <a:lnTo>
                      <a:pt x="17145" y="14288"/>
                    </a:lnTo>
                    <a:lnTo>
                      <a:pt x="10478" y="24860"/>
                    </a:lnTo>
                    <a:lnTo>
                      <a:pt x="0" y="35338"/>
                    </a:lnTo>
                    <a:lnTo>
                      <a:pt x="6668" y="49625"/>
                    </a:lnTo>
                    <a:lnTo>
                      <a:pt x="17145" y="39148"/>
                    </a:lnTo>
                    <a:lnTo>
                      <a:pt x="31432" y="35338"/>
                    </a:lnTo>
                    <a:lnTo>
                      <a:pt x="45720" y="35338"/>
                    </a:lnTo>
                    <a:lnTo>
                      <a:pt x="45720" y="56197"/>
                    </a:lnTo>
                    <a:lnTo>
                      <a:pt x="66675" y="496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3" name="Freeform: Shape 382">
                <a:extLst>
                  <a:ext uri="{FF2B5EF4-FFF2-40B4-BE49-F238E27FC236}">
                    <a16:creationId xmlns:a16="http://schemas.microsoft.com/office/drawing/2014/main" id="{C75B4051-E8F9-85F8-639A-DB8DC55931EF}"/>
                  </a:ext>
                </a:extLst>
              </p:cNvPr>
              <p:cNvSpPr/>
              <p:nvPr/>
            </p:nvSpPr>
            <p:spPr>
              <a:xfrm>
                <a:off x="8604545" y="4398916"/>
                <a:ext cx="296923" cy="304397"/>
              </a:xfrm>
              <a:custGeom>
                <a:avLst/>
                <a:gdLst>
                  <a:gd name="connsiteX0" fmla="*/ 302895 w 302894"/>
                  <a:gd name="connsiteY0" fmla="*/ 275368 h 310515"/>
                  <a:gd name="connsiteX1" fmla="*/ 302895 w 302894"/>
                  <a:gd name="connsiteY1" fmla="*/ 229553 h 310515"/>
                  <a:gd name="connsiteX2" fmla="*/ 281940 w 302894"/>
                  <a:gd name="connsiteY2" fmla="*/ 219075 h 310515"/>
                  <a:gd name="connsiteX3" fmla="*/ 263842 w 302894"/>
                  <a:gd name="connsiteY3" fmla="*/ 229553 h 310515"/>
                  <a:gd name="connsiteX4" fmla="*/ 267652 w 302894"/>
                  <a:gd name="connsiteY4" fmla="*/ 219075 h 310515"/>
                  <a:gd name="connsiteX5" fmla="*/ 267652 w 302894"/>
                  <a:gd name="connsiteY5" fmla="*/ 204788 h 310515"/>
                  <a:gd name="connsiteX6" fmla="*/ 253365 w 302894"/>
                  <a:gd name="connsiteY6" fmla="*/ 183928 h 310515"/>
                  <a:gd name="connsiteX7" fmla="*/ 240030 w 302894"/>
                  <a:gd name="connsiteY7" fmla="*/ 180118 h 310515"/>
                  <a:gd name="connsiteX8" fmla="*/ 236220 w 302894"/>
                  <a:gd name="connsiteY8" fmla="*/ 169640 h 310515"/>
                  <a:gd name="connsiteX9" fmla="*/ 236220 w 302894"/>
                  <a:gd name="connsiteY9" fmla="*/ 148590 h 310515"/>
                  <a:gd name="connsiteX10" fmla="*/ 215265 w 302894"/>
                  <a:gd name="connsiteY10" fmla="*/ 137255 h 310515"/>
                  <a:gd name="connsiteX11" fmla="*/ 190500 w 302894"/>
                  <a:gd name="connsiteY11" fmla="*/ 113443 h 310515"/>
                  <a:gd name="connsiteX12" fmla="*/ 169545 w 302894"/>
                  <a:gd name="connsiteY12" fmla="*/ 95250 h 310515"/>
                  <a:gd name="connsiteX13" fmla="*/ 147638 w 302894"/>
                  <a:gd name="connsiteY13" fmla="*/ 88678 h 310515"/>
                  <a:gd name="connsiteX14" fmla="*/ 126682 w 302894"/>
                  <a:gd name="connsiteY14" fmla="*/ 63913 h 310515"/>
                  <a:gd name="connsiteX15" fmla="*/ 105727 w 302894"/>
                  <a:gd name="connsiteY15" fmla="*/ 49625 h 310515"/>
                  <a:gd name="connsiteX16" fmla="*/ 84772 w 302894"/>
                  <a:gd name="connsiteY16" fmla="*/ 31528 h 310515"/>
                  <a:gd name="connsiteX17" fmla="*/ 66675 w 302894"/>
                  <a:gd name="connsiteY17" fmla="*/ 7715 h 310515"/>
                  <a:gd name="connsiteX18" fmla="*/ 35242 w 302894"/>
                  <a:gd name="connsiteY18" fmla="*/ 3905 h 310515"/>
                  <a:gd name="connsiteX19" fmla="*/ 0 w 302894"/>
                  <a:gd name="connsiteY19" fmla="*/ 0 h 310515"/>
                  <a:gd name="connsiteX20" fmla="*/ 7620 w 302894"/>
                  <a:gd name="connsiteY20" fmla="*/ 18193 h 310515"/>
                  <a:gd name="connsiteX21" fmla="*/ 35242 w 302894"/>
                  <a:gd name="connsiteY21" fmla="*/ 39053 h 310515"/>
                  <a:gd name="connsiteX22" fmla="*/ 66675 w 302894"/>
                  <a:gd name="connsiteY22" fmla="*/ 74390 h 310515"/>
                  <a:gd name="connsiteX23" fmla="*/ 66675 w 302894"/>
                  <a:gd name="connsiteY23" fmla="*/ 88678 h 310515"/>
                  <a:gd name="connsiteX24" fmla="*/ 80963 w 302894"/>
                  <a:gd name="connsiteY24" fmla="*/ 88678 h 310515"/>
                  <a:gd name="connsiteX25" fmla="*/ 105727 w 302894"/>
                  <a:gd name="connsiteY25" fmla="*/ 109538 h 310515"/>
                  <a:gd name="connsiteX26" fmla="*/ 105727 w 302894"/>
                  <a:gd name="connsiteY26" fmla="*/ 123825 h 310515"/>
                  <a:gd name="connsiteX27" fmla="*/ 112395 w 302894"/>
                  <a:gd name="connsiteY27" fmla="*/ 141065 h 310515"/>
                  <a:gd name="connsiteX28" fmla="*/ 151447 w 302894"/>
                  <a:gd name="connsiteY28" fmla="*/ 186690 h 310515"/>
                  <a:gd name="connsiteX29" fmla="*/ 159067 w 302894"/>
                  <a:gd name="connsiteY29" fmla="*/ 211550 h 310515"/>
                  <a:gd name="connsiteX30" fmla="*/ 169545 w 302894"/>
                  <a:gd name="connsiteY30" fmla="*/ 225838 h 310515"/>
                  <a:gd name="connsiteX31" fmla="*/ 250507 w 302894"/>
                  <a:gd name="connsiteY31" fmla="*/ 306800 h 310515"/>
                  <a:gd name="connsiteX32" fmla="*/ 267652 w 302894"/>
                  <a:gd name="connsiteY32" fmla="*/ 310515 h 310515"/>
                  <a:gd name="connsiteX33" fmla="*/ 281940 w 302894"/>
                  <a:gd name="connsiteY33" fmla="*/ 306800 h 310515"/>
                  <a:gd name="connsiteX34" fmla="*/ 299085 w 302894"/>
                  <a:gd name="connsiteY34" fmla="*/ 310515 h 310515"/>
                  <a:gd name="connsiteX35" fmla="*/ 302895 w 302894"/>
                  <a:gd name="connsiteY35" fmla="*/ 275368 h 3105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302894" h="310515">
                    <a:moveTo>
                      <a:pt x="302895" y="275368"/>
                    </a:moveTo>
                    <a:lnTo>
                      <a:pt x="302895" y="229553"/>
                    </a:lnTo>
                    <a:lnTo>
                      <a:pt x="281940" y="219075"/>
                    </a:lnTo>
                    <a:lnTo>
                      <a:pt x="263842" y="229553"/>
                    </a:lnTo>
                    <a:lnTo>
                      <a:pt x="267652" y="219075"/>
                    </a:lnTo>
                    <a:lnTo>
                      <a:pt x="267652" y="204788"/>
                    </a:lnTo>
                    <a:lnTo>
                      <a:pt x="253365" y="183928"/>
                    </a:lnTo>
                    <a:lnTo>
                      <a:pt x="240030" y="180118"/>
                    </a:lnTo>
                    <a:lnTo>
                      <a:pt x="236220" y="169640"/>
                    </a:lnTo>
                    <a:lnTo>
                      <a:pt x="236220" y="148590"/>
                    </a:lnTo>
                    <a:lnTo>
                      <a:pt x="215265" y="137255"/>
                    </a:lnTo>
                    <a:lnTo>
                      <a:pt x="190500" y="113443"/>
                    </a:lnTo>
                    <a:lnTo>
                      <a:pt x="169545" y="95250"/>
                    </a:lnTo>
                    <a:lnTo>
                      <a:pt x="147638" y="88678"/>
                    </a:lnTo>
                    <a:lnTo>
                      <a:pt x="126682" y="63913"/>
                    </a:lnTo>
                    <a:lnTo>
                      <a:pt x="105727" y="49625"/>
                    </a:lnTo>
                    <a:lnTo>
                      <a:pt x="84772" y="31528"/>
                    </a:lnTo>
                    <a:lnTo>
                      <a:pt x="66675" y="7715"/>
                    </a:lnTo>
                    <a:lnTo>
                      <a:pt x="35242" y="3905"/>
                    </a:lnTo>
                    <a:lnTo>
                      <a:pt x="0" y="0"/>
                    </a:lnTo>
                    <a:lnTo>
                      <a:pt x="7620" y="18193"/>
                    </a:lnTo>
                    <a:lnTo>
                      <a:pt x="35242" y="39053"/>
                    </a:lnTo>
                    <a:lnTo>
                      <a:pt x="66675" y="74390"/>
                    </a:lnTo>
                    <a:lnTo>
                      <a:pt x="66675" y="88678"/>
                    </a:lnTo>
                    <a:lnTo>
                      <a:pt x="80963" y="88678"/>
                    </a:lnTo>
                    <a:lnTo>
                      <a:pt x="105727" y="109538"/>
                    </a:lnTo>
                    <a:lnTo>
                      <a:pt x="105727" y="123825"/>
                    </a:lnTo>
                    <a:lnTo>
                      <a:pt x="112395" y="141065"/>
                    </a:lnTo>
                    <a:lnTo>
                      <a:pt x="151447" y="186690"/>
                    </a:lnTo>
                    <a:lnTo>
                      <a:pt x="159067" y="211550"/>
                    </a:lnTo>
                    <a:lnTo>
                      <a:pt x="169545" y="225838"/>
                    </a:lnTo>
                    <a:lnTo>
                      <a:pt x="250507" y="306800"/>
                    </a:lnTo>
                    <a:lnTo>
                      <a:pt x="267652" y="310515"/>
                    </a:lnTo>
                    <a:lnTo>
                      <a:pt x="281940" y="306800"/>
                    </a:lnTo>
                    <a:lnTo>
                      <a:pt x="299085" y="310515"/>
                    </a:lnTo>
                    <a:lnTo>
                      <a:pt x="302895" y="27536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4" name="Freeform: Shape 383">
                <a:extLst>
                  <a:ext uri="{FF2B5EF4-FFF2-40B4-BE49-F238E27FC236}">
                    <a16:creationId xmlns:a16="http://schemas.microsoft.com/office/drawing/2014/main" id="{FBE30CB8-C3A4-E409-82C6-F53C4617FAB0}"/>
                  </a:ext>
                </a:extLst>
              </p:cNvPr>
              <p:cNvSpPr/>
              <p:nvPr/>
            </p:nvSpPr>
            <p:spPr>
              <a:xfrm>
                <a:off x="8891198" y="4713677"/>
                <a:ext cx="272648" cy="75632"/>
              </a:xfrm>
              <a:custGeom>
                <a:avLst/>
                <a:gdLst>
                  <a:gd name="connsiteX0" fmla="*/ 253365 w 278130"/>
                  <a:gd name="connsiteY0" fmla="*/ 77153 h 77152"/>
                  <a:gd name="connsiteX1" fmla="*/ 278130 w 278130"/>
                  <a:gd name="connsiteY1" fmla="*/ 74200 h 77152"/>
                  <a:gd name="connsiteX2" fmla="*/ 271463 w 278130"/>
                  <a:gd name="connsiteY2" fmla="*/ 63818 h 77152"/>
                  <a:gd name="connsiteX3" fmla="*/ 253365 w 278130"/>
                  <a:gd name="connsiteY3" fmla="*/ 56102 h 77152"/>
                  <a:gd name="connsiteX4" fmla="*/ 250508 w 278130"/>
                  <a:gd name="connsiteY4" fmla="*/ 45625 h 77152"/>
                  <a:gd name="connsiteX5" fmla="*/ 236220 w 278130"/>
                  <a:gd name="connsiteY5" fmla="*/ 45625 h 77152"/>
                  <a:gd name="connsiteX6" fmla="*/ 200978 w 278130"/>
                  <a:gd name="connsiteY6" fmla="*/ 41815 h 77152"/>
                  <a:gd name="connsiteX7" fmla="*/ 197168 w 278130"/>
                  <a:gd name="connsiteY7" fmla="*/ 31337 h 77152"/>
                  <a:gd name="connsiteX8" fmla="*/ 176213 w 278130"/>
                  <a:gd name="connsiteY8" fmla="*/ 17050 h 77152"/>
                  <a:gd name="connsiteX9" fmla="*/ 147638 w 278130"/>
                  <a:gd name="connsiteY9" fmla="*/ 17050 h 77152"/>
                  <a:gd name="connsiteX10" fmla="*/ 130493 w 278130"/>
                  <a:gd name="connsiteY10" fmla="*/ 24765 h 77152"/>
                  <a:gd name="connsiteX11" fmla="*/ 99060 w 278130"/>
                  <a:gd name="connsiteY11" fmla="*/ 24765 h 77152"/>
                  <a:gd name="connsiteX12" fmla="*/ 80963 w 278130"/>
                  <a:gd name="connsiteY12" fmla="*/ 17050 h 77152"/>
                  <a:gd name="connsiteX13" fmla="*/ 49530 w 278130"/>
                  <a:gd name="connsiteY13" fmla="*/ 0 h 77152"/>
                  <a:gd name="connsiteX14" fmla="*/ 14288 w 278130"/>
                  <a:gd name="connsiteY14" fmla="*/ 3715 h 77152"/>
                  <a:gd name="connsiteX15" fmla="*/ 0 w 278130"/>
                  <a:gd name="connsiteY15" fmla="*/ 17050 h 77152"/>
                  <a:gd name="connsiteX16" fmla="*/ 18098 w 278130"/>
                  <a:gd name="connsiteY16" fmla="*/ 28575 h 77152"/>
                  <a:gd name="connsiteX17" fmla="*/ 24765 w 278130"/>
                  <a:gd name="connsiteY17" fmla="*/ 35243 h 77152"/>
                  <a:gd name="connsiteX18" fmla="*/ 45720 w 278130"/>
                  <a:gd name="connsiteY18" fmla="*/ 41815 h 77152"/>
                  <a:gd name="connsiteX19" fmla="*/ 63818 w 278130"/>
                  <a:gd name="connsiteY19" fmla="*/ 49530 h 77152"/>
                  <a:gd name="connsiteX20" fmla="*/ 120015 w 278130"/>
                  <a:gd name="connsiteY20" fmla="*/ 49530 h 77152"/>
                  <a:gd name="connsiteX21" fmla="*/ 137160 w 278130"/>
                  <a:gd name="connsiteY21" fmla="*/ 63818 h 77152"/>
                  <a:gd name="connsiteX22" fmla="*/ 190500 w 278130"/>
                  <a:gd name="connsiteY22" fmla="*/ 66675 h 77152"/>
                  <a:gd name="connsiteX23" fmla="*/ 203835 w 278130"/>
                  <a:gd name="connsiteY23" fmla="*/ 66675 h 77152"/>
                  <a:gd name="connsiteX24" fmla="*/ 221933 w 278130"/>
                  <a:gd name="connsiteY24" fmla="*/ 70390 h 77152"/>
                  <a:gd name="connsiteX25" fmla="*/ 253365 w 278130"/>
                  <a:gd name="connsiteY25" fmla="*/ 77153 h 77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78130" h="77152">
                    <a:moveTo>
                      <a:pt x="253365" y="77153"/>
                    </a:moveTo>
                    <a:lnTo>
                      <a:pt x="278130" y="74200"/>
                    </a:lnTo>
                    <a:lnTo>
                      <a:pt x="271463" y="63818"/>
                    </a:lnTo>
                    <a:lnTo>
                      <a:pt x="253365" y="56102"/>
                    </a:lnTo>
                    <a:lnTo>
                      <a:pt x="250508" y="45625"/>
                    </a:lnTo>
                    <a:lnTo>
                      <a:pt x="236220" y="45625"/>
                    </a:lnTo>
                    <a:lnTo>
                      <a:pt x="200978" y="41815"/>
                    </a:lnTo>
                    <a:lnTo>
                      <a:pt x="197168" y="31337"/>
                    </a:lnTo>
                    <a:lnTo>
                      <a:pt x="176213" y="17050"/>
                    </a:lnTo>
                    <a:lnTo>
                      <a:pt x="147638" y="17050"/>
                    </a:lnTo>
                    <a:lnTo>
                      <a:pt x="130493" y="24765"/>
                    </a:lnTo>
                    <a:lnTo>
                      <a:pt x="99060" y="24765"/>
                    </a:lnTo>
                    <a:lnTo>
                      <a:pt x="80963" y="17050"/>
                    </a:lnTo>
                    <a:lnTo>
                      <a:pt x="49530" y="0"/>
                    </a:lnTo>
                    <a:lnTo>
                      <a:pt x="14288" y="3715"/>
                    </a:lnTo>
                    <a:lnTo>
                      <a:pt x="0" y="17050"/>
                    </a:lnTo>
                    <a:lnTo>
                      <a:pt x="18098" y="28575"/>
                    </a:lnTo>
                    <a:lnTo>
                      <a:pt x="24765" y="35243"/>
                    </a:lnTo>
                    <a:lnTo>
                      <a:pt x="45720" y="41815"/>
                    </a:lnTo>
                    <a:lnTo>
                      <a:pt x="63818" y="49530"/>
                    </a:lnTo>
                    <a:lnTo>
                      <a:pt x="120015" y="49530"/>
                    </a:lnTo>
                    <a:lnTo>
                      <a:pt x="137160" y="63818"/>
                    </a:lnTo>
                    <a:lnTo>
                      <a:pt x="190500" y="66675"/>
                    </a:lnTo>
                    <a:lnTo>
                      <a:pt x="203835" y="66675"/>
                    </a:lnTo>
                    <a:lnTo>
                      <a:pt x="221933" y="70390"/>
                    </a:lnTo>
                    <a:lnTo>
                      <a:pt x="253365" y="77153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5" name="Freeform: Shape 384">
                <a:extLst>
                  <a:ext uri="{FF2B5EF4-FFF2-40B4-BE49-F238E27FC236}">
                    <a16:creationId xmlns:a16="http://schemas.microsoft.com/office/drawing/2014/main" id="{9B447168-37E2-C2FC-F7FB-395993390FDA}"/>
                  </a:ext>
                </a:extLst>
              </p:cNvPr>
              <p:cNvSpPr/>
              <p:nvPr/>
            </p:nvSpPr>
            <p:spPr>
              <a:xfrm>
                <a:off x="9387940" y="4772408"/>
                <a:ext cx="97107" cy="62653"/>
              </a:xfrm>
              <a:custGeom>
                <a:avLst/>
                <a:gdLst>
                  <a:gd name="connsiteX0" fmla="*/ 53340 w 99060"/>
                  <a:gd name="connsiteY0" fmla="*/ 31528 h 63912"/>
                  <a:gd name="connsiteX1" fmla="*/ 95250 w 99060"/>
                  <a:gd name="connsiteY1" fmla="*/ 14288 h 63912"/>
                  <a:gd name="connsiteX2" fmla="*/ 99060 w 99060"/>
                  <a:gd name="connsiteY2" fmla="*/ 3905 h 63912"/>
                  <a:gd name="connsiteX3" fmla="*/ 67628 w 99060"/>
                  <a:gd name="connsiteY3" fmla="*/ 0 h 63912"/>
                  <a:gd name="connsiteX4" fmla="*/ 42863 w 99060"/>
                  <a:gd name="connsiteY4" fmla="*/ 14288 h 63912"/>
                  <a:gd name="connsiteX5" fmla="*/ 24765 w 99060"/>
                  <a:gd name="connsiteY5" fmla="*/ 28575 h 63912"/>
                  <a:gd name="connsiteX6" fmla="*/ 14288 w 99060"/>
                  <a:gd name="connsiteY6" fmla="*/ 31528 h 63912"/>
                  <a:gd name="connsiteX7" fmla="*/ 3810 w 99060"/>
                  <a:gd name="connsiteY7" fmla="*/ 39053 h 63912"/>
                  <a:gd name="connsiteX8" fmla="*/ 0 w 99060"/>
                  <a:gd name="connsiteY8" fmla="*/ 63913 h 63912"/>
                  <a:gd name="connsiteX9" fmla="*/ 32385 w 99060"/>
                  <a:gd name="connsiteY9" fmla="*/ 49625 h 63912"/>
                  <a:gd name="connsiteX10" fmla="*/ 53340 w 99060"/>
                  <a:gd name="connsiteY10" fmla="*/ 31528 h 63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99060" h="63912">
                    <a:moveTo>
                      <a:pt x="53340" y="31528"/>
                    </a:moveTo>
                    <a:lnTo>
                      <a:pt x="95250" y="14288"/>
                    </a:lnTo>
                    <a:lnTo>
                      <a:pt x="99060" y="3905"/>
                    </a:lnTo>
                    <a:lnTo>
                      <a:pt x="67628" y="0"/>
                    </a:lnTo>
                    <a:lnTo>
                      <a:pt x="42863" y="14288"/>
                    </a:lnTo>
                    <a:lnTo>
                      <a:pt x="24765" y="28575"/>
                    </a:lnTo>
                    <a:lnTo>
                      <a:pt x="14288" y="31528"/>
                    </a:lnTo>
                    <a:lnTo>
                      <a:pt x="3810" y="39053"/>
                    </a:lnTo>
                    <a:lnTo>
                      <a:pt x="0" y="63913"/>
                    </a:lnTo>
                    <a:lnTo>
                      <a:pt x="32385" y="49625"/>
                    </a:lnTo>
                    <a:lnTo>
                      <a:pt x="53340" y="3152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6" name="Freeform: Shape 385">
                <a:extLst>
                  <a:ext uri="{FF2B5EF4-FFF2-40B4-BE49-F238E27FC236}">
                    <a16:creationId xmlns:a16="http://schemas.microsoft.com/office/drawing/2014/main" id="{B838EFFF-FB44-1113-91B3-AFEB3420B819}"/>
                  </a:ext>
                </a:extLst>
              </p:cNvPr>
              <p:cNvSpPr/>
              <p:nvPr/>
            </p:nvSpPr>
            <p:spPr>
              <a:xfrm>
                <a:off x="9260954" y="4803315"/>
                <a:ext cx="51354" cy="28012"/>
              </a:xfrm>
              <a:custGeom>
                <a:avLst/>
                <a:gdLst>
                  <a:gd name="connsiteX0" fmla="*/ 2857 w 52387"/>
                  <a:gd name="connsiteY0" fmla="*/ 0 h 28575"/>
                  <a:gd name="connsiteX1" fmla="*/ 0 w 52387"/>
                  <a:gd name="connsiteY1" fmla="*/ 7525 h 28575"/>
                  <a:gd name="connsiteX2" fmla="*/ 6668 w 52387"/>
                  <a:gd name="connsiteY2" fmla="*/ 14288 h 28575"/>
                  <a:gd name="connsiteX3" fmla="*/ 24765 w 52387"/>
                  <a:gd name="connsiteY3" fmla="*/ 24765 h 28575"/>
                  <a:gd name="connsiteX4" fmla="*/ 45720 w 52387"/>
                  <a:gd name="connsiteY4" fmla="*/ 28575 h 28575"/>
                  <a:gd name="connsiteX5" fmla="*/ 52388 w 52387"/>
                  <a:gd name="connsiteY5" fmla="*/ 20860 h 28575"/>
                  <a:gd name="connsiteX6" fmla="*/ 41910 w 52387"/>
                  <a:gd name="connsiteY6" fmla="*/ 10478 h 28575"/>
                  <a:gd name="connsiteX7" fmla="*/ 24765 w 52387"/>
                  <a:gd name="connsiteY7" fmla="*/ 0 h 28575"/>
                  <a:gd name="connsiteX8" fmla="*/ 2857 w 52387"/>
                  <a:gd name="connsiteY8" fmla="*/ 0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2387" h="28575">
                    <a:moveTo>
                      <a:pt x="2857" y="0"/>
                    </a:moveTo>
                    <a:lnTo>
                      <a:pt x="0" y="7525"/>
                    </a:lnTo>
                    <a:lnTo>
                      <a:pt x="6668" y="14288"/>
                    </a:lnTo>
                    <a:lnTo>
                      <a:pt x="24765" y="24765"/>
                    </a:lnTo>
                    <a:lnTo>
                      <a:pt x="45720" y="28575"/>
                    </a:lnTo>
                    <a:lnTo>
                      <a:pt x="52388" y="20860"/>
                    </a:lnTo>
                    <a:lnTo>
                      <a:pt x="41910" y="10478"/>
                    </a:lnTo>
                    <a:lnTo>
                      <a:pt x="24765" y="0"/>
                    </a:lnTo>
                    <a:lnTo>
                      <a:pt x="2857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7" name="Freeform: Shape 386">
                <a:extLst>
                  <a:ext uri="{FF2B5EF4-FFF2-40B4-BE49-F238E27FC236}">
                    <a16:creationId xmlns:a16="http://schemas.microsoft.com/office/drawing/2014/main" id="{7D94469D-5E68-09AC-E1C6-C3262A435EBE}"/>
                  </a:ext>
                </a:extLst>
              </p:cNvPr>
              <p:cNvSpPr/>
              <p:nvPr/>
            </p:nvSpPr>
            <p:spPr>
              <a:xfrm>
                <a:off x="9285230" y="4772408"/>
                <a:ext cx="65361" cy="16900"/>
              </a:xfrm>
              <a:custGeom>
                <a:avLst/>
                <a:gdLst>
                  <a:gd name="connsiteX0" fmla="*/ 66675 w 66675"/>
                  <a:gd name="connsiteY0" fmla="*/ 17240 h 17240"/>
                  <a:gd name="connsiteX1" fmla="*/ 66675 w 66675"/>
                  <a:gd name="connsiteY1" fmla="*/ 6763 h 17240"/>
                  <a:gd name="connsiteX2" fmla="*/ 41910 w 66675"/>
                  <a:gd name="connsiteY2" fmla="*/ 6763 h 17240"/>
                  <a:gd name="connsiteX3" fmla="*/ 31432 w 66675"/>
                  <a:gd name="connsiteY3" fmla="*/ 3905 h 17240"/>
                  <a:gd name="connsiteX4" fmla="*/ 13335 w 66675"/>
                  <a:gd name="connsiteY4" fmla="*/ 0 h 17240"/>
                  <a:gd name="connsiteX5" fmla="*/ 6668 w 66675"/>
                  <a:gd name="connsiteY5" fmla="*/ 3905 h 17240"/>
                  <a:gd name="connsiteX6" fmla="*/ 0 w 66675"/>
                  <a:gd name="connsiteY6" fmla="*/ 17240 h 17240"/>
                  <a:gd name="connsiteX7" fmla="*/ 31432 w 66675"/>
                  <a:gd name="connsiteY7" fmla="*/ 17240 h 17240"/>
                  <a:gd name="connsiteX8" fmla="*/ 66675 w 66675"/>
                  <a:gd name="connsiteY8" fmla="*/ 17240 h 1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675" h="17240">
                    <a:moveTo>
                      <a:pt x="66675" y="17240"/>
                    </a:moveTo>
                    <a:lnTo>
                      <a:pt x="66675" y="6763"/>
                    </a:lnTo>
                    <a:lnTo>
                      <a:pt x="41910" y="6763"/>
                    </a:lnTo>
                    <a:lnTo>
                      <a:pt x="31432" y="3905"/>
                    </a:lnTo>
                    <a:lnTo>
                      <a:pt x="13335" y="0"/>
                    </a:lnTo>
                    <a:lnTo>
                      <a:pt x="6668" y="3905"/>
                    </a:lnTo>
                    <a:lnTo>
                      <a:pt x="0" y="17240"/>
                    </a:lnTo>
                    <a:lnTo>
                      <a:pt x="31432" y="17240"/>
                    </a:lnTo>
                    <a:lnTo>
                      <a:pt x="66675" y="1724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8" name="Freeform: Shape 387">
                <a:extLst>
                  <a:ext uri="{FF2B5EF4-FFF2-40B4-BE49-F238E27FC236}">
                    <a16:creationId xmlns:a16="http://schemas.microsoft.com/office/drawing/2014/main" id="{886C7689-D366-C45D-1F45-7CD82970D569}"/>
                  </a:ext>
                </a:extLst>
              </p:cNvPr>
              <p:cNvSpPr/>
              <p:nvPr/>
            </p:nvSpPr>
            <p:spPr>
              <a:xfrm>
                <a:off x="9232942" y="4772408"/>
                <a:ext cx="34547" cy="16900"/>
              </a:xfrm>
              <a:custGeom>
                <a:avLst/>
                <a:gdLst>
                  <a:gd name="connsiteX0" fmla="*/ 31432 w 35242"/>
                  <a:gd name="connsiteY0" fmla="*/ 3905 h 17240"/>
                  <a:gd name="connsiteX1" fmla="*/ 14288 w 35242"/>
                  <a:gd name="connsiteY1" fmla="*/ 0 h 17240"/>
                  <a:gd name="connsiteX2" fmla="*/ 0 w 35242"/>
                  <a:gd name="connsiteY2" fmla="*/ 3905 h 17240"/>
                  <a:gd name="connsiteX3" fmla="*/ 0 w 35242"/>
                  <a:gd name="connsiteY3" fmla="*/ 17240 h 17240"/>
                  <a:gd name="connsiteX4" fmla="*/ 35243 w 35242"/>
                  <a:gd name="connsiteY4" fmla="*/ 17240 h 17240"/>
                  <a:gd name="connsiteX5" fmla="*/ 31432 w 35242"/>
                  <a:gd name="connsiteY5" fmla="*/ 3905 h 1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5242" h="17240">
                    <a:moveTo>
                      <a:pt x="31432" y="3905"/>
                    </a:moveTo>
                    <a:lnTo>
                      <a:pt x="14288" y="0"/>
                    </a:lnTo>
                    <a:lnTo>
                      <a:pt x="0" y="3905"/>
                    </a:lnTo>
                    <a:lnTo>
                      <a:pt x="0" y="17240"/>
                    </a:lnTo>
                    <a:lnTo>
                      <a:pt x="35243" y="17240"/>
                    </a:lnTo>
                    <a:lnTo>
                      <a:pt x="31432" y="39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89" name="Freeform: Shape 388">
                <a:extLst>
                  <a:ext uri="{FF2B5EF4-FFF2-40B4-BE49-F238E27FC236}">
                    <a16:creationId xmlns:a16="http://schemas.microsoft.com/office/drawing/2014/main" id="{AC210977-193F-6007-985C-0C53A532362A}"/>
                  </a:ext>
                </a:extLst>
              </p:cNvPr>
              <p:cNvSpPr/>
              <p:nvPr/>
            </p:nvSpPr>
            <p:spPr>
              <a:xfrm>
                <a:off x="9177852" y="4772408"/>
                <a:ext cx="44818" cy="30906"/>
              </a:xfrm>
              <a:custGeom>
                <a:avLst/>
                <a:gdLst>
                  <a:gd name="connsiteX0" fmla="*/ 3810 w 45719"/>
                  <a:gd name="connsiteY0" fmla="*/ 0 h 31527"/>
                  <a:gd name="connsiteX1" fmla="*/ 0 w 45719"/>
                  <a:gd name="connsiteY1" fmla="*/ 17240 h 31527"/>
                  <a:gd name="connsiteX2" fmla="*/ 20955 w 45719"/>
                  <a:gd name="connsiteY2" fmla="*/ 24765 h 31527"/>
                  <a:gd name="connsiteX3" fmla="*/ 41910 w 45719"/>
                  <a:gd name="connsiteY3" fmla="*/ 31528 h 31527"/>
                  <a:gd name="connsiteX4" fmla="*/ 45720 w 45719"/>
                  <a:gd name="connsiteY4" fmla="*/ 17240 h 31527"/>
                  <a:gd name="connsiteX5" fmla="*/ 45720 w 45719"/>
                  <a:gd name="connsiteY5" fmla="*/ 6763 h 31527"/>
                  <a:gd name="connsiteX6" fmla="*/ 24765 w 45719"/>
                  <a:gd name="connsiteY6" fmla="*/ 3905 h 31527"/>
                  <a:gd name="connsiteX7" fmla="*/ 3810 w 45719"/>
                  <a:gd name="connsiteY7" fmla="*/ 0 h 315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5719" h="31527">
                    <a:moveTo>
                      <a:pt x="3810" y="0"/>
                    </a:moveTo>
                    <a:lnTo>
                      <a:pt x="0" y="17240"/>
                    </a:lnTo>
                    <a:lnTo>
                      <a:pt x="20955" y="24765"/>
                    </a:lnTo>
                    <a:lnTo>
                      <a:pt x="41910" y="31528"/>
                    </a:lnTo>
                    <a:lnTo>
                      <a:pt x="45720" y="17240"/>
                    </a:lnTo>
                    <a:lnTo>
                      <a:pt x="45720" y="6763"/>
                    </a:lnTo>
                    <a:lnTo>
                      <a:pt x="24765" y="3905"/>
                    </a:lnTo>
                    <a:lnTo>
                      <a:pt x="3810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0" name="Freeform: Shape 389">
                <a:extLst>
                  <a:ext uri="{FF2B5EF4-FFF2-40B4-BE49-F238E27FC236}">
                    <a16:creationId xmlns:a16="http://schemas.microsoft.com/office/drawing/2014/main" id="{7D7E6AE7-439D-67F2-1416-508627DAA7AD}"/>
                  </a:ext>
                </a:extLst>
              </p:cNvPr>
              <p:cNvSpPr/>
              <p:nvPr/>
            </p:nvSpPr>
            <p:spPr>
              <a:xfrm>
                <a:off x="9198394" y="3050608"/>
                <a:ext cx="48554" cy="17834"/>
              </a:xfrm>
              <a:custGeom>
                <a:avLst/>
                <a:gdLst>
                  <a:gd name="connsiteX0" fmla="*/ 49530 w 49530"/>
                  <a:gd name="connsiteY0" fmla="*/ 0 h 18192"/>
                  <a:gd name="connsiteX1" fmla="*/ 31432 w 49530"/>
                  <a:gd name="connsiteY1" fmla="*/ 18193 h 18192"/>
                  <a:gd name="connsiteX2" fmla="*/ 0 w 49530"/>
                  <a:gd name="connsiteY2" fmla="*/ 0 h 18192"/>
                  <a:gd name="connsiteX3" fmla="*/ 31432 w 49530"/>
                  <a:gd name="connsiteY3" fmla="*/ 18193 h 18192"/>
                  <a:gd name="connsiteX4" fmla="*/ 49530 w 49530"/>
                  <a:gd name="connsiteY4" fmla="*/ 0 h 18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530" h="18192">
                    <a:moveTo>
                      <a:pt x="49530" y="0"/>
                    </a:moveTo>
                    <a:lnTo>
                      <a:pt x="31432" y="18193"/>
                    </a:lnTo>
                    <a:lnTo>
                      <a:pt x="0" y="0"/>
                    </a:lnTo>
                    <a:lnTo>
                      <a:pt x="31432" y="18193"/>
                    </a:lnTo>
                    <a:lnTo>
                      <a:pt x="4953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1" name="Freeform: Shape 390">
                <a:extLst>
                  <a:ext uri="{FF2B5EF4-FFF2-40B4-BE49-F238E27FC236}">
                    <a16:creationId xmlns:a16="http://schemas.microsoft.com/office/drawing/2014/main" id="{67DB1729-4D02-B0C5-34D1-2F39C27984D4}"/>
                  </a:ext>
                </a:extLst>
              </p:cNvPr>
              <p:cNvSpPr/>
              <p:nvPr/>
            </p:nvSpPr>
            <p:spPr>
              <a:xfrm>
                <a:off x="9483179" y="3019887"/>
                <a:ext cx="18674" cy="44725"/>
              </a:xfrm>
              <a:custGeom>
                <a:avLst/>
                <a:gdLst>
                  <a:gd name="connsiteX0" fmla="*/ 8573 w 19050"/>
                  <a:gd name="connsiteY0" fmla="*/ 17050 h 45624"/>
                  <a:gd name="connsiteX1" fmla="*/ 0 w 19050"/>
                  <a:gd name="connsiteY1" fmla="*/ 0 h 45624"/>
                  <a:gd name="connsiteX2" fmla="*/ 19050 w 19050"/>
                  <a:gd name="connsiteY2" fmla="*/ 45625 h 45624"/>
                  <a:gd name="connsiteX3" fmla="*/ 8573 w 19050"/>
                  <a:gd name="connsiteY3" fmla="*/ 17050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5624">
                    <a:moveTo>
                      <a:pt x="8573" y="17050"/>
                    </a:moveTo>
                    <a:lnTo>
                      <a:pt x="0" y="0"/>
                    </a:lnTo>
                    <a:lnTo>
                      <a:pt x="19050" y="45625"/>
                    </a:lnTo>
                    <a:lnTo>
                      <a:pt x="8573" y="170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2" name="Freeform: Shape 391">
                <a:extLst>
                  <a:ext uri="{FF2B5EF4-FFF2-40B4-BE49-F238E27FC236}">
                    <a16:creationId xmlns:a16="http://schemas.microsoft.com/office/drawing/2014/main" id="{C0105FE0-B4B0-EB35-F660-D0C17B5914DD}"/>
                  </a:ext>
                </a:extLst>
              </p:cNvPr>
              <p:cNvSpPr/>
              <p:nvPr/>
            </p:nvSpPr>
            <p:spPr>
              <a:xfrm>
                <a:off x="9391675" y="2919885"/>
                <a:ext cx="52288" cy="20635"/>
              </a:xfrm>
              <a:custGeom>
                <a:avLst/>
                <a:gdLst>
                  <a:gd name="connsiteX0" fmla="*/ 28575 w 53339"/>
                  <a:gd name="connsiteY0" fmla="*/ 10573 h 21050"/>
                  <a:gd name="connsiteX1" fmla="*/ 0 w 53339"/>
                  <a:gd name="connsiteY1" fmla="*/ 0 h 21050"/>
                  <a:gd name="connsiteX2" fmla="*/ 53340 w 53339"/>
                  <a:gd name="connsiteY2" fmla="*/ 21050 h 21050"/>
                  <a:gd name="connsiteX3" fmla="*/ 28575 w 53339"/>
                  <a:gd name="connsiteY3" fmla="*/ 10573 h 2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3339" h="21050">
                    <a:moveTo>
                      <a:pt x="28575" y="10573"/>
                    </a:moveTo>
                    <a:lnTo>
                      <a:pt x="0" y="0"/>
                    </a:lnTo>
                    <a:lnTo>
                      <a:pt x="53340" y="21050"/>
                    </a:lnTo>
                    <a:lnTo>
                      <a:pt x="28575" y="1057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3" name="Freeform: Shape 392">
                <a:extLst>
                  <a:ext uri="{FF2B5EF4-FFF2-40B4-BE49-F238E27FC236}">
                    <a16:creationId xmlns:a16="http://schemas.microsoft.com/office/drawing/2014/main" id="{284F29B8-A510-24B9-021C-948B1A32A7B5}"/>
                  </a:ext>
                </a:extLst>
              </p:cNvPr>
              <p:cNvSpPr/>
              <p:nvPr/>
            </p:nvSpPr>
            <p:spPr>
              <a:xfrm>
                <a:off x="6165657" y="2867689"/>
                <a:ext cx="246502" cy="273583"/>
              </a:xfrm>
              <a:custGeom>
                <a:avLst/>
                <a:gdLst>
                  <a:gd name="connsiteX0" fmla="*/ 20955 w 251459"/>
                  <a:gd name="connsiteY0" fmla="*/ 88582 h 279082"/>
                  <a:gd name="connsiteX1" fmla="*/ 20955 w 251459"/>
                  <a:gd name="connsiteY1" fmla="*/ 105632 h 279082"/>
                  <a:gd name="connsiteX2" fmla="*/ 20955 w 251459"/>
                  <a:gd name="connsiteY2" fmla="*/ 105632 h 279082"/>
                  <a:gd name="connsiteX3" fmla="*/ 10477 w 251459"/>
                  <a:gd name="connsiteY3" fmla="*/ 113252 h 279082"/>
                  <a:gd name="connsiteX4" fmla="*/ 0 w 251459"/>
                  <a:gd name="connsiteY4" fmla="*/ 119920 h 279082"/>
                  <a:gd name="connsiteX5" fmla="*/ 0 w 251459"/>
                  <a:gd name="connsiteY5" fmla="*/ 134207 h 279082"/>
                  <a:gd name="connsiteX6" fmla="*/ 0 w 251459"/>
                  <a:gd name="connsiteY6" fmla="*/ 151352 h 279082"/>
                  <a:gd name="connsiteX7" fmla="*/ 6667 w 251459"/>
                  <a:gd name="connsiteY7" fmla="*/ 169545 h 279082"/>
                  <a:gd name="connsiteX8" fmla="*/ 3810 w 251459"/>
                  <a:gd name="connsiteY8" fmla="*/ 179927 h 279082"/>
                  <a:gd name="connsiteX9" fmla="*/ 6667 w 251459"/>
                  <a:gd name="connsiteY9" fmla="*/ 186595 h 279082"/>
                  <a:gd name="connsiteX10" fmla="*/ 3810 w 251459"/>
                  <a:gd name="connsiteY10" fmla="*/ 200882 h 279082"/>
                  <a:gd name="connsiteX11" fmla="*/ 14288 w 251459"/>
                  <a:gd name="connsiteY11" fmla="*/ 207645 h 279082"/>
                  <a:gd name="connsiteX12" fmla="*/ 20955 w 251459"/>
                  <a:gd name="connsiteY12" fmla="*/ 215170 h 279082"/>
                  <a:gd name="connsiteX13" fmla="*/ 52388 w 251459"/>
                  <a:gd name="connsiteY13" fmla="*/ 215170 h 279082"/>
                  <a:gd name="connsiteX14" fmla="*/ 56197 w 251459"/>
                  <a:gd name="connsiteY14" fmla="*/ 221932 h 279082"/>
                  <a:gd name="connsiteX15" fmla="*/ 39052 w 251459"/>
                  <a:gd name="connsiteY15" fmla="*/ 257175 h 279082"/>
                  <a:gd name="connsiteX16" fmla="*/ 39052 w 251459"/>
                  <a:gd name="connsiteY16" fmla="*/ 267557 h 279082"/>
                  <a:gd name="connsiteX17" fmla="*/ 49530 w 251459"/>
                  <a:gd name="connsiteY17" fmla="*/ 267557 h 279082"/>
                  <a:gd name="connsiteX18" fmla="*/ 66675 w 251459"/>
                  <a:gd name="connsiteY18" fmla="*/ 267557 h 279082"/>
                  <a:gd name="connsiteX19" fmla="*/ 84772 w 251459"/>
                  <a:gd name="connsiteY19" fmla="*/ 264795 h 279082"/>
                  <a:gd name="connsiteX20" fmla="*/ 98107 w 251459"/>
                  <a:gd name="connsiteY20" fmla="*/ 267557 h 279082"/>
                  <a:gd name="connsiteX21" fmla="*/ 101918 w 251459"/>
                  <a:gd name="connsiteY21" fmla="*/ 271463 h 279082"/>
                  <a:gd name="connsiteX22" fmla="*/ 98107 w 251459"/>
                  <a:gd name="connsiteY22" fmla="*/ 279082 h 279082"/>
                  <a:gd name="connsiteX23" fmla="*/ 149543 w 251459"/>
                  <a:gd name="connsiteY23" fmla="*/ 275177 h 279082"/>
                  <a:gd name="connsiteX24" fmla="*/ 167640 w 251459"/>
                  <a:gd name="connsiteY24" fmla="*/ 264795 h 279082"/>
                  <a:gd name="connsiteX25" fmla="*/ 188595 w 251459"/>
                  <a:gd name="connsiteY25" fmla="*/ 264795 h 279082"/>
                  <a:gd name="connsiteX26" fmla="*/ 188595 w 251459"/>
                  <a:gd name="connsiteY26" fmla="*/ 250507 h 279082"/>
                  <a:gd name="connsiteX27" fmla="*/ 202882 w 251459"/>
                  <a:gd name="connsiteY27" fmla="*/ 242888 h 279082"/>
                  <a:gd name="connsiteX28" fmla="*/ 216218 w 251459"/>
                  <a:gd name="connsiteY28" fmla="*/ 236220 h 279082"/>
                  <a:gd name="connsiteX29" fmla="*/ 216218 w 251459"/>
                  <a:gd name="connsiteY29" fmla="*/ 225742 h 279082"/>
                  <a:gd name="connsiteX30" fmla="*/ 195263 w 251459"/>
                  <a:gd name="connsiteY30" fmla="*/ 211455 h 279082"/>
                  <a:gd name="connsiteX31" fmla="*/ 180975 w 251459"/>
                  <a:gd name="connsiteY31" fmla="*/ 194215 h 279082"/>
                  <a:gd name="connsiteX32" fmla="*/ 167640 w 251459"/>
                  <a:gd name="connsiteY32" fmla="*/ 176213 h 279082"/>
                  <a:gd name="connsiteX33" fmla="*/ 188595 w 251459"/>
                  <a:gd name="connsiteY33" fmla="*/ 165640 h 279082"/>
                  <a:gd name="connsiteX34" fmla="*/ 209550 w 251459"/>
                  <a:gd name="connsiteY34" fmla="*/ 159067 h 279082"/>
                  <a:gd name="connsiteX35" fmla="*/ 226695 w 251459"/>
                  <a:gd name="connsiteY35" fmla="*/ 151352 h 279082"/>
                  <a:gd name="connsiteX36" fmla="*/ 240982 w 251459"/>
                  <a:gd name="connsiteY36" fmla="*/ 148495 h 279082"/>
                  <a:gd name="connsiteX37" fmla="*/ 251460 w 251459"/>
                  <a:gd name="connsiteY37" fmla="*/ 144780 h 279082"/>
                  <a:gd name="connsiteX38" fmla="*/ 244793 w 251459"/>
                  <a:gd name="connsiteY38" fmla="*/ 130492 h 279082"/>
                  <a:gd name="connsiteX39" fmla="*/ 240982 w 251459"/>
                  <a:gd name="connsiteY39" fmla="*/ 105632 h 279082"/>
                  <a:gd name="connsiteX40" fmla="*/ 244793 w 251459"/>
                  <a:gd name="connsiteY40" fmla="*/ 88582 h 279082"/>
                  <a:gd name="connsiteX41" fmla="*/ 230505 w 251459"/>
                  <a:gd name="connsiteY41" fmla="*/ 80963 h 279082"/>
                  <a:gd name="connsiteX42" fmla="*/ 237172 w 251459"/>
                  <a:gd name="connsiteY42" fmla="*/ 60007 h 279082"/>
                  <a:gd name="connsiteX43" fmla="*/ 230505 w 251459"/>
                  <a:gd name="connsiteY43" fmla="*/ 41815 h 279082"/>
                  <a:gd name="connsiteX44" fmla="*/ 209550 w 251459"/>
                  <a:gd name="connsiteY44" fmla="*/ 28575 h 279082"/>
                  <a:gd name="connsiteX45" fmla="*/ 205740 w 251459"/>
                  <a:gd name="connsiteY45" fmla="*/ 18002 h 279082"/>
                  <a:gd name="connsiteX46" fmla="*/ 191452 w 251459"/>
                  <a:gd name="connsiteY46" fmla="*/ 20955 h 279082"/>
                  <a:gd name="connsiteX47" fmla="*/ 167640 w 251459"/>
                  <a:gd name="connsiteY47" fmla="*/ 28575 h 279082"/>
                  <a:gd name="connsiteX48" fmla="*/ 156210 w 251459"/>
                  <a:gd name="connsiteY48" fmla="*/ 38957 h 279082"/>
                  <a:gd name="connsiteX49" fmla="*/ 140970 w 251459"/>
                  <a:gd name="connsiteY49" fmla="*/ 35242 h 279082"/>
                  <a:gd name="connsiteX50" fmla="*/ 130493 w 251459"/>
                  <a:gd name="connsiteY50" fmla="*/ 28575 h 279082"/>
                  <a:gd name="connsiteX51" fmla="*/ 112395 w 251459"/>
                  <a:gd name="connsiteY51" fmla="*/ 20955 h 279082"/>
                  <a:gd name="connsiteX52" fmla="*/ 109538 w 251459"/>
                  <a:gd name="connsiteY52" fmla="*/ 10382 h 279082"/>
                  <a:gd name="connsiteX53" fmla="*/ 98107 w 251459"/>
                  <a:gd name="connsiteY53" fmla="*/ 0 h 279082"/>
                  <a:gd name="connsiteX54" fmla="*/ 80963 w 251459"/>
                  <a:gd name="connsiteY54" fmla="*/ 3715 h 279082"/>
                  <a:gd name="connsiteX55" fmla="*/ 77152 w 251459"/>
                  <a:gd name="connsiteY55" fmla="*/ 14288 h 279082"/>
                  <a:gd name="connsiteX56" fmla="*/ 80963 w 251459"/>
                  <a:gd name="connsiteY56" fmla="*/ 28575 h 279082"/>
                  <a:gd name="connsiteX57" fmla="*/ 84772 w 251459"/>
                  <a:gd name="connsiteY57" fmla="*/ 38957 h 279082"/>
                  <a:gd name="connsiteX58" fmla="*/ 70485 w 251459"/>
                  <a:gd name="connsiteY58" fmla="*/ 45720 h 279082"/>
                  <a:gd name="connsiteX59" fmla="*/ 62865 w 251459"/>
                  <a:gd name="connsiteY59" fmla="*/ 56102 h 279082"/>
                  <a:gd name="connsiteX60" fmla="*/ 45720 w 251459"/>
                  <a:gd name="connsiteY60" fmla="*/ 49530 h 279082"/>
                  <a:gd name="connsiteX61" fmla="*/ 31432 w 251459"/>
                  <a:gd name="connsiteY61" fmla="*/ 49530 h 279082"/>
                  <a:gd name="connsiteX62" fmla="*/ 17145 w 251459"/>
                  <a:gd name="connsiteY62" fmla="*/ 53245 h 279082"/>
                  <a:gd name="connsiteX63" fmla="*/ 27622 w 251459"/>
                  <a:gd name="connsiteY63" fmla="*/ 77057 h 279082"/>
                  <a:gd name="connsiteX64" fmla="*/ 20955 w 251459"/>
                  <a:gd name="connsiteY64" fmla="*/ 88582 h 2790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251459" h="279082">
                    <a:moveTo>
                      <a:pt x="20955" y="88582"/>
                    </a:moveTo>
                    <a:lnTo>
                      <a:pt x="20955" y="105632"/>
                    </a:lnTo>
                    <a:lnTo>
                      <a:pt x="20955" y="105632"/>
                    </a:lnTo>
                    <a:lnTo>
                      <a:pt x="10477" y="113252"/>
                    </a:lnTo>
                    <a:lnTo>
                      <a:pt x="0" y="119920"/>
                    </a:lnTo>
                    <a:lnTo>
                      <a:pt x="0" y="134207"/>
                    </a:lnTo>
                    <a:lnTo>
                      <a:pt x="0" y="151352"/>
                    </a:lnTo>
                    <a:lnTo>
                      <a:pt x="6667" y="169545"/>
                    </a:lnTo>
                    <a:lnTo>
                      <a:pt x="3810" y="179927"/>
                    </a:lnTo>
                    <a:lnTo>
                      <a:pt x="6667" y="186595"/>
                    </a:lnTo>
                    <a:lnTo>
                      <a:pt x="3810" y="200882"/>
                    </a:lnTo>
                    <a:lnTo>
                      <a:pt x="14288" y="207645"/>
                    </a:lnTo>
                    <a:lnTo>
                      <a:pt x="20955" y="215170"/>
                    </a:lnTo>
                    <a:lnTo>
                      <a:pt x="52388" y="215170"/>
                    </a:lnTo>
                    <a:lnTo>
                      <a:pt x="56197" y="221932"/>
                    </a:lnTo>
                    <a:lnTo>
                      <a:pt x="39052" y="257175"/>
                    </a:lnTo>
                    <a:lnTo>
                      <a:pt x="39052" y="267557"/>
                    </a:lnTo>
                    <a:lnTo>
                      <a:pt x="49530" y="267557"/>
                    </a:lnTo>
                    <a:lnTo>
                      <a:pt x="66675" y="267557"/>
                    </a:lnTo>
                    <a:lnTo>
                      <a:pt x="84772" y="264795"/>
                    </a:lnTo>
                    <a:lnTo>
                      <a:pt x="98107" y="267557"/>
                    </a:lnTo>
                    <a:lnTo>
                      <a:pt x="101918" y="271463"/>
                    </a:lnTo>
                    <a:lnTo>
                      <a:pt x="98107" y="279082"/>
                    </a:lnTo>
                    <a:lnTo>
                      <a:pt x="149543" y="275177"/>
                    </a:lnTo>
                    <a:lnTo>
                      <a:pt x="167640" y="264795"/>
                    </a:lnTo>
                    <a:lnTo>
                      <a:pt x="188595" y="264795"/>
                    </a:lnTo>
                    <a:lnTo>
                      <a:pt x="188595" y="250507"/>
                    </a:lnTo>
                    <a:lnTo>
                      <a:pt x="202882" y="242888"/>
                    </a:lnTo>
                    <a:lnTo>
                      <a:pt x="216218" y="236220"/>
                    </a:lnTo>
                    <a:lnTo>
                      <a:pt x="216218" y="225742"/>
                    </a:lnTo>
                    <a:lnTo>
                      <a:pt x="195263" y="211455"/>
                    </a:lnTo>
                    <a:lnTo>
                      <a:pt x="180975" y="194215"/>
                    </a:lnTo>
                    <a:lnTo>
                      <a:pt x="167640" y="176213"/>
                    </a:lnTo>
                    <a:lnTo>
                      <a:pt x="188595" y="165640"/>
                    </a:lnTo>
                    <a:lnTo>
                      <a:pt x="209550" y="159067"/>
                    </a:lnTo>
                    <a:lnTo>
                      <a:pt x="226695" y="151352"/>
                    </a:lnTo>
                    <a:lnTo>
                      <a:pt x="240982" y="148495"/>
                    </a:lnTo>
                    <a:lnTo>
                      <a:pt x="251460" y="144780"/>
                    </a:lnTo>
                    <a:lnTo>
                      <a:pt x="244793" y="130492"/>
                    </a:lnTo>
                    <a:lnTo>
                      <a:pt x="240982" y="105632"/>
                    </a:lnTo>
                    <a:lnTo>
                      <a:pt x="244793" y="88582"/>
                    </a:lnTo>
                    <a:lnTo>
                      <a:pt x="230505" y="80963"/>
                    </a:lnTo>
                    <a:lnTo>
                      <a:pt x="237172" y="60007"/>
                    </a:lnTo>
                    <a:lnTo>
                      <a:pt x="230505" y="41815"/>
                    </a:lnTo>
                    <a:lnTo>
                      <a:pt x="209550" y="28575"/>
                    </a:lnTo>
                    <a:lnTo>
                      <a:pt x="205740" y="18002"/>
                    </a:lnTo>
                    <a:lnTo>
                      <a:pt x="191452" y="20955"/>
                    </a:lnTo>
                    <a:lnTo>
                      <a:pt x="167640" y="28575"/>
                    </a:lnTo>
                    <a:lnTo>
                      <a:pt x="156210" y="38957"/>
                    </a:lnTo>
                    <a:lnTo>
                      <a:pt x="140970" y="35242"/>
                    </a:lnTo>
                    <a:lnTo>
                      <a:pt x="130493" y="28575"/>
                    </a:lnTo>
                    <a:lnTo>
                      <a:pt x="112395" y="20955"/>
                    </a:lnTo>
                    <a:lnTo>
                      <a:pt x="109538" y="10382"/>
                    </a:lnTo>
                    <a:lnTo>
                      <a:pt x="98107" y="0"/>
                    </a:lnTo>
                    <a:lnTo>
                      <a:pt x="80963" y="3715"/>
                    </a:lnTo>
                    <a:lnTo>
                      <a:pt x="77152" y="14288"/>
                    </a:lnTo>
                    <a:lnTo>
                      <a:pt x="80963" y="28575"/>
                    </a:lnTo>
                    <a:lnTo>
                      <a:pt x="84772" y="38957"/>
                    </a:lnTo>
                    <a:lnTo>
                      <a:pt x="70485" y="45720"/>
                    </a:lnTo>
                    <a:lnTo>
                      <a:pt x="62865" y="56102"/>
                    </a:lnTo>
                    <a:lnTo>
                      <a:pt x="45720" y="49530"/>
                    </a:lnTo>
                    <a:lnTo>
                      <a:pt x="31432" y="49530"/>
                    </a:lnTo>
                    <a:lnTo>
                      <a:pt x="17145" y="53245"/>
                    </a:lnTo>
                    <a:lnTo>
                      <a:pt x="27622" y="77057"/>
                    </a:lnTo>
                    <a:lnTo>
                      <a:pt x="20955" y="885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4" name="Freeform: Shape 393">
                <a:extLst>
                  <a:ext uri="{FF2B5EF4-FFF2-40B4-BE49-F238E27FC236}">
                    <a16:creationId xmlns:a16="http://schemas.microsoft.com/office/drawing/2014/main" id="{B10EFDDD-D19E-0846-2C8C-16994F20A4EB}"/>
                  </a:ext>
                </a:extLst>
              </p:cNvPr>
              <p:cNvSpPr/>
              <p:nvPr/>
            </p:nvSpPr>
            <p:spPr>
              <a:xfrm>
                <a:off x="6391619" y="2874225"/>
                <a:ext cx="266111" cy="208222"/>
              </a:xfrm>
              <a:custGeom>
                <a:avLst/>
                <a:gdLst>
                  <a:gd name="connsiteX0" fmla="*/ 0 w 271462"/>
                  <a:gd name="connsiteY0" fmla="*/ 74295 h 212407"/>
                  <a:gd name="connsiteX1" fmla="*/ 14288 w 271462"/>
                  <a:gd name="connsiteY1" fmla="*/ 81915 h 212407"/>
                  <a:gd name="connsiteX2" fmla="*/ 14288 w 271462"/>
                  <a:gd name="connsiteY2" fmla="*/ 123825 h 212407"/>
                  <a:gd name="connsiteX3" fmla="*/ 20955 w 271462"/>
                  <a:gd name="connsiteY3" fmla="*/ 138113 h 212407"/>
                  <a:gd name="connsiteX4" fmla="*/ 41910 w 271462"/>
                  <a:gd name="connsiteY4" fmla="*/ 148590 h 212407"/>
                  <a:gd name="connsiteX5" fmla="*/ 56197 w 271462"/>
                  <a:gd name="connsiteY5" fmla="*/ 152400 h 212407"/>
                  <a:gd name="connsiteX6" fmla="*/ 60007 w 271462"/>
                  <a:gd name="connsiteY6" fmla="*/ 165640 h 212407"/>
                  <a:gd name="connsiteX7" fmla="*/ 74295 w 271462"/>
                  <a:gd name="connsiteY7" fmla="*/ 169545 h 212407"/>
                  <a:gd name="connsiteX8" fmla="*/ 77152 w 271462"/>
                  <a:gd name="connsiteY8" fmla="*/ 162877 h 212407"/>
                  <a:gd name="connsiteX9" fmla="*/ 91440 w 271462"/>
                  <a:gd name="connsiteY9" fmla="*/ 165640 h 212407"/>
                  <a:gd name="connsiteX10" fmla="*/ 101917 w 271462"/>
                  <a:gd name="connsiteY10" fmla="*/ 173260 h 212407"/>
                  <a:gd name="connsiteX11" fmla="*/ 116205 w 271462"/>
                  <a:gd name="connsiteY11" fmla="*/ 179927 h 212407"/>
                  <a:gd name="connsiteX12" fmla="*/ 130492 w 271462"/>
                  <a:gd name="connsiteY12" fmla="*/ 190500 h 212407"/>
                  <a:gd name="connsiteX13" fmla="*/ 147638 w 271462"/>
                  <a:gd name="connsiteY13" fmla="*/ 194215 h 212407"/>
                  <a:gd name="connsiteX14" fmla="*/ 155257 w 271462"/>
                  <a:gd name="connsiteY14" fmla="*/ 208502 h 212407"/>
                  <a:gd name="connsiteX15" fmla="*/ 172402 w 271462"/>
                  <a:gd name="connsiteY15" fmla="*/ 204788 h 212407"/>
                  <a:gd name="connsiteX16" fmla="*/ 190500 w 271462"/>
                  <a:gd name="connsiteY16" fmla="*/ 198120 h 212407"/>
                  <a:gd name="connsiteX17" fmla="*/ 204788 w 271462"/>
                  <a:gd name="connsiteY17" fmla="*/ 198120 h 212407"/>
                  <a:gd name="connsiteX18" fmla="*/ 221932 w 271462"/>
                  <a:gd name="connsiteY18" fmla="*/ 204788 h 212407"/>
                  <a:gd name="connsiteX19" fmla="*/ 228600 w 271462"/>
                  <a:gd name="connsiteY19" fmla="*/ 212408 h 212407"/>
                  <a:gd name="connsiteX20" fmla="*/ 232410 w 271462"/>
                  <a:gd name="connsiteY20" fmla="*/ 194215 h 212407"/>
                  <a:gd name="connsiteX21" fmla="*/ 240030 w 271462"/>
                  <a:gd name="connsiteY21" fmla="*/ 179927 h 212407"/>
                  <a:gd name="connsiteX22" fmla="*/ 253365 w 271462"/>
                  <a:gd name="connsiteY22" fmla="*/ 165640 h 212407"/>
                  <a:gd name="connsiteX23" fmla="*/ 271463 w 271462"/>
                  <a:gd name="connsiteY23" fmla="*/ 155258 h 212407"/>
                  <a:gd name="connsiteX24" fmla="*/ 267652 w 271462"/>
                  <a:gd name="connsiteY24" fmla="*/ 148590 h 212407"/>
                  <a:gd name="connsiteX25" fmla="*/ 263842 w 271462"/>
                  <a:gd name="connsiteY25" fmla="*/ 134302 h 212407"/>
                  <a:gd name="connsiteX26" fmla="*/ 260985 w 271462"/>
                  <a:gd name="connsiteY26" fmla="*/ 123825 h 212407"/>
                  <a:gd name="connsiteX27" fmla="*/ 260985 w 271462"/>
                  <a:gd name="connsiteY27" fmla="*/ 98965 h 212407"/>
                  <a:gd name="connsiteX28" fmla="*/ 250507 w 271462"/>
                  <a:gd name="connsiteY28" fmla="*/ 92297 h 212407"/>
                  <a:gd name="connsiteX29" fmla="*/ 253365 w 271462"/>
                  <a:gd name="connsiteY29" fmla="*/ 81915 h 212407"/>
                  <a:gd name="connsiteX30" fmla="*/ 267652 w 271462"/>
                  <a:gd name="connsiteY30" fmla="*/ 81915 h 212407"/>
                  <a:gd name="connsiteX31" fmla="*/ 267652 w 271462"/>
                  <a:gd name="connsiteY31" fmla="*/ 57150 h 212407"/>
                  <a:gd name="connsiteX32" fmla="*/ 260985 w 271462"/>
                  <a:gd name="connsiteY32" fmla="*/ 49435 h 212407"/>
                  <a:gd name="connsiteX33" fmla="*/ 253365 w 271462"/>
                  <a:gd name="connsiteY33" fmla="*/ 28575 h 212407"/>
                  <a:gd name="connsiteX34" fmla="*/ 246697 w 271462"/>
                  <a:gd name="connsiteY34" fmla="*/ 21908 h 212407"/>
                  <a:gd name="connsiteX35" fmla="*/ 236220 w 271462"/>
                  <a:gd name="connsiteY35" fmla="*/ 11335 h 212407"/>
                  <a:gd name="connsiteX36" fmla="*/ 190500 w 271462"/>
                  <a:gd name="connsiteY36" fmla="*/ 14288 h 212407"/>
                  <a:gd name="connsiteX37" fmla="*/ 155257 w 271462"/>
                  <a:gd name="connsiteY37" fmla="*/ 14288 h 212407"/>
                  <a:gd name="connsiteX38" fmla="*/ 123825 w 271462"/>
                  <a:gd name="connsiteY38" fmla="*/ 14288 h 212407"/>
                  <a:gd name="connsiteX39" fmla="*/ 116205 w 271462"/>
                  <a:gd name="connsiteY39" fmla="*/ 0 h 212407"/>
                  <a:gd name="connsiteX40" fmla="*/ 84772 w 271462"/>
                  <a:gd name="connsiteY40" fmla="*/ 0 h 212407"/>
                  <a:gd name="connsiteX41" fmla="*/ 56197 w 271462"/>
                  <a:gd name="connsiteY41" fmla="*/ 18002 h 212407"/>
                  <a:gd name="connsiteX42" fmla="*/ 28575 w 271462"/>
                  <a:gd name="connsiteY42" fmla="*/ 28575 h 212407"/>
                  <a:gd name="connsiteX43" fmla="*/ 0 w 271462"/>
                  <a:gd name="connsiteY43" fmla="*/ 35147 h 212407"/>
                  <a:gd name="connsiteX44" fmla="*/ 6667 w 271462"/>
                  <a:gd name="connsiteY44" fmla="*/ 53340 h 212407"/>
                  <a:gd name="connsiteX45" fmla="*/ 0 w 271462"/>
                  <a:gd name="connsiteY45" fmla="*/ 74295 h 2124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271462" h="212407">
                    <a:moveTo>
                      <a:pt x="0" y="74295"/>
                    </a:moveTo>
                    <a:lnTo>
                      <a:pt x="14288" y="81915"/>
                    </a:lnTo>
                    <a:lnTo>
                      <a:pt x="14288" y="123825"/>
                    </a:lnTo>
                    <a:lnTo>
                      <a:pt x="20955" y="138113"/>
                    </a:lnTo>
                    <a:lnTo>
                      <a:pt x="41910" y="148590"/>
                    </a:lnTo>
                    <a:lnTo>
                      <a:pt x="56197" y="152400"/>
                    </a:lnTo>
                    <a:lnTo>
                      <a:pt x="60007" y="165640"/>
                    </a:lnTo>
                    <a:lnTo>
                      <a:pt x="74295" y="169545"/>
                    </a:lnTo>
                    <a:lnTo>
                      <a:pt x="77152" y="162877"/>
                    </a:lnTo>
                    <a:lnTo>
                      <a:pt x="91440" y="165640"/>
                    </a:lnTo>
                    <a:lnTo>
                      <a:pt x="101917" y="173260"/>
                    </a:lnTo>
                    <a:lnTo>
                      <a:pt x="116205" y="179927"/>
                    </a:lnTo>
                    <a:lnTo>
                      <a:pt x="130492" y="190500"/>
                    </a:lnTo>
                    <a:lnTo>
                      <a:pt x="147638" y="194215"/>
                    </a:lnTo>
                    <a:lnTo>
                      <a:pt x="155257" y="208502"/>
                    </a:lnTo>
                    <a:lnTo>
                      <a:pt x="172402" y="204788"/>
                    </a:lnTo>
                    <a:lnTo>
                      <a:pt x="190500" y="198120"/>
                    </a:lnTo>
                    <a:lnTo>
                      <a:pt x="204788" y="198120"/>
                    </a:lnTo>
                    <a:lnTo>
                      <a:pt x="221932" y="204788"/>
                    </a:lnTo>
                    <a:lnTo>
                      <a:pt x="228600" y="212408"/>
                    </a:lnTo>
                    <a:lnTo>
                      <a:pt x="232410" y="194215"/>
                    </a:lnTo>
                    <a:lnTo>
                      <a:pt x="240030" y="179927"/>
                    </a:lnTo>
                    <a:lnTo>
                      <a:pt x="253365" y="165640"/>
                    </a:lnTo>
                    <a:lnTo>
                      <a:pt x="271463" y="155258"/>
                    </a:lnTo>
                    <a:lnTo>
                      <a:pt x="267652" y="148590"/>
                    </a:lnTo>
                    <a:lnTo>
                      <a:pt x="263842" y="134302"/>
                    </a:lnTo>
                    <a:lnTo>
                      <a:pt x="260985" y="123825"/>
                    </a:lnTo>
                    <a:lnTo>
                      <a:pt x="260985" y="98965"/>
                    </a:lnTo>
                    <a:lnTo>
                      <a:pt x="250507" y="92297"/>
                    </a:lnTo>
                    <a:lnTo>
                      <a:pt x="253365" y="81915"/>
                    </a:lnTo>
                    <a:lnTo>
                      <a:pt x="267652" y="81915"/>
                    </a:lnTo>
                    <a:lnTo>
                      <a:pt x="267652" y="57150"/>
                    </a:lnTo>
                    <a:lnTo>
                      <a:pt x="260985" y="49435"/>
                    </a:lnTo>
                    <a:lnTo>
                      <a:pt x="253365" y="28575"/>
                    </a:lnTo>
                    <a:lnTo>
                      <a:pt x="246697" y="21908"/>
                    </a:lnTo>
                    <a:lnTo>
                      <a:pt x="236220" y="11335"/>
                    </a:lnTo>
                    <a:lnTo>
                      <a:pt x="190500" y="14288"/>
                    </a:lnTo>
                    <a:lnTo>
                      <a:pt x="155257" y="14288"/>
                    </a:lnTo>
                    <a:lnTo>
                      <a:pt x="123825" y="14288"/>
                    </a:lnTo>
                    <a:lnTo>
                      <a:pt x="116205" y="0"/>
                    </a:lnTo>
                    <a:lnTo>
                      <a:pt x="84772" y="0"/>
                    </a:lnTo>
                    <a:lnTo>
                      <a:pt x="56197" y="18002"/>
                    </a:lnTo>
                    <a:lnTo>
                      <a:pt x="28575" y="28575"/>
                    </a:lnTo>
                    <a:lnTo>
                      <a:pt x="0" y="35147"/>
                    </a:lnTo>
                    <a:lnTo>
                      <a:pt x="6667" y="53340"/>
                    </a:lnTo>
                    <a:lnTo>
                      <a:pt x="0" y="7429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5" name="Freeform: Shape 394">
                <a:extLst>
                  <a:ext uri="{FF2B5EF4-FFF2-40B4-BE49-F238E27FC236}">
                    <a16:creationId xmlns:a16="http://schemas.microsoft.com/office/drawing/2014/main" id="{E1DDF6F4-E05D-F925-5199-EF91C7C8B21F}"/>
                  </a:ext>
                </a:extLst>
              </p:cNvPr>
              <p:cNvSpPr/>
              <p:nvPr/>
            </p:nvSpPr>
            <p:spPr>
              <a:xfrm>
                <a:off x="4004086" y="1429648"/>
                <a:ext cx="1661095" cy="1237287"/>
              </a:xfrm>
              <a:custGeom>
                <a:avLst/>
                <a:gdLst>
                  <a:gd name="connsiteX0" fmla="*/ 1609725 w 1694497"/>
                  <a:gd name="connsiteY0" fmla="*/ 116300 h 1262157"/>
                  <a:gd name="connsiteX1" fmla="*/ 1557338 w 1694497"/>
                  <a:gd name="connsiteY1" fmla="*/ 120110 h 1262157"/>
                  <a:gd name="connsiteX2" fmla="*/ 1528763 w 1694497"/>
                  <a:gd name="connsiteY2" fmla="*/ 147638 h 1262157"/>
                  <a:gd name="connsiteX3" fmla="*/ 1472565 w 1694497"/>
                  <a:gd name="connsiteY3" fmla="*/ 130588 h 1262157"/>
                  <a:gd name="connsiteX4" fmla="*/ 1443990 w 1694497"/>
                  <a:gd name="connsiteY4" fmla="*/ 151543 h 1262157"/>
                  <a:gd name="connsiteX5" fmla="*/ 1395413 w 1694497"/>
                  <a:gd name="connsiteY5" fmla="*/ 180118 h 1262157"/>
                  <a:gd name="connsiteX6" fmla="*/ 1356360 w 1694497"/>
                  <a:gd name="connsiteY6" fmla="*/ 201073 h 1262157"/>
                  <a:gd name="connsiteX7" fmla="*/ 1363027 w 1694497"/>
                  <a:gd name="connsiteY7" fmla="*/ 182975 h 1262157"/>
                  <a:gd name="connsiteX8" fmla="*/ 1419225 w 1694497"/>
                  <a:gd name="connsiteY8" fmla="*/ 144875 h 1262157"/>
                  <a:gd name="connsiteX9" fmla="*/ 1419225 w 1694497"/>
                  <a:gd name="connsiteY9" fmla="*/ 116300 h 1262157"/>
                  <a:gd name="connsiteX10" fmla="*/ 1408748 w 1694497"/>
                  <a:gd name="connsiteY10" fmla="*/ 102013 h 1262157"/>
                  <a:gd name="connsiteX11" fmla="*/ 1377315 w 1694497"/>
                  <a:gd name="connsiteY11" fmla="*/ 102013 h 1262157"/>
                  <a:gd name="connsiteX12" fmla="*/ 1363027 w 1694497"/>
                  <a:gd name="connsiteY12" fmla="*/ 120110 h 1262157"/>
                  <a:gd name="connsiteX13" fmla="*/ 1338263 w 1694497"/>
                  <a:gd name="connsiteY13" fmla="*/ 134398 h 1262157"/>
                  <a:gd name="connsiteX14" fmla="*/ 1292542 w 1694497"/>
                  <a:gd name="connsiteY14" fmla="*/ 144875 h 1262157"/>
                  <a:gd name="connsiteX15" fmla="*/ 1278255 w 1694497"/>
                  <a:gd name="connsiteY15" fmla="*/ 140970 h 1262157"/>
                  <a:gd name="connsiteX16" fmla="*/ 1303020 w 1694497"/>
                  <a:gd name="connsiteY16" fmla="*/ 134398 h 1262157"/>
                  <a:gd name="connsiteX17" fmla="*/ 1327785 w 1694497"/>
                  <a:gd name="connsiteY17" fmla="*/ 116300 h 1262157"/>
                  <a:gd name="connsiteX18" fmla="*/ 1222057 w 1694497"/>
                  <a:gd name="connsiteY18" fmla="*/ 112395 h 1262157"/>
                  <a:gd name="connsiteX19" fmla="*/ 1176338 w 1694497"/>
                  <a:gd name="connsiteY19" fmla="*/ 123825 h 1262157"/>
                  <a:gd name="connsiteX20" fmla="*/ 1190625 w 1694497"/>
                  <a:gd name="connsiteY20" fmla="*/ 102013 h 1262157"/>
                  <a:gd name="connsiteX21" fmla="*/ 1300163 w 1694497"/>
                  <a:gd name="connsiteY21" fmla="*/ 99155 h 1262157"/>
                  <a:gd name="connsiteX22" fmla="*/ 1408748 w 1694497"/>
                  <a:gd name="connsiteY22" fmla="*/ 84868 h 1262157"/>
                  <a:gd name="connsiteX23" fmla="*/ 1433513 w 1694497"/>
                  <a:gd name="connsiteY23" fmla="*/ 66675 h 1262157"/>
                  <a:gd name="connsiteX24" fmla="*/ 1338263 w 1694497"/>
                  <a:gd name="connsiteY24" fmla="*/ 42005 h 1262157"/>
                  <a:gd name="connsiteX25" fmla="*/ 1331595 w 1694497"/>
                  <a:gd name="connsiteY25" fmla="*/ 31433 h 1262157"/>
                  <a:gd name="connsiteX26" fmla="*/ 1313498 w 1694497"/>
                  <a:gd name="connsiteY26" fmla="*/ 21050 h 1262157"/>
                  <a:gd name="connsiteX27" fmla="*/ 1261110 w 1694497"/>
                  <a:gd name="connsiteY27" fmla="*/ 6763 h 1262157"/>
                  <a:gd name="connsiteX28" fmla="*/ 1197292 w 1694497"/>
                  <a:gd name="connsiteY28" fmla="*/ 0 h 1262157"/>
                  <a:gd name="connsiteX29" fmla="*/ 1088707 w 1694497"/>
                  <a:gd name="connsiteY29" fmla="*/ 0 h 1262157"/>
                  <a:gd name="connsiteX30" fmla="*/ 989647 w 1694497"/>
                  <a:gd name="connsiteY30" fmla="*/ 6763 h 1262157"/>
                  <a:gd name="connsiteX31" fmla="*/ 941070 w 1694497"/>
                  <a:gd name="connsiteY31" fmla="*/ 28575 h 1262157"/>
                  <a:gd name="connsiteX32" fmla="*/ 898207 w 1694497"/>
                  <a:gd name="connsiteY32" fmla="*/ 31433 h 1262157"/>
                  <a:gd name="connsiteX33" fmla="*/ 842010 w 1694497"/>
                  <a:gd name="connsiteY33" fmla="*/ 24860 h 1262157"/>
                  <a:gd name="connsiteX34" fmla="*/ 792480 w 1694497"/>
                  <a:gd name="connsiteY34" fmla="*/ 28575 h 1262157"/>
                  <a:gd name="connsiteX35" fmla="*/ 746760 w 1694497"/>
                  <a:gd name="connsiteY35" fmla="*/ 42005 h 1262157"/>
                  <a:gd name="connsiteX36" fmla="*/ 742950 w 1694497"/>
                  <a:gd name="connsiteY36" fmla="*/ 60008 h 1262157"/>
                  <a:gd name="connsiteX37" fmla="*/ 704850 w 1694497"/>
                  <a:gd name="connsiteY37" fmla="*/ 70580 h 1262157"/>
                  <a:gd name="connsiteX38" fmla="*/ 792480 w 1694497"/>
                  <a:gd name="connsiteY38" fmla="*/ 120110 h 1262157"/>
                  <a:gd name="connsiteX39" fmla="*/ 778192 w 1694497"/>
                  <a:gd name="connsiteY39" fmla="*/ 130588 h 1262157"/>
                  <a:gd name="connsiteX40" fmla="*/ 711517 w 1694497"/>
                  <a:gd name="connsiteY40" fmla="*/ 99155 h 1262157"/>
                  <a:gd name="connsiteX41" fmla="*/ 659130 w 1694497"/>
                  <a:gd name="connsiteY41" fmla="*/ 77248 h 1262157"/>
                  <a:gd name="connsiteX42" fmla="*/ 630555 w 1694497"/>
                  <a:gd name="connsiteY42" fmla="*/ 77248 h 1262157"/>
                  <a:gd name="connsiteX43" fmla="*/ 616267 w 1694497"/>
                  <a:gd name="connsiteY43" fmla="*/ 99155 h 1262157"/>
                  <a:gd name="connsiteX44" fmla="*/ 644842 w 1694497"/>
                  <a:gd name="connsiteY44" fmla="*/ 116300 h 1262157"/>
                  <a:gd name="connsiteX45" fmla="*/ 605790 w 1694497"/>
                  <a:gd name="connsiteY45" fmla="*/ 116300 h 1262157"/>
                  <a:gd name="connsiteX46" fmla="*/ 549592 w 1694497"/>
                  <a:gd name="connsiteY46" fmla="*/ 84868 h 1262157"/>
                  <a:gd name="connsiteX47" fmla="*/ 557213 w 1694497"/>
                  <a:gd name="connsiteY47" fmla="*/ 116300 h 1262157"/>
                  <a:gd name="connsiteX48" fmla="*/ 535305 w 1694497"/>
                  <a:gd name="connsiteY48" fmla="*/ 123825 h 1262157"/>
                  <a:gd name="connsiteX49" fmla="*/ 521970 w 1694497"/>
                  <a:gd name="connsiteY49" fmla="*/ 88583 h 1262157"/>
                  <a:gd name="connsiteX50" fmla="*/ 394335 w 1694497"/>
                  <a:gd name="connsiteY50" fmla="*/ 102013 h 1262157"/>
                  <a:gd name="connsiteX51" fmla="*/ 394335 w 1694497"/>
                  <a:gd name="connsiteY51" fmla="*/ 105823 h 1262157"/>
                  <a:gd name="connsiteX52" fmla="*/ 398145 w 1694497"/>
                  <a:gd name="connsiteY52" fmla="*/ 109538 h 1262157"/>
                  <a:gd name="connsiteX53" fmla="*/ 405765 w 1694497"/>
                  <a:gd name="connsiteY53" fmla="*/ 120110 h 1262157"/>
                  <a:gd name="connsiteX54" fmla="*/ 419100 w 1694497"/>
                  <a:gd name="connsiteY54" fmla="*/ 140970 h 1262157"/>
                  <a:gd name="connsiteX55" fmla="*/ 391477 w 1694497"/>
                  <a:gd name="connsiteY55" fmla="*/ 134398 h 1262157"/>
                  <a:gd name="connsiteX56" fmla="*/ 373380 w 1694497"/>
                  <a:gd name="connsiteY56" fmla="*/ 116300 h 1262157"/>
                  <a:gd name="connsiteX57" fmla="*/ 320992 w 1694497"/>
                  <a:gd name="connsiteY57" fmla="*/ 123825 h 1262157"/>
                  <a:gd name="connsiteX58" fmla="*/ 335280 w 1694497"/>
                  <a:gd name="connsiteY58" fmla="*/ 140970 h 1262157"/>
                  <a:gd name="connsiteX59" fmla="*/ 324802 w 1694497"/>
                  <a:gd name="connsiteY59" fmla="*/ 176213 h 1262157"/>
                  <a:gd name="connsiteX60" fmla="*/ 281940 w 1694497"/>
                  <a:gd name="connsiteY60" fmla="*/ 161925 h 1262157"/>
                  <a:gd name="connsiteX61" fmla="*/ 225742 w 1694497"/>
                  <a:gd name="connsiteY61" fmla="*/ 180118 h 1262157"/>
                  <a:gd name="connsiteX62" fmla="*/ 180022 w 1694497"/>
                  <a:gd name="connsiteY62" fmla="*/ 201073 h 1262157"/>
                  <a:gd name="connsiteX63" fmla="*/ 144780 w 1694497"/>
                  <a:gd name="connsiteY63" fmla="*/ 225838 h 1262157"/>
                  <a:gd name="connsiteX64" fmla="*/ 197167 w 1694497"/>
                  <a:gd name="connsiteY64" fmla="*/ 246793 h 1262157"/>
                  <a:gd name="connsiteX65" fmla="*/ 219075 w 1694497"/>
                  <a:gd name="connsiteY65" fmla="*/ 236220 h 1262157"/>
                  <a:gd name="connsiteX66" fmla="*/ 215265 w 1694497"/>
                  <a:gd name="connsiteY66" fmla="*/ 275368 h 1262157"/>
                  <a:gd name="connsiteX67" fmla="*/ 186690 w 1694497"/>
                  <a:gd name="connsiteY67" fmla="*/ 300038 h 1262157"/>
                  <a:gd name="connsiteX68" fmla="*/ 134302 w 1694497"/>
                  <a:gd name="connsiteY68" fmla="*/ 300038 h 1262157"/>
                  <a:gd name="connsiteX69" fmla="*/ 102870 w 1694497"/>
                  <a:gd name="connsiteY69" fmla="*/ 317182 h 1262157"/>
                  <a:gd name="connsiteX70" fmla="*/ 56197 w 1694497"/>
                  <a:gd name="connsiteY70" fmla="*/ 324898 h 1262157"/>
                  <a:gd name="connsiteX71" fmla="*/ 14288 w 1694497"/>
                  <a:gd name="connsiteY71" fmla="*/ 331470 h 1262157"/>
                  <a:gd name="connsiteX72" fmla="*/ 0 w 1694497"/>
                  <a:gd name="connsiteY72" fmla="*/ 345757 h 1262157"/>
                  <a:gd name="connsiteX73" fmla="*/ 14288 w 1694497"/>
                  <a:gd name="connsiteY73" fmla="*/ 362998 h 1262157"/>
                  <a:gd name="connsiteX74" fmla="*/ 70485 w 1694497"/>
                  <a:gd name="connsiteY74" fmla="*/ 387763 h 1262157"/>
                  <a:gd name="connsiteX75" fmla="*/ 109538 w 1694497"/>
                  <a:gd name="connsiteY75" fmla="*/ 395383 h 1262157"/>
                  <a:gd name="connsiteX76" fmla="*/ 148590 w 1694497"/>
                  <a:gd name="connsiteY76" fmla="*/ 391573 h 1262157"/>
                  <a:gd name="connsiteX77" fmla="*/ 180022 w 1694497"/>
                  <a:gd name="connsiteY77" fmla="*/ 391573 h 1262157"/>
                  <a:gd name="connsiteX78" fmla="*/ 176213 w 1694497"/>
                  <a:gd name="connsiteY78" fmla="*/ 405860 h 1262157"/>
                  <a:gd name="connsiteX79" fmla="*/ 105727 w 1694497"/>
                  <a:gd name="connsiteY79" fmla="*/ 412432 h 1262157"/>
                  <a:gd name="connsiteX80" fmla="*/ 53340 w 1694497"/>
                  <a:gd name="connsiteY80" fmla="*/ 412432 h 1262157"/>
                  <a:gd name="connsiteX81" fmla="*/ 42863 w 1694497"/>
                  <a:gd name="connsiteY81" fmla="*/ 422910 h 1262157"/>
                  <a:gd name="connsiteX82" fmla="*/ 74295 w 1694497"/>
                  <a:gd name="connsiteY82" fmla="*/ 441007 h 1262157"/>
                  <a:gd name="connsiteX83" fmla="*/ 109538 w 1694497"/>
                  <a:gd name="connsiteY83" fmla="*/ 441007 h 1262157"/>
                  <a:gd name="connsiteX84" fmla="*/ 134302 w 1694497"/>
                  <a:gd name="connsiteY84" fmla="*/ 443960 h 1262157"/>
                  <a:gd name="connsiteX85" fmla="*/ 120015 w 1694497"/>
                  <a:gd name="connsiteY85" fmla="*/ 451485 h 1262157"/>
                  <a:gd name="connsiteX86" fmla="*/ 91440 w 1694497"/>
                  <a:gd name="connsiteY86" fmla="*/ 462058 h 1262157"/>
                  <a:gd name="connsiteX87" fmla="*/ 134302 w 1694497"/>
                  <a:gd name="connsiteY87" fmla="*/ 479107 h 1262157"/>
                  <a:gd name="connsiteX88" fmla="*/ 165735 w 1694497"/>
                  <a:gd name="connsiteY88" fmla="*/ 486823 h 1262157"/>
                  <a:gd name="connsiteX89" fmla="*/ 176213 w 1694497"/>
                  <a:gd name="connsiteY89" fmla="*/ 479107 h 1262157"/>
                  <a:gd name="connsiteX90" fmla="*/ 186690 w 1694497"/>
                  <a:gd name="connsiteY90" fmla="*/ 465773 h 1262157"/>
                  <a:gd name="connsiteX91" fmla="*/ 207645 w 1694497"/>
                  <a:gd name="connsiteY91" fmla="*/ 483013 h 1262157"/>
                  <a:gd name="connsiteX92" fmla="*/ 242888 w 1694497"/>
                  <a:gd name="connsiteY92" fmla="*/ 468725 h 1262157"/>
                  <a:gd name="connsiteX93" fmla="*/ 260985 w 1694497"/>
                  <a:gd name="connsiteY93" fmla="*/ 462058 h 1262157"/>
                  <a:gd name="connsiteX94" fmla="*/ 345757 w 1694497"/>
                  <a:gd name="connsiteY94" fmla="*/ 483013 h 1262157"/>
                  <a:gd name="connsiteX95" fmla="*/ 398145 w 1694497"/>
                  <a:gd name="connsiteY95" fmla="*/ 501110 h 1262157"/>
                  <a:gd name="connsiteX96" fmla="*/ 401955 w 1694497"/>
                  <a:gd name="connsiteY96" fmla="*/ 518160 h 1262157"/>
                  <a:gd name="connsiteX97" fmla="*/ 419100 w 1694497"/>
                  <a:gd name="connsiteY97" fmla="*/ 539210 h 1262157"/>
                  <a:gd name="connsiteX98" fmla="*/ 464820 w 1694497"/>
                  <a:gd name="connsiteY98" fmla="*/ 585883 h 1262157"/>
                  <a:gd name="connsiteX99" fmla="*/ 507682 w 1694497"/>
                  <a:gd name="connsiteY99" fmla="*/ 666845 h 1262157"/>
                  <a:gd name="connsiteX100" fmla="*/ 482917 w 1694497"/>
                  <a:gd name="connsiteY100" fmla="*/ 702088 h 1262157"/>
                  <a:gd name="connsiteX101" fmla="*/ 482917 w 1694497"/>
                  <a:gd name="connsiteY101" fmla="*/ 729710 h 1262157"/>
                  <a:gd name="connsiteX102" fmla="*/ 521970 w 1694497"/>
                  <a:gd name="connsiteY102" fmla="*/ 726758 h 1262157"/>
                  <a:gd name="connsiteX103" fmla="*/ 535305 w 1694497"/>
                  <a:gd name="connsiteY103" fmla="*/ 704945 h 1262157"/>
                  <a:gd name="connsiteX104" fmla="*/ 563880 w 1694497"/>
                  <a:gd name="connsiteY104" fmla="*/ 722947 h 1262157"/>
                  <a:gd name="connsiteX105" fmla="*/ 581025 w 1694497"/>
                  <a:gd name="connsiteY105" fmla="*/ 729710 h 1262157"/>
                  <a:gd name="connsiteX106" fmla="*/ 605790 w 1694497"/>
                  <a:gd name="connsiteY106" fmla="*/ 758285 h 1262157"/>
                  <a:gd name="connsiteX107" fmla="*/ 602932 w 1694497"/>
                  <a:gd name="connsiteY107" fmla="*/ 779145 h 1262157"/>
                  <a:gd name="connsiteX108" fmla="*/ 560070 w 1694497"/>
                  <a:gd name="connsiteY108" fmla="*/ 764858 h 1262157"/>
                  <a:gd name="connsiteX109" fmla="*/ 521970 w 1694497"/>
                  <a:gd name="connsiteY109" fmla="*/ 768763 h 1262157"/>
                  <a:gd name="connsiteX110" fmla="*/ 545782 w 1694497"/>
                  <a:gd name="connsiteY110" fmla="*/ 783050 h 1262157"/>
                  <a:gd name="connsiteX111" fmla="*/ 581025 w 1694497"/>
                  <a:gd name="connsiteY111" fmla="*/ 803910 h 1262157"/>
                  <a:gd name="connsiteX112" fmla="*/ 620077 w 1694497"/>
                  <a:gd name="connsiteY112" fmla="*/ 803910 h 1262157"/>
                  <a:gd name="connsiteX113" fmla="*/ 626745 w 1694497"/>
                  <a:gd name="connsiteY113" fmla="*/ 822008 h 1262157"/>
                  <a:gd name="connsiteX114" fmla="*/ 605790 w 1694497"/>
                  <a:gd name="connsiteY114" fmla="*/ 843058 h 1262157"/>
                  <a:gd name="connsiteX115" fmla="*/ 605790 w 1694497"/>
                  <a:gd name="connsiteY115" fmla="*/ 881158 h 1262157"/>
                  <a:gd name="connsiteX116" fmla="*/ 613410 w 1694497"/>
                  <a:gd name="connsiteY116" fmla="*/ 917258 h 1262157"/>
                  <a:gd name="connsiteX117" fmla="*/ 609600 w 1694497"/>
                  <a:gd name="connsiteY117" fmla="*/ 920210 h 1262157"/>
                  <a:gd name="connsiteX118" fmla="*/ 602932 w 1694497"/>
                  <a:gd name="connsiteY118" fmla="*/ 920210 h 1262157"/>
                  <a:gd name="connsiteX119" fmla="*/ 591502 w 1694497"/>
                  <a:gd name="connsiteY119" fmla="*/ 917258 h 1262157"/>
                  <a:gd name="connsiteX120" fmla="*/ 560070 w 1694497"/>
                  <a:gd name="connsiteY120" fmla="*/ 909733 h 1262157"/>
                  <a:gd name="connsiteX121" fmla="*/ 549592 w 1694497"/>
                  <a:gd name="connsiteY121" fmla="*/ 909733 h 1262157"/>
                  <a:gd name="connsiteX122" fmla="*/ 532447 w 1694497"/>
                  <a:gd name="connsiteY122" fmla="*/ 930688 h 1262157"/>
                  <a:gd name="connsiteX123" fmla="*/ 535305 w 1694497"/>
                  <a:gd name="connsiteY123" fmla="*/ 952595 h 1262157"/>
                  <a:gd name="connsiteX124" fmla="*/ 557213 w 1694497"/>
                  <a:gd name="connsiteY124" fmla="*/ 952595 h 1262157"/>
                  <a:gd name="connsiteX125" fmla="*/ 549592 w 1694497"/>
                  <a:gd name="connsiteY125" fmla="*/ 962978 h 1262157"/>
                  <a:gd name="connsiteX126" fmla="*/ 535305 w 1694497"/>
                  <a:gd name="connsiteY126" fmla="*/ 987838 h 1262157"/>
                  <a:gd name="connsiteX127" fmla="*/ 549592 w 1694497"/>
                  <a:gd name="connsiteY127" fmla="*/ 1008697 h 1262157"/>
                  <a:gd name="connsiteX128" fmla="*/ 570547 w 1694497"/>
                  <a:gd name="connsiteY128" fmla="*/ 1036415 h 1262157"/>
                  <a:gd name="connsiteX129" fmla="*/ 599122 w 1694497"/>
                  <a:gd name="connsiteY129" fmla="*/ 1058228 h 1262157"/>
                  <a:gd name="connsiteX130" fmla="*/ 623888 w 1694497"/>
                  <a:gd name="connsiteY130" fmla="*/ 1046797 h 1262157"/>
                  <a:gd name="connsiteX131" fmla="*/ 634365 w 1694497"/>
                  <a:gd name="connsiteY131" fmla="*/ 1064990 h 1262157"/>
                  <a:gd name="connsiteX132" fmla="*/ 613410 w 1694497"/>
                  <a:gd name="connsiteY132" fmla="*/ 1089660 h 1262157"/>
                  <a:gd name="connsiteX133" fmla="*/ 613410 w 1694497"/>
                  <a:gd name="connsiteY133" fmla="*/ 1118235 h 1262157"/>
                  <a:gd name="connsiteX134" fmla="*/ 638175 w 1694497"/>
                  <a:gd name="connsiteY134" fmla="*/ 1135475 h 1262157"/>
                  <a:gd name="connsiteX135" fmla="*/ 626745 w 1694497"/>
                  <a:gd name="connsiteY135" fmla="*/ 1153478 h 1262157"/>
                  <a:gd name="connsiteX136" fmla="*/ 659130 w 1694497"/>
                  <a:gd name="connsiteY136" fmla="*/ 1184910 h 1262157"/>
                  <a:gd name="connsiteX137" fmla="*/ 686752 w 1694497"/>
                  <a:gd name="connsiteY137" fmla="*/ 1234440 h 1262157"/>
                  <a:gd name="connsiteX138" fmla="*/ 715327 w 1694497"/>
                  <a:gd name="connsiteY138" fmla="*/ 1224058 h 1262157"/>
                  <a:gd name="connsiteX139" fmla="*/ 732472 w 1694497"/>
                  <a:gd name="connsiteY139" fmla="*/ 1224058 h 1262157"/>
                  <a:gd name="connsiteX140" fmla="*/ 750570 w 1694497"/>
                  <a:gd name="connsiteY140" fmla="*/ 1216438 h 1262157"/>
                  <a:gd name="connsiteX141" fmla="*/ 754380 w 1694497"/>
                  <a:gd name="connsiteY141" fmla="*/ 1237298 h 1262157"/>
                  <a:gd name="connsiteX142" fmla="*/ 782002 w 1694497"/>
                  <a:gd name="connsiteY142" fmla="*/ 1259300 h 1262157"/>
                  <a:gd name="connsiteX143" fmla="*/ 813435 w 1694497"/>
                  <a:gd name="connsiteY143" fmla="*/ 1262158 h 1262157"/>
                  <a:gd name="connsiteX144" fmla="*/ 838200 w 1694497"/>
                  <a:gd name="connsiteY144" fmla="*/ 1209770 h 1262157"/>
                  <a:gd name="connsiteX145" fmla="*/ 848677 w 1694497"/>
                  <a:gd name="connsiteY145" fmla="*/ 1170623 h 1262157"/>
                  <a:gd name="connsiteX146" fmla="*/ 845820 w 1694497"/>
                  <a:gd name="connsiteY146" fmla="*/ 1160240 h 1262157"/>
                  <a:gd name="connsiteX147" fmla="*/ 835342 w 1694497"/>
                  <a:gd name="connsiteY147" fmla="*/ 1145953 h 1262157"/>
                  <a:gd name="connsiteX148" fmla="*/ 856297 w 1694497"/>
                  <a:gd name="connsiteY148" fmla="*/ 1142048 h 1262157"/>
                  <a:gd name="connsiteX149" fmla="*/ 883920 w 1694497"/>
                  <a:gd name="connsiteY149" fmla="*/ 1121188 h 1262157"/>
                  <a:gd name="connsiteX150" fmla="*/ 894397 w 1694497"/>
                  <a:gd name="connsiteY150" fmla="*/ 1093565 h 1262157"/>
                  <a:gd name="connsiteX151" fmla="*/ 887730 w 1694497"/>
                  <a:gd name="connsiteY151" fmla="*/ 1079278 h 1262157"/>
                  <a:gd name="connsiteX152" fmla="*/ 902017 w 1694497"/>
                  <a:gd name="connsiteY152" fmla="*/ 1068800 h 1262157"/>
                  <a:gd name="connsiteX153" fmla="*/ 898207 w 1694497"/>
                  <a:gd name="connsiteY153" fmla="*/ 1043940 h 1262157"/>
                  <a:gd name="connsiteX154" fmla="*/ 912495 w 1694497"/>
                  <a:gd name="connsiteY154" fmla="*/ 1036415 h 1262157"/>
                  <a:gd name="connsiteX155" fmla="*/ 912495 w 1694497"/>
                  <a:gd name="connsiteY155" fmla="*/ 1025938 h 1262157"/>
                  <a:gd name="connsiteX156" fmla="*/ 922972 w 1694497"/>
                  <a:gd name="connsiteY156" fmla="*/ 1015365 h 1262157"/>
                  <a:gd name="connsiteX157" fmla="*/ 962025 w 1694497"/>
                  <a:gd name="connsiteY157" fmla="*/ 1008697 h 1262157"/>
                  <a:gd name="connsiteX158" fmla="*/ 986790 w 1694497"/>
                  <a:gd name="connsiteY158" fmla="*/ 1008697 h 1262157"/>
                  <a:gd name="connsiteX159" fmla="*/ 1024890 w 1694497"/>
                  <a:gd name="connsiteY159" fmla="*/ 994410 h 1262157"/>
                  <a:gd name="connsiteX160" fmla="*/ 1070610 w 1694497"/>
                  <a:gd name="connsiteY160" fmla="*/ 973550 h 1262157"/>
                  <a:gd name="connsiteX161" fmla="*/ 1105852 w 1694497"/>
                  <a:gd name="connsiteY161" fmla="*/ 927735 h 1262157"/>
                  <a:gd name="connsiteX162" fmla="*/ 1130617 w 1694497"/>
                  <a:gd name="connsiteY162" fmla="*/ 905923 h 1262157"/>
                  <a:gd name="connsiteX163" fmla="*/ 1138238 w 1694497"/>
                  <a:gd name="connsiteY163" fmla="*/ 892588 h 1262157"/>
                  <a:gd name="connsiteX164" fmla="*/ 1159192 w 1694497"/>
                  <a:gd name="connsiteY164" fmla="*/ 902970 h 1262157"/>
                  <a:gd name="connsiteX165" fmla="*/ 1190625 w 1694497"/>
                  <a:gd name="connsiteY165" fmla="*/ 895445 h 1262157"/>
                  <a:gd name="connsiteX166" fmla="*/ 1296352 w 1694497"/>
                  <a:gd name="connsiteY166" fmla="*/ 874395 h 1262157"/>
                  <a:gd name="connsiteX167" fmla="*/ 1324927 w 1694497"/>
                  <a:gd name="connsiteY167" fmla="*/ 853535 h 1262157"/>
                  <a:gd name="connsiteX168" fmla="*/ 1391602 w 1694497"/>
                  <a:gd name="connsiteY168" fmla="*/ 814483 h 1262157"/>
                  <a:gd name="connsiteX169" fmla="*/ 1416367 w 1694497"/>
                  <a:gd name="connsiteY169" fmla="*/ 800195 h 1262157"/>
                  <a:gd name="connsiteX170" fmla="*/ 1370648 w 1694497"/>
                  <a:gd name="connsiteY170" fmla="*/ 797338 h 1262157"/>
                  <a:gd name="connsiteX171" fmla="*/ 1331595 w 1694497"/>
                  <a:gd name="connsiteY171" fmla="*/ 786860 h 1262157"/>
                  <a:gd name="connsiteX172" fmla="*/ 1321117 w 1694497"/>
                  <a:gd name="connsiteY172" fmla="*/ 762095 h 1262157"/>
                  <a:gd name="connsiteX173" fmla="*/ 1321117 w 1694497"/>
                  <a:gd name="connsiteY173" fmla="*/ 729710 h 1262157"/>
                  <a:gd name="connsiteX174" fmla="*/ 1331595 w 1694497"/>
                  <a:gd name="connsiteY174" fmla="*/ 733520 h 1262157"/>
                  <a:gd name="connsiteX175" fmla="*/ 1356360 w 1694497"/>
                  <a:gd name="connsiteY175" fmla="*/ 758285 h 1262157"/>
                  <a:gd name="connsiteX176" fmla="*/ 1391602 w 1694497"/>
                  <a:gd name="connsiteY176" fmla="*/ 783050 h 1262157"/>
                  <a:gd name="connsiteX177" fmla="*/ 1426845 w 1694497"/>
                  <a:gd name="connsiteY177" fmla="*/ 786860 h 1262157"/>
                  <a:gd name="connsiteX178" fmla="*/ 1416367 w 1694497"/>
                  <a:gd name="connsiteY178" fmla="*/ 722947 h 1262157"/>
                  <a:gd name="connsiteX179" fmla="*/ 1366838 w 1694497"/>
                  <a:gd name="connsiteY179" fmla="*/ 691610 h 1262157"/>
                  <a:gd name="connsiteX180" fmla="*/ 1363027 w 1694497"/>
                  <a:gd name="connsiteY180" fmla="*/ 680085 h 1262157"/>
                  <a:gd name="connsiteX181" fmla="*/ 1377315 w 1694497"/>
                  <a:gd name="connsiteY181" fmla="*/ 680085 h 1262157"/>
                  <a:gd name="connsiteX182" fmla="*/ 1408748 w 1694497"/>
                  <a:gd name="connsiteY182" fmla="*/ 704945 h 1262157"/>
                  <a:gd name="connsiteX183" fmla="*/ 1416367 w 1694497"/>
                  <a:gd name="connsiteY183" fmla="*/ 673513 h 1262157"/>
                  <a:gd name="connsiteX184" fmla="*/ 1408748 w 1694497"/>
                  <a:gd name="connsiteY184" fmla="*/ 656272 h 1262157"/>
                  <a:gd name="connsiteX185" fmla="*/ 1352550 w 1694497"/>
                  <a:gd name="connsiteY185" fmla="*/ 656272 h 1262157"/>
                  <a:gd name="connsiteX186" fmla="*/ 1331595 w 1694497"/>
                  <a:gd name="connsiteY186" fmla="*/ 634460 h 1262157"/>
                  <a:gd name="connsiteX187" fmla="*/ 1352550 w 1694497"/>
                  <a:gd name="connsiteY187" fmla="*/ 623983 h 1262157"/>
                  <a:gd name="connsiteX188" fmla="*/ 1391602 w 1694497"/>
                  <a:gd name="connsiteY188" fmla="*/ 627697 h 1262157"/>
                  <a:gd name="connsiteX189" fmla="*/ 1429702 w 1694497"/>
                  <a:gd name="connsiteY189" fmla="*/ 627697 h 1262157"/>
                  <a:gd name="connsiteX190" fmla="*/ 1462088 w 1694497"/>
                  <a:gd name="connsiteY190" fmla="*/ 617220 h 1262157"/>
                  <a:gd name="connsiteX191" fmla="*/ 1454467 w 1694497"/>
                  <a:gd name="connsiteY191" fmla="*/ 592550 h 1262157"/>
                  <a:gd name="connsiteX192" fmla="*/ 1476375 w 1694497"/>
                  <a:gd name="connsiteY192" fmla="*/ 588645 h 1262157"/>
                  <a:gd name="connsiteX193" fmla="*/ 1497330 w 1694497"/>
                  <a:gd name="connsiteY193" fmla="*/ 578263 h 1262157"/>
                  <a:gd name="connsiteX194" fmla="*/ 1497330 w 1694497"/>
                  <a:gd name="connsiteY194" fmla="*/ 571595 h 1262157"/>
                  <a:gd name="connsiteX195" fmla="*/ 1489710 w 1694497"/>
                  <a:gd name="connsiteY195" fmla="*/ 563975 h 1262157"/>
                  <a:gd name="connsiteX196" fmla="*/ 1479232 w 1694497"/>
                  <a:gd name="connsiteY196" fmla="*/ 549688 h 1262157"/>
                  <a:gd name="connsiteX197" fmla="*/ 1458277 w 1694497"/>
                  <a:gd name="connsiteY197" fmla="*/ 525875 h 1262157"/>
                  <a:gd name="connsiteX198" fmla="*/ 1493520 w 1694497"/>
                  <a:gd name="connsiteY198" fmla="*/ 521970 h 1262157"/>
                  <a:gd name="connsiteX199" fmla="*/ 1497330 w 1694497"/>
                  <a:gd name="connsiteY199" fmla="*/ 493395 h 1262157"/>
                  <a:gd name="connsiteX200" fmla="*/ 1468755 w 1694497"/>
                  <a:gd name="connsiteY200" fmla="*/ 472535 h 1262157"/>
                  <a:gd name="connsiteX201" fmla="*/ 1433513 w 1694497"/>
                  <a:gd name="connsiteY201" fmla="*/ 462058 h 1262157"/>
                  <a:gd name="connsiteX202" fmla="*/ 1433513 w 1694497"/>
                  <a:gd name="connsiteY202" fmla="*/ 437198 h 1262157"/>
                  <a:gd name="connsiteX203" fmla="*/ 1472565 w 1694497"/>
                  <a:gd name="connsiteY203" fmla="*/ 430625 h 1262157"/>
                  <a:gd name="connsiteX204" fmla="*/ 1489710 w 1694497"/>
                  <a:gd name="connsiteY204" fmla="*/ 443960 h 1262157"/>
                  <a:gd name="connsiteX205" fmla="*/ 1511617 w 1694497"/>
                  <a:gd name="connsiteY205" fmla="*/ 458248 h 1262157"/>
                  <a:gd name="connsiteX206" fmla="*/ 1514475 w 1694497"/>
                  <a:gd name="connsiteY206" fmla="*/ 455295 h 1262157"/>
                  <a:gd name="connsiteX207" fmla="*/ 1522095 w 1694497"/>
                  <a:gd name="connsiteY207" fmla="*/ 441007 h 1262157"/>
                  <a:gd name="connsiteX208" fmla="*/ 1528763 w 1694497"/>
                  <a:gd name="connsiteY208" fmla="*/ 420148 h 1262157"/>
                  <a:gd name="connsiteX209" fmla="*/ 1503998 w 1694497"/>
                  <a:gd name="connsiteY209" fmla="*/ 412432 h 1262157"/>
                  <a:gd name="connsiteX210" fmla="*/ 1479232 w 1694497"/>
                  <a:gd name="connsiteY210" fmla="*/ 402050 h 1262157"/>
                  <a:gd name="connsiteX211" fmla="*/ 1476375 w 1694497"/>
                  <a:gd name="connsiteY211" fmla="*/ 398145 h 1262157"/>
                  <a:gd name="connsiteX212" fmla="*/ 1472565 w 1694497"/>
                  <a:gd name="connsiteY212" fmla="*/ 395383 h 1262157"/>
                  <a:gd name="connsiteX213" fmla="*/ 1472565 w 1694497"/>
                  <a:gd name="connsiteY213" fmla="*/ 387763 h 1262157"/>
                  <a:gd name="connsiteX214" fmla="*/ 1493520 w 1694497"/>
                  <a:gd name="connsiteY214" fmla="*/ 373475 h 1262157"/>
                  <a:gd name="connsiteX215" fmla="*/ 1447800 w 1694497"/>
                  <a:gd name="connsiteY215" fmla="*/ 370523 h 1262157"/>
                  <a:gd name="connsiteX216" fmla="*/ 1429702 w 1694497"/>
                  <a:gd name="connsiteY216" fmla="*/ 366808 h 1262157"/>
                  <a:gd name="connsiteX217" fmla="*/ 1447800 w 1694497"/>
                  <a:gd name="connsiteY217" fmla="*/ 317182 h 1262157"/>
                  <a:gd name="connsiteX218" fmla="*/ 1483042 w 1694497"/>
                  <a:gd name="connsiteY218" fmla="*/ 300038 h 1262157"/>
                  <a:gd name="connsiteX219" fmla="*/ 1486852 w 1694497"/>
                  <a:gd name="connsiteY219" fmla="*/ 267748 h 1262157"/>
                  <a:gd name="connsiteX220" fmla="*/ 1528763 w 1694497"/>
                  <a:gd name="connsiteY220" fmla="*/ 257175 h 1262157"/>
                  <a:gd name="connsiteX221" fmla="*/ 1543050 w 1694497"/>
                  <a:gd name="connsiteY221" fmla="*/ 242888 h 1262157"/>
                  <a:gd name="connsiteX222" fmla="*/ 1524952 w 1694497"/>
                  <a:gd name="connsiteY222" fmla="*/ 242888 h 1262157"/>
                  <a:gd name="connsiteX223" fmla="*/ 1479232 w 1694497"/>
                  <a:gd name="connsiteY223" fmla="*/ 246793 h 1262157"/>
                  <a:gd name="connsiteX224" fmla="*/ 1464945 w 1694497"/>
                  <a:gd name="connsiteY224" fmla="*/ 232505 h 1262157"/>
                  <a:gd name="connsiteX225" fmla="*/ 1497330 w 1694497"/>
                  <a:gd name="connsiteY225" fmla="*/ 225838 h 1262157"/>
                  <a:gd name="connsiteX226" fmla="*/ 1564005 w 1694497"/>
                  <a:gd name="connsiteY226" fmla="*/ 229648 h 1262157"/>
                  <a:gd name="connsiteX227" fmla="*/ 1578292 w 1694497"/>
                  <a:gd name="connsiteY227" fmla="*/ 215360 h 1262157"/>
                  <a:gd name="connsiteX228" fmla="*/ 1532573 w 1694497"/>
                  <a:gd name="connsiteY228" fmla="*/ 211550 h 1262157"/>
                  <a:gd name="connsiteX229" fmla="*/ 1500188 w 1694497"/>
                  <a:gd name="connsiteY229" fmla="*/ 204788 h 1262157"/>
                  <a:gd name="connsiteX230" fmla="*/ 1535430 w 1694497"/>
                  <a:gd name="connsiteY230" fmla="*/ 194405 h 1262157"/>
                  <a:gd name="connsiteX231" fmla="*/ 1595438 w 1694497"/>
                  <a:gd name="connsiteY231" fmla="*/ 194405 h 1262157"/>
                  <a:gd name="connsiteX232" fmla="*/ 1613535 w 1694497"/>
                  <a:gd name="connsiteY232" fmla="*/ 186785 h 1262157"/>
                  <a:gd name="connsiteX233" fmla="*/ 1624013 w 1694497"/>
                  <a:gd name="connsiteY233" fmla="*/ 172498 h 1262157"/>
                  <a:gd name="connsiteX234" fmla="*/ 1669732 w 1694497"/>
                  <a:gd name="connsiteY234" fmla="*/ 159163 h 1262157"/>
                  <a:gd name="connsiteX235" fmla="*/ 1694498 w 1694497"/>
                  <a:gd name="connsiteY235" fmla="*/ 140970 h 1262157"/>
                  <a:gd name="connsiteX236" fmla="*/ 1665923 w 1694497"/>
                  <a:gd name="connsiteY236" fmla="*/ 123825 h 1262157"/>
                  <a:gd name="connsiteX237" fmla="*/ 1609725 w 1694497"/>
                  <a:gd name="connsiteY237" fmla="*/ 116300 h 12621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</a:cxnLst>
                <a:rect l="l" t="t" r="r" b="b"/>
                <a:pathLst>
                  <a:path w="1694497" h="1262157">
                    <a:moveTo>
                      <a:pt x="1609725" y="116300"/>
                    </a:moveTo>
                    <a:lnTo>
                      <a:pt x="1557338" y="120110"/>
                    </a:lnTo>
                    <a:lnTo>
                      <a:pt x="1528763" y="147638"/>
                    </a:lnTo>
                    <a:lnTo>
                      <a:pt x="1472565" y="130588"/>
                    </a:lnTo>
                    <a:lnTo>
                      <a:pt x="1443990" y="151543"/>
                    </a:lnTo>
                    <a:lnTo>
                      <a:pt x="1395413" y="180118"/>
                    </a:lnTo>
                    <a:lnTo>
                      <a:pt x="1356360" y="201073"/>
                    </a:lnTo>
                    <a:lnTo>
                      <a:pt x="1363027" y="182975"/>
                    </a:lnTo>
                    <a:lnTo>
                      <a:pt x="1419225" y="144875"/>
                    </a:lnTo>
                    <a:lnTo>
                      <a:pt x="1419225" y="116300"/>
                    </a:lnTo>
                    <a:lnTo>
                      <a:pt x="1408748" y="102013"/>
                    </a:lnTo>
                    <a:lnTo>
                      <a:pt x="1377315" y="102013"/>
                    </a:lnTo>
                    <a:lnTo>
                      <a:pt x="1363027" y="120110"/>
                    </a:lnTo>
                    <a:lnTo>
                      <a:pt x="1338263" y="134398"/>
                    </a:lnTo>
                    <a:lnTo>
                      <a:pt x="1292542" y="144875"/>
                    </a:lnTo>
                    <a:lnTo>
                      <a:pt x="1278255" y="140970"/>
                    </a:lnTo>
                    <a:lnTo>
                      <a:pt x="1303020" y="134398"/>
                    </a:lnTo>
                    <a:lnTo>
                      <a:pt x="1327785" y="116300"/>
                    </a:lnTo>
                    <a:lnTo>
                      <a:pt x="1222057" y="112395"/>
                    </a:lnTo>
                    <a:lnTo>
                      <a:pt x="1176338" y="123825"/>
                    </a:lnTo>
                    <a:lnTo>
                      <a:pt x="1190625" y="102013"/>
                    </a:lnTo>
                    <a:lnTo>
                      <a:pt x="1300163" y="99155"/>
                    </a:lnTo>
                    <a:lnTo>
                      <a:pt x="1408748" y="84868"/>
                    </a:lnTo>
                    <a:lnTo>
                      <a:pt x="1433513" y="66675"/>
                    </a:lnTo>
                    <a:lnTo>
                      <a:pt x="1338263" y="42005"/>
                    </a:lnTo>
                    <a:lnTo>
                      <a:pt x="1331595" y="31433"/>
                    </a:lnTo>
                    <a:lnTo>
                      <a:pt x="1313498" y="21050"/>
                    </a:lnTo>
                    <a:lnTo>
                      <a:pt x="1261110" y="6763"/>
                    </a:lnTo>
                    <a:lnTo>
                      <a:pt x="1197292" y="0"/>
                    </a:lnTo>
                    <a:lnTo>
                      <a:pt x="1088707" y="0"/>
                    </a:lnTo>
                    <a:lnTo>
                      <a:pt x="989647" y="6763"/>
                    </a:lnTo>
                    <a:lnTo>
                      <a:pt x="941070" y="28575"/>
                    </a:lnTo>
                    <a:lnTo>
                      <a:pt x="898207" y="31433"/>
                    </a:lnTo>
                    <a:lnTo>
                      <a:pt x="842010" y="24860"/>
                    </a:lnTo>
                    <a:lnTo>
                      <a:pt x="792480" y="28575"/>
                    </a:lnTo>
                    <a:lnTo>
                      <a:pt x="746760" y="42005"/>
                    </a:lnTo>
                    <a:lnTo>
                      <a:pt x="742950" y="60008"/>
                    </a:lnTo>
                    <a:lnTo>
                      <a:pt x="704850" y="70580"/>
                    </a:lnTo>
                    <a:lnTo>
                      <a:pt x="792480" y="120110"/>
                    </a:lnTo>
                    <a:lnTo>
                      <a:pt x="778192" y="130588"/>
                    </a:lnTo>
                    <a:lnTo>
                      <a:pt x="711517" y="99155"/>
                    </a:lnTo>
                    <a:lnTo>
                      <a:pt x="659130" y="77248"/>
                    </a:lnTo>
                    <a:lnTo>
                      <a:pt x="630555" y="77248"/>
                    </a:lnTo>
                    <a:lnTo>
                      <a:pt x="616267" y="99155"/>
                    </a:lnTo>
                    <a:lnTo>
                      <a:pt x="644842" y="116300"/>
                    </a:lnTo>
                    <a:lnTo>
                      <a:pt x="605790" y="116300"/>
                    </a:lnTo>
                    <a:lnTo>
                      <a:pt x="549592" y="84868"/>
                    </a:lnTo>
                    <a:lnTo>
                      <a:pt x="557213" y="116300"/>
                    </a:lnTo>
                    <a:lnTo>
                      <a:pt x="535305" y="123825"/>
                    </a:lnTo>
                    <a:lnTo>
                      <a:pt x="521970" y="88583"/>
                    </a:lnTo>
                    <a:lnTo>
                      <a:pt x="394335" y="102013"/>
                    </a:lnTo>
                    <a:lnTo>
                      <a:pt x="394335" y="105823"/>
                    </a:lnTo>
                    <a:lnTo>
                      <a:pt x="398145" y="109538"/>
                    </a:lnTo>
                    <a:lnTo>
                      <a:pt x="405765" y="120110"/>
                    </a:lnTo>
                    <a:lnTo>
                      <a:pt x="419100" y="140970"/>
                    </a:lnTo>
                    <a:lnTo>
                      <a:pt x="391477" y="134398"/>
                    </a:lnTo>
                    <a:lnTo>
                      <a:pt x="373380" y="116300"/>
                    </a:lnTo>
                    <a:lnTo>
                      <a:pt x="320992" y="123825"/>
                    </a:lnTo>
                    <a:lnTo>
                      <a:pt x="335280" y="140970"/>
                    </a:lnTo>
                    <a:lnTo>
                      <a:pt x="324802" y="176213"/>
                    </a:lnTo>
                    <a:lnTo>
                      <a:pt x="281940" y="161925"/>
                    </a:lnTo>
                    <a:lnTo>
                      <a:pt x="225742" y="180118"/>
                    </a:lnTo>
                    <a:lnTo>
                      <a:pt x="180022" y="201073"/>
                    </a:lnTo>
                    <a:lnTo>
                      <a:pt x="144780" y="225838"/>
                    </a:lnTo>
                    <a:lnTo>
                      <a:pt x="197167" y="246793"/>
                    </a:lnTo>
                    <a:lnTo>
                      <a:pt x="219075" y="236220"/>
                    </a:lnTo>
                    <a:lnTo>
                      <a:pt x="215265" y="275368"/>
                    </a:lnTo>
                    <a:lnTo>
                      <a:pt x="186690" y="300038"/>
                    </a:lnTo>
                    <a:lnTo>
                      <a:pt x="134302" y="300038"/>
                    </a:lnTo>
                    <a:lnTo>
                      <a:pt x="102870" y="317182"/>
                    </a:lnTo>
                    <a:lnTo>
                      <a:pt x="56197" y="324898"/>
                    </a:lnTo>
                    <a:lnTo>
                      <a:pt x="14288" y="331470"/>
                    </a:lnTo>
                    <a:lnTo>
                      <a:pt x="0" y="345757"/>
                    </a:lnTo>
                    <a:lnTo>
                      <a:pt x="14288" y="362998"/>
                    </a:lnTo>
                    <a:lnTo>
                      <a:pt x="70485" y="387763"/>
                    </a:lnTo>
                    <a:lnTo>
                      <a:pt x="109538" y="395383"/>
                    </a:lnTo>
                    <a:lnTo>
                      <a:pt x="148590" y="391573"/>
                    </a:lnTo>
                    <a:lnTo>
                      <a:pt x="180022" y="391573"/>
                    </a:lnTo>
                    <a:lnTo>
                      <a:pt x="176213" y="405860"/>
                    </a:lnTo>
                    <a:lnTo>
                      <a:pt x="105727" y="412432"/>
                    </a:lnTo>
                    <a:lnTo>
                      <a:pt x="53340" y="412432"/>
                    </a:lnTo>
                    <a:lnTo>
                      <a:pt x="42863" y="422910"/>
                    </a:lnTo>
                    <a:lnTo>
                      <a:pt x="74295" y="441007"/>
                    </a:lnTo>
                    <a:lnTo>
                      <a:pt x="109538" y="441007"/>
                    </a:lnTo>
                    <a:lnTo>
                      <a:pt x="134302" y="443960"/>
                    </a:lnTo>
                    <a:lnTo>
                      <a:pt x="120015" y="451485"/>
                    </a:lnTo>
                    <a:lnTo>
                      <a:pt x="91440" y="462058"/>
                    </a:lnTo>
                    <a:lnTo>
                      <a:pt x="134302" y="479107"/>
                    </a:lnTo>
                    <a:lnTo>
                      <a:pt x="165735" y="486823"/>
                    </a:lnTo>
                    <a:lnTo>
                      <a:pt x="176213" y="479107"/>
                    </a:lnTo>
                    <a:lnTo>
                      <a:pt x="186690" y="465773"/>
                    </a:lnTo>
                    <a:lnTo>
                      <a:pt x="207645" y="483013"/>
                    </a:lnTo>
                    <a:lnTo>
                      <a:pt x="242888" y="468725"/>
                    </a:lnTo>
                    <a:lnTo>
                      <a:pt x="260985" y="462058"/>
                    </a:lnTo>
                    <a:lnTo>
                      <a:pt x="345757" y="483013"/>
                    </a:lnTo>
                    <a:lnTo>
                      <a:pt x="398145" y="501110"/>
                    </a:lnTo>
                    <a:lnTo>
                      <a:pt x="401955" y="518160"/>
                    </a:lnTo>
                    <a:lnTo>
                      <a:pt x="419100" y="539210"/>
                    </a:lnTo>
                    <a:lnTo>
                      <a:pt x="464820" y="585883"/>
                    </a:lnTo>
                    <a:lnTo>
                      <a:pt x="507682" y="666845"/>
                    </a:lnTo>
                    <a:lnTo>
                      <a:pt x="482917" y="702088"/>
                    </a:lnTo>
                    <a:lnTo>
                      <a:pt x="482917" y="729710"/>
                    </a:lnTo>
                    <a:lnTo>
                      <a:pt x="521970" y="726758"/>
                    </a:lnTo>
                    <a:lnTo>
                      <a:pt x="535305" y="704945"/>
                    </a:lnTo>
                    <a:lnTo>
                      <a:pt x="563880" y="722947"/>
                    </a:lnTo>
                    <a:lnTo>
                      <a:pt x="581025" y="729710"/>
                    </a:lnTo>
                    <a:lnTo>
                      <a:pt x="605790" y="758285"/>
                    </a:lnTo>
                    <a:lnTo>
                      <a:pt x="602932" y="779145"/>
                    </a:lnTo>
                    <a:lnTo>
                      <a:pt x="560070" y="764858"/>
                    </a:lnTo>
                    <a:lnTo>
                      <a:pt x="521970" y="768763"/>
                    </a:lnTo>
                    <a:lnTo>
                      <a:pt x="545782" y="783050"/>
                    </a:lnTo>
                    <a:lnTo>
                      <a:pt x="581025" y="803910"/>
                    </a:lnTo>
                    <a:lnTo>
                      <a:pt x="620077" y="803910"/>
                    </a:lnTo>
                    <a:lnTo>
                      <a:pt x="626745" y="822008"/>
                    </a:lnTo>
                    <a:lnTo>
                      <a:pt x="605790" y="843058"/>
                    </a:lnTo>
                    <a:lnTo>
                      <a:pt x="605790" y="881158"/>
                    </a:lnTo>
                    <a:lnTo>
                      <a:pt x="613410" y="917258"/>
                    </a:lnTo>
                    <a:lnTo>
                      <a:pt x="609600" y="920210"/>
                    </a:lnTo>
                    <a:lnTo>
                      <a:pt x="602932" y="920210"/>
                    </a:lnTo>
                    <a:lnTo>
                      <a:pt x="591502" y="917258"/>
                    </a:lnTo>
                    <a:lnTo>
                      <a:pt x="560070" y="909733"/>
                    </a:lnTo>
                    <a:lnTo>
                      <a:pt x="549592" y="909733"/>
                    </a:lnTo>
                    <a:lnTo>
                      <a:pt x="532447" y="930688"/>
                    </a:lnTo>
                    <a:lnTo>
                      <a:pt x="535305" y="952595"/>
                    </a:lnTo>
                    <a:lnTo>
                      <a:pt x="557213" y="952595"/>
                    </a:lnTo>
                    <a:lnTo>
                      <a:pt x="549592" y="962978"/>
                    </a:lnTo>
                    <a:lnTo>
                      <a:pt x="535305" y="987838"/>
                    </a:lnTo>
                    <a:lnTo>
                      <a:pt x="549592" y="1008697"/>
                    </a:lnTo>
                    <a:lnTo>
                      <a:pt x="570547" y="1036415"/>
                    </a:lnTo>
                    <a:lnTo>
                      <a:pt x="599122" y="1058228"/>
                    </a:lnTo>
                    <a:lnTo>
                      <a:pt x="623888" y="1046797"/>
                    </a:lnTo>
                    <a:lnTo>
                      <a:pt x="634365" y="1064990"/>
                    </a:lnTo>
                    <a:lnTo>
                      <a:pt x="613410" y="1089660"/>
                    </a:lnTo>
                    <a:lnTo>
                      <a:pt x="613410" y="1118235"/>
                    </a:lnTo>
                    <a:lnTo>
                      <a:pt x="638175" y="1135475"/>
                    </a:lnTo>
                    <a:lnTo>
                      <a:pt x="626745" y="1153478"/>
                    </a:lnTo>
                    <a:lnTo>
                      <a:pt x="659130" y="1184910"/>
                    </a:lnTo>
                    <a:lnTo>
                      <a:pt x="686752" y="1234440"/>
                    </a:lnTo>
                    <a:lnTo>
                      <a:pt x="715327" y="1224058"/>
                    </a:lnTo>
                    <a:lnTo>
                      <a:pt x="732472" y="1224058"/>
                    </a:lnTo>
                    <a:lnTo>
                      <a:pt x="750570" y="1216438"/>
                    </a:lnTo>
                    <a:lnTo>
                      <a:pt x="754380" y="1237298"/>
                    </a:lnTo>
                    <a:lnTo>
                      <a:pt x="782002" y="1259300"/>
                    </a:lnTo>
                    <a:lnTo>
                      <a:pt x="813435" y="1262158"/>
                    </a:lnTo>
                    <a:lnTo>
                      <a:pt x="838200" y="1209770"/>
                    </a:lnTo>
                    <a:lnTo>
                      <a:pt x="848677" y="1170623"/>
                    </a:lnTo>
                    <a:lnTo>
                      <a:pt x="845820" y="1160240"/>
                    </a:lnTo>
                    <a:lnTo>
                      <a:pt x="835342" y="1145953"/>
                    </a:lnTo>
                    <a:lnTo>
                      <a:pt x="856297" y="1142048"/>
                    </a:lnTo>
                    <a:lnTo>
                      <a:pt x="883920" y="1121188"/>
                    </a:lnTo>
                    <a:lnTo>
                      <a:pt x="894397" y="1093565"/>
                    </a:lnTo>
                    <a:lnTo>
                      <a:pt x="887730" y="1079278"/>
                    </a:lnTo>
                    <a:lnTo>
                      <a:pt x="902017" y="1068800"/>
                    </a:lnTo>
                    <a:lnTo>
                      <a:pt x="898207" y="1043940"/>
                    </a:lnTo>
                    <a:lnTo>
                      <a:pt x="912495" y="1036415"/>
                    </a:lnTo>
                    <a:lnTo>
                      <a:pt x="912495" y="1025938"/>
                    </a:lnTo>
                    <a:lnTo>
                      <a:pt x="922972" y="1015365"/>
                    </a:lnTo>
                    <a:lnTo>
                      <a:pt x="962025" y="1008697"/>
                    </a:lnTo>
                    <a:lnTo>
                      <a:pt x="986790" y="1008697"/>
                    </a:lnTo>
                    <a:lnTo>
                      <a:pt x="1024890" y="994410"/>
                    </a:lnTo>
                    <a:lnTo>
                      <a:pt x="1070610" y="973550"/>
                    </a:lnTo>
                    <a:lnTo>
                      <a:pt x="1105852" y="927735"/>
                    </a:lnTo>
                    <a:lnTo>
                      <a:pt x="1130617" y="905923"/>
                    </a:lnTo>
                    <a:lnTo>
                      <a:pt x="1138238" y="892588"/>
                    </a:lnTo>
                    <a:lnTo>
                      <a:pt x="1159192" y="902970"/>
                    </a:lnTo>
                    <a:lnTo>
                      <a:pt x="1190625" y="895445"/>
                    </a:lnTo>
                    <a:lnTo>
                      <a:pt x="1296352" y="874395"/>
                    </a:lnTo>
                    <a:lnTo>
                      <a:pt x="1324927" y="853535"/>
                    </a:lnTo>
                    <a:lnTo>
                      <a:pt x="1391602" y="814483"/>
                    </a:lnTo>
                    <a:lnTo>
                      <a:pt x="1416367" y="800195"/>
                    </a:lnTo>
                    <a:lnTo>
                      <a:pt x="1370648" y="797338"/>
                    </a:lnTo>
                    <a:lnTo>
                      <a:pt x="1331595" y="786860"/>
                    </a:lnTo>
                    <a:lnTo>
                      <a:pt x="1321117" y="762095"/>
                    </a:lnTo>
                    <a:lnTo>
                      <a:pt x="1321117" y="729710"/>
                    </a:lnTo>
                    <a:lnTo>
                      <a:pt x="1331595" y="733520"/>
                    </a:lnTo>
                    <a:lnTo>
                      <a:pt x="1356360" y="758285"/>
                    </a:lnTo>
                    <a:lnTo>
                      <a:pt x="1391602" y="783050"/>
                    </a:lnTo>
                    <a:lnTo>
                      <a:pt x="1426845" y="786860"/>
                    </a:lnTo>
                    <a:lnTo>
                      <a:pt x="1416367" y="722947"/>
                    </a:lnTo>
                    <a:lnTo>
                      <a:pt x="1366838" y="691610"/>
                    </a:lnTo>
                    <a:lnTo>
                      <a:pt x="1363027" y="680085"/>
                    </a:lnTo>
                    <a:lnTo>
                      <a:pt x="1377315" y="680085"/>
                    </a:lnTo>
                    <a:lnTo>
                      <a:pt x="1408748" y="704945"/>
                    </a:lnTo>
                    <a:lnTo>
                      <a:pt x="1416367" y="673513"/>
                    </a:lnTo>
                    <a:lnTo>
                      <a:pt x="1408748" y="656272"/>
                    </a:lnTo>
                    <a:lnTo>
                      <a:pt x="1352550" y="656272"/>
                    </a:lnTo>
                    <a:lnTo>
                      <a:pt x="1331595" y="634460"/>
                    </a:lnTo>
                    <a:lnTo>
                      <a:pt x="1352550" y="623983"/>
                    </a:lnTo>
                    <a:lnTo>
                      <a:pt x="1391602" y="627697"/>
                    </a:lnTo>
                    <a:lnTo>
                      <a:pt x="1429702" y="627697"/>
                    </a:lnTo>
                    <a:lnTo>
                      <a:pt x="1462088" y="617220"/>
                    </a:lnTo>
                    <a:lnTo>
                      <a:pt x="1454467" y="592550"/>
                    </a:lnTo>
                    <a:lnTo>
                      <a:pt x="1476375" y="588645"/>
                    </a:lnTo>
                    <a:lnTo>
                      <a:pt x="1497330" y="578263"/>
                    </a:lnTo>
                    <a:lnTo>
                      <a:pt x="1497330" y="571595"/>
                    </a:lnTo>
                    <a:lnTo>
                      <a:pt x="1489710" y="563975"/>
                    </a:lnTo>
                    <a:lnTo>
                      <a:pt x="1479232" y="549688"/>
                    </a:lnTo>
                    <a:lnTo>
                      <a:pt x="1458277" y="525875"/>
                    </a:lnTo>
                    <a:lnTo>
                      <a:pt x="1493520" y="521970"/>
                    </a:lnTo>
                    <a:lnTo>
                      <a:pt x="1497330" y="493395"/>
                    </a:lnTo>
                    <a:lnTo>
                      <a:pt x="1468755" y="472535"/>
                    </a:lnTo>
                    <a:lnTo>
                      <a:pt x="1433513" y="462058"/>
                    </a:lnTo>
                    <a:lnTo>
                      <a:pt x="1433513" y="437198"/>
                    </a:lnTo>
                    <a:lnTo>
                      <a:pt x="1472565" y="430625"/>
                    </a:lnTo>
                    <a:lnTo>
                      <a:pt x="1489710" y="443960"/>
                    </a:lnTo>
                    <a:lnTo>
                      <a:pt x="1511617" y="458248"/>
                    </a:lnTo>
                    <a:lnTo>
                      <a:pt x="1514475" y="455295"/>
                    </a:lnTo>
                    <a:lnTo>
                      <a:pt x="1522095" y="441007"/>
                    </a:lnTo>
                    <a:lnTo>
                      <a:pt x="1528763" y="420148"/>
                    </a:lnTo>
                    <a:lnTo>
                      <a:pt x="1503998" y="412432"/>
                    </a:lnTo>
                    <a:lnTo>
                      <a:pt x="1479232" y="402050"/>
                    </a:lnTo>
                    <a:lnTo>
                      <a:pt x="1476375" y="398145"/>
                    </a:lnTo>
                    <a:lnTo>
                      <a:pt x="1472565" y="395383"/>
                    </a:lnTo>
                    <a:lnTo>
                      <a:pt x="1472565" y="387763"/>
                    </a:lnTo>
                    <a:lnTo>
                      <a:pt x="1493520" y="373475"/>
                    </a:lnTo>
                    <a:lnTo>
                      <a:pt x="1447800" y="370523"/>
                    </a:lnTo>
                    <a:lnTo>
                      <a:pt x="1429702" y="366808"/>
                    </a:lnTo>
                    <a:lnTo>
                      <a:pt x="1447800" y="317182"/>
                    </a:lnTo>
                    <a:lnTo>
                      <a:pt x="1483042" y="300038"/>
                    </a:lnTo>
                    <a:lnTo>
                      <a:pt x="1486852" y="267748"/>
                    </a:lnTo>
                    <a:lnTo>
                      <a:pt x="1528763" y="257175"/>
                    </a:lnTo>
                    <a:lnTo>
                      <a:pt x="1543050" y="242888"/>
                    </a:lnTo>
                    <a:lnTo>
                      <a:pt x="1524952" y="242888"/>
                    </a:lnTo>
                    <a:lnTo>
                      <a:pt x="1479232" y="246793"/>
                    </a:lnTo>
                    <a:lnTo>
                      <a:pt x="1464945" y="232505"/>
                    </a:lnTo>
                    <a:lnTo>
                      <a:pt x="1497330" y="225838"/>
                    </a:lnTo>
                    <a:lnTo>
                      <a:pt x="1564005" y="229648"/>
                    </a:lnTo>
                    <a:lnTo>
                      <a:pt x="1578292" y="215360"/>
                    </a:lnTo>
                    <a:lnTo>
                      <a:pt x="1532573" y="211550"/>
                    </a:lnTo>
                    <a:lnTo>
                      <a:pt x="1500188" y="204788"/>
                    </a:lnTo>
                    <a:lnTo>
                      <a:pt x="1535430" y="194405"/>
                    </a:lnTo>
                    <a:lnTo>
                      <a:pt x="1595438" y="194405"/>
                    </a:lnTo>
                    <a:lnTo>
                      <a:pt x="1613535" y="186785"/>
                    </a:lnTo>
                    <a:lnTo>
                      <a:pt x="1624013" y="172498"/>
                    </a:lnTo>
                    <a:lnTo>
                      <a:pt x="1669732" y="159163"/>
                    </a:lnTo>
                    <a:lnTo>
                      <a:pt x="1694498" y="140970"/>
                    </a:lnTo>
                    <a:lnTo>
                      <a:pt x="1665923" y="123825"/>
                    </a:lnTo>
                    <a:lnTo>
                      <a:pt x="1609725" y="11630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6" name="Freeform: Shape 395">
                <a:extLst>
                  <a:ext uri="{FF2B5EF4-FFF2-40B4-BE49-F238E27FC236}">
                    <a16:creationId xmlns:a16="http://schemas.microsoft.com/office/drawing/2014/main" id="{90F6E62D-BBB9-529E-9308-DE425EC457E3}"/>
                  </a:ext>
                </a:extLst>
              </p:cNvPr>
              <p:cNvSpPr/>
              <p:nvPr/>
            </p:nvSpPr>
            <p:spPr>
              <a:xfrm>
                <a:off x="6568092" y="2214077"/>
                <a:ext cx="293189" cy="452860"/>
              </a:xfrm>
              <a:custGeom>
                <a:avLst/>
                <a:gdLst>
                  <a:gd name="connsiteX0" fmla="*/ 284798 w 299085"/>
                  <a:gd name="connsiteY0" fmla="*/ 360045 h 461962"/>
                  <a:gd name="connsiteX1" fmla="*/ 299085 w 299085"/>
                  <a:gd name="connsiteY1" fmla="*/ 335280 h 461962"/>
                  <a:gd name="connsiteX2" fmla="*/ 257175 w 299085"/>
                  <a:gd name="connsiteY2" fmla="*/ 303752 h 461962"/>
                  <a:gd name="connsiteX3" fmla="*/ 274320 w 299085"/>
                  <a:gd name="connsiteY3" fmla="*/ 285750 h 461962"/>
                  <a:gd name="connsiteX4" fmla="*/ 260032 w 299085"/>
                  <a:gd name="connsiteY4" fmla="*/ 260890 h 461962"/>
                  <a:gd name="connsiteX5" fmla="*/ 242888 w 299085"/>
                  <a:gd name="connsiteY5" fmla="*/ 243745 h 461962"/>
                  <a:gd name="connsiteX6" fmla="*/ 257175 w 299085"/>
                  <a:gd name="connsiteY6" fmla="*/ 208502 h 461962"/>
                  <a:gd name="connsiteX7" fmla="*/ 245745 w 299085"/>
                  <a:gd name="connsiteY7" fmla="*/ 179927 h 461962"/>
                  <a:gd name="connsiteX8" fmla="*/ 228600 w 299085"/>
                  <a:gd name="connsiteY8" fmla="*/ 148495 h 461962"/>
                  <a:gd name="connsiteX9" fmla="*/ 257175 w 299085"/>
                  <a:gd name="connsiteY9" fmla="*/ 120015 h 461962"/>
                  <a:gd name="connsiteX10" fmla="*/ 214313 w 299085"/>
                  <a:gd name="connsiteY10" fmla="*/ 95250 h 461962"/>
                  <a:gd name="connsiteX11" fmla="*/ 221932 w 299085"/>
                  <a:gd name="connsiteY11" fmla="*/ 57150 h 461962"/>
                  <a:gd name="connsiteX12" fmla="*/ 239078 w 299085"/>
                  <a:gd name="connsiteY12" fmla="*/ 39053 h 461962"/>
                  <a:gd name="connsiteX13" fmla="*/ 221932 w 299085"/>
                  <a:gd name="connsiteY13" fmla="*/ 14288 h 461962"/>
                  <a:gd name="connsiteX14" fmla="*/ 182880 w 299085"/>
                  <a:gd name="connsiteY14" fmla="*/ 0 h 461962"/>
                  <a:gd name="connsiteX15" fmla="*/ 147638 w 299085"/>
                  <a:gd name="connsiteY15" fmla="*/ 21812 h 461962"/>
                  <a:gd name="connsiteX16" fmla="*/ 140970 w 299085"/>
                  <a:gd name="connsiteY16" fmla="*/ 39053 h 461962"/>
                  <a:gd name="connsiteX17" fmla="*/ 137160 w 299085"/>
                  <a:gd name="connsiteY17" fmla="*/ 53340 h 461962"/>
                  <a:gd name="connsiteX18" fmla="*/ 116205 w 299085"/>
                  <a:gd name="connsiteY18" fmla="*/ 74200 h 461962"/>
                  <a:gd name="connsiteX19" fmla="*/ 41910 w 299085"/>
                  <a:gd name="connsiteY19" fmla="*/ 67628 h 461962"/>
                  <a:gd name="connsiteX20" fmla="*/ 17145 w 299085"/>
                  <a:gd name="connsiteY20" fmla="*/ 39053 h 461962"/>
                  <a:gd name="connsiteX21" fmla="*/ 17145 w 299085"/>
                  <a:gd name="connsiteY21" fmla="*/ 39053 h 461962"/>
                  <a:gd name="connsiteX22" fmla="*/ 6668 w 299085"/>
                  <a:gd name="connsiteY22" fmla="*/ 47625 h 461962"/>
                  <a:gd name="connsiteX23" fmla="*/ 0 w 299085"/>
                  <a:gd name="connsiteY23" fmla="*/ 53340 h 461962"/>
                  <a:gd name="connsiteX24" fmla="*/ 20955 w 299085"/>
                  <a:gd name="connsiteY24" fmla="*/ 70390 h 461962"/>
                  <a:gd name="connsiteX25" fmla="*/ 35243 w 299085"/>
                  <a:gd name="connsiteY25" fmla="*/ 84677 h 461962"/>
                  <a:gd name="connsiteX26" fmla="*/ 60007 w 299085"/>
                  <a:gd name="connsiteY26" fmla="*/ 84677 h 461962"/>
                  <a:gd name="connsiteX27" fmla="*/ 77153 w 299085"/>
                  <a:gd name="connsiteY27" fmla="*/ 109538 h 461962"/>
                  <a:gd name="connsiteX28" fmla="*/ 77153 w 299085"/>
                  <a:gd name="connsiteY28" fmla="*/ 109538 h 461962"/>
                  <a:gd name="connsiteX29" fmla="*/ 77153 w 299085"/>
                  <a:gd name="connsiteY29" fmla="*/ 123825 h 461962"/>
                  <a:gd name="connsiteX30" fmla="*/ 73343 w 299085"/>
                  <a:gd name="connsiteY30" fmla="*/ 144780 h 461962"/>
                  <a:gd name="connsiteX31" fmla="*/ 87630 w 299085"/>
                  <a:gd name="connsiteY31" fmla="*/ 152400 h 461962"/>
                  <a:gd name="connsiteX32" fmla="*/ 77153 w 299085"/>
                  <a:gd name="connsiteY32" fmla="*/ 179927 h 461962"/>
                  <a:gd name="connsiteX33" fmla="*/ 94298 w 299085"/>
                  <a:gd name="connsiteY33" fmla="*/ 204788 h 461962"/>
                  <a:gd name="connsiteX34" fmla="*/ 122873 w 299085"/>
                  <a:gd name="connsiteY34" fmla="*/ 219075 h 461962"/>
                  <a:gd name="connsiteX35" fmla="*/ 126682 w 299085"/>
                  <a:gd name="connsiteY35" fmla="*/ 246602 h 461962"/>
                  <a:gd name="connsiteX36" fmla="*/ 112395 w 299085"/>
                  <a:gd name="connsiteY36" fmla="*/ 250508 h 461962"/>
                  <a:gd name="connsiteX37" fmla="*/ 48578 w 299085"/>
                  <a:gd name="connsiteY37" fmla="*/ 300038 h 461962"/>
                  <a:gd name="connsiteX38" fmla="*/ 38100 w 299085"/>
                  <a:gd name="connsiteY38" fmla="*/ 320993 h 461962"/>
                  <a:gd name="connsiteX39" fmla="*/ 17145 w 299085"/>
                  <a:gd name="connsiteY39" fmla="*/ 331470 h 461962"/>
                  <a:gd name="connsiteX40" fmla="*/ 10478 w 299085"/>
                  <a:gd name="connsiteY40" fmla="*/ 360045 h 461962"/>
                  <a:gd name="connsiteX41" fmla="*/ 20955 w 299085"/>
                  <a:gd name="connsiteY41" fmla="*/ 399002 h 461962"/>
                  <a:gd name="connsiteX42" fmla="*/ 17145 w 299085"/>
                  <a:gd name="connsiteY42" fmla="*/ 434245 h 461962"/>
                  <a:gd name="connsiteX43" fmla="*/ 70485 w 299085"/>
                  <a:gd name="connsiteY43" fmla="*/ 461963 h 461962"/>
                  <a:gd name="connsiteX44" fmla="*/ 112395 w 299085"/>
                  <a:gd name="connsiteY44" fmla="*/ 455295 h 461962"/>
                  <a:gd name="connsiteX45" fmla="*/ 154305 w 299085"/>
                  <a:gd name="connsiteY45" fmla="*/ 441007 h 461962"/>
                  <a:gd name="connsiteX46" fmla="*/ 186690 w 299085"/>
                  <a:gd name="connsiteY46" fmla="*/ 441007 h 461962"/>
                  <a:gd name="connsiteX47" fmla="*/ 208598 w 299085"/>
                  <a:gd name="connsiteY47" fmla="*/ 424720 h 461962"/>
                  <a:gd name="connsiteX48" fmla="*/ 207645 w 299085"/>
                  <a:gd name="connsiteY48" fmla="*/ 423863 h 461962"/>
                  <a:gd name="connsiteX49" fmla="*/ 284798 w 299085"/>
                  <a:gd name="connsiteY49" fmla="*/ 360045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299085" h="461962">
                    <a:moveTo>
                      <a:pt x="284798" y="360045"/>
                    </a:moveTo>
                    <a:lnTo>
                      <a:pt x="299085" y="335280"/>
                    </a:lnTo>
                    <a:lnTo>
                      <a:pt x="257175" y="303752"/>
                    </a:lnTo>
                    <a:lnTo>
                      <a:pt x="274320" y="285750"/>
                    </a:lnTo>
                    <a:lnTo>
                      <a:pt x="260032" y="260890"/>
                    </a:lnTo>
                    <a:lnTo>
                      <a:pt x="242888" y="243745"/>
                    </a:lnTo>
                    <a:lnTo>
                      <a:pt x="257175" y="208502"/>
                    </a:lnTo>
                    <a:lnTo>
                      <a:pt x="245745" y="179927"/>
                    </a:lnTo>
                    <a:lnTo>
                      <a:pt x="228600" y="148495"/>
                    </a:lnTo>
                    <a:lnTo>
                      <a:pt x="257175" y="120015"/>
                    </a:lnTo>
                    <a:lnTo>
                      <a:pt x="214313" y="95250"/>
                    </a:lnTo>
                    <a:lnTo>
                      <a:pt x="221932" y="57150"/>
                    </a:lnTo>
                    <a:lnTo>
                      <a:pt x="239078" y="39053"/>
                    </a:lnTo>
                    <a:lnTo>
                      <a:pt x="221932" y="14288"/>
                    </a:lnTo>
                    <a:lnTo>
                      <a:pt x="182880" y="0"/>
                    </a:lnTo>
                    <a:lnTo>
                      <a:pt x="147638" y="21812"/>
                    </a:lnTo>
                    <a:lnTo>
                      <a:pt x="140970" y="39053"/>
                    </a:lnTo>
                    <a:lnTo>
                      <a:pt x="137160" y="53340"/>
                    </a:lnTo>
                    <a:lnTo>
                      <a:pt x="116205" y="74200"/>
                    </a:lnTo>
                    <a:lnTo>
                      <a:pt x="41910" y="67628"/>
                    </a:lnTo>
                    <a:lnTo>
                      <a:pt x="17145" y="39053"/>
                    </a:lnTo>
                    <a:lnTo>
                      <a:pt x="17145" y="39053"/>
                    </a:lnTo>
                    <a:lnTo>
                      <a:pt x="6668" y="47625"/>
                    </a:lnTo>
                    <a:lnTo>
                      <a:pt x="0" y="53340"/>
                    </a:lnTo>
                    <a:lnTo>
                      <a:pt x="20955" y="70390"/>
                    </a:lnTo>
                    <a:lnTo>
                      <a:pt x="35243" y="84677"/>
                    </a:lnTo>
                    <a:lnTo>
                      <a:pt x="60007" y="84677"/>
                    </a:lnTo>
                    <a:lnTo>
                      <a:pt x="77153" y="109538"/>
                    </a:lnTo>
                    <a:lnTo>
                      <a:pt x="77153" y="109538"/>
                    </a:lnTo>
                    <a:lnTo>
                      <a:pt x="77153" y="123825"/>
                    </a:lnTo>
                    <a:lnTo>
                      <a:pt x="73343" y="144780"/>
                    </a:lnTo>
                    <a:lnTo>
                      <a:pt x="87630" y="152400"/>
                    </a:lnTo>
                    <a:lnTo>
                      <a:pt x="77153" y="179927"/>
                    </a:lnTo>
                    <a:lnTo>
                      <a:pt x="94298" y="204788"/>
                    </a:lnTo>
                    <a:lnTo>
                      <a:pt x="122873" y="219075"/>
                    </a:lnTo>
                    <a:lnTo>
                      <a:pt x="126682" y="246602"/>
                    </a:lnTo>
                    <a:lnTo>
                      <a:pt x="112395" y="250508"/>
                    </a:lnTo>
                    <a:lnTo>
                      <a:pt x="48578" y="300038"/>
                    </a:lnTo>
                    <a:lnTo>
                      <a:pt x="38100" y="320993"/>
                    </a:lnTo>
                    <a:lnTo>
                      <a:pt x="17145" y="331470"/>
                    </a:lnTo>
                    <a:lnTo>
                      <a:pt x="10478" y="360045"/>
                    </a:lnTo>
                    <a:lnTo>
                      <a:pt x="20955" y="399002"/>
                    </a:lnTo>
                    <a:lnTo>
                      <a:pt x="17145" y="434245"/>
                    </a:lnTo>
                    <a:lnTo>
                      <a:pt x="70485" y="461963"/>
                    </a:lnTo>
                    <a:lnTo>
                      <a:pt x="112395" y="455295"/>
                    </a:lnTo>
                    <a:lnTo>
                      <a:pt x="154305" y="441007"/>
                    </a:lnTo>
                    <a:lnTo>
                      <a:pt x="186690" y="441007"/>
                    </a:lnTo>
                    <a:lnTo>
                      <a:pt x="208598" y="424720"/>
                    </a:lnTo>
                    <a:lnTo>
                      <a:pt x="207645" y="423863"/>
                    </a:lnTo>
                    <a:lnTo>
                      <a:pt x="284798" y="36004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7" name="Freeform: Shape 396">
                <a:extLst>
                  <a:ext uri="{FF2B5EF4-FFF2-40B4-BE49-F238E27FC236}">
                    <a16:creationId xmlns:a16="http://schemas.microsoft.com/office/drawing/2014/main" id="{B334557A-0073-36AB-B5DF-4FE693ADADF2}"/>
                  </a:ext>
                </a:extLst>
              </p:cNvPr>
              <p:cNvSpPr/>
              <p:nvPr/>
            </p:nvSpPr>
            <p:spPr>
              <a:xfrm>
                <a:off x="6771644" y="2567028"/>
                <a:ext cx="75631" cy="63400"/>
              </a:xfrm>
              <a:custGeom>
                <a:avLst/>
                <a:gdLst>
                  <a:gd name="connsiteX0" fmla="*/ 77153 w 77152"/>
                  <a:gd name="connsiteY0" fmla="*/ 0 h 64674"/>
                  <a:gd name="connsiteX1" fmla="*/ 0 w 77152"/>
                  <a:gd name="connsiteY1" fmla="*/ 63818 h 64674"/>
                  <a:gd name="connsiteX2" fmla="*/ 953 w 77152"/>
                  <a:gd name="connsiteY2" fmla="*/ 64675 h 64674"/>
                  <a:gd name="connsiteX3" fmla="*/ 31433 w 77152"/>
                  <a:gd name="connsiteY3" fmla="*/ 41910 h 64674"/>
                  <a:gd name="connsiteX4" fmla="*/ 77153 w 77152"/>
                  <a:gd name="connsiteY4" fmla="*/ 0 h 646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77152" h="64674">
                    <a:moveTo>
                      <a:pt x="77153" y="0"/>
                    </a:moveTo>
                    <a:lnTo>
                      <a:pt x="0" y="63818"/>
                    </a:lnTo>
                    <a:lnTo>
                      <a:pt x="953" y="64675"/>
                    </a:lnTo>
                    <a:lnTo>
                      <a:pt x="31433" y="41910"/>
                    </a:lnTo>
                    <a:lnTo>
                      <a:pt x="7715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8" name="Freeform: Shape 397">
                <a:extLst>
                  <a:ext uri="{FF2B5EF4-FFF2-40B4-BE49-F238E27FC236}">
                    <a16:creationId xmlns:a16="http://schemas.microsoft.com/office/drawing/2014/main" id="{0969319B-0893-98C0-D904-F9DCFBBD041A}"/>
                  </a:ext>
                </a:extLst>
              </p:cNvPr>
              <p:cNvSpPr/>
              <p:nvPr/>
            </p:nvSpPr>
            <p:spPr>
              <a:xfrm>
                <a:off x="6808993" y="2390459"/>
                <a:ext cx="11205" cy="28012"/>
              </a:xfrm>
              <a:custGeom>
                <a:avLst/>
                <a:gdLst>
                  <a:gd name="connsiteX0" fmla="*/ 11430 w 11430"/>
                  <a:gd name="connsiteY0" fmla="*/ 28575 h 28575"/>
                  <a:gd name="connsiteX1" fmla="*/ 0 w 11430"/>
                  <a:gd name="connsiteY1" fmla="*/ 0 h 28575"/>
                  <a:gd name="connsiteX2" fmla="*/ 11430 w 11430"/>
                  <a:gd name="connsiteY2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1430" h="28575">
                    <a:moveTo>
                      <a:pt x="11430" y="28575"/>
                    </a:moveTo>
                    <a:lnTo>
                      <a:pt x="0" y="0"/>
                    </a:lnTo>
                    <a:lnTo>
                      <a:pt x="11430" y="2857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399" name="Freeform: Shape 398">
                <a:extLst>
                  <a:ext uri="{FF2B5EF4-FFF2-40B4-BE49-F238E27FC236}">
                    <a16:creationId xmlns:a16="http://schemas.microsoft.com/office/drawing/2014/main" id="{59C25164-EC71-8B3A-1DE6-35E208C8F78F}"/>
                  </a:ext>
                </a:extLst>
              </p:cNvPr>
              <p:cNvSpPr/>
              <p:nvPr/>
            </p:nvSpPr>
            <p:spPr>
              <a:xfrm>
                <a:off x="6300114" y="2266366"/>
                <a:ext cx="360418" cy="584515"/>
              </a:xfrm>
              <a:custGeom>
                <a:avLst/>
                <a:gdLst>
                  <a:gd name="connsiteX0" fmla="*/ 360998 w 367665"/>
                  <a:gd name="connsiteY0" fmla="*/ 99060 h 596264"/>
                  <a:gd name="connsiteX1" fmla="*/ 346710 w 367665"/>
                  <a:gd name="connsiteY1" fmla="*/ 91440 h 596264"/>
                  <a:gd name="connsiteX2" fmla="*/ 350520 w 367665"/>
                  <a:gd name="connsiteY2" fmla="*/ 56197 h 596264"/>
                  <a:gd name="connsiteX3" fmla="*/ 350520 w 367665"/>
                  <a:gd name="connsiteY3" fmla="*/ 56197 h 596264"/>
                  <a:gd name="connsiteX4" fmla="*/ 333375 w 367665"/>
                  <a:gd name="connsiteY4" fmla="*/ 31337 h 596264"/>
                  <a:gd name="connsiteX5" fmla="*/ 308610 w 367665"/>
                  <a:gd name="connsiteY5" fmla="*/ 31337 h 596264"/>
                  <a:gd name="connsiteX6" fmla="*/ 273368 w 367665"/>
                  <a:gd name="connsiteY6" fmla="*/ 0 h 596264"/>
                  <a:gd name="connsiteX7" fmla="*/ 273368 w 367665"/>
                  <a:gd name="connsiteY7" fmla="*/ 0 h 596264"/>
                  <a:gd name="connsiteX8" fmla="*/ 255270 w 367665"/>
                  <a:gd name="connsiteY8" fmla="*/ 3810 h 596264"/>
                  <a:gd name="connsiteX9" fmla="*/ 255270 w 367665"/>
                  <a:gd name="connsiteY9" fmla="*/ 31337 h 596264"/>
                  <a:gd name="connsiteX10" fmla="*/ 230505 w 367665"/>
                  <a:gd name="connsiteY10" fmla="*/ 31337 h 596264"/>
                  <a:gd name="connsiteX11" fmla="*/ 230505 w 367665"/>
                  <a:gd name="connsiteY11" fmla="*/ 17050 h 596264"/>
                  <a:gd name="connsiteX12" fmla="*/ 205740 w 367665"/>
                  <a:gd name="connsiteY12" fmla="*/ 20860 h 596264"/>
                  <a:gd name="connsiteX13" fmla="*/ 205740 w 367665"/>
                  <a:gd name="connsiteY13" fmla="*/ 41910 h 596264"/>
                  <a:gd name="connsiteX14" fmla="*/ 174308 w 367665"/>
                  <a:gd name="connsiteY14" fmla="*/ 45625 h 596264"/>
                  <a:gd name="connsiteX15" fmla="*/ 153353 w 367665"/>
                  <a:gd name="connsiteY15" fmla="*/ 74200 h 596264"/>
                  <a:gd name="connsiteX16" fmla="*/ 153353 w 367665"/>
                  <a:gd name="connsiteY16" fmla="*/ 95155 h 596264"/>
                  <a:gd name="connsiteX17" fmla="*/ 132398 w 367665"/>
                  <a:gd name="connsiteY17" fmla="*/ 112300 h 596264"/>
                  <a:gd name="connsiteX18" fmla="*/ 128588 w 367665"/>
                  <a:gd name="connsiteY18" fmla="*/ 134302 h 596264"/>
                  <a:gd name="connsiteX19" fmla="*/ 103823 w 367665"/>
                  <a:gd name="connsiteY19" fmla="*/ 140875 h 596264"/>
                  <a:gd name="connsiteX20" fmla="*/ 100013 w 367665"/>
                  <a:gd name="connsiteY20" fmla="*/ 165735 h 596264"/>
                  <a:gd name="connsiteX21" fmla="*/ 82868 w 367665"/>
                  <a:gd name="connsiteY21" fmla="*/ 193262 h 596264"/>
                  <a:gd name="connsiteX22" fmla="*/ 93345 w 367665"/>
                  <a:gd name="connsiteY22" fmla="*/ 218122 h 596264"/>
                  <a:gd name="connsiteX23" fmla="*/ 86678 w 367665"/>
                  <a:gd name="connsiteY23" fmla="*/ 225742 h 596264"/>
                  <a:gd name="connsiteX24" fmla="*/ 58103 w 367665"/>
                  <a:gd name="connsiteY24" fmla="*/ 236125 h 596264"/>
                  <a:gd name="connsiteX25" fmla="*/ 30480 w 367665"/>
                  <a:gd name="connsiteY25" fmla="*/ 242792 h 596264"/>
                  <a:gd name="connsiteX26" fmla="*/ 30480 w 367665"/>
                  <a:gd name="connsiteY26" fmla="*/ 296228 h 596264"/>
                  <a:gd name="connsiteX27" fmla="*/ 30480 w 367665"/>
                  <a:gd name="connsiteY27" fmla="*/ 331375 h 596264"/>
                  <a:gd name="connsiteX28" fmla="*/ 51435 w 367665"/>
                  <a:gd name="connsiteY28" fmla="*/ 341947 h 596264"/>
                  <a:gd name="connsiteX29" fmla="*/ 54293 w 367665"/>
                  <a:gd name="connsiteY29" fmla="*/ 362903 h 596264"/>
                  <a:gd name="connsiteX30" fmla="*/ 30480 w 367665"/>
                  <a:gd name="connsiteY30" fmla="*/ 366617 h 596264"/>
                  <a:gd name="connsiteX31" fmla="*/ 51435 w 367665"/>
                  <a:gd name="connsiteY31" fmla="*/ 380905 h 596264"/>
                  <a:gd name="connsiteX32" fmla="*/ 43815 w 367665"/>
                  <a:gd name="connsiteY32" fmla="*/ 401955 h 596264"/>
                  <a:gd name="connsiteX33" fmla="*/ 30480 w 367665"/>
                  <a:gd name="connsiteY33" fmla="*/ 416242 h 596264"/>
                  <a:gd name="connsiteX34" fmla="*/ 30480 w 367665"/>
                  <a:gd name="connsiteY34" fmla="*/ 443865 h 596264"/>
                  <a:gd name="connsiteX35" fmla="*/ 0 w 367665"/>
                  <a:gd name="connsiteY35" fmla="*/ 447580 h 596264"/>
                  <a:gd name="connsiteX36" fmla="*/ 19050 w 367665"/>
                  <a:gd name="connsiteY36" fmla="*/ 482917 h 596264"/>
                  <a:gd name="connsiteX37" fmla="*/ 30480 w 367665"/>
                  <a:gd name="connsiteY37" fmla="*/ 511492 h 596264"/>
                  <a:gd name="connsiteX38" fmla="*/ 51435 w 367665"/>
                  <a:gd name="connsiteY38" fmla="*/ 542830 h 596264"/>
                  <a:gd name="connsiteX39" fmla="*/ 51435 w 367665"/>
                  <a:gd name="connsiteY39" fmla="*/ 557117 h 596264"/>
                  <a:gd name="connsiteX40" fmla="*/ 58103 w 367665"/>
                  <a:gd name="connsiteY40" fmla="*/ 571405 h 596264"/>
                  <a:gd name="connsiteX41" fmla="*/ 65723 w 367665"/>
                  <a:gd name="connsiteY41" fmla="*/ 596265 h 596264"/>
                  <a:gd name="connsiteX42" fmla="*/ 89535 w 367665"/>
                  <a:gd name="connsiteY42" fmla="*/ 592455 h 596264"/>
                  <a:gd name="connsiteX43" fmla="*/ 97155 w 367665"/>
                  <a:gd name="connsiteY43" fmla="*/ 571405 h 596264"/>
                  <a:gd name="connsiteX44" fmla="*/ 121920 w 367665"/>
                  <a:gd name="connsiteY44" fmla="*/ 567690 h 596264"/>
                  <a:gd name="connsiteX45" fmla="*/ 142875 w 367665"/>
                  <a:gd name="connsiteY45" fmla="*/ 557117 h 596264"/>
                  <a:gd name="connsiteX46" fmla="*/ 153353 w 367665"/>
                  <a:gd name="connsiteY46" fmla="*/ 536162 h 596264"/>
                  <a:gd name="connsiteX47" fmla="*/ 160020 w 367665"/>
                  <a:gd name="connsiteY47" fmla="*/ 514255 h 596264"/>
                  <a:gd name="connsiteX48" fmla="*/ 160020 w 367665"/>
                  <a:gd name="connsiteY48" fmla="*/ 489585 h 596264"/>
                  <a:gd name="connsiteX49" fmla="*/ 163830 w 367665"/>
                  <a:gd name="connsiteY49" fmla="*/ 468630 h 596264"/>
                  <a:gd name="connsiteX50" fmla="*/ 195263 w 367665"/>
                  <a:gd name="connsiteY50" fmla="*/ 451485 h 596264"/>
                  <a:gd name="connsiteX51" fmla="*/ 217170 w 367665"/>
                  <a:gd name="connsiteY51" fmla="*/ 437198 h 596264"/>
                  <a:gd name="connsiteX52" fmla="*/ 220028 w 367665"/>
                  <a:gd name="connsiteY52" fmla="*/ 416242 h 596264"/>
                  <a:gd name="connsiteX53" fmla="*/ 202883 w 367665"/>
                  <a:gd name="connsiteY53" fmla="*/ 391478 h 596264"/>
                  <a:gd name="connsiteX54" fmla="*/ 178118 w 367665"/>
                  <a:gd name="connsiteY54" fmla="*/ 380905 h 596264"/>
                  <a:gd name="connsiteX55" fmla="*/ 174308 w 367665"/>
                  <a:gd name="connsiteY55" fmla="*/ 341947 h 596264"/>
                  <a:gd name="connsiteX56" fmla="*/ 181928 w 367665"/>
                  <a:gd name="connsiteY56" fmla="*/ 313372 h 596264"/>
                  <a:gd name="connsiteX57" fmla="*/ 195263 w 367665"/>
                  <a:gd name="connsiteY57" fmla="*/ 292417 h 596264"/>
                  <a:gd name="connsiteX58" fmla="*/ 213360 w 367665"/>
                  <a:gd name="connsiteY58" fmla="*/ 267653 h 596264"/>
                  <a:gd name="connsiteX59" fmla="*/ 240983 w 367665"/>
                  <a:gd name="connsiteY59" fmla="*/ 264700 h 596264"/>
                  <a:gd name="connsiteX60" fmla="*/ 269558 w 367665"/>
                  <a:gd name="connsiteY60" fmla="*/ 242792 h 596264"/>
                  <a:gd name="connsiteX61" fmla="*/ 290513 w 367665"/>
                  <a:gd name="connsiteY61" fmla="*/ 218122 h 596264"/>
                  <a:gd name="connsiteX62" fmla="*/ 283845 w 367665"/>
                  <a:gd name="connsiteY62" fmla="*/ 200977 h 596264"/>
                  <a:gd name="connsiteX63" fmla="*/ 294323 w 367665"/>
                  <a:gd name="connsiteY63" fmla="*/ 176117 h 596264"/>
                  <a:gd name="connsiteX64" fmla="*/ 319088 w 367665"/>
                  <a:gd name="connsiteY64" fmla="*/ 158115 h 596264"/>
                  <a:gd name="connsiteX65" fmla="*/ 336233 w 367665"/>
                  <a:gd name="connsiteY65" fmla="*/ 155162 h 596264"/>
                  <a:gd name="connsiteX66" fmla="*/ 367665 w 367665"/>
                  <a:gd name="connsiteY66" fmla="*/ 151447 h 596264"/>
                  <a:gd name="connsiteX67" fmla="*/ 350520 w 367665"/>
                  <a:gd name="connsiteY67" fmla="*/ 126587 h 596264"/>
                  <a:gd name="connsiteX68" fmla="*/ 360998 w 367665"/>
                  <a:gd name="connsiteY68" fmla="*/ 99060 h 5962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367665" h="596264">
                    <a:moveTo>
                      <a:pt x="360998" y="99060"/>
                    </a:moveTo>
                    <a:lnTo>
                      <a:pt x="346710" y="91440"/>
                    </a:lnTo>
                    <a:lnTo>
                      <a:pt x="350520" y="56197"/>
                    </a:lnTo>
                    <a:lnTo>
                      <a:pt x="350520" y="56197"/>
                    </a:lnTo>
                    <a:lnTo>
                      <a:pt x="333375" y="31337"/>
                    </a:lnTo>
                    <a:lnTo>
                      <a:pt x="308610" y="31337"/>
                    </a:lnTo>
                    <a:lnTo>
                      <a:pt x="273368" y="0"/>
                    </a:lnTo>
                    <a:lnTo>
                      <a:pt x="273368" y="0"/>
                    </a:lnTo>
                    <a:lnTo>
                      <a:pt x="255270" y="3810"/>
                    </a:lnTo>
                    <a:lnTo>
                      <a:pt x="255270" y="31337"/>
                    </a:lnTo>
                    <a:lnTo>
                      <a:pt x="230505" y="31337"/>
                    </a:lnTo>
                    <a:lnTo>
                      <a:pt x="230505" y="17050"/>
                    </a:lnTo>
                    <a:lnTo>
                      <a:pt x="205740" y="20860"/>
                    </a:lnTo>
                    <a:lnTo>
                      <a:pt x="205740" y="41910"/>
                    </a:lnTo>
                    <a:lnTo>
                      <a:pt x="174308" y="45625"/>
                    </a:lnTo>
                    <a:lnTo>
                      <a:pt x="153353" y="74200"/>
                    </a:lnTo>
                    <a:lnTo>
                      <a:pt x="153353" y="95155"/>
                    </a:lnTo>
                    <a:lnTo>
                      <a:pt x="132398" y="112300"/>
                    </a:lnTo>
                    <a:lnTo>
                      <a:pt x="128588" y="134302"/>
                    </a:lnTo>
                    <a:lnTo>
                      <a:pt x="103823" y="140875"/>
                    </a:lnTo>
                    <a:lnTo>
                      <a:pt x="100013" y="165735"/>
                    </a:lnTo>
                    <a:lnTo>
                      <a:pt x="82868" y="193262"/>
                    </a:lnTo>
                    <a:lnTo>
                      <a:pt x="93345" y="218122"/>
                    </a:lnTo>
                    <a:lnTo>
                      <a:pt x="86678" y="225742"/>
                    </a:lnTo>
                    <a:lnTo>
                      <a:pt x="58103" y="236125"/>
                    </a:lnTo>
                    <a:lnTo>
                      <a:pt x="30480" y="242792"/>
                    </a:lnTo>
                    <a:lnTo>
                      <a:pt x="30480" y="296228"/>
                    </a:lnTo>
                    <a:lnTo>
                      <a:pt x="30480" y="331375"/>
                    </a:lnTo>
                    <a:lnTo>
                      <a:pt x="51435" y="341947"/>
                    </a:lnTo>
                    <a:lnTo>
                      <a:pt x="54293" y="362903"/>
                    </a:lnTo>
                    <a:lnTo>
                      <a:pt x="30480" y="366617"/>
                    </a:lnTo>
                    <a:lnTo>
                      <a:pt x="51435" y="380905"/>
                    </a:lnTo>
                    <a:lnTo>
                      <a:pt x="43815" y="401955"/>
                    </a:lnTo>
                    <a:lnTo>
                      <a:pt x="30480" y="416242"/>
                    </a:lnTo>
                    <a:lnTo>
                      <a:pt x="30480" y="443865"/>
                    </a:lnTo>
                    <a:lnTo>
                      <a:pt x="0" y="447580"/>
                    </a:lnTo>
                    <a:lnTo>
                      <a:pt x="19050" y="482917"/>
                    </a:lnTo>
                    <a:lnTo>
                      <a:pt x="30480" y="511492"/>
                    </a:lnTo>
                    <a:lnTo>
                      <a:pt x="51435" y="542830"/>
                    </a:lnTo>
                    <a:lnTo>
                      <a:pt x="51435" y="557117"/>
                    </a:lnTo>
                    <a:lnTo>
                      <a:pt x="58103" y="571405"/>
                    </a:lnTo>
                    <a:lnTo>
                      <a:pt x="65723" y="596265"/>
                    </a:lnTo>
                    <a:lnTo>
                      <a:pt x="89535" y="592455"/>
                    </a:lnTo>
                    <a:lnTo>
                      <a:pt x="97155" y="571405"/>
                    </a:lnTo>
                    <a:lnTo>
                      <a:pt x="121920" y="567690"/>
                    </a:lnTo>
                    <a:lnTo>
                      <a:pt x="142875" y="557117"/>
                    </a:lnTo>
                    <a:lnTo>
                      <a:pt x="153353" y="536162"/>
                    </a:lnTo>
                    <a:lnTo>
                      <a:pt x="160020" y="514255"/>
                    </a:lnTo>
                    <a:lnTo>
                      <a:pt x="160020" y="489585"/>
                    </a:lnTo>
                    <a:lnTo>
                      <a:pt x="163830" y="468630"/>
                    </a:lnTo>
                    <a:lnTo>
                      <a:pt x="195263" y="451485"/>
                    </a:lnTo>
                    <a:lnTo>
                      <a:pt x="217170" y="437198"/>
                    </a:lnTo>
                    <a:lnTo>
                      <a:pt x="220028" y="416242"/>
                    </a:lnTo>
                    <a:lnTo>
                      <a:pt x="202883" y="391478"/>
                    </a:lnTo>
                    <a:lnTo>
                      <a:pt x="178118" y="380905"/>
                    </a:lnTo>
                    <a:lnTo>
                      <a:pt x="174308" y="341947"/>
                    </a:lnTo>
                    <a:lnTo>
                      <a:pt x="181928" y="313372"/>
                    </a:lnTo>
                    <a:lnTo>
                      <a:pt x="195263" y="292417"/>
                    </a:lnTo>
                    <a:lnTo>
                      <a:pt x="213360" y="267653"/>
                    </a:lnTo>
                    <a:lnTo>
                      <a:pt x="240983" y="264700"/>
                    </a:lnTo>
                    <a:lnTo>
                      <a:pt x="269558" y="242792"/>
                    </a:lnTo>
                    <a:lnTo>
                      <a:pt x="290513" y="218122"/>
                    </a:lnTo>
                    <a:lnTo>
                      <a:pt x="283845" y="200977"/>
                    </a:lnTo>
                    <a:lnTo>
                      <a:pt x="294323" y="176117"/>
                    </a:lnTo>
                    <a:lnTo>
                      <a:pt x="319088" y="158115"/>
                    </a:lnTo>
                    <a:lnTo>
                      <a:pt x="336233" y="155162"/>
                    </a:lnTo>
                    <a:lnTo>
                      <a:pt x="367665" y="151447"/>
                    </a:lnTo>
                    <a:lnTo>
                      <a:pt x="350520" y="126587"/>
                    </a:lnTo>
                    <a:lnTo>
                      <a:pt x="360998" y="9906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0" name="Freeform: Shape 399">
                <a:extLst>
                  <a:ext uri="{FF2B5EF4-FFF2-40B4-BE49-F238E27FC236}">
                    <a16:creationId xmlns:a16="http://schemas.microsoft.com/office/drawing/2014/main" id="{6C92C1C1-9FF8-99CF-C8FC-D7FB04CCE478}"/>
                  </a:ext>
                </a:extLst>
              </p:cNvPr>
              <p:cNvSpPr/>
              <p:nvPr/>
            </p:nvSpPr>
            <p:spPr>
              <a:xfrm>
                <a:off x="6568092" y="2266366"/>
                <a:ext cx="34547" cy="30720"/>
              </a:xfrm>
              <a:custGeom>
                <a:avLst/>
                <a:gdLst>
                  <a:gd name="connsiteX0" fmla="*/ 35243 w 35242"/>
                  <a:gd name="connsiteY0" fmla="*/ 31337 h 31337"/>
                  <a:gd name="connsiteX1" fmla="*/ 20955 w 35242"/>
                  <a:gd name="connsiteY1" fmla="*/ 17050 h 31337"/>
                  <a:gd name="connsiteX2" fmla="*/ 0 w 35242"/>
                  <a:gd name="connsiteY2" fmla="*/ 0 h 31337"/>
                  <a:gd name="connsiteX3" fmla="*/ 0 w 35242"/>
                  <a:gd name="connsiteY3" fmla="*/ 0 h 31337"/>
                  <a:gd name="connsiteX4" fmla="*/ 35243 w 35242"/>
                  <a:gd name="connsiteY4" fmla="*/ 31337 h 31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42" h="31337">
                    <a:moveTo>
                      <a:pt x="35243" y="31337"/>
                    </a:moveTo>
                    <a:lnTo>
                      <a:pt x="20955" y="1705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5243" y="3133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1" name="Freeform: Shape 400">
                <a:extLst>
                  <a:ext uri="{FF2B5EF4-FFF2-40B4-BE49-F238E27FC236}">
                    <a16:creationId xmlns:a16="http://schemas.microsoft.com/office/drawing/2014/main" id="{EC987D98-F0D5-67B7-AEDE-257755982DA4}"/>
                  </a:ext>
                </a:extLst>
              </p:cNvPr>
              <p:cNvSpPr/>
              <p:nvPr/>
            </p:nvSpPr>
            <p:spPr>
              <a:xfrm>
                <a:off x="6639989" y="2321456"/>
                <a:ext cx="3735" cy="34548"/>
              </a:xfrm>
              <a:custGeom>
                <a:avLst/>
                <a:gdLst>
                  <a:gd name="connsiteX0" fmla="*/ 3810 w 3810"/>
                  <a:gd name="connsiteY0" fmla="*/ 14288 h 35242"/>
                  <a:gd name="connsiteX1" fmla="*/ 3810 w 3810"/>
                  <a:gd name="connsiteY1" fmla="*/ 0 h 35242"/>
                  <a:gd name="connsiteX2" fmla="*/ 0 w 3810"/>
                  <a:gd name="connsiteY2" fmla="*/ 35243 h 35242"/>
                  <a:gd name="connsiteX3" fmla="*/ 3810 w 3810"/>
                  <a:gd name="connsiteY3" fmla="*/ 14288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" h="35242">
                    <a:moveTo>
                      <a:pt x="3810" y="14288"/>
                    </a:moveTo>
                    <a:lnTo>
                      <a:pt x="3810" y="0"/>
                    </a:lnTo>
                    <a:lnTo>
                      <a:pt x="0" y="35243"/>
                    </a:lnTo>
                    <a:lnTo>
                      <a:pt x="3810" y="1428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2" name="Freeform: Shape 401">
                <a:extLst>
                  <a:ext uri="{FF2B5EF4-FFF2-40B4-BE49-F238E27FC236}">
                    <a16:creationId xmlns:a16="http://schemas.microsoft.com/office/drawing/2014/main" id="{30D086A5-2DF5-3D93-CB5B-D4F87B01D547}"/>
                  </a:ext>
                </a:extLst>
              </p:cNvPr>
              <p:cNvSpPr/>
              <p:nvPr/>
            </p:nvSpPr>
            <p:spPr>
              <a:xfrm>
                <a:off x="6134844" y="2162721"/>
                <a:ext cx="708696" cy="583582"/>
              </a:xfrm>
              <a:custGeom>
                <a:avLst/>
                <a:gdLst>
                  <a:gd name="connsiteX0" fmla="*/ 199072 w 722947"/>
                  <a:gd name="connsiteY0" fmla="*/ 521970 h 595312"/>
                  <a:gd name="connsiteX1" fmla="*/ 212408 w 722947"/>
                  <a:gd name="connsiteY1" fmla="*/ 507682 h 595312"/>
                  <a:gd name="connsiteX2" fmla="*/ 220028 w 722947"/>
                  <a:gd name="connsiteY2" fmla="*/ 486632 h 595312"/>
                  <a:gd name="connsiteX3" fmla="*/ 199072 w 722947"/>
                  <a:gd name="connsiteY3" fmla="*/ 472345 h 595312"/>
                  <a:gd name="connsiteX4" fmla="*/ 222885 w 722947"/>
                  <a:gd name="connsiteY4" fmla="*/ 468630 h 595312"/>
                  <a:gd name="connsiteX5" fmla="*/ 220028 w 722947"/>
                  <a:gd name="connsiteY5" fmla="*/ 447675 h 595312"/>
                  <a:gd name="connsiteX6" fmla="*/ 199072 w 722947"/>
                  <a:gd name="connsiteY6" fmla="*/ 437102 h 595312"/>
                  <a:gd name="connsiteX7" fmla="*/ 199072 w 722947"/>
                  <a:gd name="connsiteY7" fmla="*/ 401955 h 595312"/>
                  <a:gd name="connsiteX8" fmla="*/ 199072 w 722947"/>
                  <a:gd name="connsiteY8" fmla="*/ 348520 h 595312"/>
                  <a:gd name="connsiteX9" fmla="*/ 255270 w 722947"/>
                  <a:gd name="connsiteY9" fmla="*/ 331470 h 595312"/>
                  <a:gd name="connsiteX10" fmla="*/ 261938 w 722947"/>
                  <a:gd name="connsiteY10" fmla="*/ 323850 h 595312"/>
                  <a:gd name="connsiteX11" fmla="*/ 251460 w 722947"/>
                  <a:gd name="connsiteY11" fmla="*/ 298990 h 595312"/>
                  <a:gd name="connsiteX12" fmla="*/ 268605 w 722947"/>
                  <a:gd name="connsiteY12" fmla="*/ 271463 h 595312"/>
                  <a:gd name="connsiteX13" fmla="*/ 272415 w 722947"/>
                  <a:gd name="connsiteY13" fmla="*/ 246602 h 595312"/>
                  <a:gd name="connsiteX14" fmla="*/ 297180 w 722947"/>
                  <a:gd name="connsiteY14" fmla="*/ 240030 h 595312"/>
                  <a:gd name="connsiteX15" fmla="*/ 300990 w 722947"/>
                  <a:gd name="connsiteY15" fmla="*/ 218027 h 595312"/>
                  <a:gd name="connsiteX16" fmla="*/ 321945 w 722947"/>
                  <a:gd name="connsiteY16" fmla="*/ 200882 h 595312"/>
                  <a:gd name="connsiteX17" fmla="*/ 321945 w 722947"/>
                  <a:gd name="connsiteY17" fmla="*/ 179927 h 595312"/>
                  <a:gd name="connsiteX18" fmla="*/ 342900 w 722947"/>
                  <a:gd name="connsiteY18" fmla="*/ 151352 h 595312"/>
                  <a:gd name="connsiteX19" fmla="*/ 374333 w 722947"/>
                  <a:gd name="connsiteY19" fmla="*/ 147638 h 595312"/>
                  <a:gd name="connsiteX20" fmla="*/ 374333 w 722947"/>
                  <a:gd name="connsiteY20" fmla="*/ 126587 h 595312"/>
                  <a:gd name="connsiteX21" fmla="*/ 399097 w 722947"/>
                  <a:gd name="connsiteY21" fmla="*/ 122777 h 595312"/>
                  <a:gd name="connsiteX22" fmla="*/ 399097 w 722947"/>
                  <a:gd name="connsiteY22" fmla="*/ 137065 h 595312"/>
                  <a:gd name="connsiteX23" fmla="*/ 423863 w 722947"/>
                  <a:gd name="connsiteY23" fmla="*/ 137065 h 595312"/>
                  <a:gd name="connsiteX24" fmla="*/ 423863 w 722947"/>
                  <a:gd name="connsiteY24" fmla="*/ 109538 h 595312"/>
                  <a:gd name="connsiteX25" fmla="*/ 441960 w 722947"/>
                  <a:gd name="connsiteY25" fmla="*/ 105728 h 595312"/>
                  <a:gd name="connsiteX26" fmla="*/ 448628 w 722947"/>
                  <a:gd name="connsiteY26" fmla="*/ 100013 h 595312"/>
                  <a:gd name="connsiteX27" fmla="*/ 459105 w 722947"/>
                  <a:gd name="connsiteY27" fmla="*/ 91440 h 595312"/>
                  <a:gd name="connsiteX28" fmla="*/ 459105 w 722947"/>
                  <a:gd name="connsiteY28" fmla="*/ 91440 h 595312"/>
                  <a:gd name="connsiteX29" fmla="*/ 459105 w 722947"/>
                  <a:gd name="connsiteY29" fmla="*/ 91440 h 595312"/>
                  <a:gd name="connsiteX30" fmla="*/ 459105 w 722947"/>
                  <a:gd name="connsiteY30" fmla="*/ 91440 h 595312"/>
                  <a:gd name="connsiteX31" fmla="*/ 469583 w 722947"/>
                  <a:gd name="connsiteY31" fmla="*/ 101918 h 595312"/>
                  <a:gd name="connsiteX32" fmla="*/ 483870 w 722947"/>
                  <a:gd name="connsiteY32" fmla="*/ 120015 h 595312"/>
                  <a:gd name="connsiteX33" fmla="*/ 533400 w 722947"/>
                  <a:gd name="connsiteY33" fmla="*/ 122777 h 595312"/>
                  <a:gd name="connsiteX34" fmla="*/ 558165 w 722947"/>
                  <a:gd name="connsiteY34" fmla="*/ 126587 h 595312"/>
                  <a:gd name="connsiteX35" fmla="*/ 575310 w 722947"/>
                  <a:gd name="connsiteY35" fmla="*/ 109538 h 595312"/>
                  <a:gd name="connsiteX36" fmla="*/ 582930 w 722947"/>
                  <a:gd name="connsiteY36" fmla="*/ 91440 h 595312"/>
                  <a:gd name="connsiteX37" fmla="*/ 585788 w 722947"/>
                  <a:gd name="connsiteY37" fmla="*/ 77153 h 595312"/>
                  <a:gd name="connsiteX38" fmla="*/ 589597 w 722947"/>
                  <a:gd name="connsiteY38" fmla="*/ 74200 h 595312"/>
                  <a:gd name="connsiteX39" fmla="*/ 624840 w 722947"/>
                  <a:gd name="connsiteY39" fmla="*/ 52388 h 595312"/>
                  <a:gd name="connsiteX40" fmla="*/ 663892 w 722947"/>
                  <a:gd name="connsiteY40" fmla="*/ 66675 h 595312"/>
                  <a:gd name="connsiteX41" fmla="*/ 681038 w 722947"/>
                  <a:gd name="connsiteY41" fmla="*/ 91440 h 595312"/>
                  <a:gd name="connsiteX42" fmla="*/ 699135 w 722947"/>
                  <a:gd name="connsiteY42" fmla="*/ 87630 h 595312"/>
                  <a:gd name="connsiteX43" fmla="*/ 699135 w 722947"/>
                  <a:gd name="connsiteY43" fmla="*/ 77153 h 595312"/>
                  <a:gd name="connsiteX44" fmla="*/ 670560 w 722947"/>
                  <a:gd name="connsiteY44" fmla="*/ 52388 h 595312"/>
                  <a:gd name="connsiteX45" fmla="*/ 705803 w 722947"/>
                  <a:gd name="connsiteY45" fmla="*/ 56102 h 595312"/>
                  <a:gd name="connsiteX46" fmla="*/ 722947 w 722947"/>
                  <a:gd name="connsiteY46" fmla="*/ 35243 h 595312"/>
                  <a:gd name="connsiteX47" fmla="*/ 681038 w 722947"/>
                  <a:gd name="connsiteY47" fmla="*/ 17050 h 595312"/>
                  <a:gd name="connsiteX48" fmla="*/ 649605 w 722947"/>
                  <a:gd name="connsiteY48" fmla="*/ 35243 h 595312"/>
                  <a:gd name="connsiteX49" fmla="*/ 656272 w 722947"/>
                  <a:gd name="connsiteY49" fmla="*/ 10478 h 595312"/>
                  <a:gd name="connsiteX50" fmla="*/ 631508 w 722947"/>
                  <a:gd name="connsiteY50" fmla="*/ 6668 h 595312"/>
                  <a:gd name="connsiteX51" fmla="*/ 603885 w 722947"/>
                  <a:gd name="connsiteY51" fmla="*/ 39053 h 595312"/>
                  <a:gd name="connsiteX52" fmla="*/ 603885 w 722947"/>
                  <a:gd name="connsiteY52" fmla="*/ 17050 h 595312"/>
                  <a:gd name="connsiteX53" fmla="*/ 561022 w 722947"/>
                  <a:gd name="connsiteY53" fmla="*/ 56102 h 595312"/>
                  <a:gd name="connsiteX54" fmla="*/ 561022 w 722947"/>
                  <a:gd name="connsiteY54" fmla="*/ 39053 h 595312"/>
                  <a:gd name="connsiteX55" fmla="*/ 593408 w 722947"/>
                  <a:gd name="connsiteY55" fmla="*/ 6668 h 595312"/>
                  <a:gd name="connsiteX56" fmla="*/ 579120 w 722947"/>
                  <a:gd name="connsiteY56" fmla="*/ 0 h 595312"/>
                  <a:gd name="connsiteX57" fmla="*/ 543878 w 722947"/>
                  <a:gd name="connsiteY57" fmla="*/ 27527 h 595312"/>
                  <a:gd name="connsiteX58" fmla="*/ 519113 w 722947"/>
                  <a:gd name="connsiteY58" fmla="*/ 27527 h 595312"/>
                  <a:gd name="connsiteX59" fmla="*/ 512445 w 722947"/>
                  <a:gd name="connsiteY59" fmla="*/ 62865 h 595312"/>
                  <a:gd name="connsiteX60" fmla="*/ 501967 w 722947"/>
                  <a:gd name="connsiteY60" fmla="*/ 59912 h 595312"/>
                  <a:gd name="connsiteX61" fmla="*/ 501967 w 722947"/>
                  <a:gd name="connsiteY61" fmla="*/ 41815 h 595312"/>
                  <a:gd name="connsiteX62" fmla="*/ 480060 w 722947"/>
                  <a:gd name="connsiteY62" fmla="*/ 45625 h 595312"/>
                  <a:gd name="connsiteX63" fmla="*/ 469583 w 722947"/>
                  <a:gd name="connsiteY63" fmla="*/ 66675 h 595312"/>
                  <a:gd name="connsiteX64" fmla="*/ 452438 w 722947"/>
                  <a:gd name="connsiteY64" fmla="*/ 56102 h 595312"/>
                  <a:gd name="connsiteX65" fmla="*/ 427672 w 722947"/>
                  <a:gd name="connsiteY65" fmla="*/ 70390 h 595312"/>
                  <a:gd name="connsiteX66" fmla="*/ 417195 w 722947"/>
                  <a:gd name="connsiteY66" fmla="*/ 52388 h 595312"/>
                  <a:gd name="connsiteX67" fmla="*/ 396240 w 722947"/>
                  <a:gd name="connsiteY67" fmla="*/ 52388 h 595312"/>
                  <a:gd name="connsiteX68" fmla="*/ 381953 w 722947"/>
                  <a:gd name="connsiteY68" fmla="*/ 84677 h 595312"/>
                  <a:gd name="connsiteX69" fmla="*/ 350520 w 722947"/>
                  <a:gd name="connsiteY69" fmla="*/ 77153 h 595312"/>
                  <a:gd name="connsiteX70" fmla="*/ 339090 w 722947"/>
                  <a:gd name="connsiteY70" fmla="*/ 95250 h 595312"/>
                  <a:gd name="connsiteX71" fmla="*/ 357188 w 722947"/>
                  <a:gd name="connsiteY71" fmla="*/ 105728 h 595312"/>
                  <a:gd name="connsiteX72" fmla="*/ 353378 w 722947"/>
                  <a:gd name="connsiteY72" fmla="*/ 120015 h 595312"/>
                  <a:gd name="connsiteX73" fmla="*/ 321945 w 722947"/>
                  <a:gd name="connsiteY73" fmla="*/ 112300 h 595312"/>
                  <a:gd name="connsiteX74" fmla="*/ 307658 w 722947"/>
                  <a:gd name="connsiteY74" fmla="*/ 98012 h 595312"/>
                  <a:gd name="connsiteX75" fmla="*/ 290513 w 722947"/>
                  <a:gd name="connsiteY75" fmla="*/ 109538 h 595312"/>
                  <a:gd name="connsiteX76" fmla="*/ 282892 w 722947"/>
                  <a:gd name="connsiteY76" fmla="*/ 126587 h 595312"/>
                  <a:gd name="connsiteX77" fmla="*/ 286703 w 722947"/>
                  <a:gd name="connsiteY77" fmla="*/ 137065 h 595312"/>
                  <a:gd name="connsiteX78" fmla="*/ 307658 w 722947"/>
                  <a:gd name="connsiteY78" fmla="*/ 137065 h 595312"/>
                  <a:gd name="connsiteX79" fmla="*/ 325755 w 722947"/>
                  <a:gd name="connsiteY79" fmla="*/ 126587 h 595312"/>
                  <a:gd name="connsiteX80" fmla="*/ 321945 w 722947"/>
                  <a:gd name="connsiteY80" fmla="*/ 151352 h 595312"/>
                  <a:gd name="connsiteX81" fmla="*/ 307658 w 722947"/>
                  <a:gd name="connsiteY81" fmla="*/ 151352 h 595312"/>
                  <a:gd name="connsiteX82" fmla="*/ 293370 w 722947"/>
                  <a:gd name="connsiteY82" fmla="*/ 176213 h 595312"/>
                  <a:gd name="connsiteX83" fmla="*/ 276225 w 722947"/>
                  <a:gd name="connsiteY83" fmla="*/ 186690 h 595312"/>
                  <a:gd name="connsiteX84" fmla="*/ 240983 w 722947"/>
                  <a:gd name="connsiteY84" fmla="*/ 215170 h 595312"/>
                  <a:gd name="connsiteX85" fmla="*/ 240983 w 722947"/>
                  <a:gd name="connsiteY85" fmla="*/ 236220 h 595312"/>
                  <a:gd name="connsiteX86" fmla="*/ 222885 w 722947"/>
                  <a:gd name="connsiteY86" fmla="*/ 246602 h 595312"/>
                  <a:gd name="connsiteX87" fmla="*/ 199072 w 722947"/>
                  <a:gd name="connsiteY87" fmla="*/ 288608 h 595312"/>
                  <a:gd name="connsiteX88" fmla="*/ 180975 w 722947"/>
                  <a:gd name="connsiteY88" fmla="*/ 313277 h 595312"/>
                  <a:gd name="connsiteX89" fmla="*/ 161925 w 722947"/>
                  <a:gd name="connsiteY89" fmla="*/ 323850 h 595312"/>
                  <a:gd name="connsiteX90" fmla="*/ 129540 w 722947"/>
                  <a:gd name="connsiteY90" fmla="*/ 356140 h 595312"/>
                  <a:gd name="connsiteX91" fmla="*/ 147638 w 722947"/>
                  <a:gd name="connsiteY91" fmla="*/ 359093 h 595312"/>
                  <a:gd name="connsiteX92" fmla="*/ 164783 w 722947"/>
                  <a:gd name="connsiteY92" fmla="*/ 341852 h 595312"/>
                  <a:gd name="connsiteX93" fmla="*/ 172403 w 722947"/>
                  <a:gd name="connsiteY93" fmla="*/ 356140 h 595312"/>
                  <a:gd name="connsiteX94" fmla="*/ 147638 w 722947"/>
                  <a:gd name="connsiteY94" fmla="*/ 370427 h 595312"/>
                  <a:gd name="connsiteX95" fmla="*/ 122872 w 722947"/>
                  <a:gd name="connsiteY95" fmla="*/ 366713 h 595312"/>
                  <a:gd name="connsiteX96" fmla="*/ 108585 w 722947"/>
                  <a:gd name="connsiteY96" fmla="*/ 366713 h 595312"/>
                  <a:gd name="connsiteX97" fmla="*/ 98108 w 722947"/>
                  <a:gd name="connsiteY97" fmla="*/ 387668 h 595312"/>
                  <a:gd name="connsiteX98" fmla="*/ 73342 w 722947"/>
                  <a:gd name="connsiteY98" fmla="*/ 398145 h 595312"/>
                  <a:gd name="connsiteX99" fmla="*/ 45720 w 722947"/>
                  <a:gd name="connsiteY99" fmla="*/ 405670 h 595312"/>
                  <a:gd name="connsiteX100" fmla="*/ 6668 w 722947"/>
                  <a:gd name="connsiteY100" fmla="*/ 422815 h 595312"/>
                  <a:gd name="connsiteX101" fmla="*/ 0 w 722947"/>
                  <a:gd name="connsiteY101" fmla="*/ 441008 h 595312"/>
                  <a:gd name="connsiteX102" fmla="*/ 6668 w 722947"/>
                  <a:gd name="connsiteY102" fmla="*/ 479107 h 595312"/>
                  <a:gd name="connsiteX103" fmla="*/ 13335 w 722947"/>
                  <a:gd name="connsiteY103" fmla="*/ 493395 h 595312"/>
                  <a:gd name="connsiteX104" fmla="*/ 31433 w 722947"/>
                  <a:gd name="connsiteY104" fmla="*/ 503777 h 595312"/>
                  <a:gd name="connsiteX105" fmla="*/ 6668 w 722947"/>
                  <a:gd name="connsiteY105" fmla="*/ 521970 h 595312"/>
                  <a:gd name="connsiteX106" fmla="*/ 10478 w 722947"/>
                  <a:gd name="connsiteY106" fmla="*/ 536257 h 595312"/>
                  <a:gd name="connsiteX107" fmla="*/ 27622 w 722947"/>
                  <a:gd name="connsiteY107" fmla="*/ 532352 h 595312"/>
                  <a:gd name="connsiteX108" fmla="*/ 31433 w 722947"/>
                  <a:gd name="connsiteY108" fmla="*/ 539020 h 595312"/>
                  <a:gd name="connsiteX109" fmla="*/ 17145 w 722947"/>
                  <a:gd name="connsiteY109" fmla="*/ 557213 h 595312"/>
                  <a:gd name="connsiteX110" fmla="*/ 20955 w 722947"/>
                  <a:gd name="connsiteY110" fmla="*/ 571500 h 595312"/>
                  <a:gd name="connsiteX111" fmla="*/ 41910 w 722947"/>
                  <a:gd name="connsiteY111" fmla="*/ 588645 h 595312"/>
                  <a:gd name="connsiteX112" fmla="*/ 73342 w 722947"/>
                  <a:gd name="connsiteY112" fmla="*/ 595313 h 595312"/>
                  <a:gd name="connsiteX113" fmla="*/ 108585 w 722947"/>
                  <a:gd name="connsiteY113" fmla="*/ 578168 h 595312"/>
                  <a:gd name="connsiteX114" fmla="*/ 129540 w 722947"/>
                  <a:gd name="connsiteY114" fmla="*/ 557213 h 595312"/>
                  <a:gd name="connsiteX115" fmla="*/ 143828 w 722947"/>
                  <a:gd name="connsiteY115" fmla="*/ 549593 h 595312"/>
                  <a:gd name="connsiteX116" fmla="*/ 154305 w 722947"/>
                  <a:gd name="connsiteY116" fmla="*/ 528638 h 595312"/>
                  <a:gd name="connsiteX117" fmla="*/ 161925 w 722947"/>
                  <a:gd name="connsiteY117" fmla="*/ 546640 h 595312"/>
                  <a:gd name="connsiteX118" fmla="*/ 168592 w 722947"/>
                  <a:gd name="connsiteY118" fmla="*/ 553307 h 595312"/>
                  <a:gd name="connsiteX119" fmla="*/ 199072 w 722947"/>
                  <a:gd name="connsiteY119" fmla="*/ 549593 h 595312"/>
                  <a:gd name="connsiteX120" fmla="*/ 199072 w 722947"/>
                  <a:gd name="connsiteY120" fmla="*/ 521970 h 595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</a:cxnLst>
                <a:rect l="l" t="t" r="r" b="b"/>
                <a:pathLst>
                  <a:path w="722947" h="595312">
                    <a:moveTo>
                      <a:pt x="199072" y="521970"/>
                    </a:moveTo>
                    <a:lnTo>
                      <a:pt x="212408" y="507682"/>
                    </a:lnTo>
                    <a:lnTo>
                      <a:pt x="220028" y="486632"/>
                    </a:lnTo>
                    <a:lnTo>
                      <a:pt x="199072" y="472345"/>
                    </a:lnTo>
                    <a:lnTo>
                      <a:pt x="222885" y="468630"/>
                    </a:lnTo>
                    <a:lnTo>
                      <a:pt x="220028" y="447675"/>
                    </a:lnTo>
                    <a:lnTo>
                      <a:pt x="199072" y="437102"/>
                    </a:lnTo>
                    <a:lnTo>
                      <a:pt x="199072" y="401955"/>
                    </a:lnTo>
                    <a:lnTo>
                      <a:pt x="199072" y="348520"/>
                    </a:lnTo>
                    <a:lnTo>
                      <a:pt x="255270" y="331470"/>
                    </a:lnTo>
                    <a:lnTo>
                      <a:pt x="261938" y="323850"/>
                    </a:lnTo>
                    <a:lnTo>
                      <a:pt x="251460" y="298990"/>
                    </a:lnTo>
                    <a:lnTo>
                      <a:pt x="268605" y="271463"/>
                    </a:lnTo>
                    <a:lnTo>
                      <a:pt x="272415" y="246602"/>
                    </a:lnTo>
                    <a:lnTo>
                      <a:pt x="297180" y="240030"/>
                    </a:lnTo>
                    <a:lnTo>
                      <a:pt x="300990" y="218027"/>
                    </a:lnTo>
                    <a:lnTo>
                      <a:pt x="321945" y="200882"/>
                    </a:lnTo>
                    <a:lnTo>
                      <a:pt x="321945" y="179927"/>
                    </a:lnTo>
                    <a:lnTo>
                      <a:pt x="342900" y="151352"/>
                    </a:lnTo>
                    <a:lnTo>
                      <a:pt x="374333" y="147638"/>
                    </a:lnTo>
                    <a:lnTo>
                      <a:pt x="374333" y="126587"/>
                    </a:lnTo>
                    <a:lnTo>
                      <a:pt x="399097" y="122777"/>
                    </a:lnTo>
                    <a:lnTo>
                      <a:pt x="399097" y="137065"/>
                    </a:lnTo>
                    <a:lnTo>
                      <a:pt x="423863" y="137065"/>
                    </a:lnTo>
                    <a:lnTo>
                      <a:pt x="423863" y="109538"/>
                    </a:lnTo>
                    <a:lnTo>
                      <a:pt x="441960" y="105728"/>
                    </a:lnTo>
                    <a:lnTo>
                      <a:pt x="448628" y="100013"/>
                    </a:lnTo>
                    <a:lnTo>
                      <a:pt x="459105" y="91440"/>
                    </a:lnTo>
                    <a:lnTo>
                      <a:pt x="459105" y="91440"/>
                    </a:lnTo>
                    <a:lnTo>
                      <a:pt x="459105" y="91440"/>
                    </a:lnTo>
                    <a:lnTo>
                      <a:pt x="459105" y="91440"/>
                    </a:lnTo>
                    <a:lnTo>
                      <a:pt x="469583" y="101918"/>
                    </a:lnTo>
                    <a:lnTo>
                      <a:pt x="483870" y="120015"/>
                    </a:lnTo>
                    <a:lnTo>
                      <a:pt x="533400" y="122777"/>
                    </a:lnTo>
                    <a:lnTo>
                      <a:pt x="558165" y="126587"/>
                    </a:lnTo>
                    <a:lnTo>
                      <a:pt x="575310" y="109538"/>
                    </a:lnTo>
                    <a:lnTo>
                      <a:pt x="582930" y="91440"/>
                    </a:lnTo>
                    <a:lnTo>
                      <a:pt x="585788" y="77153"/>
                    </a:lnTo>
                    <a:lnTo>
                      <a:pt x="589597" y="74200"/>
                    </a:lnTo>
                    <a:lnTo>
                      <a:pt x="624840" y="52388"/>
                    </a:lnTo>
                    <a:lnTo>
                      <a:pt x="663892" y="66675"/>
                    </a:lnTo>
                    <a:lnTo>
                      <a:pt x="681038" y="91440"/>
                    </a:lnTo>
                    <a:lnTo>
                      <a:pt x="699135" y="87630"/>
                    </a:lnTo>
                    <a:lnTo>
                      <a:pt x="699135" y="77153"/>
                    </a:lnTo>
                    <a:lnTo>
                      <a:pt x="670560" y="52388"/>
                    </a:lnTo>
                    <a:lnTo>
                      <a:pt x="705803" y="56102"/>
                    </a:lnTo>
                    <a:lnTo>
                      <a:pt x="722947" y="35243"/>
                    </a:lnTo>
                    <a:lnTo>
                      <a:pt x="681038" y="17050"/>
                    </a:lnTo>
                    <a:lnTo>
                      <a:pt x="649605" y="35243"/>
                    </a:lnTo>
                    <a:lnTo>
                      <a:pt x="656272" y="10478"/>
                    </a:lnTo>
                    <a:lnTo>
                      <a:pt x="631508" y="6668"/>
                    </a:lnTo>
                    <a:lnTo>
                      <a:pt x="603885" y="39053"/>
                    </a:lnTo>
                    <a:lnTo>
                      <a:pt x="603885" y="17050"/>
                    </a:lnTo>
                    <a:lnTo>
                      <a:pt x="561022" y="56102"/>
                    </a:lnTo>
                    <a:lnTo>
                      <a:pt x="561022" y="39053"/>
                    </a:lnTo>
                    <a:lnTo>
                      <a:pt x="593408" y="6668"/>
                    </a:lnTo>
                    <a:lnTo>
                      <a:pt x="579120" y="0"/>
                    </a:lnTo>
                    <a:lnTo>
                      <a:pt x="543878" y="27527"/>
                    </a:lnTo>
                    <a:lnTo>
                      <a:pt x="519113" y="27527"/>
                    </a:lnTo>
                    <a:lnTo>
                      <a:pt x="512445" y="62865"/>
                    </a:lnTo>
                    <a:lnTo>
                      <a:pt x="501967" y="59912"/>
                    </a:lnTo>
                    <a:lnTo>
                      <a:pt x="501967" y="41815"/>
                    </a:lnTo>
                    <a:lnTo>
                      <a:pt x="480060" y="45625"/>
                    </a:lnTo>
                    <a:lnTo>
                      <a:pt x="469583" y="66675"/>
                    </a:lnTo>
                    <a:lnTo>
                      <a:pt x="452438" y="56102"/>
                    </a:lnTo>
                    <a:lnTo>
                      <a:pt x="427672" y="70390"/>
                    </a:lnTo>
                    <a:lnTo>
                      <a:pt x="417195" y="52388"/>
                    </a:lnTo>
                    <a:lnTo>
                      <a:pt x="396240" y="52388"/>
                    </a:lnTo>
                    <a:lnTo>
                      <a:pt x="381953" y="84677"/>
                    </a:lnTo>
                    <a:lnTo>
                      <a:pt x="350520" y="77153"/>
                    </a:lnTo>
                    <a:lnTo>
                      <a:pt x="339090" y="95250"/>
                    </a:lnTo>
                    <a:lnTo>
                      <a:pt x="357188" y="105728"/>
                    </a:lnTo>
                    <a:lnTo>
                      <a:pt x="353378" y="120015"/>
                    </a:lnTo>
                    <a:lnTo>
                      <a:pt x="321945" y="112300"/>
                    </a:lnTo>
                    <a:lnTo>
                      <a:pt x="307658" y="98012"/>
                    </a:lnTo>
                    <a:lnTo>
                      <a:pt x="290513" y="109538"/>
                    </a:lnTo>
                    <a:lnTo>
                      <a:pt x="282892" y="126587"/>
                    </a:lnTo>
                    <a:lnTo>
                      <a:pt x="286703" y="137065"/>
                    </a:lnTo>
                    <a:lnTo>
                      <a:pt x="307658" y="137065"/>
                    </a:lnTo>
                    <a:lnTo>
                      <a:pt x="325755" y="126587"/>
                    </a:lnTo>
                    <a:lnTo>
                      <a:pt x="321945" y="151352"/>
                    </a:lnTo>
                    <a:lnTo>
                      <a:pt x="307658" y="151352"/>
                    </a:lnTo>
                    <a:lnTo>
                      <a:pt x="293370" y="176213"/>
                    </a:lnTo>
                    <a:lnTo>
                      <a:pt x="276225" y="186690"/>
                    </a:lnTo>
                    <a:lnTo>
                      <a:pt x="240983" y="215170"/>
                    </a:lnTo>
                    <a:lnTo>
                      <a:pt x="240983" y="236220"/>
                    </a:lnTo>
                    <a:lnTo>
                      <a:pt x="222885" y="246602"/>
                    </a:lnTo>
                    <a:lnTo>
                      <a:pt x="199072" y="288608"/>
                    </a:lnTo>
                    <a:lnTo>
                      <a:pt x="180975" y="313277"/>
                    </a:lnTo>
                    <a:lnTo>
                      <a:pt x="161925" y="323850"/>
                    </a:lnTo>
                    <a:lnTo>
                      <a:pt x="129540" y="356140"/>
                    </a:lnTo>
                    <a:lnTo>
                      <a:pt x="147638" y="359093"/>
                    </a:lnTo>
                    <a:lnTo>
                      <a:pt x="164783" y="341852"/>
                    </a:lnTo>
                    <a:lnTo>
                      <a:pt x="172403" y="356140"/>
                    </a:lnTo>
                    <a:lnTo>
                      <a:pt x="147638" y="370427"/>
                    </a:lnTo>
                    <a:lnTo>
                      <a:pt x="122872" y="366713"/>
                    </a:lnTo>
                    <a:lnTo>
                      <a:pt x="108585" y="366713"/>
                    </a:lnTo>
                    <a:lnTo>
                      <a:pt x="98108" y="387668"/>
                    </a:lnTo>
                    <a:lnTo>
                      <a:pt x="73342" y="398145"/>
                    </a:lnTo>
                    <a:lnTo>
                      <a:pt x="45720" y="405670"/>
                    </a:lnTo>
                    <a:lnTo>
                      <a:pt x="6668" y="422815"/>
                    </a:lnTo>
                    <a:lnTo>
                      <a:pt x="0" y="441008"/>
                    </a:lnTo>
                    <a:lnTo>
                      <a:pt x="6668" y="479107"/>
                    </a:lnTo>
                    <a:lnTo>
                      <a:pt x="13335" y="493395"/>
                    </a:lnTo>
                    <a:lnTo>
                      <a:pt x="31433" y="503777"/>
                    </a:lnTo>
                    <a:lnTo>
                      <a:pt x="6668" y="521970"/>
                    </a:lnTo>
                    <a:lnTo>
                      <a:pt x="10478" y="536257"/>
                    </a:lnTo>
                    <a:lnTo>
                      <a:pt x="27622" y="532352"/>
                    </a:lnTo>
                    <a:lnTo>
                      <a:pt x="31433" y="539020"/>
                    </a:lnTo>
                    <a:lnTo>
                      <a:pt x="17145" y="557213"/>
                    </a:lnTo>
                    <a:lnTo>
                      <a:pt x="20955" y="571500"/>
                    </a:lnTo>
                    <a:lnTo>
                      <a:pt x="41910" y="588645"/>
                    </a:lnTo>
                    <a:lnTo>
                      <a:pt x="73342" y="595313"/>
                    </a:lnTo>
                    <a:lnTo>
                      <a:pt x="108585" y="578168"/>
                    </a:lnTo>
                    <a:lnTo>
                      <a:pt x="129540" y="557213"/>
                    </a:lnTo>
                    <a:lnTo>
                      <a:pt x="143828" y="549593"/>
                    </a:lnTo>
                    <a:lnTo>
                      <a:pt x="154305" y="528638"/>
                    </a:lnTo>
                    <a:lnTo>
                      <a:pt x="161925" y="546640"/>
                    </a:lnTo>
                    <a:lnTo>
                      <a:pt x="168592" y="553307"/>
                    </a:lnTo>
                    <a:lnTo>
                      <a:pt x="199072" y="549593"/>
                    </a:lnTo>
                    <a:lnTo>
                      <a:pt x="199072" y="52197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3" name="Freeform: Shape 402">
                <a:extLst>
                  <a:ext uri="{FF2B5EF4-FFF2-40B4-BE49-F238E27FC236}">
                    <a16:creationId xmlns:a16="http://schemas.microsoft.com/office/drawing/2014/main" id="{AEA4D55A-20CD-23B1-8B08-2A42A560E9D4}"/>
                  </a:ext>
                </a:extLst>
              </p:cNvPr>
              <p:cNvSpPr/>
              <p:nvPr/>
            </p:nvSpPr>
            <p:spPr>
              <a:xfrm>
                <a:off x="6682006" y="2252359"/>
                <a:ext cx="24276" cy="34454"/>
              </a:xfrm>
              <a:custGeom>
                <a:avLst/>
                <a:gdLst>
                  <a:gd name="connsiteX0" fmla="*/ 0 w 24764"/>
                  <a:gd name="connsiteY0" fmla="*/ 35147 h 35147"/>
                  <a:gd name="connsiteX1" fmla="*/ 20955 w 24764"/>
                  <a:gd name="connsiteY1" fmla="*/ 14288 h 35147"/>
                  <a:gd name="connsiteX2" fmla="*/ 24765 w 24764"/>
                  <a:gd name="connsiteY2" fmla="*/ 0 h 35147"/>
                  <a:gd name="connsiteX3" fmla="*/ 17145 w 24764"/>
                  <a:gd name="connsiteY3" fmla="*/ 18097 h 35147"/>
                  <a:gd name="connsiteX4" fmla="*/ 0 w 24764"/>
                  <a:gd name="connsiteY4" fmla="*/ 35147 h 35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4764" h="35147">
                    <a:moveTo>
                      <a:pt x="0" y="35147"/>
                    </a:moveTo>
                    <a:lnTo>
                      <a:pt x="20955" y="14288"/>
                    </a:lnTo>
                    <a:lnTo>
                      <a:pt x="24765" y="0"/>
                    </a:lnTo>
                    <a:lnTo>
                      <a:pt x="17145" y="18097"/>
                    </a:lnTo>
                    <a:lnTo>
                      <a:pt x="0" y="3514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4" name="Freeform: Shape 403">
                <a:extLst>
                  <a:ext uri="{FF2B5EF4-FFF2-40B4-BE49-F238E27FC236}">
                    <a16:creationId xmlns:a16="http://schemas.microsoft.com/office/drawing/2014/main" id="{7E73BE95-FF88-692A-B9DD-89B2B18F1738}"/>
                  </a:ext>
                </a:extLst>
              </p:cNvPr>
              <p:cNvSpPr/>
              <p:nvPr/>
            </p:nvSpPr>
            <p:spPr>
              <a:xfrm>
                <a:off x="6568092" y="2260764"/>
                <a:ext cx="6536" cy="5602"/>
              </a:xfrm>
              <a:custGeom>
                <a:avLst/>
                <a:gdLst>
                  <a:gd name="connsiteX0" fmla="*/ 0 w 6667"/>
                  <a:gd name="connsiteY0" fmla="*/ 5715 h 5715"/>
                  <a:gd name="connsiteX1" fmla="*/ 6668 w 6667"/>
                  <a:gd name="connsiteY1" fmla="*/ 0 h 5715"/>
                  <a:gd name="connsiteX2" fmla="*/ 0 w 6667"/>
                  <a:gd name="connsiteY2" fmla="*/ 5715 h 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667" h="5715">
                    <a:moveTo>
                      <a:pt x="0" y="5715"/>
                    </a:moveTo>
                    <a:lnTo>
                      <a:pt x="6668" y="0"/>
                    </a:lnTo>
                    <a:lnTo>
                      <a:pt x="0" y="5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5" name="Freeform: Shape 404">
                <a:extLst>
                  <a:ext uri="{FF2B5EF4-FFF2-40B4-BE49-F238E27FC236}">
                    <a16:creationId xmlns:a16="http://schemas.microsoft.com/office/drawing/2014/main" id="{EDACB517-0D19-7BCC-8255-AAAA3C0A1F54}"/>
                  </a:ext>
                </a:extLst>
              </p:cNvPr>
              <p:cNvSpPr/>
              <p:nvPr/>
            </p:nvSpPr>
            <p:spPr>
              <a:xfrm>
                <a:off x="6381347" y="2404464"/>
                <a:ext cx="20542" cy="51355"/>
              </a:xfrm>
              <a:custGeom>
                <a:avLst/>
                <a:gdLst>
                  <a:gd name="connsiteX0" fmla="*/ 0 w 20955"/>
                  <a:gd name="connsiteY0" fmla="*/ 52388 h 52387"/>
                  <a:gd name="connsiteX1" fmla="*/ 17145 w 20955"/>
                  <a:gd name="connsiteY1" fmla="*/ 24860 h 52387"/>
                  <a:gd name="connsiteX2" fmla="*/ 20955 w 20955"/>
                  <a:gd name="connsiteY2" fmla="*/ 0 h 52387"/>
                  <a:gd name="connsiteX3" fmla="*/ 17145 w 20955"/>
                  <a:gd name="connsiteY3" fmla="*/ 24860 h 52387"/>
                  <a:gd name="connsiteX4" fmla="*/ 0 w 20955"/>
                  <a:gd name="connsiteY4" fmla="*/ 52388 h 5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55" h="52387">
                    <a:moveTo>
                      <a:pt x="0" y="52388"/>
                    </a:moveTo>
                    <a:lnTo>
                      <a:pt x="17145" y="24860"/>
                    </a:lnTo>
                    <a:lnTo>
                      <a:pt x="20955" y="0"/>
                    </a:lnTo>
                    <a:lnTo>
                      <a:pt x="17145" y="24860"/>
                    </a:lnTo>
                    <a:lnTo>
                      <a:pt x="0" y="5238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id="{C01797F1-5EAE-9459-7A2B-5AC23CB5D348}"/>
                  </a:ext>
                </a:extLst>
              </p:cNvPr>
              <p:cNvSpPr/>
              <p:nvPr/>
            </p:nvSpPr>
            <p:spPr>
              <a:xfrm>
                <a:off x="6450444" y="2307450"/>
                <a:ext cx="51354" cy="31653"/>
              </a:xfrm>
              <a:custGeom>
                <a:avLst/>
                <a:gdLst>
                  <a:gd name="connsiteX0" fmla="*/ 0 w 52387"/>
                  <a:gd name="connsiteY0" fmla="*/ 32290 h 32289"/>
                  <a:gd name="connsiteX1" fmla="*/ 20955 w 52387"/>
                  <a:gd name="connsiteY1" fmla="*/ 3715 h 32289"/>
                  <a:gd name="connsiteX2" fmla="*/ 52388 w 52387"/>
                  <a:gd name="connsiteY2" fmla="*/ 0 h 32289"/>
                  <a:gd name="connsiteX3" fmla="*/ 20955 w 52387"/>
                  <a:gd name="connsiteY3" fmla="*/ 3715 h 32289"/>
                  <a:gd name="connsiteX4" fmla="*/ 0 w 52387"/>
                  <a:gd name="connsiteY4" fmla="*/ 32290 h 32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2387" h="32289">
                    <a:moveTo>
                      <a:pt x="0" y="32290"/>
                    </a:moveTo>
                    <a:lnTo>
                      <a:pt x="20955" y="3715"/>
                    </a:lnTo>
                    <a:lnTo>
                      <a:pt x="52388" y="0"/>
                    </a:lnTo>
                    <a:lnTo>
                      <a:pt x="20955" y="3715"/>
                    </a:lnTo>
                    <a:lnTo>
                      <a:pt x="0" y="3229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id="{37BDD8F3-780E-F0A4-4113-4CDCF653BD7F}"/>
                  </a:ext>
                </a:extLst>
              </p:cNvPr>
              <p:cNvSpPr/>
              <p:nvPr/>
            </p:nvSpPr>
            <p:spPr>
              <a:xfrm>
                <a:off x="6550352" y="2266366"/>
                <a:ext cx="17740" cy="3734"/>
              </a:xfrm>
              <a:custGeom>
                <a:avLst/>
                <a:gdLst>
                  <a:gd name="connsiteX0" fmla="*/ 0 w 18097"/>
                  <a:gd name="connsiteY0" fmla="*/ 3810 h 3809"/>
                  <a:gd name="connsiteX1" fmla="*/ 18097 w 18097"/>
                  <a:gd name="connsiteY1" fmla="*/ 0 h 3809"/>
                  <a:gd name="connsiteX2" fmla="*/ 18097 w 18097"/>
                  <a:gd name="connsiteY2" fmla="*/ 0 h 3809"/>
                  <a:gd name="connsiteX3" fmla="*/ 18097 w 18097"/>
                  <a:gd name="connsiteY3" fmla="*/ 0 h 3809"/>
                  <a:gd name="connsiteX4" fmla="*/ 0 w 18097"/>
                  <a:gd name="connsiteY4" fmla="*/ 3810 h 3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097" h="3809">
                    <a:moveTo>
                      <a:pt x="0" y="3810"/>
                    </a:moveTo>
                    <a:lnTo>
                      <a:pt x="18097" y="0"/>
                    </a:lnTo>
                    <a:lnTo>
                      <a:pt x="18097" y="0"/>
                    </a:lnTo>
                    <a:lnTo>
                      <a:pt x="18097" y="0"/>
                    </a:lnTo>
                    <a:lnTo>
                      <a:pt x="0" y="381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8" name="Freeform: Shape 407">
                <a:extLst>
                  <a:ext uri="{FF2B5EF4-FFF2-40B4-BE49-F238E27FC236}">
                    <a16:creationId xmlns:a16="http://schemas.microsoft.com/office/drawing/2014/main" id="{D4570479-D081-FEF7-40AC-B6C91BFE3011}"/>
                  </a:ext>
                </a:extLst>
              </p:cNvPr>
              <p:cNvSpPr/>
              <p:nvPr/>
            </p:nvSpPr>
            <p:spPr>
              <a:xfrm>
                <a:off x="5834186" y="2719132"/>
                <a:ext cx="217557" cy="331474"/>
              </a:xfrm>
              <a:custGeom>
                <a:avLst/>
                <a:gdLst>
                  <a:gd name="connsiteX0" fmla="*/ 10477 w 221932"/>
                  <a:gd name="connsiteY0" fmla="*/ 112395 h 338137"/>
                  <a:gd name="connsiteX1" fmla="*/ 24765 w 221932"/>
                  <a:gd name="connsiteY1" fmla="*/ 105823 h 338137"/>
                  <a:gd name="connsiteX2" fmla="*/ 31432 w 221932"/>
                  <a:gd name="connsiteY2" fmla="*/ 109538 h 338137"/>
                  <a:gd name="connsiteX3" fmla="*/ 35242 w 221932"/>
                  <a:gd name="connsiteY3" fmla="*/ 134398 h 338137"/>
                  <a:gd name="connsiteX4" fmla="*/ 24765 w 221932"/>
                  <a:gd name="connsiteY4" fmla="*/ 144875 h 338137"/>
                  <a:gd name="connsiteX5" fmla="*/ 28575 w 221932"/>
                  <a:gd name="connsiteY5" fmla="*/ 158210 h 338137"/>
                  <a:gd name="connsiteX6" fmla="*/ 56197 w 221932"/>
                  <a:gd name="connsiteY6" fmla="*/ 161925 h 338137"/>
                  <a:gd name="connsiteX7" fmla="*/ 66675 w 221932"/>
                  <a:gd name="connsiteY7" fmla="*/ 147638 h 338137"/>
                  <a:gd name="connsiteX8" fmla="*/ 77152 w 221932"/>
                  <a:gd name="connsiteY8" fmla="*/ 151543 h 338137"/>
                  <a:gd name="connsiteX9" fmla="*/ 66675 w 221932"/>
                  <a:gd name="connsiteY9" fmla="*/ 165830 h 338137"/>
                  <a:gd name="connsiteX10" fmla="*/ 91440 w 221932"/>
                  <a:gd name="connsiteY10" fmla="*/ 180118 h 338137"/>
                  <a:gd name="connsiteX11" fmla="*/ 84772 w 221932"/>
                  <a:gd name="connsiteY11" fmla="*/ 197263 h 338137"/>
                  <a:gd name="connsiteX12" fmla="*/ 84772 w 221932"/>
                  <a:gd name="connsiteY12" fmla="*/ 215360 h 338137"/>
                  <a:gd name="connsiteX13" fmla="*/ 41910 w 221932"/>
                  <a:gd name="connsiteY13" fmla="*/ 211550 h 338137"/>
                  <a:gd name="connsiteX14" fmla="*/ 41910 w 221932"/>
                  <a:gd name="connsiteY14" fmla="*/ 225838 h 338137"/>
                  <a:gd name="connsiteX15" fmla="*/ 60007 w 221932"/>
                  <a:gd name="connsiteY15" fmla="*/ 228600 h 338137"/>
                  <a:gd name="connsiteX16" fmla="*/ 60007 w 221932"/>
                  <a:gd name="connsiteY16" fmla="*/ 240125 h 338137"/>
                  <a:gd name="connsiteX17" fmla="*/ 45720 w 221932"/>
                  <a:gd name="connsiteY17" fmla="*/ 250508 h 338137"/>
                  <a:gd name="connsiteX18" fmla="*/ 31432 w 221932"/>
                  <a:gd name="connsiteY18" fmla="*/ 261080 h 338137"/>
                  <a:gd name="connsiteX19" fmla="*/ 17145 w 221932"/>
                  <a:gd name="connsiteY19" fmla="*/ 271463 h 338137"/>
                  <a:gd name="connsiteX20" fmla="*/ 24765 w 221932"/>
                  <a:gd name="connsiteY20" fmla="*/ 278225 h 338137"/>
                  <a:gd name="connsiteX21" fmla="*/ 41910 w 221932"/>
                  <a:gd name="connsiteY21" fmla="*/ 271463 h 338137"/>
                  <a:gd name="connsiteX22" fmla="*/ 52388 w 221932"/>
                  <a:gd name="connsiteY22" fmla="*/ 278225 h 338137"/>
                  <a:gd name="connsiteX23" fmla="*/ 66675 w 221932"/>
                  <a:gd name="connsiteY23" fmla="*/ 278225 h 338137"/>
                  <a:gd name="connsiteX24" fmla="*/ 84772 w 221932"/>
                  <a:gd name="connsiteY24" fmla="*/ 282035 h 338137"/>
                  <a:gd name="connsiteX25" fmla="*/ 98107 w 221932"/>
                  <a:gd name="connsiteY25" fmla="*/ 271463 h 338137"/>
                  <a:gd name="connsiteX26" fmla="*/ 95250 w 221932"/>
                  <a:gd name="connsiteY26" fmla="*/ 285750 h 338137"/>
                  <a:gd name="connsiteX27" fmla="*/ 80963 w 221932"/>
                  <a:gd name="connsiteY27" fmla="*/ 288608 h 338137"/>
                  <a:gd name="connsiteX28" fmla="*/ 60007 w 221932"/>
                  <a:gd name="connsiteY28" fmla="*/ 288608 h 338137"/>
                  <a:gd name="connsiteX29" fmla="*/ 41910 w 221932"/>
                  <a:gd name="connsiteY29" fmla="*/ 302895 h 338137"/>
                  <a:gd name="connsiteX30" fmla="*/ 10477 w 221932"/>
                  <a:gd name="connsiteY30" fmla="*/ 331470 h 338137"/>
                  <a:gd name="connsiteX31" fmla="*/ 17145 w 221932"/>
                  <a:gd name="connsiteY31" fmla="*/ 338138 h 338137"/>
                  <a:gd name="connsiteX32" fmla="*/ 39052 w 221932"/>
                  <a:gd name="connsiteY32" fmla="*/ 323850 h 338137"/>
                  <a:gd name="connsiteX33" fmla="*/ 66675 w 221932"/>
                  <a:gd name="connsiteY33" fmla="*/ 323850 h 338137"/>
                  <a:gd name="connsiteX34" fmla="*/ 66675 w 221932"/>
                  <a:gd name="connsiteY34" fmla="*/ 310610 h 338137"/>
                  <a:gd name="connsiteX35" fmla="*/ 80963 w 221932"/>
                  <a:gd name="connsiteY35" fmla="*/ 310610 h 338137"/>
                  <a:gd name="connsiteX36" fmla="*/ 168592 w 221932"/>
                  <a:gd name="connsiteY36" fmla="*/ 310610 h 338137"/>
                  <a:gd name="connsiteX37" fmla="*/ 190500 w 221932"/>
                  <a:gd name="connsiteY37" fmla="*/ 302895 h 338137"/>
                  <a:gd name="connsiteX38" fmla="*/ 203835 w 221932"/>
                  <a:gd name="connsiteY38" fmla="*/ 292513 h 338137"/>
                  <a:gd name="connsiteX39" fmla="*/ 190500 w 221932"/>
                  <a:gd name="connsiteY39" fmla="*/ 285750 h 338137"/>
                  <a:gd name="connsiteX40" fmla="*/ 180022 w 221932"/>
                  <a:gd name="connsiteY40" fmla="*/ 282035 h 338137"/>
                  <a:gd name="connsiteX41" fmla="*/ 193357 w 221932"/>
                  <a:gd name="connsiteY41" fmla="*/ 271463 h 338137"/>
                  <a:gd name="connsiteX42" fmla="*/ 211455 w 221932"/>
                  <a:gd name="connsiteY42" fmla="*/ 261080 h 338137"/>
                  <a:gd name="connsiteX43" fmla="*/ 221932 w 221932"/>
                  <a:gd name="connsiteY43" fmla="*/ 242888 h 338137"/>
                  <a:gd name="connsiteX44" fmla="*/ 203835 w 221932"/>
                  <a:gd name="connsiteY44" fmla="*/ 228600 h 338137"/>
                  <a:gd name="connsiteX45" fmla="*/ 186690 w 221932"/>
                  <a:gd name="connsiteY45" fmla="*/ 232505 h 338137"/>
                  <a:gd name="connsiteX46" fmla="*/ 172402 w 221932"/>
                  <a:gd name="connsiteY46" fmla="*/ 228600 h 338137"/>
                  <a:gd name="connsiteX47" fmla="*/ 165735 w 221932"/>
                  <a:gd name="connsiteY47" fmla="*/ 207645 h 338137"/>
                  <a:gd name="connsiteX48" fmla="*/ 161925 w 221932"/>
                  <a:gd name="connsiteY48" fmla="*/ 193358 h 338137"/>
                  <a:gd name="connsiteX49" fmla="*/ 147638 w 221932"/>
                  <a:gd name="connsiteY49" fmla="*/ 172498 h 338137"/>
                  <a:gd name="connsiteX50" fmla="*/ 126682 w 221932"/>
                  <a:gd name="connsiteY50" fmla="*/ 158210 h 338137"/>
                  <a:gd name="connsiteX51" fmla="*/ 122872 w 221932"/>
                  <a:gd name="connsiteY51" fmla="*/ 137255 h 338137"/>
                  <a:gd name="connsiteX52" fmla="*/ 116205 w 221932"/>
                  <a:gd name="connsiteY52" fmla="*/ 120110 h 338137"/>
                  <a:gd name="connsiteX53" fmla="*/ 91440 w 221932"/>
                  <a:gd name="connsiteY53" fmla="*/ 116300 h 338137"/>
                  <a:gd name="connsiteX54" fmla="*/ 74295 w 221932"/>
                  <a:gd name="connsiteY54" fmla="*/ 122968 h 338137"/>
                  <a:gd name="connsiteX55" fmla="*/ 63817 w 221932"/>
                  <a:gd name="connsiteY55" fmla="*/ 116300 h 338137"/>
                  <a:gd name="connsiteX56" fmla="*/ 70485 w 221932"/>
                  <a:gd name="connsiteY56" fmla="*/ 102013 h 338137"/>
                  <a:gd name="connsiteX57" fmla="*/ 84772 w 221932"/>
                  <a:gd name="connsiteY57" fmla="*/ 87725 h 338137"/>
                  <a:gd name="connsiteX58" fmla="*/ 105727 w 221932"/>
                  <a:gd name="connsiteY58" fmla="*/ 66675 h 338137"/>
                  <a:gd name="connsiteX59" fmla="*/ 112395 w 221932"/>
                  <a:gd name="connsiteY59" fmla="*/ 45720 h 338137"/>
                  <a:gd name="connsiteX60" fmla="*/ 49530 w 221932"/>
                  <a:gd name="connsiteY60" fmla="*/ 45720 h 338137"/>
                  <a:gd name="connsiteX61" fmla="*/ 77152 w 221932"/>
                  <a:gd name="connsiteY61" fmla="*/ 3905 h 338137"/>
                  <a:gd name="connsiteX62" fmla="*/ 28575 w 221932"/>
                  <a:gd name="connsiteY62" fmla="*/ 0 h 338137"/>
                  <a:gd name="connsiteX63" fmla="*/ 20955 w 221932"/>
                  <a:gd name="connsiteY63" fmla="*/ 35338 h 338137"/>
                  <a:gd name="connsiteX64" fmla="*/ 3810 w 221932"/>
                  <a:gd name="connsiteY64" fmla="*/ 35338 h 338137"/>
                  <a:gd name="connsiteX65" fmla="*/ 0 w 221932"/>
                  <a:gd name="connsiteY65" fmla="*/ 62960 h 338137"/>
                  <a:gd name="connsiteX66" fmla="*/ 6667 w 221932"/>
                  <a:gd name="connsiteY66" fmla="*/ 77248 h 338137"/>
                  <a:gd name="connsiteX67" fmla="*/ 17145 w 221932"/>
                  <a:gd name="connsiteY67" fmla="*/ 84868 h 338137"/>
                  <a:gd name="connsiteX68" fmla="*/ 0 w 221932"/>
                  <a:gd name="connsiteY68" fmla="*/ 105823 h 338137"/>
                  <a:gd name="connsiteX69" fmla="*/ 10477 w 221932"/>
                  <a:gd name="connsiteY69" fmla="*/ 112395 h 338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221932" h="338137">
                    <a:moveTo>
                      <a:pt x="10477" y="112395"/>
                    </a:moveTo>
                    <a:lnTo>
                      <a:pt x="24765" y="105823"/>
                    </a:lnTo>
                    <a:lnTo>
                      <a:pt x="31432" y="109538"/>
                    </a:lnTo>
                    <a:lnTo>
                      <a:pt x="35242" y="134398"/>
                    </a:lnTo>
                    <a:lnTo>
                      <a:pt x="24765" y="144875"/>
                    </a:lnTo>
                    <a:lnTo>
                      <a:pt x="28575" y="158210"/>
                    </a:lnTo>
                    <a:lnTo>
                      <a:pt x="56197" y="161925"/>
                    </a:lnTo>
                    <a:lnTo>
                      <a:pt x="66675" y="147638"/>
                    </a:lnTo>
                    <a:lnTo>
                      <a:pt x="77152" y="151543"/>
                    </a:lnTo>
                    <a:lnTo>
                      <a:pt x="66675" y="165830"/>
                    </a:lnTo>
                    <a:lnTo>
                      <a:pt x="91440" y="180118"/>
                    </a:lnTo>
                    <a:lnTo>
                      <a:pt x="84772" y="197263"/>
                    </a:lnTo>
                    <a:lnTo>
                      <a:pt x="84772" y="215360"/>
                    </a:lnTo>
                    <a:lnTo>
                      <a:pt x="41910" y="211550"/>
                    </a:lnTo>
                    <a:lnTo>
                      <a:pt x="41910" y="225838"/>
                    </a:lnTo>
                    <a:lnTo>
                      <a:pt x="60007" y="228600"/>
                    </a:lnTo>
                    <a:lnTo>
                      <a:pt x="60007" y="240125"/>
                    </a:lnTo>
                    <a:lnTo>
                      <a:pt x="45720" y="250508"/>
                    </a:lnTo>
                    <a:lnTo>
                      <a:pt x="31432" y="261080"/>
                    </a:lnTo>
                    <a:lnTo>
                      <a:pt x="17145" y="271463"/>
                    </a:lnTo>
                    <a:lnTo>
                      <a:pt x="24765" y="278225"/>
                    </a:lnTo>
                    <a:lnTo>
                      <a:pt x="41910" y="271463"/>
                    </a:lnTo>
                    <a:lnTo>
                      <a:pt x="52388" y="278225"/>
                    </a:lnTo>
                    <a:lnTo>
                      <a:pt x="66675" y="278225"/>
                    </a:lnTo>
                    <a:lnTo>
                      <a:pt x="84772" y="282035"/>
                    </a:lnTo>
                    <a:lnTo>
                      <a:pt x="98107" y="271463"/>
                    </a:lnTo>
                    <a:lnTo>
                      <a:pt x="95250" y="285750"/>
                    </a:lnTo>
                    <a:lnTo>
                      <a:pt x="80963" y="288608"/>
                    </a:lnTo>
                    <a:lnTo>
                      <a:pt x="60007" y="288608"/>
                    </a:lnTo>
                    <a:lnTo>
                      <a:pt x="41910" y="302895"/>
                    </a:lnTo>
                    <a:lnTo>
                      <a:pt x="10477" y="331470"/>
                    </a:lnTo>
                    <a:lnTo>
                      <a:pt x="17145" y="338138"/>
                    </a:lnTo>
                    <a:lnTo>
                      <a:pt x="39052" y="323850"/>
                    </a:lnTo>
                    <a:lnTo>
                      <a:pt x="66675" y="323850"/>
                    </a:lnTo>
                    <a:lnTo>
                      <a:pt x="66675" y="310610"/>
                    </a:lnTo>
                    <a:lnTo>
                      <a:pt x="80963" y="310610"/>
                    </a:lnTo>
                    <a:lnTo>
                      <a:pt x="168592" y="310610"/>
                    </a:lnTo>
                    <a:lnTo>
                      <a:pt x="190500" y="302895"/>
                    </a:lnTo>
                    <a:lnTo>
                      <a:pt x="203835" y="292513"/>
                    </a:lnTo>
                    <a:lnTo>
                      <a:pt x="190500" y="285750"/>
                    </a:lnTo>
                    <a:lnTo>
                      <a:pt x="180022" y="282035"/>
                    </a:lnTo>
                    <a:lnTo>
                      <a:pt x="193357" y="271463"/>
                    </a:lnTo>
                    <a:lnTo>
                      <a:pt x="211455" y="261080"/>
                    </a:lnTo>
                    <a:lnTo>
                      <a:pt x="221932" y="242888"/>
                    </a:lnTo>
                    <a:lnTo>
                      <a:pt x="203835" y="228600"/>
                    </a:lnTo>
                    <a:lnTo>
                      <a:pt x="186690" y="232505"/>
                    </a:lnTo>
                    <a:lnTo>
                      <a:pt x="172402" y="228600"/>
                    </a:lnTo>
                    <a:lnTo>
                      <a:pt x="165735" y="207645"/>
                    </a:lnTo>
                    <a:lnTo>
                      <a:pt x="161925" y="193358"/>
                    </a:lnTo>
                    <a:lnTo>
                      <a:pt x="147638" y="172498"/>
                    </a:lnTo>
                    <a:lnTo>
                      <a:pt x="126682" y="158210"/>
                    </a:lnTo>
                    <a:lnTo>
                      <a:pt x="122872" y="137255"/>
                    </a:lnTo>
                    <a:lnTo>
                      <a:pt x="116205" y="120110"/>
                    </a:lnTo>
                    <a:lnTo>
                      <a:pt x="91440" y="116300"/>
                    </a:lnTo>
                    <a:lnTo>
                      <a:pt x="74295" y="122968"/>
                    </a:lnTo>
                    <a:lnTo>
                      <a:pt x="63817" y="116300"/>
                    </a:lnTo>
                    <a:lnTo>
                      <a:pt x="70485" y="102013"/>
                    </a:lnTo>
                    <a:lnTo>
                      <a:pt x="84772" y="87725"/>
                    </a:lnTo>
                    <a:lnTo>
                      <a:pt x="105727" y="66675"/>
                    </a:lnTo>
                    <a:lnTo>
                      <a:pt x="112395" y="45720"/>
                    </a:lnTo>
                    <a:lnTo>
                      <a:pt x="49530" y="45720"/>
                    </a:lnTo>
                    <a:lnTo>
                      <a:pt x="77152" y="3905"/>
                    </a:lnTo>
                    <a:lnTo>
                      <a:pt x="28575" y="0"/>
                    </a:lnTo>
                    <a:lnTo>
                      <a:pt x="20955" y="35338"/>
                    </a:lnTo>
                    <a:lnTo>
                      <a:pt x="3810" y="35338"/>
                    </a:lnTo>
                    <a:lnTo>
                      <a:pt x="0" y="62960"/>
                    </a:lnTo>
                    <a:lnTo>
                      <a:pt x="6667" y="77248"/>
                    </a:lnTo>
                    <a:lnTo>
                      <a:pt x="17145" y="84868"/>
                    </a:lnTo>
                    <a:lnTo>
                      <a:pt x="0" y="105823"/>
                    </a:lnTo>
                    <a:lnTo>
                      <a:pt x="10477" y="11239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id="{BADA2563-FC42-4540-4E5F-182530282F73}"/>
                  </a:ext>
                </a:extLst>
              </p:cNvPr>
              <p:cNvSpPr/>
              <p:nvPr/>
            </p:nvSpPr>
            <p:spPr>
              <a:xfrm>
                <a:off x="6950919" y="3635217"/>
                <a:ext cx="569572" cy="463130"/>
              </a:xfrm>
              <a:custGeom>
                <a:avLst/>
                <a:gdLst>
                  <a:gd name="connsiteX0" fmla="*/ 531495 w 581025"/>
                  <a:gd name="connsiteY0" fmla="*/ 288512 h 472439"/>
                  <a:gd name="connsiteX1" fmla="*/ 510540 w 581025"/>
                  <a:gd name="connsiteY1" fmla="*/ 281940 h 472439"/>
                  <a:gd name="connsiteX2" fmla="*/ 496253 w 581025"/>
                  <a:gd name="connsiteY2" fmla="*/ 278130 h 472439"/>
                  <a:gd name="connsiteX3" fmla="*/ 472440 w 581025"/>
                  <a:gd name="connsiteY3" fmla="*/ 250412 h 472439"/>
                  <a:gd name="connsiteX4" fmla="*/ 458153 w 581025"/>
                  <a:gd name="connsiteY4" fmla="*/ 232315 h 472439"/>
                  <a:gd name="connsiteX5" fmla="*/ 450532 w 581025"/>
                  <a:gd name="connsiteY5" fmla="*/ 225742 h 472439"/>
                  <a:gd name="connsiteX6" fmla="*/ 437198 w 581025"/>
                  <a:gd name="connsiteY6" fmla="*/ 207550 h 472439"/>
                  <a:gd name="connsiteX7" fmla="*/ 429578 w 581025"/>
                  <a:gd name="connsiteY7" fmla="*/ 194215 h 472439"/>
                  <a:gd name="connsiteX8" fmla="*/ 425768 w 581025"/>
                  <a:gd name="connsiteY8" fmla="*/ 169450 h 472439"/>
                  <a:gd name="connsiteX9" fmla="*/ 412432 w 581025"/>
                  <a:gd name="connsiteY9" fmla="*/ 155162 h 472439"/>
                  <a:gd name="connsiteX10" fmla="*/ 398145 w 581025"/>
                  <a:gd name="connsiteY10" fmla="*/ 144780 h 472439"/>
                  <a:gd name="connsiteX11" fmla="*/ 380048 w 581025"/>
                  <a:gd name="connsiteY11" fmla="*/ 109538 h 472439"/>
                  <a:gd name="connsiteX12" fmla="*/ 366713 w 581025"/>
                  <a:gd name="connsiteY12" fmla="*/ 109538 h 472439"/>
                  <a:gd name="connsiteX13" fmla="*/ 352425 w 581025"/>
                  <a:gd name="connsiteY13" fmla="*/ 95250 h 472439"/>
                  <a:gd name="connsiteX14" fmla="*/ 334328 w 581025"/>
                  <a:gd name="connsiteY14" fmla="*/ 91440 h 472439"/>
                  <a:gd name="connsiteX15" fmla="*/ 306705 w 581025"/>
                  <a:gd name="connsiteY15" fmla="*/ 91440 h 472439"/>
                  <a:gd name="connsiteX16" fmla="*/ 278130 w 581025"/>
                  <a:gd name="connsiteY16" fmla="*/ 91440 h 472439"/>
                  <a:gd name="connsiteX17" fmla="*/ 253365 w 581025"/>
                  <a:gd name="connsiteY17" fmla="*/ 74200 h 472439"/>
                  <a:gd name="connsiteX18" fmla="*/ 240030 w 581025"/>
                  <a:gd name="connsiteY18" fmla="*/ 70390 h 472439"/>
                  <a:gd name="connsiteX19" fmla="*/ 236220 w 581025"/>
                  <a:gd name="connsiteY19" fmla="*/ 63817 h 472439"/>
                  <a:gd name="connsiteX20" fmla="*/ 221932 w 581025"/>
                  <a:gd name="connsiteY20" fmla="*/ 41815 h 472439"/>
                  <a:gd name="connsiteX21" fmla="*/ 158115 w 581025"/>
                  <a:gd name="connsiteY21" fmla="*/ 6667 h 472439"/>
                  <a:gd name="connsiteX22" fmla="*/ 122873 w 581025"/>
                  <a:gd name="connsiteY22" fmla="*/ 0 h 472439"/>
                  <a:gd name="connsiteX23" fmla="*/ 120015 w 581025"/>
                  <a:gd name="connsiteY23" fmla="*/ 10477 h 472439"/>
                  <a:gd name="connsiteX24" fmla="*/ 70485 w 581025"/>
                  <a:gd name="connsiteY24" fmla="*/ 17050 h 472439"/>
                  <a:gd name="connsiteX25" fmla="*/ 91440 w 581025"/>
                  <a:gd name="connsiteY25" fmla="*/ 45625 h 472439"/>
                  <a:gd name="connsiteX26" fmla="*/ 80963 w 581025"/>
                  <a:gd name="connsiteY26" fmla="*/ 56102 h 472439"/>
                  <a:gd name="connsiteX27" fmla="*/ 77153 w 581025"/>
                  <a:gd name="connsiteY27" fmla="*/ 66675 h 472439"/>
                  <a:gd name="connsiteX28" fmla="*/ 56198 w 581025"/>
                  <a:gd name="connsiteY28" fmla="*/ 70390 h 472439"/>
                  <a:gd name="connsiteX29" fmla="*/ 45720 w 581025"/>
                  <a:gd name="connsiteY29" fmla="*/ 84677 h 472439"/>
                  <a:gd name="connsiteX30" fmla="*/ 39053 w 581025"/>
                  <a:gd name="connsiteY30" fmla="*/ 91440 h 472439"/>
                  <a:gd name="connsiteX31" fmla="*/ 6668 w 581025"/>
                  <a:gd name="connsiteY31" fmla="*/ 80963 h 472439"/>
                  <a:gd name="connsiteX32" fmla="*/ 0 w 581025"/>
                  <a:gd name="connsiteY32" fmla="*/ 120015 h 472439"/>
                  <a:gd name="connsiteX33" fmla="*/ 14288 w 581025"/>
                  <a:gd name="connsiteY33" fmla="*/ 122777 h 472439"/>
                  <a:gd name="connsiteX34" fmla="*/ 31432 w 581025"/>
                  <a:gd name="connsiteY34" fmla="*/ 159067 h 472439"/>
                  <a:gd name="connsiteX35" fmla="*/ 66675 w 581025"/>
                  <a:gd name="connsiteY35" fmla="*/ 200977 h 472439"/>
                  <a:gd name="connsiteX36" fmla="*/ 66675 w 581025"/>
                  <a:gd name="connsiteY36" fmla="*/ 221837 h 472439"/>
                  <a:gd name="connsiteX37" fmla="*/ 74295 w 581025"/>
                  <a:gd name="connsiteY37" fmla="*/ 240030 h 472439"/>
                  <a:gd name="connsiteX38" fmla="*/ 99060 w 581025"/>
                  <a:gd name="connsiteY38" fmla="*/ 250412 h 472439"/>
                  <a:gd name="connsiteX39" fmla="*/ 120015 w 581025"/>
                  <a:gd name="connsiteY39" fmla="*/ 281940 h 472439"/>
                  <a:gd name="connsiteX40" fmla="*/ 120015 w 581025"/>
                  <a:gd name="connsiteY40" fmla="*/ 324802 h 472439"/>
                  <a:gd name="connsiteX41" fmla="*/ 134303 w 581025"/>
                  <a:gd name="connsiteY41" fmla="*/ 352425 h 472439"/>
                  <a:gd name="connsiteX42" fmla="*/ 155257 w 581025"/>
                  <a:gd name="connsiteY42" fmla="*/ 356140 h 472439"/>
                  <a:gd name="connsiteX43" fmla="*/ 169545 w 581025"/>
                  <a:gd name="connsiteY43" fmla="*/ 373380 h 472439"/>
                  <a:gd name="connsiteX44" fmla="*/ 186690 w 581025"/>
                  <a:gd name="connsiteY44" fmla="*/ 408527 h 472439"/>
                  <a:gd name="connsiteX45" fmla="*/ 211455 w 581025"/>
                  <a:gd name="connsiteY45" fmla="*/ 440912 h 472439"/>
                  <a:gd name="connsiteX46" fmla="*/ 225743 w 581025"/>
                  <a:gd name="connsiteY46" fmla="*/ 472440 h 472439"/>
                  <a:gd name="connsiteX47" fmla="*/ 240030 w 581025"/>
                  <a:gd name="connsiteY47" fmla="*/ 440912 h 472439"/>
                  <a:gd name="connsiteX48" fmla="*/ 299085 w 581025"/>
                  <a:gd name="connsiteY48" fmla="*/ 437102 h 472439"/>
                  <a:gd name="connsiteX49" fmla="*/ 352425 w 581025"/>
                  <a:gd name="connsiteY49" fmla="*/ 447675 h 472439"/>
                  <a:gd name="connsiteX50" fmla="*/ 398145 w 581025"/>
                  <a:gd name="connsiteY50" fmla="*/ 405765 h 472439"/>
                  <a:gd name="connsiteX51" fmla="*/ 454343 w 581025"/>
                  <a:gd name="connsiteY51" fmla="*/ 395287 h 472439"/>
                  <a:gd name="connsiteX52" fmla="*/ 482918 w 581025"/>
                  <a:gd name="connsiteY52" fmla="*/ 398050 h 472439"/>
                  <a:gd name="connsiteX53" fmla="*/ 510540 w 581025"/>
                  <a:gd name="connsiteY53" fmla="*/ 381000 h 472439"/>
                  <a:gd name="connsiteX54" fmla="*/ 539115 w 581025"/>
                  <a:gd name="connsiteY54" fmla="*/ 366712 h 472439"/>
                  <a:gd name="connsiteX55" fmla="*/ 566738 w 581025"/>
                  <a:gd name="connsiteY55" fmla="*/ 359950 h 472439"/>
                  <a:gd name="connsiteX56" fmla="*/ 581025 w 581025"/>
                  <a:gd name="connsiteY56" fmla="*/ 327565 h 472439"/>
                  <a:gd name="connsiteX57" fmla="*/ 581025 w 581025"/>
                  <a:gd name="connsiteY57" fmla="*/ 302800 h 472439"/>
                  <a:gd name="connsiteX58" fmla="*/ 574357 w 581025"/>
                  <a:gd name="connsiteY58" fmla="*/ 288512 h 472439"/>
                  <a:gd name="connsiteX59" fmla="*/ 541973 w 581025"/>
                  <a:gd name="connsiteY59" fmla="*/ 292417 h 472439"/>
                  <a:gd name="connsiteX60" fmla="*/ 531495 w 581025"/>
                  <a:gd name="connsiteY60" fmla="*/ 288512 h 472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81025" h="472439">
                    <a:moveTo>
                      <a:pt x="531495" y="288512"/>
                    </a:moveTo>
                    <a:lnTo>
                      <a:pt x="510540" y="281940"/>
                    </a:lnTo>
                    <a:lnTo>
                      <a:pt x="496253" y="278130"/>
                    </a:lnTo>
                    <a:lnTo>
                      <a:pt x="472440" y="250412"/>
                    </a:lnTo>
                    <a:lnTo>
                      <a:pt x="458153" y="232315"/>
                    </a:lnTo>
                    <a:lnTo>
                      <a:pt x="450532" y="225742"/>
                    </a:lnTo>
                    <a:lnTo>
                      <a:pt x="437198" y="207550"/>
                    </a:lnTo>
                    <a:lnTo>
                      <a:pt x="429578" y="194215"/>
                    </a:lnTo>
                    <a:lnTo>
                      <a:pt x="425768" y="169450"/>
                    </a:lnTo>
                    <a:lnTo>
                      <a:pt x="412432" y="155162"/>
                    </a:lnTo>
                    <a:lnTo>
                      <a:pt x="398145" y="144780"/>
                    </a:lnTo>
                    <a:lnTo>
                      <a:pt x="380048" y="109538"/>
                    </a:lnTo>
                    <a:lnTo>
                      <a:pt x="366713" y="109538"/>
                    </a:lnTo>
                    <a:lnTo>
                      <a:pt x="352425" y="95250"/>
                    </a:lnTo>
                    <a:lnTo>
                      <a:pt x="334328" y="91440"/>
                    </a:lnTo>
                    <a:lnTo>
                      <a:pt x="306705" y="91440"/>
                    </a:lnTo>
                    <a:lnTo>
                      <a:pt x="278130" y="91440"/>
                    </a:lnTo>
                    <a:lnTo>
                      <a:pt x="253365" y="74200"/>
                    </a:lnTo>
                    <a:lnTo>
                      <a:pt x="240030" y="70390"/>
                    </a:lnTo>
                    <a:lnTo>
                      <a:pt x="236220" y="63817"/>
                    </a:lnTo>
                    <a:lnTo>
                      <a:pt x="221932" y="41815"/>
                    </a:lnTo>
                    <a:lnTo>
                      <a:pt x="158115" y="6667"/>
                    </a:lnTo>
                    <a:lnTo>
                      <a:pt x="122873" y="0"/>
                    </a:lnTo>
                    <a:lnTo>
                      <a:pt x="120015" y="10477"/>
                    </a:lnTo>
                    <a:lnTo>
                      <a:pt x="70485" y="17050"/>
                    </a:lnTo>
                    <a:lnTo>
                      <a:pt x="91440" y="45625"/>
                    </a:lnTo>
                    <a:lnTo>
                      <a:pt x="80963" y="56102"/>
                    </a:lnTo>
                    <a:lnTo>
                      <a:pt x="77153" y="66675"/>
                    </a:lnTo>
                    <a:lnTo>
                      <a:pt x="56198" y="70390"/>
                    </a:lnTo>
                    <a:lnTo>
                      <a:pt x="45720" y="84677"/>
                    </a:lnTo>
                    <a:lnTo>
                      <a:pt x="39053" y="91440"/>
                    </a:lnTo>
                    <a:lnTo>
                      <a:pt x="6668" y="80963"/>
                    </a:lnTo>
                    <a:lnTo>
                      <a:pt x="0" y="120015"/>
                    </a:lnTo>
                    <a:lnTo>
                      <a:pt x="14288" y="122777"/>
                    </a:lnTo>
                    <a:lnTo>
                      <a:pt x="31432" y="159067"/>
                    </a:lnTo>
                    <a:lnTo>
                      <a:pt x="66675" y="200977"/>
                    </a:lnTo>
                    <a:lnTo>
                      <a:pt x="66675" y="221837"/>
                    </a:lnTo>
                    <a:lnTo>
                      <a:pt x="74295" y="240030"/>
                    </a:lnTo>
                    <a:lnTo>
                      <a:pt x="99060" y="250412"/>
                    </a:lnTo>
                    <a:lnTo>
                      <a:pt x="120015" y="281940"/>
                    </a:lnTo>
                    <a:lnTo>
                      <a:pt x="120015" y="324802"/>
                    </a:lnTo>
                    <a:lnTo>
                      <a:pt x="134303" y="352425"/>
                    </a:lnTo>
                    <a:lnTo>
                      <a:pt x="155257" y="356140"/>
                    </a:lnTo>
                    <a:lnTo>
                      <a:pt x="169545" y="373380"/>
                    </a:lnTo>
                    <a:lnTo>
                      <a:pt x="186690" y="408527"/>
                    </a:lnTo>
                    <a:lnTo>
                      <a:pt x="211455" y="440912"/>
                    </a:lnTo>
                    <a:lnTo>
                      <a:pt x="225743" y="472440"/>
                    </a:lnTo>
                    <a:lnTo>
                      <a:pt x="240030" y="440912"/>
                    </a:lnTo>
                    <a:lnTo>
                      <a:pt x="299085" y="437102"/>
                    </a:lnTo>
                    <a:lnTo>
                      <a:pt x="352425" y="447675"/>
                    </a:lnTo>
                    <a:lnTo>
                      <a:pt x="398145" y="405765"/>
                    </a:lnTo>
                    <a:lnTo>
                      <a:pt x="454343" y="395287"/>
                    </a:lnTo>
                    <a:lnTo>
                      <a:pt x="482918" y="398050"/>
                    </a:lnTo>
                    <a:lnTo>
                      <a:pt x="510540" y="381000"/>
                    </a:lnTo>
                    <a:lnTo>
                      <a:pt x="539115" y="366712"/>
                    </a:lnTo>
                    <a:lnTo>
                      <a:pt x="566738" y="359950"/>
                    </a:lnTo>
                    <a:lnTo>
                      <a:pt x="581025" y="327565"/>
                    </a:lnTo>
                    <a:lnTo>
                      <a:pt x="581025" y="302800"/>
                    </a:lnTo>
                    <a:lnTo>
                      <a:pt x="574357" y="288512"/>
                    </a:lnTo>
                    <a:lnTo>
                      <a:pt x="541973" y="292417"/>
                    </a:lnTo>
                    <a:lnTo>
                      <a:pt x="531495" y="28851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0" name="Freeform: Shape 409">
                <a:extLst>
                  <a:ext uri="{FF2B5EF4-FFF2-40B4-BE49-F238E27FC236}">
                    <a16:creationId xmlns:a16="http://schemas.microsoft.com/office/drawing/2014/main" id="{B60B3840-53EE-054D-BF71-0DEF803EBD47}"/>
                  </a:ext>
                </a:extLst>
              </p:cNvPr>
              <p:cNvSpPr/>
              <p:nvPr/>
            </p:nvSpPr>
            <p:spPr>
              <a:xfrm>
                <a:off x="6267433" y="2838650"/>
                <a:ext cx="29879" cy="22503"/>
              </a:xfrm>
              <a:custGeom>
                <a:avLst/>
                <a:gdLst>
                  <a:gd name="connsiteX0" fmla="*/ 13335 w 30480"/>
                  <a:gd name="connsiteY0" fmla="*/ 0 h 22955"/>
                  <a:gd name="connsiteX1" fmla="*/ 0 w 30480"/>
                  <a:gd name="connsiteY1" fmla="*/ 5810 h 22955"/>
                  <a:gd name="connsiteX2" fmla="*/ 9525 w 30480"/>
                  <a:gd name="connsiteY2" fmla="*/ 20098 h 22955"/>
                  <a:gd name="connsiteX3" fmla="*/ 20955 w 30480"/>
                  <a:gd name="connsiteY3" fmla="*/ 22955 h 22955"/>
                  <a:gd name="connsiteX4" fmla="*/ 30480 w 30480"/>
                  <a:gd name="connsiteY4" fmla="*/ 15335 h 22955"/>
                  <a:gd name="connsiteX5" fmla="*/ 13335 w 30480"/>
                  <a:gd name="connsiteY5" fmla="*/ 0 h 22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480" h="22955">
                    <a:moveTo>
                      <a:pt x="13335" y="0"/>
                    </a:moveTo>
                    <a:lnTo>
                      <a:pt x="0" y="5810"/>
                    </a:lnTo>
                    <a:lnTo>
                      <a:pt x="9525" y="20098"/>
                    </a:lnTo>
                    <a:lnTo>
                      <a:pt x="20955" y="22955"/>
                    </a:lnTo>
                    <a:lnTo>
                      <a:pt x="30480" y="15335"/>
                    </a:lnTo>
                    <a:lnTo>
                      <a:pt x="1333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1" name="Freeform: Shape 410">
                <a:extLst>
                  <a:ext uri="{FF2B5EF4-FFF2-40B4-BE49-F238E27FC236}">
                    <a16:creationId xmlns:a16="http://schemas.microsoft.com/office/drawing/2014/main" id="{CC40F785-1BC7-AA4E-54B4-28DB15DF62C1}"/>
                  </a:ext>
                </a:extLst>
              </p:cNvPr>
              <p:cNvSpPr/>
              <p:nvPr/>
            </p:nvSpPr>
            <p:spPr>
              <a:xfrm>
                <a:off x="6290776" y="2857325"/>
                <a:ext cx="8403" cy="15033"/>
              </a:xfrm>
              <a:custGeom>
                <a:avLst/>
                <a:gdLst>
                  <a:gd name="connsiteX0" fmla="*/ 8573 w 8572"/>
                  <a:gd name="connsiteY0" fmla="*/ 0 h 15335"/>
                  <a:gd name="connsiteX1" fmla="*/ 0 w 8572"/>
                  <a:gd name="connsiteY1" fmla="*/ 6667 h 15335"/>
                  <a:gd name="connsiteX2" fmla="*/ 0 w 8572"/>
                  <a:gd name="connsiteY2" fmla="*/ 15335 h 15335"/>
                  <a:gd name="connsiteX3" fmla="*/ 5715 w 8572"/>
                  <a:gd name="connsiteY3" fmla="*/ 11430 h 15335"/>
                  <a:gd name="connsiteX4" fmla="*/ 8573 w 8572"/>
                  <a:gd name="connsiteY4" fmla="*/ 0 h 15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572" h="15335">
                    <a:moveTo>
                      <a:pt x="8573" y="0"/>
                    </a:moveTo>
                    <a:lnTo>
                      <a:pt x="0" y="6667"/>
                    </a:lnTo>
                    <a:lnTo>
                      <a:pt x="0" y="15335"/>
                    </a:lnTo>
                    <a:lnTo>
                      <a:pt x="5715" y="11430"/>
                    </a:lnTo>
                    <a:lnTo>
                      <a:pt x="857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2" name="Freeform: Shape 411">
                <a:extLst>
                  <a:ext uri="{FF2B5EF4-FFF2-40B4-BE49-F238E27FC236}">
                    <a16:creationId xmlns:a16="http://schemas.microsoft.com/office/drawing/2014/main" id="{8F1E3031-CBA7-8A89-AA91-C6BECE9DDED4}"/>
                  </a:ext>
                </a:extLst>
              </p:cNvPr>
              <p:cNvSpPr/>
              <p:nvPr/>
            </p:nvSpPr>
            <p:spPr>
              <a:xfrm>
                <a:off x="6303848" y="2866662"/>
                <a:ext cx="16806" cy="7563"/>
              </a:xfrm>
              <a:custGeom>
                <a:avLst/>
                <a:gdLst>
                  <a:gd name="connsiteX0" fmla="*/ 1905 w 17144"/>
                  <a:gd name="connsiteY0" fmla="*/ 5810 h 7715"/>
                  <a:gd name="connsiteX1" fmla="*/ 17145 w 17144"/>
                  <a:gd name="connsiteY1" fmla="*/ 7715 h 7715"/>
                  <a:gd name="connsiteX2" fmla="*/ 13335 w 17144"/>
                  <a:gd name="connsiteY2" fmla="*/ 1048 h 7715"/>
                  <a:gd name="connsiteX3" fmla="*/ 0 w 17144"/>
                  <a:gd name="connsiteY3" fmla="*/ 0 h 7715"/>
                  <a:gd name="connsiteX4" fmla="*/ 1905 w 17144"/>
                  <a:gd name="connsiteY4" fmla="*/ 5810 h 7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144" h="7715">
                    <a:moveTo>
                      <a:pt x="1905" y="5810"/>
                    </a:moveTo>
                    <a:lnTo>
                      <a:pt x="17145" y="7715"/>
                    </a:lnTo>
                    <a:lnTo>
                      <a:pt x="13335" y="1048"/>
                    </a:lnTo>
                    <a:lnTo>
                      <a:pt x="0" y="0"/>
                    </a:lnTo>
                    <a:lnTo>
                      <a:pt x="1905" y="581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id="{3A4E098B-FCDC-094B-6F03-C6B718ECDEE2}"/>
                  </a:ext>
                </a:extLst>
              </p:cNvPr>
              <p:cNvSpPr/>
              <p:nvPr/>
            </p:nvSpPr>
            <p:spPr>
              <a:xfrm>
                <a:off x="6321590" y="2866662"/>
                <a:ext cx="8403" cy="6536"/>
              </a:xfrm>
              <a:custGeom>
                <a:avLst/>
                <a:gdLst>
                  <a:gd name="connsiteX0" fmla="*/ 0 w 8572"/>
                  <a:gd name="connsiteY0" fmla="*/ 1048 h 6667"/>
                  <a:gd name="connsiteX1" fmla="*/ 3810 w 8572"/>
                  <a:gd name="connsiteY1" fmla="*/ 6667 h 6667"/>
                  <a:gd name="connsiteX2" fmla="*/ 8572 w 8572"/>
                  <a:gd name="connsiteY2" fmla="*/ 2953 h 6667"/>
                  <a:gd name="connsiteX3" fmla="*/ 8572 w 8572"/>
                  <a:gd name="connsiteY3" fmla="*/ 0 h 6667"/>
                  <a:gd name="connsiteX4" fmla="*/ 1905 w 8572"/>
                  <a:gd name="connsiteY4" fmla="*/ 0 h 6667"/>
                  <a:gd name="connsiteX5" fmla="*/ 0 w 8572"/>
                  <a:gd name="connsiteY5" fmla="*/ 1048 h 6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72" h="6667">
                    <a:moveTo>
                      <a:pt x="0" y="1048"/>
                    </a:moveTo>
                    <a:lnTo>
                      <a:pt x="3810" y="6667"/>
                    </a:lnTo>
                    <a:lnTo>
                      <a:pt x="8572" y="2953"/>
                    </a:lnTo>
                    <a:lnTo>
                      <a:pt x="8572" y="0"/>
                    </a:lnTo>
                    <a:lnTo>
                      <a:pt x="1905" y="0"/>
                    </a:lnTo>
                    <a:lnTo>
                      <a:pt x="0" y="104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id="{79B4B21F-7E28-45B0-D242-C244E090DD95}"/>
                  </a:ext>
                </a:extLst>
              </p:cNvPr>
              <p:cNvSpPr/>
              <p:nvPr/>
            </p:nvSpPr>
            <p:spPr>
              <a:xfrm>
                <a:off x="6332793" y="2861153"/>
                <a:ext cx="12138" cy="5508"/>
              </a:xfrm>
              <a:custGeom>
                <a:avLst/>
                <a:gdLst>
                  <a:gd name="connsiteX0" fmla="*/ 0 w 12382"/>
                  <a:gd name="connsiteY0" fmla="*/ 2762 h 5619"/>
                  <a:gd name="connsiteX1" fmla="*/ 953 w 12382"/>
                  <a:gd name="connsiteY1" fmla="*/ 5620 h 5619"/>
                  <a:gd name="connsiteX2" fmla="*/ 12383 w 12382"/>
                  <a:gd name="connsiteY2" fmla="*/ 3810 h 5619"/>
                  <a:gd name="connsiteX3" fmla="*/ 8573 w 12382"/>
                  <a:gd name="connsiteY3" fmla="*/ 0 h 5619"/>
                  <a:gd name="connsiteX4" fmla="*/ 0 w 12382"/>
                  <a:gd name="connsiteY4" fmla="*/ 2762 h 5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382" h="5619">
                    <a:moveTo>
                      <a:pt x="0" y="2762"/>
                    </a:moveTo>
                    <a:lnTo>
                      <a:pt x="953" y="5620"/>
                    </a:lnTo>
                    <a:lnTo>
                      <a:pt x="12383" y="3810"/>
                    </a:lnTo>
                    <a:lnTo>
                      <a:pt x="8573" y="0"/>
                    </a:lnTo>
                    <a:lnTo>
                      <a:pt x="0" y="276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5" name="Freeform: Shape 414">
                <a:extLst>
                  <a:ext uri="{FF2B5EF4-FFF2-40B4-BE49-F238E27FC236}">
                    <a16:creationId xmlns:a16="http://schemas.microsoft.com/office/drawing/2014/main" id="{741BFA6B-BEBB-29E0-8D83-E2B1AE16EC44}"/>
                  </a:ext>
                </a:extLst>
              </p:cNvPr>
              <p:cNvSpPr/>
              <p:nvPr/>
            </p:nvSpPr>
            <p:spPr>
              <a:xfrm>
                <a:off x="6301048" y="2817175"/>
                <a:ext cx="42950" cy="43045"/>
              </a:xfrm>
              <a:custGeom>
                <a:avLst/>
                <a:gdLst>
                  <a:gd name="connsiteX0" fmla="*/ 12382 w 43814"/>
                  <a:gd name="connsiteY0" fmla="*/ 9525 h 43910"/>
                  <a:gd name="connsiteX1" fmla="*/ 9525 w 43814"/>
                  <a:gd name="connsiteY1" fmla="*/ 14288 h 43910"/>
                  <a:gd name="connsiteX2" fmla="*/ 0 w 43814"/>
                  <a:gd name="connsiteY2" fmla="*/ 15335 h 43910"/>
                  <a:gd name="connsiteX3" fmla="*/ 2857 w 43814"/>
                  <a:gd name="connsiteY3" fmla="*/ 20098 h 43910"/>
                  <a:gd name="connsiteX4" fmla="*/ 6668 w 43814"/>
                  <a:gd name="connsiteY4" fmla="*/ 35338 h 43910"/>
                  <a:gd name="connsiteX5" fmla="*/ 21907 w 43814"/>
                  <a:gd name="connsiteY5" fmla="*/ 38100 h 43910"/>
                  <a:gd name="connsiteX6" fmla="*/ 25718 w 43814"/>
                  <a:gd name="connsiteY6" fmla="*/ 43910 h 43910"/>
                  <a:gd name="connsiteX7" fmla="*/ 29527 w 43814"/>
                  <a:gd name="connsiteY7" fmla="*/ 38100 h 43910"/>
                  <a:gd name="connsiteX8" fmla="*/ 36195 w 43814"/>
                  <a:gd name="connsiteY8" fmla="*/ 36195 h 43910"/>
                  <a:gd name="connsiteX9" fmla="*/ 41910 w 43814"/>
                  <a:gd name="connsiteY9" fmla="*/ 31433 h 43910"/>
                  <a:gd name="connsiteX10" fmla="*/ 36195 w 43814"/>
                  <a:gd name="connsiteY10" fmla="*/ 27718 h 43910"/>
                  <a:gd name="connsiteX11" fmla="*/ 36195 w 43814"/>
                  <a:gd name="connsiteY11" fmla="*/ 21050 h 43910"/>
                  <a:gd name="connsiteX12" fmla="*/ 43815 w 43814"/>
                  <a:gd name="connsiteY12" fmla="*/ 16288 h 43910"/>
                  <a:gd name="connsiteX13" fmla="*/ 43815 w 43814"/>
                  <a:gd name="connsiteY13" fmla="*/ 10573 h 43910"/>
                  <a:gd name="connsiteX14" fmla="*/ 38100 w 43814"/>
                  <a:gd name="connsiteY14" fmla="*/ 0 h 43910"/>
                  <a:gd name="connsiteX15" fmla="*/ 28575 w 43814"/>
                  <a:gd name="connsiteY15" fmla="*/ 5810 h 43910"/>
                  <a:gd name="connsiteX16" fmla="*/ 23813 w 43814"/>
                  <a:gd name="connsiteY16" fmla="*/ 14288 h 43910"/>
                  <a:gd name="connsiteX17" fmla="*/ 20002 w 43814"/>
                  <a:gd name="connsiteY17" fmla="*/ 13430 h 43910"/>
                  <a:gd name="connsiteX18" fmla="*/ 21907 w 43814"/>
                  <a:gd name="connsiteY18" fmla="*/ 8668 h 43910"/>
                  <a:gd name="connsiteX19" fmla="*/ 12382 w 43814"/>
                  <a:gd name="connsiteY19" fmla="*/ 9525 h 439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43814" h="43910">
                    <a:moveTo>
                      <a:pt x="12382" y="9525"/>
                    </a:moveTo>
                    <a:lnTo>
                      <a:pt x="9525" y="14288"/>
                    </a:lnTo>
                    <a:lnTo>
                      <a:pt x="0" y="15335"/>
                    </a:lnTo>
                    <a:lnTo>
                      <a:pt x="2857" y="20098"/>
                    </a:lnTo>
                    <a:lnTo>
                      <a:pt x="6668" y="35338"/>
                    </a:lnTo>
                    <a:lnTo>
                      <a:pt x="21907" y="38100"/>
                    </a:lnTo>
                    <a:lnTo>
                      <a:pt x="25718" y="43910"/>
                    </a:lnTo>
                    <a:lnTo>
                      <a:pt x="29527" y="38100"/>
                    </a:lnTo>
                    <a:lnTo>
                      <a:pt x="36195" y="36195"/>
                    </a:lnTo>
                    <a:lnTo>
                      <a:pt x="41910" y="31433"/>
                    </a:lnTo>
                    <a:lnTo>
                      <a:pt x="36195" y="27718"/>
                    </a:lnTo>
                    <a:lnTo>
                      <a:pt x="36195" y="21050"/>
                    </a:lnTo>
                    <a:lnTo>
                      <a:pt x="43815" y="16288"/>
                    </a:lnTo>
                    <a:lnTo>
                      <a:pt x="43815" y="10573"/>
                    </a:lnTo>
                    <a:lnTo>
                      <a:pt x="38100" y="0"/>
                    </a:lnTo>
                    <a:lnTo>
                      <a:pt x="28575" y="5810"/>
                    </a:lnTo>
                    <a:lnTo>
                      <a:pt x="23813" y="14288"/>
                    </a:lnTo>
                    <a:lnTo>
                      <a:pt x="20002" y="13430"/>
                    </a:lnTo>
                    <a:lnTo>
                      <a:pt x="21907" y="8668"/>
                    </a:lnTo>
                    <a:lnTo>
                      <a:pt x="12382" y="9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6" name="Freeform: Shape 415">
                <a:extLst>
                  <a:ext uri="{FF2B5EF4-FFF2-40B4-BE49-F238E27FC236}">
                    <a16:creationId xmlns:a16="http://schemas.microsoft.com/office/drawing/2014/main" id="{38A35678-EAC3-D848-0588-B8465D71D8B6}"/>
                  </a:ext>
                </a:extLst>
              </p:cNvPr>
              <p:cNvSpPr/>
              <p:nvPr/>
            </p:nvSpPr>
            <p:spPr>
              <a:xfrm>
                <a:off x="6394420" y="2853683"/>
                <a:ext cx="14005" cy="12978"/>
              </a:xfrm>
              <a:custGeom>
                <a:avLst/>
                <a:gdLst>
                  <a:gd name="connsiteX0" fmla="*/ 3810 w 14287"/>
                  <a:gd name="connsiteY0" fmla="*/ 0 h 13239"/>
                  <a:gd name="connsiteX1" fmla="*/ 0 w 14287"/>
                  <a:gd name="connsiteY1" fmla="*/ 7620 h 13239"/>
                  <a:gd name="connsiteX2" fmla="*/ 12382 w 14287"/>
                  <a:gd name="connsiteY2" fmla="*/ 13240 h 13239"/>
                  <a:gd name="connsiteX3" fmla="*/ 14288 w 14287"/>
                  <a:gd name="connsiteY3" fmla="*/ 7620 h 13239"/>
                  <a:gd name="connsiteX4" fmla="*/ 3810 w 14287"/>
                  <a:gd name="connsiteY4" fmla="*/ 0 h 132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7" h="13239">
                    <a:moveTo>
                      <a:pt x="3810" y="0"/>
                    </a:moveTo>
                    <a:lnTo>
                      <a:pt x="0" y="7620"/>
                    </a:lnTo>
                    <a:lnTo>
                      <a:pt x="12382" y="13240"/>
                    </a:lnTo>
                    <a:lnTo>
                      <a:pt x="14288" y="7620"/>
                    </a:lnTo>
                    <a:lnTo>
                      <a:pt x="381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7" name="Freeform: Shape 416">
                <a:extLst>
                  <a:ext uri="{FF2B5EF4-FFF2-40B4-BE49-F238E27FC236}">
                    <a16:creationId xmlns:a16="http://schemas.microsoft.com/office/drawing/2014/main" id="{3E41F7C8-E37F-F4D3-01F7-1157C9774503}"/>
                  </a:ext>
                </a:extLst>
              </p:cNvPr>
              <p:cNvSpPr/>
              <p:nvPr/>
            </p:nvSpPr>
            <p:spPr>
              <a:xfrm>
                <a:off x="6224481" y="2751813"/>
                <a:ext cx="63492" cy="42017"/>
              </a:xfrm>
              <a:custGeom>
                <a:avLst/>
                <a:gdLst>
                  <a:gd name="connsiteX0" fmla="*/ 55245 w 64769"/>
                  <a:gd name="connsiteY0" fmla="*/ 4763 h 42862"/>
                  <a:gd name="connsiteX1" fmla="*/ 46673 w 64769"/>
                  <a:gd name="connsiteY1" fmla="*/ 6763 h 42862"/>
                  <a:gd name="connsiteX2" fmla="*/ 31432 w 64769"/>
                  <a:gd name="connsiteY2" fmla="*/ 21908 h 42862"/>
                  <a:gd name="connsiteX3" fmla="*/ 20955 w 64769"/>
                  <a:gd name="connsiteY3" fmla="*/ 21908 h 42862"/>
                  <a:gd name="connsiteX4" fmla="*/ 3810 w 64769"/>
                  <a:gd name="connsiteY4" fmla="*/ 29623 h 42862"/>
                  <a:gd name="connsiteX5" fmla="*/ 0 w 64769"/>
                  <a:gd name="connsiteY5" fmla="*/ 40100 h 42862"/>
                  <a:gd name="connsiteX6" fmla="*/ 4763 w 64769"/>
                  <a:gd name="connsiteY6" fmla="*/ 42863 h 42862"/>
                  <a:gd name="connsiteX7" fmla="*/ 5715 w 64769"/>
                  <a:gd name="connsiteY7" fmla="*/ 36195 h 42862"/>
                  <a:gd name="connsiteX8" fmla="*/ 22860 w 64769"/>
                  <a:gd name="connsiteY8" fmla="*/ 27718 h 42862"/>
                  <a:gd name="connsiteX9" fmla="*/ 28575 w 64769"/>
                  <a:gd name="connsiteY9" fmla="*/ 30575 h 42862"/>
                  <a:gd name="connsiteX10" fmla="*/ 41910 w 64769"/>
                  <a:gd name="connsiteY10" fmla="*/ 27718 h 42862"/>
                  <a:gd name="connsiteX11" fmla="*/ 55245 w 64769"/>
                  <a:gd name="connsiteY11" fmla="*/ 29623 h 42862"/>
                  <a:gd name="connsiteX12" fmla="*/ 64770 w 64769"/>
                  <a:gd name="connsiteY12" fmla="*/ 17145 h 42862"/>
                  <a:gd name="connsiteX13" fmla="*/ 61913 w 64769"/>
                  <a:gd name="connsiteY13" fmla="*/ 6763 h 42862"/>
                  <a:gd name="connsiteX14" fmla="*/ 63818 w 64769"/>
                  <a:gd name="connsiteY14" fmla="*/ 0 h 42862"/>
                  <a:gd name="connsiteX15" fmla="*/ 55245 w 64769"/>
                  <a:gd name="connsiteY15" fmla="*/ 4763 h 4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64769" h="42862">
                    <a:moveTo>
                      <a:pt x="55245" y="4763"/>
                    </a:moveTo>
                    <a:lnTo>
                      <a:pt x="46673" y="6763"/>
                    </a:lnTo>
                    <a:lnTo>
                      <a:pt x="31432" y="21908"/>
                    </a:lnTo>
                    <a:lnTo>
                      <a:pt x="20955" y="21908"/>
                    </a:lnTo>
                    <a:lnTo>
                      <a:pt x="3810" y="29623"/>
                    </a:lnTo>
                    <a:lnTo>
                      <a:pt x="0" y="40100"/>
                    </a:lnTo>
                    <a:lnTo>
                      <a:pt x="4763" y="42863"/>
                    </a:lnTo>
                    <a:lnTo>
                      <a:pt x="5715" y="36195"/>
                    </a:lnTo>
                    <a:lnTo>
                      <a:pt x="22860" y="27718"/>
                    </a:lnTo>
                    <a:lnTo>
                      <a:pt x="28575" y="30575"/>
                    </a:lnTo>
                    <a:lnTo>
                      <a:pt x="41910" y="27718"/>
                    </a:lnTo>
                    <a:lnTo>
                      <a:pt x="55245" y="29623"/>
                    </a:lnTo>
                    <a:lnTo>
                      <a:pt x="64770" y="17145"/>
                    </a:lnTo>
                    <a:lnTo>
                      <a:pt x="61913" y="6763"/>
                    </a:lnTo>
                    <a:lnTo>
                      <a:pt x="63818" y="0"/>
                    </a:lnTo>
                    <a:lnTo>
                      <a:pt x="55245" y="47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id="{97CD0A7C-7A40-BBE5-8B85-651B7CC358DD}"/>
                  </a:ext>
                </a:extLst>
              </p:cNvPr>
              <p:cNvSpPr/>
              <p:nvPr/>
            </p:nvSpPr>
            <p:spPr>
              <a:xfrm>
                <a:off x="6220747" y="2780852"/>
                <a:ext cx="78433" cy="89637"/>
              </a:xfrm>
              <a:custGeom>
                <a:avLst/>
                <a:gdLst>
                  <a:gd name="connsiteX0" fmla="*/ 39053 w 80010"/>
                  <a:gd name="connsiteY0" fmla="*/ 81915 h 91439"/>
                  <a:gd name="connsiteX1" fmla="*/ 44768 w 80010"/>
                  <a:gd name="connsiteY1" fmla="*/ 64770 h 91439"/>
                  <a:gd name="connsiteX2" fmla="*/ 45720 w 80010"/>
                  <a:gd name="connsiteY2" fmla="*/ 56102 h 91439"/>
                  <a:gd name="connsiteX3" fmla="*/ 53340 w 80010"/>
                  <a:gd name="connsiteY3" fmla="*/ 52388 h 91439"/>
                  <a:gd name="connsiteX4" fmla="*/ 59055 w 80010"/>
                  <a:gd name="connsiteY4" fmla="*/ 47625 h 91439"/>
                  <a:gd name="connsiteX5" fmla="*/ 61913 w 80010"/>
                  <a:gd name="connsiteY5" fmla="*/ 43815 h 91439"/>
                  <a:gd name="connsiteX6" fmla="*/ 60008 w 80010"/>
                  <a:gd name="connsiteY6" fmla="*/ 39910 h 91439"/>
                  <a:gd name="connsiteX7" fmla="*/ 61913 w 80010"/>
                  <a:gd name="connsiteY7" fmla="*/ 35147 h 91439"/>
                  <a:gd name="connsiteX8" fmla="*/ 75248 w 80010"/>
                  <a:gd name="connsiteY8" fmla="*/ 35147 h 91439"/>
                  <a:gd name="connsiteX9" fmla="*/ 80010 w 80010"/>
                  <a:gd name="connsiteY9" fmla="*/ 28575 h 91439"/>
                  <a:gd name="connsiteX10" fmla="*/ 79058 w 80010"/>
                  <a:gd name="connsiteY10" fmla="*/ 21908 h 91439"/>
                  <a:gd name="connsiteX11" fmla="*/ 64770 w 80010"/>
                  <a:gd name="connsiteY11" fmla="*/ 21908 h 91439"/>
                  <a:gd name="connsiteX12" fmla="*/ 59055 w 80010"/>
                  <a:gd name="connsiteY12" fmla="*/ 22765 h 91439"/>
                  <a:gd name="connsiteX13" fmla="*/ 61913 w 80010"/>
                  <a:gd name="connsiteY13" fmla="*/ 16097 h 91439"/>
                  <a:gd name="connsiteX14" fmla="*/ 60960 w 80010"/>
                  <a:gd name="connsiteY14" fmla="*/ 3715 h 91439"/>
                  <a:gd name="connsiteX15" fmla="*/ 49530 w 80010"/>
                  <a:gd name="connsiteY15" fmla="*/ 0 h 91439"/>
                  <a:gd name="connsiteX16" fmla="*/ 47625 w 80010"/>
                  <a:gd name="connsiteY16" fmla="*/ 2858 h 91439"/>
                  <a:gd name="connsiteX17" fmla="*/ 32385 w 80010"/>
                  <a:gd name="connsiteY17" fmla="*/ 4763 h 91439"/>
                  <a:gd name="connsiteX18" fmla="*/ 32385 w 80010"/>
                  <a:gd name="connsiteY18" fmla="*/ 15240 h 91439"/>
                  <a:gd name="connsiteX19" fmla="*/ 24765 w 80010"/>
                  <a:gd name="connsiteY19" fmla="*/ 12383 h 91439"/>
                  <a:gd name="connsiteX20" fmla="*/ 17145 w 80010"/>
                  <a:gd name="connsiteY20" fmla="*/ 16097 h 91439"/>
                  <a:gd name="connsiteX21" fmla="*/ 17145 w 80010"/>
                  <a:gd name="connsiteY21" fmla="*/ 21908 h 91439"/>
                  <a:gd name="connsiteX22" fmla="*/ 9525 w 80010"/>
                  <a:gd name="connsiteY22" fmla="*/ 19050 h 91439"/>
                  <a:gd name="connsiteX23" fmla="*/ 2858 w 80010"/>
                  <a:gd name="connsiteY23" fmla="*/ 14288 h 91439"/>
                  <a:gd name="connsiteX24" fmla="*/ 0 w 80010"/>
                  <a:gd name="connsiteY24" fmla="*/ 19050 h 91439"/>
                  <a:gd name="connsiteX25" fmla="*/ 953 w 80010"/>
                  <a:gd name="connsiteY25" fmla="*/ 40958 h 91439"/>
                  <a:gd name="connsiteX26" fmla="*/ 2858 w 80010"/>
                  <a:gd name="connsiteY26" fmla="*/ 42863 h 91439"/>
                  <a:gd name="connsiteX27" fmla="*/ 0 w 80010"/>
                  <a:gd name="connsiteY27" fmla="*/ 44672 h 91439"/>
                  <a:gd name="connsiteX28" fmla="*/ 953 w 80010"/>
                  <a:gd name="connsiteY28" fmla="*/ 60008 h 91439"/>
                  <a:gd name="connsiteX29" fmla="*/ 8573 w 80010"/>
                  <a:gd name="connsiteY29" fmla="*/ 63722 h 91439"/>
                  <a:gd name="connsiteX30" fmla="*/ 16193 w 80010"/>
                  <a:gd name="connsiteY30" fmla="*/ 69533 h 91439"/>
                  <a:gd name="connsiteX31" fmla="*/ 19050 w 80010"/>
                  <a:gd name="connsiteY31" fmla="*/ 89440 h 91439"/>
                  <a:gd name="connsiteX32" fmla="*/ 26670 w 80010"/>
                  <a:gd name="connsiteY32" fmla="*/ 91440 h 91439"/>
                  <a:gd name="connsiteX33" fmla="*/ 41910 w 80010"/>
                  <a:gd name="connsiteY33" fmla="*/ 88583 h 91439"/>
                  <a:gd name="connsiteX34" fmla="*/ 43815 w 80010"/>
                  <a:gd name="connsiteY34" fmla="*/ 84677 h 91439"/>
                  <a:gd name="connsiteX35" fmla="*/ 39053 w 80010"/>
                  <a:gd name="connsiteY35" fmla="*/ 81915 h 91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80010" h="91439">
                    <a:moveTo>
                      <a:pt x="39053" y="81915"/>
                    </a:moveTo>
                    <a:lnTo>
                      <a:pt x="44768" y="64770"/>
                    </a:lnTo>
                    <a:lnTo>
                      <a:pt x="45720" y="56102"/>
                    </a:lnTo>
                    <a:lnTo>
                      <a:pt x="53340" y="52388"/>
                    </a:lnTo>
                    <a:lnTo>
                      <a:pt x="59055" y="47625"/>
                    </a:lnTo>
                    <a:lnTo>
                      <a:pt x="61913" y="43815"/>
                    </a:lnTo>
                    <a:lnTo>
                      <a:pt x="60008" y="39910"/>
                    </a:lnTo>
                    <a:lnTo>
                      <a:pt x="61913" y="35147"/>
                    </a:lnTo>
                    <a:lnTo>
                      <a:pt x="75248" y="35147"/>
                    </a:lnTo>
                    <a:lnTo>
                      <a:pt x="80010" y="28575"/>
                    </a:lnTo>
                    <a:lnTo>
                      <a:pt x="79058" y="21908"/>
                    </a:lnTo>
                    <a:lnTo>
                      <a:pt x="64770" y="21908"/>
                    </a:lnTo>
                    <a:lnTo>
                      <a:pt x="59055" y="22765"/>
                    </a:lnTo>
                    <a:lnTo>
                      <a:pt x="61913" y="16097"/>
                    </a:lnTo>
                    <a:lnTo>
                      <a:pt x="60960" y="3715"/>
                    </a:lnTo>
                    <a:lnTo>
                      <a:pt x="49530" y="0"/>
                    </a:lnTo>
                    <a:lnTo>
                      <a:pt x="47625" y="2858"/>
                    </a:lnTo>
                    <a:lnTo>
                      <a:pt x="32385" y="4763"/>
                    </a:lnTo>
                    <a:lnTo>
                      <a:pt x="32385" y="15240"/>
                    </a:lnTo>
                    <a:lnTo>
                      <a:pt x="24765" y="12383"/>
                    </a:lnTo>
                    <a:lnTo>
                      <a:pt x="17145" y="16097"/>
                    </a:lnTo>
                    <a:lnTo>
                      <a:pt x="17145" y="21908"/>
                    </a:lnTo>
                    <a:lnTo>
                      <a:pt x="9525" y="19050"/>
                    </a:lnTo>
                    <a:lnTo>
                      <a:pt x="2858" y="14288"/>
                    </a:lnTo>
                    <a:lnTo>
                      <a:pt x="0" y="19050"/>
                    </a:lnTo>
                    <a:lnTo>
                      <a:pt x="953" y="40958"/>
                    </a:lnTo>
                    <a:lnTo>
                      <a:pt x="2858" y="42863"/>
                    </a:lnTo>
                    <a:lnTo>
                      <a:pt x="0" y="44672"/>
                    </a:lnTo>
                    <a:lnTo>
                      <a:pt x="953" y="60008"/>
                    </a:lnTo>
                    <a:lnTo>
                      <a:pt x="8573" y="63722"/>
                    </a:lnTo>
                    <a:lnTo>
                      <a:pt x="16193" y="69533"/>
                    </a:lnTo>
                    <a:lnTo>
                      <a:pt x="19050" y="89440"/>
                    </a:lnTo>
                    <a:lnTo>
                      <a:pt x="26670" y="91440"/>
                    </a:lnTo>
                    <a:lnTo>
                      <a:pt x="41910" y="88583"/>
                    </a:lnTo>
                    <a:lnTo>
                      <a:pt x="43815" y="84677"/>
                    </a:lnTo>
                    <a:lnTo>
                      <a:pt x="39053" y="819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19" name="Freeform: Shape 418">
                <a:extLst>
                  <a:ext uri="{FF2B5EF4-FFF2-40B4-BE49-F238E27FC236}">
                    <a16:creationId xmlns:a16="http://schemas.microsoft.com/office/drawing/2014/main" id="{33772C4D-DD98-6980-9723-BC3D93EECE8B}"/>
                  </a:ext>
                </a:extLst>
              </p:cNvPr>
              <p:cNvSpPr/>
              <p:nvPr/>
            </p:nvSpPr>
            <p:spPr>
              <a:xfrm>
                <a:off x="7400041" y="3821963"/>
                <a:ext cx="144727" cy="96081"/>
              </a:xfrm>
              <a:custGeom>
                <a:avLst/>
                <a:gdLst>
                  <a:gd name="connsiteX0" fmla="*/ 143827 w 147637"/>
                  <a:gd name="connsiteY0" fmla="*/ 17050 h 98012"/>
                  <a:gd name="connsiteX1" fmla="*/ 140970 w 147637"/>
                  <a:gd name="connsiteY1" fmla="*/ 3715 h 98012"/>
                  <a:gd name="connsiteX2" fmla="*/ 133350 w 147637"/>
                  <a:gd name="connsiteY2" fmla="*/ 0 h 98012"/>
                  <a:gd name="connsiteX3" fmla="*/ 119063 w 147637"/>
                  <a:gd name="connsiteY3" fmla="*/ 17050 h 98012"/>
                  <a:gd name="connsiteX4" fmla="*/ 101917 w 147637"/>
                  <a:gd name="connsiteY4" fmla="*/ 31337 h 98012"/>
                  <a:gd name="connsiteX5" fmla="*/ 87630 w 147637"/>
                  <a:gd name="connsiteY5" fmla="*/ 49530 h 98012"/>
                  <a:gd name="connsiteX6" fmla="*/ 73342 w 147637"/>
                  <a:gd name="connsiteY6" fmla="*/ 52388 h 98012"/>
                  <a:gd name="connsiteX7" fmla="*/ 56197 w 147637"/>
                  <a:gd name="connsiteY7" fmla="*/ 45625 h 98012"/>
                  <a:gd name="connsiteX8" fmla="*/ 45720 w 147637"/>
                  <a:gd name="connsiteY8" fmla="*/ 52388 h 98012"/>
                  <a:gd name="connsiteX9" fmla="*/ 38100 w 147637"/>
                  <a:gd name="connsiteY9" fmla="*/ 56102 h 98012"/>
                  <a:gd name="connsiteX10" fmla="*/ 24765 w 147637"/>
                  <a:gd name="connsiteY10" fmla="*/ 52388 h 98012"/>
                  <a:gd name="connsiteX11" fmla="*/ 14288 w 147637"/>
                  <a:gd name="connsiteY11" fmla="*/ 41815 h 98012"/>
                  <a:gd name="connsiteX12" fmla="*/ 6667 w 147637"/>
                  <a:gd name="connsiteY12" fmla="*/ 35243 h 98012"/>
                  <a:gd name="connsiteX13" fmla="*/ 0 w 147637"/>
                  <a:gd name="connsiteY13" fmla="*/ 41815 h 98012"/>
                  <a:gd name="connsiteX14" fmla="*/ 38100 w 147637"/>
                  <a:gd name="connsiteY14" fmla="*/ 87630 h 98012"/>
                  <a:gd name="connsiteX15" fmla="*/ 83820 w 147637"/>
                  <a:gd name="connsiteY15" fmla="*/ 98012 h 98012"/>
                  <a:gd name="connsiteX16" fmla="*/ 116205 w 147637"/>
                  <a:gd name="connsiteY16" fmla="*/ 98012 h 98012"/>
                  <a:gd name="connsiteX17" fmla="*/ 147638 w 147637"/>
                  <a:gd name="connsiteY17" fmla="*/ 41815 h 98012"/>
                  <a:gd name="connsiteX18" fmla="*/ 143827 w 147637"/>
                  <a:gd name="connsiteY18" fmla="*/ 17050 h 98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47637" h="98012">
                    <a:moveTo>
                      <a:pt x="143827" y="17050"/>
                    </a:moveTo>
                    <a:lnTo>
                      <a:pt x="140970" y="3715"/>
                    </a:lnTo>
                    <a:lnTo>
                      <a:pt x="133350" y="0"/>
                    </a:lnTo>
                    <a:lnTo>
                      <a:pt x="119063" y="17050"/>
                    </a:lnTo>
                    <a:lnTo>
                      <a:pt x="101917" y="31337"/>
                    </a:lnTo>
                    <a:lnTo>
                      <a:pt x="87630" y="49530"/>
                    </a:lnTo>
                    <a:lnTo>
                      <a:pt x="73342" y="52388"/>
                    </a:lnTo>
                    <a:lnTo>
                      <a:pt x="56197" y="45625"/>
                    </a:lnTo>
                    <a:lnTo>
                      <a:pt x="45720" y="52388"/>
                    </a:lnTo>
                    <a:lnTo>
                      <a:pt x="38100" y="56102"/>
                    </a:lnTo>
                    <a:lnTo>
                      <a:pt x="24765" y="52388"/>
                    </a:lnTo>
                    <a:lnTo>
                      <a:pt x="14288" y="41815"/>
                    </a:lnTo>
                    <a:lnTo>
                      <a:pt x="6667" y="35243"/>
                    </a:lnTo>
                    <a:lnTo>
                      <a:pt x="0" y="41815"/>
                    </a:lnTo>
                    <a:lnTo>
                      <a:pt x="38100" y="87630"/>
                    </a:lnTo>
                    <a:lnTo>
                      <a:pt x="83820" y="98012"/>
                    </a:lnTo>
                    <a:lnTo>
                      <a:pt x="116205" y="98012"/>
                    </a:lnTo>
                    <a:lnTo>
                      <a:pt x="147638" y="41815"/>
                    </a:lnTo>
                    <a:lnTo>
                      <a:pt x="143827" y="170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0" name="Freeform: Shape 419">
                <a:extLst>
                  <a:ext uri="{FF2B5EF4-FFF2-40B4-BE49-F238E27FC236}">
                    <a16:creationId xmlns:a16="http://schemas.microsoft.com/office/drawing/2014/main" id="{8BE95C38-CD78-10D4-EA6F-AF19A3B10396}"/>
                  </a:ext>
                </a:extLst>
              </p:cNvPr>
              <p:cNvSpPr/>
              <p:nvPr/>
            </p:nvSpPr>
            <p:spPr>
              <a:xfrm>
                <a:off x="7400041" y="3862954"/>
                <a:ext cx="37349" cy="44912"/>
              </a:xfrm>
              <a:custGeom>
                <a:avLst/>
                <a:gdLst>
                  <a:gd name="connsiteX0" fmla="*/ 38100 w 38100"/>
                  <a:gd name="connsiteY0" fmla="*/ 45815 h 45815"/>
                  <a:gd name="connsiteX1" fmla="*/ 0 w 38100"/>
                  <a:gd name="connsiteY1" fmla="*/ 0 h 45815"/>
                  <a:gd name="connsiteX2" fmla="*/ 14288 w 38100"/>
                  <a:gd name="connsiteY2" fmla="*/ 18097 h 45815"/>
                  <a:gd name="connsiteX3" fmla="*/ 38100 w 38100"/>
                  <a:gd name="connsiteY3" fmla="*/ 45815 h 4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0" h="45815">
                    <a:moveTo>
                      <a:pt x="38100" y="45815"/>
                    </a:moveTo>
                    <a:lnTo>
                      <a:pt x="0" y="0"/>
                    </a:lnTo>
                    <a:lnTo>
                      <a:pt x="14288" y="18097"/>
                    </a:lnTo>
                    <a:lnTo>
                      <a:pt x="38100" y="458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1" name="Freeform: Shape 420">
                <a:extLst>
                  <a:ext uri="{FF2B5EF4-FFF2-40B4-BE49-F238E27FC236}">
                    <a16:creationId xmlns:a16="http://schemas.microsoft.com/office/drawing/2014/main" id="{49F5096F-A19D-E382-E348-BBE98AB8F494}"/>
                  </a:ext>
                </a:extLst>
              </p:cNvPr>
              <p:cNvSpPr/>
              <p:nvPr/>
            </p:nvSpPr>
            <p:spPr>
              <a:xfrm>
                <a:off x="3969538" y="4402745"/>
                <a:ext cx="1070981" cy="1102644"/>
              </a:xfrm>
              <a:custGeom>
                <a:avLst/>
                <a:gdLst>
                  <a:gd name="connsiteX0" fmla="*/ 1074420 w 1092517"/>
                  <a:gd name="connsiteY0" fmla="*/ 288607 h 1124807"/>
                  <a:gd name="connsiteX1" fmla="*/ 1060132 w 1092517"/>
                  <a:gd name="connsiteY1" fmla="*/ 288607 h 1124807"/>
                  <a:gd name="connsiteX2" fmla="*/ 1042988 w 1092517"/>
                  <a:gd name="connsiteY2" fmla="*/ 292322 h 1124807"/>
                  <a:gd name="connsiteX3" fmla="*/ 1024890 w 1092517"/>
                  <a:gd name="connsiteY3" fmla="*/ 281845 h 1124807"/>
                  <a:gd name="connsiteX4" fmla="*/ 1007745 w 1092517"/>
                  <a:gd name="connsiteY4" fmla="*/ 267557 h 1124807"/>
                  <a:gd name="connsiteX5" fmla="*/ 986790 w 1092517"/>
                  <a:gd name="connsiteY5" fmla="*/ 250507 h 1124807"/>
                  <a:gd name="connsiteX6" fmla="*/ 964882 w 1092517"/>
                  <a:gd name="connsiteY6" fmla="*/ 236220 h 1124807"/>
                  <a:gd name="connsiteX7" fmla="*/ 947738 w 1092517"/>
                  <a:gd name="connsiteY7" fmla="*/ 232410 h 1124807"/>
                  <a:gd name="connsiteX8" fmla="*/ 929640 w 1092517"/>
                  <a:gd name="connsiteY8" fmla="*/ 228600 h 1124807"/>
                  <a:gd name="connsiteX9" fmla="*/ 908685 w 1092517"/>
                  <a:gd name="connsiteY9" fmla="*/ 228600 h 1124807"/>
                  <a:gd name="connsiteX10" fmla="*/ 891540 w 1092517"/>
                  <a:gd name="connsiteY10" fmla="*/ 225647 h 1124807"/>
                  <a:gd name="connsiteX11" fmla="*/ 873443 w 1092517"/>
                  <a:gd name="connsiteY11" fmla="*/ 218122 h 1124807"/>
                  <a:gd name="connsiteX12" fmla="*/ 860107 w 1092517"/>
                  <a:gd name="connsiteY12" fmla="*/ 215170 h 1124807"/>
                  <a:gd name="connsiteX13" fmla="*/ 848678 w 1092517"/>
                  <a:gd name="connsiteY13" fmla="*/ 218122 h 1124807"/>
                  <a:gd name="connsiteX14" fmla="*/ 838200 w 1092517"/>
                  <a:gd name="connsiteY14" fmla="*/ 221932 h 1124807"/>
                  <a:gd name="connsiteX15" fmla="*/ 824865 w 1092517"/>
                  <a:gd name="connsiteY15" fmla="*/ 236220 h 1124807"/>
                  <a:gd name="connsiteX16" fmla="*/ 821055 w 1092517"/>
                  <a:gd name="connsiteY16" fmla="*/ 236220 h 1124807"/>
                  <a:gd name="connsiteX17" fmla="*/ 824865 w 1092517"/>
                  <a:gd name="connsiteY17" fmla="*/ 221932 h 1124807"/>
                  <a:gd name="connsiteX18" fmla="*/ 831532 w 1092517"/>
                  <a:gd name="connsiteY18" fmla="*/ 211360 h 1124807"/>
                  <a:gd name="connsiteX19" fmla="*/ 831532 w 1092517"/>
                  <a:gd name="connsiteY19" fmla="*/ 200882 h 1124807"/>
                  <a:gd name="connsiteX20" fmla="*/ 813435 w 1092517"/>
                  <a:gd name="connsiteY20" fmla="*/ 193357 h 1124807"/>
                  <a:gd name="connsiteX21" fmla="*/ 789622 w 1092517"/>
                  <a:gd name="connsiteY21" fmla="*/ 182785 h 1124807"/>
                  <a:gd name="connsiteX22" fmla="*/ 775335 w 1092517"/>
                  <a:gd name="connsiteY22" fmla="*/ 172307 h 1124807"/>
                  <a:gd name="connsiteX23" fmla="*/ 750570 w 1092517"/>
                  <a:gd name="connsiteY23" fmla="*/ 165735 h 1124807"/>
                  <a:gd name="connsiteX24" fmla="*/ 740093 w 1092517"/>
                  <a:gd name="connsiteY24" fmla="*/ 161925 h 1124807"/>
                  <a:gd name="connsiteX25" fmla="*/ 729615 w 1092517"/>
                  <a:gd name="connsiteY25" fmla="*/ 165735 h 1124807"/>
                  <a:gd name="connsiteX26" fmla="*/ 721995 w 1092517"/>
                  <a:gd name="connsiteY26" fmla="*/ 172307 h 1124807"/>
                  <a:gd name="connsiteX27" fmla="*/ 719138 w 1092517"/>
                  <a:gd name="connsiteY27" fmla="*/ 182785 h 1124807"/>
                  <a:gd name="connsiteX28" fmla="*/ 715328 w 1092517"/>
                  <a:gd name="connsiteY28" fmla="*/ 190500 h 1124807"/>
                  <a:gd name="connsiteX29" fmla="*/ 711518 w 1092517"/>
                  <a:gd name="connsiteY29" fmla="*/ 190500 h 1124807"/>
                  <a:gd name="connsiteX30" fmla="*/ 697230 w 1092517"/>
                  <a:gd name="connsiteY30" fmla="*/ 204788 h 1124807"/>
                  <a:gd name="connsiteX31" fmla="*/ 690563 w 1092517"/>
                  <a:gd name="connsiteY31" fmla="*/ 204788 h 1124807"/>
                  <a:gd name="connsiteX32" fmla="*/ 690563 w 1092517"/>
                  <a:gd name="connsiteY32" fmla="*/ 190500 h 1124807"/>
                  <a:gd name="connsiteX33" fmla="*/ 701040 w 1092517"/>
                  <a:gd name="connsiteY33" fmla="*/ 180022 h 1124807"/>
                  <a:gd name="connsiteX34" fmla="*/ 708660 w 1092517"/>
                  <a:gd name="connsiteY34" fmla="*/ 172307 h 1124807"/>
                  <a:gd name="connsiteX35" fmla="*/ 711518 w 1092517"/>
                  <a:gd name="connsiteY35" fmla="*/ 161925 h 1124807"/>
                  <a:gd name="connsiteX36" fmla="*/ 711518 w 1092517"/>
                  <a:gd name="connsiteY36" fmla="*/ 155257 h 1124807"/>
                  <a:gd name="connsiteX37" fmla="*/ 704850 w 1092517"/>
                  <a:gd name="connsiteY37" fmla="*/ 147638 h 1124807"/>
                  <a:gd name="connsiteX38" fmla="*/ 690563 w 1092517"/>
                  <a:gd name="connsiteY38" fmla="*/ 144685 h 1124807"/>
                  <a:gd name="connsiteX39" fmla="*/ 683895 w 1092517"/>
                  <a:gd name="connsiteY39" fmla="*/ 137160 h 1124807"/>
                  <a:gd name="connsiteX40" fmla="*/ 669607 w 1092517"/>
                  <a:gd name="connsiteY40" fmla="*/ 137160 h 1124807"/>
                  <a:gd name="connsiteX41" fmla="*/ 655320 w 1092517"/>
                  <a:gd name="connsiteY41" fmla="*/ 144685 h 1124807"/>
                  <a:gd name="connsiteX42" fmla="*/ 655320 w 1092517"/>
                  <a:gd name="connsiteY42" fmla="*/ 161925 h 1124807"/>
                  <a:gd name="connsiteX43" fmla="*/ 648653 w 1092517"/>
                  <a:gd name="connsiteY43" fmla="*/ 172307 h 1124807"/>
                  <a:gd name="connsiteX44" fmla="*/ 638175 w 1092517"/>
                  <a:gd name="connsiteY44" fmla="*/ 176213 h 1124807"/>
                  <a:gd name="connsiteX45" fmla="*/ 634365 w 1092517"/>
                  <a:gd name="connsiteY45" fmla="*/ 169545 h 1124807"/>
                  <a:gd name="connsiteX46" fmla="*/ 634365 w 1092517"/>
                  <a:gd name="connsiteY46" fmla="*/ 155257 h 1124807"/>
                  <a:gd name="connsiteX47" fmla="*/ 638175 w 1092517"/>
                  <a:gd name="connsiteY47" fmla="*/ 147638 h 1124807"/>
                  <a:gd name="connsiteX48" fmla="*/ 651510 w 1092517"/>
                  <a:gd name="connsiteY48" fmla="*/ 133350 h 1124807"/>
                  <a:gd name="connsiteX49" fmla="*/ 665797 w 1092517"/>
                  <a:gd name="connsiteY49" fmla="*/ 122872 h 1124807"/>
                  <a:gd name="connsiteX50" fmla="*/ 673418 w 1092517"/>
                  <a:gd name="connsiteY50" fmla="*/ 119920 h 1124807"/>
                  <a:gd name="connsiteX51" fmla="*/ 673418 w 1092517"/>
                  <a:gd name="connsiteY51" fmla="*/ 105632 h 1124807"/>
                  <a:gd name="connsiteX52" fmla="*/ 661988 w 1092517"/>
                  <a:gd name="connsiteY52" fmla="*/ 95250 h 1124807"/>
                  <a:gd name="connsiteX53" fmla="*/ 648653 w 1092517"/>
                  <a:gd name="connsiteY53" fmla="*/ 77057 h 1124807"/>
                  <a:gd name="connsiteX54" fmla="*/ 644843 w 1092517"/>
                  <a:gd name="connsiteY54" fmla="*/ 62770 h 1124807"/>
                  <a:gd name="connsiteX55" fmla="*/ 641032 w 1092517"/>
                  <a:gd name="connsiteY55" fmla="*/ 49435 h 1124807"/>
                  <a:gd name="connsiteX56" fmla="*/ 644843 w 1092517"/>
                  <a:gd name="connsiteY56" fmla="*/ 41910 h 1124807"/>
                  <a:gd name="connsiteX57" fmla="*/ 638175 w 1092517"/>
                  <a:gd name="connsiteY57" fmla="*/ 35147 h 1124807"/>
                  <a:gd name="connsiteX58" fmla="*/ 626745 w 1092517"/>
                  <a:gd name="connsiteY58" fmla="*/ 31432 h 1124807"/>
                  <a:gd name="connsiteX59" fmla="*/ 616268 w 1092517"/>
                  <a:gd name="connsiteY59" fmla="*/ 41910 h 1124807"/>
                  <a:gd name="connsiteX60" fmla="*/ 595313 w 1092517"/>
                  <a:gd name="connsiteY60" fmla="*/ 91345 h 1124807"/>
                  <a:gd name="connsiteX61" fmla="*/ 584835 w 1092517"/>
                  <a:gd name="connsiteY61" fmla="*/ 84772 h 1124807"/>
                  <a:gd name="connsiteX62" fmla="*/ 567690 w 1092517"/>
                  <a:gd name="connsiteY62" fmla="*/ 80963 h 1124807"/>
                  <a:gd name="connsiteX63" fmla="*/ 557213 w 1092517"/>
                  <a:gd name="connsiteY63" fmla="*/ 87535 h 1124807"/>
                  <a:gd name="connsiteX64" fmla="*/ 545782 w 1092517"/>
                  <a:gd name="connsiteY64" fmla="*/ 87535 h 1124807"/>
                  <a:gd name="connsiteX65" fmla="*/ 528638 w 1092517"/>
                  <a:gd name="connsiteY65" fmla="*/ 80963 h 1124807"/>
                  <a:gd name="connsiteX66" fmla="*/ 510540 w 1092517"/>
                  <a:gd name="connsiteY66" fmla="*/ 77057 h 1124807"/>
                  <a:gd name="connsiteX67" fmla="*/ 503872 w 1092517"/>
                  <a:gd name="connsiteY67" fmla="*/ 77057 h 1124807"/>
                  <a:gd name="connsiteX68" fmla="*/ 503872 w 1092517"/>
                  <a:gd name="connsiteY68" fmla="*/ 84772 h 1124807"/>
                  <a:gd name="connsiteX69" fmla="*/ 500063 w 1092517"/>
                  <a:gd name="connsiteY69" fmla="*/ 95250 h 1124807"/>
                  <a:gd name="connsiteX70" fmla="*/ 497205 w 1092517"/>
                  <a:gd name="connsiteY70" fmla="*/ 95250 h 1124807"/>
                  <a:gd name="connsiteX71" fmla="*/ 486728 w 1092517"/>
                  <a:gd name="connsiteY71" fmla="*/ 95250 h 1124807"/>
                  <a:gd name="connsiteX72" fmla="*/ 479107 w 1092517"/>
                  <a:gd name="connsiteY72" fmla="*/ 87535 h 1124807"/>
                  <a:gd name="connsiteX73" fmla="*/ 472440 w 1092517"/>
                  <a:gd name="connsiteY73" fmla="*/ 95250 h 1124807"/>
                  <a:gd name="connsiteX74" fmla="*/ 458153 w 1092517"/>
                  <a:gd name="connsiteY74" fmla="*/ 101822 h 1124807"/>
                  <a:gd name="connsiteX75" fmla="*/ 447675 w 1092517"/>
                  <a:gd name="connsiteY75" fmla="*/ 109538 h 1124807"/>
                  <a:gd name="connsiteX76" fmla="*/ 429578 w 1092517"/>
                  <a:gd name="connsiteY76" fmla="*/ 112395 h 1124807"/>
                  <a:gd name="connsiteX77" fmla="*/ 416243 w 1092517"/>
                  <a:gd name="connsiteY77" fmla="*/ 112395 h 1124807"/>
                  <a:gd name="connsiteX78" fmla="*/ 401955 w 1092517"/>
                  <a:gd name="connsiteY78" fmla="*/ 98107 h 1124807"/>
                  <a:gd name="connsiteX79" fmla="*/ 391478 w 1092517"/>
                  <a:gd name="connsiteY79" fmla="*/ 84772 h 1124807"/>
                  <a:gd name="connsiteX80" fmla="*/ 391478 w 1092517"/>
                  <a:gd name="connsiteY80" fmla="*/ 49435 h 1124807"/>
                  <a:gd name="connsiteX81" fmla="*/ 401955 w 1092517"/>
                  <a:gd name="connsiteY81" fmla="*/ 38957 h 1124807"/>
                  <a:gd name="connsiteX82" fmla="*/ 387668 w 1092517"/>
                  <a:gd name="connsiteY82" fmla="*/ 0 h 1124807"/>
                  <a:gd name="connsiteX83" fmla="*/ 366713 w 1092517"/>
                  <a:gd name="connsiteY83" fmla="*/ 0 h 1124807"/>
                  <a:gd name="connsiteX84" fmla="*/ 370522 w 1092517"/>
                  <a:gd name="connsiteY84" fmla="*/ 6572 h 1124807"/>
                  <a:gd name="connsiteX85" fmla="*/ 362903 w 1092517"/>
                  <a:gd name="connsiteY85" fmla="*/ 24670 h 1124807"/>
                  <a:gd name="connsiteX86" fmla="*/ 341947 w 1092517"/>
                  <a:gd name="connsiteY86" fmla="*/ 31432 h 1124807"/>
                  <a:gd name="connsiteX87" fmla="*/ 324803 w 1092517"/>
                  <a:gd name="connsiteY87" fmla="*/ 35147 h 1124807"/>
                  <a:gd name="connsiteX88" fmla="*/ 313372 w 1092517"/>
                  <a:gd name="connsiteY88" fmla="*/ 41910 h 1124807"/>
                  <a:gd name="connsiteX89" fmla="*/ 306705 w 1092517"/>
                  <a:gd name="connsiteY89" fmla="*/ 38957 h 1124807"/>
                  <a:gd name="connsiteX90" fmla="*/ 285750 w 1092517"/>
                  <a:gd name="connsiteY90" fmla="*/ 38957 h 1124807"/>
                  <a:gd name="connsiteX91" fmla="*/ 271463 w 1092517"/>
                  <a:gd name="connsiteY91" fmla="*/ 31432 h 1124807"/>
                  <a:gd name="connsiteX92" fmla="*/ 260985 w 1092517"/>
                  <a:gd name="connsiteY92" fmla="*/ 35147 h 1124807"/>
                  <a:gd name="connsiteX93" fmla="*/ 271463 w 1092517"/>
                  <a:gd name="connsiteY93" fmla="*/ 45720 h 1124807"/>
                  <a:gd name="connsiteX94" fmla="*/ 275272 w 1092517"/>
                  <a:gd name="connsiteY94" fmla="*/ 62770 h 1124807"/>
                  <a:gd name="connsiteX95" fmla="*/ 285750 w 1092517"/>
                  <a:gd name="connsiteY95" fmla="*/ 77057 h 1124807"/>
                  <a:gd name="connsiteX96" fmla="*/ 296228 w 1092517"/>
                  <a:gd name="connsiteY96" fmla="*/ 77057 h 1124807"/>
                  <a:gd name="connsiteX97" fmla="*/ 296228 w 1092517"/>
                  <a:gd name="connsiteY97" fmla="*/ 91345 h 1124807"/>
                  <a:gd name="connsiteX98" fmla="*/ 275272 w 1092517"/>
                  <a:gd name="connsiteY98" fmla="*/ 98107 h 1124807"/>
                  <a:gd name="connsiteX99" fmla="*/ 264795 w 1092517"/>
                  <a:gd name="connsiteY99" fmla="*/ 109538 h 1124807"/>
                  <a:gd name="connsiteX100" fmla="*/ 254318 w 1092517"/>
                  <a:gd name="connsiteY100" fmla="*/ 119920 h 1124807"/>
                  <a:gd name="connsiteX101" fmla="*/ 229553 w 1092517"/>
                  <a:gd name="connsiteY101" fmla="*/ 126682 h 1124807"/>
                  <a:gd name="connsiteX102" fmla="*/ 211455 w 1092517"/>
                  <a:gd name="connsiteY102" fmla="*/ 122872 h 1124807"/>
                  <a:gd name="connsiteX103" fmla="*/ 197168 w 1092517"/>
                  <a:gd name="connsiteY103" fmla="*/ 109538 h 1124807"/>
                  <a:gd name="connsiteX104" fmla="*/ 190500 w 1092517"/>
                  <a:gd name="connsiteY104" fmla="*/ 98107 h 1124807"/>
                  <a:gd name="connsiteX105" fmla="*/ 180022 w 1092517"/>
                  <a:gd name="connsiteY105" fmla="*/ 95250 h 1124807"/>
                  <a:gd name="connsiteX106" fmla="*/ 161925 w 1092517"/>
                  <a:gd name="connsiteY106" fmla="*/ 98107 h 1124807"/>
                  <a:gd name="connsiteX107" fmla="*/ 113347 w 1092517"/>
                  <a:gd name="connsiteY107" fmla="*/ 101822 h 1124807"/>
                  <a:gd name="connsiteX108" fmla="*/ 113347 w 1092517"/>
                  <a:gd name="connsiteY108" fmla="*/ 112395 h 1124807"/>
                  <a:gd name="connsiteX109" fmla="*/ 134303 w 1092517"/>
                  <a:gd name="connsiteY109" fmla="*/ 119920 h 1124807"/>
                  <a:gd name="connsiteX110" fmla="*/ 134303 w 1092517"/>
                  <a:gd name="connsiteY110" fmla="*/ 130397 h 1124807"/>
                  <a:gd name="connsiteX111" fmla="*/ 116205 w 1092517"/>
                  <a:gd name="connsiteY111" fmla="*/ 126682 h 1124807"/>
                  <a:gd name="connsiteX112" fmla="*/ 113347 w 1092517"/>
                  <a:gd name="connsiteY112" fmla="*/ 130397 h 1124807"/>
                  <a:gd name="connsiteX113" fmla="*/ 113347 w 1092517"/>
                  <a:gd name="connsiteY113" fmla="*/ 151447 h 1124807"/>
                  <a:gd name="connsiteX114" fmla="*/ 123825 w 1092517"/>
                  <a:gd name="connsiteY114" fmla="*/ 165735 h 1124807"/>
                  <a:gd name="connsiteX115" fmla="*/ 126682 w 1092517"/>
                  <a:gd name="connsiteY115" fmla="*/ 186595 h 1124807"/>
                  <a:gd name="connsiteX116" fmla="*/ 123825 w 1092517"/>
                  <a:gd name="connsiteY116" fmla="*/ 211360 h 1124807"/>
                  <a:gd name="connsiteX117" fmla="*/ 120015 w 1092517"/>
                  <a:gd name="connsiteY117" fmla="*/ 221932 h 1124807"/>
                  <a:gd name="connsiteX118" fmla="*/ 120015 w 1092517"/>
                  <a:gd name="connsiteY118" fmla="*/ 242888 h 1124807"/>
                  <a:gd name="connsiteX119" fmla="*/ 109538 w 1092517"/>
                  <a:gd name="connsiteY119" fmla="*/ 267557 h 1124807"/>
                  <a:gd name="connsiteX120" fmla="*/ 70485 w 1092517"/>
                  <a:gd name="connsiteY120" fmla="*/ 271463 h 1124807"/>
                  <a:gd name="connsiteX121" fmla="*/ 45720 w 1092517"/>
                  <a:gd name="connsiteY121" fmla="*/ 281845 h 1124807"/>
                  <a:gd name="connsiteX122" fmla="*/ 28575 w 1092517"/>
                  <a:gd name="connsiteY122" fmla="*/ 302895 h 1124807"/>
                  <a:gd name="connsiteX123" fmla="*/ 24765 w 1092517"/>
                  <a:gd name="connsiteY123" fmla="*/ 320897 h 1124807"/>
                  <a:gd name="connsiteX124" fmla="*/ 14288 w 1092517"/>
                  <a:gd name="connsiteY124" fmla="*/ 331470 h 1124807"/>
                  <a:gd name="connsiteX125" fmla="*/ 0 w 1092517"/>
                  <a:gd name="connsiteY125" fmla="*/ 352425 h 1124807"/>
                  <a:gd name="connsiteX126" fmla="*/ 14288 w 1092517"/>
                  <a:gd name="connsiteY126" fmla="*/ 391382 h 1124807"/>
                  <a:gd name="connsiteX127" fmla="*/ 32385 w 1092517"/>
                  <a:gd name="connsiteY127" fmla="*/ 408622 h 1124807"/>
                  <a:gd name="connsiteX128" fmla="*/ 49530 w 1092517"/>
                  <a:gd name="connsiteY128" fmla="*/ 426720 h 1124807"/>
                  <a:gd name="connsiteX129" fmla="*/ 63818 w 1092517"/>
                  <a:gd name="connsiteY129" fmla="*/ 429482 h 1124807"/>
                  <a:gd name="connsiteX130" fmla="*/ 67628 w 1092517"/>
                  <a:gd name="connsiteY130" fmla="*/ 426720 h 1124807"/>
                  <a:gd name="connsiteX131" fmla="*/ 84772 w 1092517"/>
                  <a:gd name="connsiteY131" fmla="*/ 419100 h 1124807"/>
                  <a:gd name="connsiteX132" fmla="*/ 95250 w 1092517"/>
                  <a:gd name="connsiteY132" fmla="*/ 408622 h 1124807"/>
                  <a:gd name="connsiteX133" fmla="*/ 99060 w 1092517"/>
                  <a:gd name="connsiteY133" fmla="*/ 419100 h 1124807"/>
                  <a:gd name="connsiteX134" fmla="*/ 91440 w 1092517"/>
                  <a:gd name="connsiteY134" fmla="*/ 441007 h 1124807"/>
                  <a:gd name="connsiteX135" fmla="*/ 95250 w 1092517"/>
                  <a:gd name="connsiteY135" fmla="*/ 451485 h 1124807"/>
                  <a:gd name="connsiteX136" fmla="*/ 105728 w 1092517"/>
                  <a:gd name="connsiteY136" fmla="*/ 451485 h 1124807"/>
                  <a:gd name="connsiteX137" fmla="*/ 126682 w 1092517"/>
                  <a:gd name="connsiteY137" fmla="*/ 454247 h 1124807"/>
                  <a:gd name="connsiteX138" fmla="*/ 161925 w 1092517"/>
                  <a:gd name="connsiteY138" fmla="*/ 451485 h 1124807"/>
                  <a:gd name="connsiteX139" fmla="*/ 186690 w 1092517"/>
                  <a:gd name="connsiteY139" fmla="*/ 441007 h 1124807"/>
                  <a:gd name="connsiteX140" fmla="*/ 200978 w 1092517"/>
                  <a:gd name="connsiteY140" fmla="*/ 429482 h 1124807"/>
                  <a:gd name="connsiteX141" fmla="*/ 204788 w 1092517"/>
                  <a:gd name="connsiteY141" fmla="*/ 429482 h 1124807"/>
                  <a:gd name="connsiteX142" fmla="*/ 221932 w 1092517"/>
                  <a:gd name="connsiteY142" fmla="*/ 422910 h 1124807"/>
                  <a:gd name="connsiteX143" fmla="*/ 242888 w 1092517"/>
                  <a:gd name="connsiteY143" fmla="*/ 422910 h 1124807"/>
                  <a:gd name="connsiteX144" fmla="*/ 246697 w 1092517"/>
                  <a:gd name="connsiteY144" fmla="*/ 472345 h 1124807"/>
                  <a:gd name="connsiteX145" fmla="*/ 267653 w 1092517"/>
                  <a:gd name="connsiteY145" fmla="*/ 493395 h 1124807"/>
                  <a:gd name="connsiteX146" fmla="*/ 285750 w 1092517"/>
                  <a:gd name="connsiteY146" fmla="*/ 497110 h 1124807"/>
                  <a:gd name="connsiteX147" fmla="*/ 302895 w 1092517"/>
                  <a:gd name="connsiteY147" fmla="*/ 500920 h 1124807"/>
                  <a:gd name="connsiteX148" fmla="*/ 310515 w 1092517"/>
                  <a:gd name="connsiteY148" fmla="*/ 511397 h 1124807"/>
                  <a:gd name="connsiteX149" fmla="*/ 324803 w 1092517"/>
                  <a:gd name="connsiteY149" fmla="*/ 514350 h 1124807"/>
                  <a:gd name="connsiteX150" fmla="*/ 345757 w 1092517"/>
                  <a:gd name="connsiteY150" fmla="*/ 524732 h 1124807"/>
                  <a:gd name="connsiteX151" fmla="*/ 377190 w 1092517"/>
                  <a:gd name="connsiteY151" fmla="*/ 532447 h 1124807"/>
                  <a:gd name="connsiteX152" fmla="*/ 383857 w 1092517"/>
                  <a:gd name="connsiteY152" fmla="*/ 553307 h 1124807"/>
                  <a:gd name="connsiteX153" fmla="*/ 387668 w 1092517"/>
                  <a:gd name="connsiteY153" fmla="*/ 567595 h 1124807"/>
                  <a:gd name="connsiteX154" fmla="*/ 383857 w 1092517"/>
                  <a:gd name="connsiteY154" fmla="*/ 574357 h 1124807"/>
                  <a:gd name="connsiteX155" fmla="*/ 383857 w 1092517"/>
                  <a:gd name="connsiteY155" fmla="*/ 581882 h 1124807"/>
                  <a:gd name="connsiteX156" fmla="*/ 387668 w 1092517"/>
                  <a:gd name="connsiteY156" fmla="*/ 602932 h 1124807"/>
                  <a:gd name="connsiteX157" fmla="*/ 437197 w 1092517"/>
                  <a:gd name="connsiteY157" fmla="*/ 602932 h 1124807"/>
                  <a:gd name="connsiteX158" fmla="*/ 433388 w 1092517"/>
                  <a:gd name="connsiteY158" fmla="*/ 617220 h 1124807"/>
                  <a:gd name="connsiteX159" fmla="*/ 437197 w 1092517"/>
                  <a:gd name="connsiteY159" fmla="*/ 638175 h 1124807"/>
                  <a:gd name="connsiteX160" fmla="*/ 454343 w 1092517"/>
                  <a:gd name="connsiteY160" fmla="*/ 644747 h 1124807"/>
                  <a:gd name="connsiteX161" fmla="*/ 458153 w 1092517"/>
                  <a:gd name="connsiteY161" fmla="*/ 662845 h 1124807"/>
                  <a:gd name="connsiteX162" fmla="*/ 458153 w 1092517"/>
                  <a:gd name="connsiteY162" fmla="*/ 673322 h 1124807"/>
                  <a:gd name="connsiteX163" fmla="*/ 443865 w 1092517"/>
                  <a:gd name="connsiteY163" fmla="*/ 698182 h 1124807"/>
                  <a:gd name="connsiteX164" fmla="*/ 451485 w 1092517"/>
                  <a:gd name="connsiteY164" fmla="*/ 708660 h 1124807"/>
                  <a:gd name="connsiteX165" fmla="*/ 443865 w 1092517"/>
                  <a:gd name="connsiteY165" fmla="*/ 715232 h 1124807"/>
                  <a:gd name="connsiteX166" fmla="*/ 451485 w 1092517"/>
                  <a:gd name="connsiteY166" fmla="*/ 729520 h 1124807"/>
                  <a:gd name="connsiteX167" fmla="*/ 451485 w 1092517"/>
                  <a:gd name="connsiteY167" fmla="*/ 779145 h 1124807"/>
                  <a:gd name="connsiteX168" fmla="*/ 468630 w 1092517"/>
                  <a:gd name="connsiteY168" fmla="*/ 779145 h 1124807"/>
                  <a:gd name="connsiteX169" fmla="*/ 482918 w 1092517"/>
                  <a:gd name="connsiteY169" fmla="*/ 775335 h 1124807"/>
                  <a:gd name="connsiteX170" fmla="*/ 500063 w 1092517"/>
                  <a:gd name="connsiteY170" fmla="*/ 779145 h 1124807"/>
                  <a:gd name="connsiteX171" fmla="*/ 510540 w 1092517"/>
                  <a:gd name="connsiteY171" fmla="*/ 785813 h 1124807"/>
                  <a:gd name="connsiteX172" fmla="*/ 507682 w 1092517"/>
                  <a:gd name="connsiteY172" fmla="*/ 803910 h 1124807"/>
                  <a:gd name="connsiteX173" fmla="*/ 514350 w 1092517"/>
                  <a:gd name="connsiteY173" fmla="*/ 820960 h 1124807"/>
                  <a:gd name="connsiteX174" fmla="*/ 528638 w 1092517"/>
                  <a:gd name="connsiteY174" fmla="*/ 835247 h 1124807"/>
                  <a:gd name="connsiteX175" fmla="*/ 542925 w 1092517"/>
                  <a:gd name="connsiteY175" fmla="*/ 832485 h 1124807"/>
                  <a:gd name="connsiteX176" fmla="*/ 553403 w 1092517"/>
                  <a:gd name="connsiteY176" fmla="*/ 835247 h 1124807"/>
                  <a:gd name="connsiteX177" fmla="*/ 549593 w 1092517"/>
                  <a:gd name="connsiteY177" fmla="*/ 849535 h 1124807"/>
                  <a:gd name="connsiteX178" fmla="*/ 542925 w 1092517"/>
                  <a:gd name="connsiteY178" fmla="*/ 863822 h 1124807"/>
                  <a:gd name="connsiteX179" fmla="*/ 542925 w 1092517"/>
                  <a:gd name="connsiteY179" fmla="*/ 874395 h 1124807"/>
                  <a:gd name="connsiteX180" fmla="*/ 560070 w 1092517"/>
                  <a:gd name="connsiteY180" fmla="*/ 878110 h 1124807"/>
                  <a:gd name="connsiteX181" fmla="*/ 567690 w 1092517"/>
                  <a:gd name="connsiteY181" fmla="*/ 884872 h 1124807"/>
                  <a:gd name="connsiteX182" fmla="*/ 570547 w 1092517"/>
                  <a:gd name="connsiteY182" fmla="*/ 902970 h 1124807"/>
                  <a:gd name="connsiteX183" fmla="*/ 563880 w 1092517"/>
                  <a:gd name="connsiteY183" fmla="*/ 923925 h 1124807"/>
                  <a:gd name="connsiteX184" fmla="*/ 557213 w 1092517"/>
                  <a:gd name="connsiteY184" fmla="*/ 934307 h 1124807"/>
                  <a:gd name="connsiteX185" fmla="*/ 542925 w 1092517"/>
                  <a:gd name="connsiteY185" fmla="*/ 941070 h 1124807"/>
                  <a:gd name="connsiteX186" fmla="*/ 528638 w 1092517"/>
                  <a:gd name="connsiteY186" fmla="*/ 951547 h 1124807"/>
                  <a:gd name="connsiteX187" fmla="*/ 486728 w 1092517"/>
                  <a:gd name="connsiteY187" fmla="*/ 994410 h 1124807"/>
                  <a:gd name="connsiteX188" fmla="*/ 476250 w 1092517"/>
                  <a:gd name="connsiteY188" fmla="*/ 1000982 h 1124807"/>
                  <a:gd name="connsiteX189" fmla="*/ 472440 w 1092517"/>
                  <a:gd name="connsiteY189" fmla="*/ 1008697 h 1124807"/>
                  <a:gd name="connsiteX190" fmla="*/ 489585 w 1092517"/>
                  <a:gd name="connsiteY190" fmla="*/ 1022032 h 1124807"/>
                  <a:gd name="connsiteX191" fmla="*/ 503872 w 1092517"/>
                  <a:gd name="connsiteY191" fmla="*/ 1040035 h 1124807"/>
                  <a:gd name="connsiteX192" fmla="*/ 518160 w 1092517"/>
                  <a:gd name="connsiteY192" fmla="*/ 1043845 h 1124807"/>
                  <a:gd name="connsiteX193" fmla="*/ 542925 w 1092517"/>
                  <a:gd name="connsiteY193" fmla="*/ 1057275 h 1124807"/>
                  <a:gd name="connsiteX194" fmla="*/ 563880 w 1092517"/>
                  <a:gd name="connsiteY194" fmla="*/ 1075373 h 1124807"/>
                  <a:gd name="connsiteX195" fmla="*/ 574357 w 1092517"/>
                  <a:gd name="connsiteY195" fmla="*/ 1081945 h 1124807"/>
                  <a:gd name="connsiteX196" fmla="*/ 581025 w 1092517"/>
                  <a:gd name="connsiteY196" fmla="*/ 1096232 h 1124807"/>
                  <a:gd name="connsiteX197" fmla="*/ 578168 w 1092517"/>
                  <a:gd name="connsiteY197" fmla="*/ 1106710 h 1124807"/>
                  <a:gd name="connsiteX198" fmla="*/ 578168 w 1092517"/>
                  <a:gd name="connsiteY198" fmla="*/ 1117282 h 1124807"/>
                  <a:gd name="connsiteX199" fmla="*/ 584835 w 1092517"/>
                  <a:gd name="connsiteY199" fmla="*/ 1124807 h 1124807"/>
                  <a:gd name="connsiteX200" fmla="*/ 592455 w 1092517"/>
                  <a:gd name="connsiteY200" fmla="*/ 1110520 h 1124807"/>
                  <a:gd name="connsiteX201" fmla="*/ 602932 w 1092517"/>
                  <a:gd name="connsiteY201" fmla="*/ 1096232 h 1124807"/>
                  <a:gd name="connsiteX202" fmla="*/ 605790 w 1092517"/>
                  <a:gd name="connsiteY202" fmla="*/ 1089660 h 1124807"/>
                  <a:gd name="connsiteX203" fmla="*/ 609600 w 1092517"/>
                  <a:gd name="connsiteY203" fmla="*/ 1079182 h 1124807"/>
                  <a:gd name="connsiteX204" fmla="*/ 613410 w 1092517"/>
                  <a:gd name="connsiteY204" fmla="*/ 1068610 h 1124807"/>
                  <a:gd name="connsiteX205" fmla="*/ 613410 w 1092517"/>
                  <a:gd name="connsiteY205" fmla="*/ 1057275 h 1124807"/>
                  <a:gd name="connsiteX206" fmla="*/ 620078 w 1092517"/>
                  <a:gd name="connsiteY206" fmla="*/ 1050607 h 1124807"/>
                  <a:gd name="connsiteX207" fmla="*/ 626745 w 1092517"/>
                  <a:gd name="connsiteY207" fmla="*/ 1043845 h 1124807"/>
                  <a:gd name="connsiteX208" fmla="*/ 634365 w 1092517"/>
                  <a:gd name="connsiteY208" fmla="*/ 1033463 h 1124807"/>
                  <a:gd name="connsiteX209" fmla="*/ 641032 w 1092517"/>
                  <a:gd name="connsiteY209" fmla="*/ 1025747 h 1124807"/>
                  <a:gd name="connsiteX210" fmla="*/ 648653 w 1092517"/>
                  <a:gd name="connsiteY210" fmla="*/ 1022032 h 1124807"/>
                  <a:gd name="connsiteX211" fmla="*/ 651510 w 1092517"/>
                  <a:gd name="connsiteY211" fmla="*/ 1029557 h 1124807"/>
                  <a:gd name="connsiteX212" fmla="*/ 644843 w 1092517"/>
                  <a:gd name="connsiteY212" fmla="*/ 1040035 h 1124807"/>
                  <a:gd name="connsiteX213" fmla="*/ 634365 w 1092517"/>
                  <a:gd name="connsiteY213" fmla="*/ 1050607 h 1124807"/>
                  <a:gd name="connsiteX214" fmla="*/ 626745 w 1092517"/>
                  <a:gd name="connsiteY214" fmla="*/ 1057275 h 1124807"/>
                  <a:gd name="connsiteX215" fmla="*/ 620078 w 1092517"/>
                  <a:gd name="connsiteY215" fmla="*/ 1064895 h 1124807"/>
                  <a:gd name="connsiteX216" fmla="*/ 620078 w 1092517"/>
                  <a:gd name="connsiteY216" fmla="*/ 1068610 h 1124807"/>
                  <a:gd name="connsiteX217" fmla="*/ 620078 w 1092517"/>
                  <a:gd name="connsiteY217" fmla="*/ 1075373 h 1124807"/>
                  <a:gd name="connsiteX218" fmla="*/ 634365 w 1092517"/>
                  <a:gd name="connsiteY218" fmla="*/ 1064895 h 1124807"/>
                  <a:gd name="connsiteX219" fmla="*/ 644843 w 1092517"/>
                  <a:gd name="connsiteY219" fmla="*/ 1057275 h 1124807"/>
                  <a:gd name="connsiteX220" fmla="*/ 651510 w 1092517"/>
                  <a:gd name="connsiteY220" fmla="*/ 1043845 h 1124807"/>
                  <a:gd name="connsiteX221" fmla="*/ 659130 w 1092517"/>
                  <a:gd name="connsiteY221" fmla="*/ 1036320 h 1124807"/>
                  <a:gd name="connsiteX222" fmla="*/ 661988 w 1092517"/>
                  <a:gd name="connsiteY222" fmla="*/ 1029557 h 1124807"/>
                  <a:gd name="connsiteX223" fmla="*/ 669607 w 1092517"/>
                  <a:gd name="connsiteY223" fmla="*/ 1011460 h 1124807"/>
                  <a:gd name="connsiteX224" fmla="*/ 676275 w 1092517"/>
                  <a:gd name="connsiteY224" fmla="*/ 998220 h 1124807"/>
                  <a:gd name="connsiteX225" fmla="*/ 686753 w 1092517"/>
                  <a:gd name="connsiteY225" fmla="*/ 986695 h 1124807"/>
                  <a:gd name="connsiteX226" fmla="*/ 701040 w 1092517"/>
                  <a:gd name="connsiteY226" fmla="*/ 969645 h 1124807"/>
                  <a:gd name="connsiteX227" fmla="*/ 711518 w 1092517"/>
                  <a:gd name="connsiteY227" fmla="*/ 955357 h 1124807"/>
                  <a:gd name="connsiteX228" fmla="*/ 708660 w 1092517"/>
                  <a:gd name="connsiteY228" fmla="*/ 926782 h 1124807"/>
                  <a:gd name="connsiteX229" fmla="*/ 708660 w 1092517"/>
                  <a:gd name="connsiteY229" fmla="*/ 909638 h 1124807"/>
                  <a:gd name="connsiteX230" fmla="*/ 711518 w 1092517"/>
                  <a:gd name="connsiteY230" fmla="*/ 884872 h 1124807"/>
                  <a:gd name="connsiteX231" fmla="*/ 719138 w 1092517"/>
                  <a:gd name="connsiteY231" fmla="*/ 870585 h 1124807"/>
                  <a:gd name="connsiteX232" fmla="*/ 736282 w 1092517"/>
                  <a:gd name="connsiteY232" fmla="*/ 853345 h 1124807"/>
                  <a:gd name="connsiteX233" fmla="*/ 757238 w 1092517"/>
                  <a:gd name="connsiteY233" fmla="*/ 845820 h 1124807"/>
                  <a:gd name="connsiteX234" fmla="*/ 771525 w 1092517"/>
                  <a:gd name="connsiteY234" fmla="*/ 832485 h 1124807"/>
                  <a:gd name="connsiteX235" fmla="*/ 785813 w 1092517"/>
                  <a:gd name="connsiteY235" fmla="*/ 832485 h 1124807"/>
                  <a:gd name="connsiteX236" fmla="*/ 800100 w 1092517"/>
                  <a:gd name="connsiteY236" fmla="*/ 824770 h 1124807"/>
                  <a:gd name="connsiteX237" fmla="*/ 817245 w 1092517"/>
                  <a:gd name="connsiteY237" fmla="*/ 807720 h 1124807"/>
                  <a:gd name="connsiteX238" fmla="*/ 848678 w 1092517"/>
                  <a:gd name="connsiteY238" fmla="*/ 803910 h 1124807"/>
                  <a:gd name="connsiteX239" fmla="*/ 870585 w 1092517"/>
                  <a:gd name="connsiteY239" fmla="*/ 803910 h 1124807"/>
                  <a:gd name="connsiteX240" fmla="*/ 895350 w 1092517"/>
                  <a:gd name="connsiteY240" fmla="*/ 796195 h 1124807"/>
                  <a:gd name="connsiteX241" fmla="*/ 902018 w 1092517"/>
                  <a:gd name="connsiteY241" fmla="*/ 785813 h 1124807"/>
                  <a:gd name="connsiteX242" fmla="*/ 912495 w 1092517"/>
                  <a:gd name="connsiteY242" fmla="*/ 775335 h 1124807"/>
                  <a:gd name="connsiteX243" fmla="*/ 922972 w 1092517"/>
                  <a:gd name="connsiteY243" fmla="*/ 764857 h 1124807"/>
                  <a:gd name="connsiteX244" fmla="*/ 929640 w 1092517"/>
                  <a:gd name="connsiteY244" fmla="*/ 739997 h 1124807"/>
                  <a:gd name="connsiteX245" fmla="*/ 943928 w 1092517"/>
                  <a:gd name="connsiteY245" fmla="*/ 719138 h 1124807"/>
                  <a:gd name="connsiteX246" fmla="*/ 958215 w 1092517"/>
                  <a:gd name="connsiteY246" fmla="*/ 690563 h 1124807"/>
                  <a:gd name="connsiteX247" fmla="*/ 964882 w 1092517"/>
                  <a:gd name="connsiteY247" fmla="*/ 662845 h 1124807"/>
                  <a:gd name="connsiteX248" fmla="*/ 972503 w 1092517"/>
                  <a:gd name="connsiteY248" fmla="*/ 644747 h 1124807"/>
                  <a:gd name="connsiteX249" fmla="*/ 976313 w 1092517"/>
                  <a:gd name="connsiteY249" fmla="*/ 617220 h 1124807"/>
                  <a:gd name="connsiteX250" fmla="*/ 979170 w 1092517"/>
                  <a:gd name="connsiteY250" fmla="*/ 595313 h 1124807"/>
                  <a:gd name="connsiteX251" fmla="*/ 979170 w 1092517"/>
                  <a:gd name="connsiteY251" fmla="*/ 567595 h 1124807"/>
                  <a:gd name="connsiteX252" fmla="*/ 976313 w 1092517"/>
                  <a:gd name="connsiteY252" fmla="*/ 546735 h 1124807"/>
                  <a:gd name="connsiteX253" fmla="*/ 976313 w 1092517"/>
                  <a:gd name="connsiteY253" fmla="*/ 532447 h 1124807"/>
                  <a:gd name="connsiteX254" fmla="*/ 979170 w 1092517"/>
                  <a:gd name="connsiteY254" fmla="*/ 518160 h 1124807"/>
                  <a:gd name="connsiteX255" fmla="*/ 989647 w 1092517"/>
                  <a:gd name="connsiteY255" fmla="*/ 511397 h 1124807"/>
                  <a:gd name="connsiteX256" fmla="*/ 1003935 w 1092517"/>
                  <a:gd name="connsiteY256" fmla="*/ 503872 h 1124807"/>
                  <a:gd name="connsiteX257" fmla="*/ 1011555 w 1092517"/>
                  <a:gd name="connsiteY257" fmla="*/ 497110 h 1124807"/>
                  <a:gd name="connsiteX258" fmla="*/ 1018222 w 1092517"/>
                  <a:gd name="connsiteY258" fmla="*/ 489585 h 1124807"/>
                  <a:gd name="connsiteX259" fmla="*/ 1022032 w 1092517"/>
                  <a:gd name="connsiteY259" fmla="*/ 479107 h 1124807"/>
                  <a:gd name="connsiteX260" fmla="*/ 1022032 w 1092517"/>
                  <a:gd name="connsiteY260" fmla="*/ 464820 h 1124807"/>
                  <a:gd name="connsiteX261" fmla="*/ 1057275 w 1092517"/>
                  <a:gd name="connsiteY261" fmla="*/ 433388 h 1124807"/>
                  <a:gd name="connsiteX262" fmla="*/ 1070610 w 1092517"/>
                  <a:gd name="connsiteY262" fmla="*/ 416147 h 1124807"/>
                  <a:gd name="connsiteX263" fmla="*/ 1088707 w 1092517"/>
                  <a:gd name="connsiteY263" fmla="*/ 394335 h 1124807"/>
                  <a:gd name="connsiteX264" fmla="*/ 1092518 w 1092517"/>
                  <a:gd name="connsiteY264" fmla="*/ 362807 h 1124807"/>
                  <a:gd name="connsiteX265" fmla="*/ 1092518 w 1092517"/>
                  <a:gd name="connsiteY265" fmla="*/ 334232 h 1124807"/>
                  <a:gd name="connsiteX266" fmla="*/ 1081088 w 1092517"/>
                  <a:gd name="connsiteY266" fmla="*/ 306610 h 1124807"/>
                  <a:gd name="connsiteX267" fmla="*/ 1074420 w 1092517"/>
                  <a:gd name="connsiteY267" fmla="*/ 288607 h 11248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</a:cxnLst>
                <a:rect l="l" t="t" r="r" b="b"/>
                <a:pathLst>
                  <a:path w="1092517" h="1124807">
                    <a:moveTo>
                      <a:pt x="1074420" y="288607"/>
                    </a:moveTo>
                    <a:lnTo>
                      <a:pt x="1060132" y="288607"/>
                    </a:lnTo>
                    <a:lnTo>
                      <a:pt x="1042988" y="292322"/>
                    </a:lnTo>
                    <a:lnTo>
                      <a:pt x="1024890" y="281845"/>
                    </a:lnTo>
                    <a:lnTo>
                      <a:pt x="1007745" y="267557"/>
                    </a:lnTo>
                    <a:lnTo>
                      <a:pt x="986790" y="250507"/>
                    </a:lnTo>
                    <a:lnTo>
                      <a:pt x="964882" y="236220"/>
                    </a:lnTo>
                    <a:lnTo>
                      <a:pt x="947738" y="232410"/>
                    </a:lnTo>
                    <a:lnTo>
                      <a:pt x="929640" y="228600"/>
                    </a:lnTo>
                    <a:lnTo>
                      <a:pt x="908685" y="228600"/>
                    </a:lnTo>
                    <a:lnTo>
                      <a:pt x="891540" y="225647"/>
                    </a:lnTo>
                    <a:lnTo>
                      <a:pt x="873443" y="218122"/>
                    </a:lnTo>
                    <a:lnTo>
                      <a:pt x="860107" y="215170"/>
                    </a:lnTo>
                    <a:lnTo>
                      <a:pt x="848678" y="218122"/>
                    </a:lnTo>
                    <a:lnTo>
                      <a:pt x="838200" y="221932"/>
                    </a:lnTo>
                    <a:lnTo>
                      <a:pt x="824865" y="236220"/>
                    </a:lnTo>
                    <a:lnTo>
                      <a:pt x="821055" y="236220"/>
                    </a:lnTo>
                    <a:lnTo>
                      <a:pt x="824865" y="221932"/>
                    </a:lnTo>
                    <a:lnTo>
                      <a:pt x="831532" y="211360"/>
                    </a:lnTo>
                    <a:lnTo>
                      <a:pt x="831532" y="200882"/>
                    </a:lnTo>
                    <a:lnTo>
                      <a:pt x="813435" y="193357"/>
                    </a:lnTo>
                    <a:lnTo>
                      <a:pt x="789622" y="182785"/>
                    </a:lnTo>
                    <a:lnTo>
                      <a:pt x="775335" y="172307"/>
                    </a:lnTo>
                    <a:lnTo>
                      <a:pt x="750570" y="165735"/>
                    </a:lnTo>
                    <a:lnTo>
                      <a:pt x="740093" y="161925"/>
                    </a:lnTo>
                    <a:lnTo>
                      <a:pt x="729615" y="165735"/>
                    </a:lnTo>
                    <a:lnTo>
                      <a:pt x="721995" y="172307"/>
                    </a:lnTo>
                    <a:lnTo>
                      <a:pt x="719138" y="182785"/>
                    </a:lnTo>
                    <a:lnTo>
                      <a:pt x="715328" y="190500"/>
                    </a:lnTo>
                    <a:lnTo>
                      <a:pt x="711518" y="190500"/>
                    </a:lnTo>
                    <a:lnTo>
                      <a:pt x="697230" y="204788"/>
                    </a:lnTo>
                    <a:lnTo>
                      <a:pt x="690563" y="204788"/>
                    </a:lnTo>
                    <a:lnTo>
                      <a:pt x="690563" y="190500"/>
                    </a:lnTo>
                    <a:lnTo>
                      <a:pt x="701040" y="180022"/>
                    </a:lnTo>
                    <a:lnTo>
                      <a:pt x="708660" y="172307"/>
                    </a:lnTo>
                    <a:lnTo>
                      <a:pt x="711518" y="161925"/>
                    </a:lnTo>
                    <a:lnTo>
                      <a:pt x="711518" y="155257"/>
                    </a:lnTo>
                    <a:lnTo>
                      <a:pt x="704850" y="147638"/>
                    </a:lnTo>
                    <a:lnTo>
                      <a:pt x="690563" y="144685"/>
                    </a:lnTo>
                    <a:lnTo>
                      <a:pt x="683895" y="137160"/>
                    </a:lnTo>
                    <a:lnTo>
                      <a:pt x="669607" y="137160"/>
                    </a:lnTo>
                    <a:lnTo>
                      <a:pt x="655320" y="144685"/>
                    </a:lnTo>
                    <a:lnTo>
                      <a:pt x="655320" y="161925"/>
                    </a:lnTo>
                    <a:lnTo>
                      <a:pt x="648653" y="172307"/>
                    </a:lnTo>
                    <a:lnTo>
                      <a:pt x="638175" y="176213"/>
                    </a:lnTo>
                    <a:lnTo>
                      <a:pt x="634365" y="169545"/>
                    </a:lnTo>
                    <a:lnTo>
                      <a:pt x="634365" y="155257"/>
                    </a:lnTo>
                    <a:lnTo>
                      <a:pt x="638175" y="147638"/>
                    </a:lnTo>
                    <a:lnTo>
                      <a:pt x="651510" y="133350"/>
                    </a:lnTo>
                    <a:lnTo>
                      <a:pt x="665797" y="122872"/>
                    </a:lnTo>
                    <a:lnTo>
                      <a:pt x="673418" y="119920"/>
                    </a:lnTo>
                    <a:lnTo>
                      <a:pt x="673418" y="105632"/>
                    </a:lnTo>
                    <a:lnTo>
                      <a:pt x="661988" y="95250"/>
                    </a:lnTo>
                    <a:lnTo>
                      <a:pt x="648653" y="77057"/>
                    </a:lnTo>
                    <a:lnTo>
                      <a:pt x="644843" y="62770"/>
                    </a:lnTo>
                    <a:lnTo>
                      <a:pt x="641032" y="49435"/>
                    </a:lnTo>
                    <a:lnTo>
                      <a:pt x="644843" y="41910"/>
                    </a:lnTo>
                    <a:lnTo>
                      <a:pt x="638175" y="35147"/>
                    </a:lnTo>
                    <a:lnTo>
                      <a:pt x="626745" y="31432"/>
                    </a:lnTo>
                    <a:lnTo>
                      <a:pt x="616268" y="41910"/>
                    </a:lnTo>
                    <a:lnTo>
                      <a:pt x="595313" y="91345"/>
                    </a:lnTo>
                    <a:lnTo>
                      <a:pt x="584835" y="84772"/>
                    </a:lnTo>
                    <a:lnTo>
                      <a:pt x="567690" y="80963"/>
                    </a:lnTo>
                    <a:lnTo>
                      <a:pt x="557213" y="87535"/>
                    </a:lnTo>
                    <a:lnTo>
                      <a:pt x="545782" y="87535"/>
                    </a:lnTo>
                    <a:lnTo>
                      <a:pt x="528638" y="80963"/>
                    </a:lnTo>
                    <a:lnTo>
                      <a:pt x="510540" y="77057"/>
                    </a:lnTo>
                    <a:lnTo>
                      <a:pt x="503872" y="77057"/>
                    </a:lnTo>
                    <a:lnTo>
                      <a:pt x="503872" y="84772"/>
                    </a:lnTo>
                    <a:lnTo>
                      <a:pt x="500063" y="95250"/>
                    </a:lnTo>
                    <a:lnTo>
                      <a:pt x="497205" y="95250"/>
                    </a:lnTo>
                    <a:lnTo>
                      <a:pt x="486728" y="95250"/>
                    </a:lnTo>
                    <a:lnTo>
                      <a:pt x="479107" y="87535"/>
                    </a:lnTo>
                    <a:lnTo>
                      <a:pt x="472440" y="95250"/>
                    </a:lnTo>
                    <a:lnTo>
                      <a:pt x="458153" y="101822"/>
                    </a:lnTo>
                    <a:lnTo>
                      <a:pt x="447675" y="109538"/>
                    </a:lnTo>
                    <a:lnTo>
                      <a:pt x="429578" y="112395"/>
                    </a:lnTo>
                    <a:lnTo>
                      <a:pt x="416243" y="112395"/>
                    </a:lnTo>
                    <a:lnTo>
                      <a:pt x="401955" y="98107"/>
                    </a:lnTo>
                    <a:lnTo>
                      <a:pt x="391478" y="84772"/>
                    </a:lnTo>
                    <a:lnTo>
                      <a:pt x="391478" y="49435"/>
                    </a:lnTo>
                    <a:lnTo>
                      <a:pt x="401955" y="38957"/>
                    </a:lnTo>
                    <a:lnTo>
                      <a:pt x="387668" y="0"/>
                    </a:lnTo>
                    <a:lnTo>
                      <a:pt x="366713" y="0"/>
                    </a:lnTo>
                    <a:lnTo>
                      <a:pt x="370522" y="6572"/>
                    </a:lnTo>
                    <a:lnTo>
                      <a:pt x="362903" y="24670"/>
                    </a:lnTo>
                    <a:lnTo>
                      <a:pt x="341947" y="31432"/>
                    </a:lnTo>
                    <a:lnTo>
                      <a:pt x="324803" y="35147"/>
                    </a:lnTo>
                    <a:lnTo>
                      <a:pt x="313372" y="41910"/>
                    </a:lnTo>
                    <a:lnTo>
                      <a:pt x="306705" y="38957"/>
                    </a:lnTo>
                    <a:lnTo>
                      <a:pt x="285750" y="38957"/>
                    </a:lnTo>
                    <a:lnTo>
                      <a:pt x="271463" y="31432"/>
                    </a:lnTo>
                    <a:lnTo>
                      <a:pt x="260985" y="35147"/>
                    </a:lnTo>
                    <a:lnTo>
                      <a:pt x="271463" y="45720"/>
                    </a:lnTo>
                    <a:lnTo>
                      <a:pt x="275272" y="62770"/>
                    </a:lnTo>
                    <a:lnTo>
                      <a:pt x="285750" y="77057"/>
                    </a:lnTo>
                    <a:lnTo>
                      <a:pt x="296228" y="77057"/>
                    </a:lnTo>
                    <a:lnTo>
                      <a:pt x="296228" y="91345"/>
                    </a:lnTo>
                    <a:lnTo>
                      <a:pt x="275272" y="98107"/>
                    </a:lnTo>
                    <a:lnTo>
                      <a:pt x="264795" y="109538"/>
                    </a:lnTo>
                    <a:lnTo>
                      <a:pt x="254318" y="119920"/>
                    </a:lnTo>
                    <a:lnTo>
                      <a:pt x="229553" y="126682"/>
                    </a:lnTo>
                    <a:lnTo>
                      <a:pt x="211455" y="122872"/>
                    </a:lnTo>
                    <a:lnTo>
                      <a:pt x="197168" y="109538"/>
                    </a:lnTo>
                    <a:lnTo>
                      <a:pt x="190500" y="98107"/>
                    </a:lnTo>
                    <a:lnTo>
                      <a:pt x="180022" y="95250"/>
                    </a:lnTo>
                    <a:lnTo>
                      <a:pt x="161925" y="98107"/>
                    </a:lnTo>
                    <a:lnTo>
                      <a:pt x="113347" y="101822"/>
                    </a:lnTo>
                    <a:lnTo>
                      <a:pt x="113347" y="112395"/>
                    </a:lnTo>
                    <a:lnTo>
                      <a:pt x="134303" y="119920"/>
                    </a:lnTo>
                    <a:lnTo>
                      <a:pt x="134303" y="130397"/>
                    </a:lnTo>
                    <a:lnTo>
                      <a:pt x="116205" y="126682"/>
                    </a:lnTo>
                    <a:lnTo>
                      <a:pt x="113347" y="130397"/>
                    </a:lnTo>
                    <a:lnTo>
                      <a:pt x="113347" y="151447"/>
                    </a:lnTo>
                    <a:lnTo>
                      <a:pt x="123825" y="165735"/>
                    </a:lnTo>
                    <a:lnTo>
                      <a:pt x="126682" y="186595"/>
                    </a:lnTo>
                    <a:lnTo>
                      <a:pt x="123825" y="211360"/>
                    </a:lnTo>
                    <a:lnTo>
                      <a:pt x="120015" y="221932"/>
                    </a:lnTo>
                    <a:lnTo>
                      <a:pt x="120015" y="242888"/>
                    </a:lnTo>
                    <a:lnTo>
                      <a:pt x="109538" y="267557"/>
                    </a:lnTo>
                    <a:lnTo>
                      <a:pt x="70485" y="271463"/>
                    </a:lnTo>
                    <a:lnTo>
                      <a:pt x="45720" y="281845"/>
                    </a:lnTo>
                    <a:lnTo>
                      <a:pt x="28575" y="302895"/>
                    </a:lnTo>
                    <a:lnTo>
                      <a:pt x="24765" y="320897"/>
                    </a:lnTo>
                    <a:lnTo>
                      <a:pt x="14288" y="331470"/>
                    </a:lnTo>
                    <a:lnTo>
                      <a:pt x="0" y="352425"/>
                    </a:lnTo>
                    <a:lnTo>
                      <a:pt x="14288" y="391382"/>
                    </a:lnTo>
                    <a:lnTo>
                      <a:pt x="32385" y="408622"/>
                    </a:lnTo>
                    <a:lnTo>
                      <a:pt x="49530" y="426720"/>
                    </a:lnTo>
                    <a:lnTo>
                      <a:pt x="63818" y="429482"/>
                    </a:lnTo>
                    <a:lnTo>
                      <a:pt x="67628" y="426720"/>
                    </a:lnTo>
                    <a:lnTo>
                      <a:pt x="84772" y="419100"/>
                    </a:lnTo>
                    <a:lnTo>
                      <a:pt x="95250" y="408622"/>
                    </a:lnTo>
                    <a:lnTo>
                      <a:pt x="99060" y="419100"/>
                    </a:lnTo>
                    <a:lnTo>
                      <a:pt x="91440" y="441007"/>
                    </a:lnTo>
                    <a:lnTo>
                      <a:pt x="95250" y="451485"/>
                    </a:lnTo>
                    <a:lnTo>
                      <a:pt x="105728" y="451485"/>
                    </a:lnTo>
                    <a:lnTo>
                      <a:pt x="126682" y="454247"/>
                    </a:lnTo>
                    <a:lnTo>
                      <a:pt x="161925" y="451485"/>
                    </a:lnTo>
                    <a:lnTo>
                      <a:pt x="186690" y="441007"/>
                    </a:lnTo>
                    <a:lnTo>
                      <a:pt x="200978" y="429482"/>
                    </a:lnTo>
                    <a:lnTo>
                      <a:pt x="204788" y="429482"/>
                    </a:lnTo>
                    <a:lnTo>
                      <a:pt x="221932" y="422910"/>
                    </a:lnTo>
                    <a:lnTo>
                      <a:pt x="242888" y="422910"/>
                    </a:lnTo>
                    <a:lnTo>
                      <a:pt x="246697" y="472345"/>
                    </a:lnTo>
                    <a:lnTo>
                      <a:pt x="267653" y="493395"/>
                    </a:lnTo>
                    <a:lnTo>
                      <a:pt x="285750" y="497110"/>
                    </a:lnTo>
                    <a:lnTo>
                      <a:pt x="302895" y="500920"/>
                    </a:lnTo>
                    <a:lnTo>
                      <a:pt x="310515" y="511397"/>
                    </a:lnTo>
                    <a:lnTo>
                      <a:pt x="324803" y="514350"/>
                    </a:lnTo>
                    <a:lnTo>
                      <a:pt x="345757" y="524732"/>
                    </a:lnTo>
                    <a:lnTo>
                      <a:pt x="377190" y="532447"/>
                    </a:lnTo>
                    <a:lnTo>
                      <a:pt x="383857" y="553307"/>
                    </a:lnTo>
                    <a:lnTo>
                      <a:pt x="387668" y="567595"/>
                    </a:lnTo>
                    <a:lnTo>
                      <a:pt x="383857" y="574357"/>
                    </a:lnTo>
                    <a:lnTo>
                      <a:pt x="383857" y="581882"/>
                    </a:lnTo>
                    <a:lnTo>
                      <a:pt x="387668" y="602932"/>
                    </a:lnTo>
                    <a:lnTo>
                      <a:pt x="437197" y="602932"/>
                    </a:lnTo>
                    <a:lnTo>
                      <a:pt x="433388" y="617220"/>
                    </a:lnTo>
                    <a:lnTo>
                      <a:pt x="437197" y="638175"/>
                    </a:lnTo>
                    <a:lnTo>
                      <a:pt x="454343" y="644747"/>
                    </a:lnTo>
                    <a:lnTo>
                      <a:pt x="458153" y="662845"/>
                    </a:lnTo>
                    <a:lnTo>
                      <a:pt x="458153" y="673322"/>
                    </a:lnTo>
                    <a:lnTo>
                      <a:pt x="443865" y="698182"/>
                    </a:lnTo>
                    <a:lnTo>
                      <a:pt x="451485" y="708660"/>
                    </a:lnTo>
                    <a:lnTo>
                      <a:pt x="443865" y="715232"/>
                    </a:lnTo>
                    <a:lnTo>
                      <a:pt x="451485" y="729520"/>
                    </a:lnTo>
                    <a:lnTo>
                      <a:pt x="451485" y="779145"/>
                    </a:lnTo>
                    <a:lnTo>
                      <a:pt x="468630" y="779145"/>
                    </a:lnTo>
                    <a:lnTo>
                      <a:pt x="482918" y="775335"/>
                    </a:lnTo>
                    <a:lnTo>
                      <a:pt x="500063" y="779145"/>
                    </a:lnTo>
                    <a:lnTo>
                      <a:pt x="510540" y="785813"/>
                    </a:lnTo>
                    <a:lnTo>
                      <a:pt x="507682" y="803910"/>
                    </a:lnTo>
                    <a:lnTo>
                      <a:pt x="514350" y="820960"/>
                    </a:lnTo>
                    <a:lnTo>
                      <a:pt x="528638" y="835247"/>
                    </a:lnTo>
                    <a:lnTo>
                      <a:pt x="542925" y="832485"/>
                    </a:lnTo>
                    <a:lnTo>
                      <a:pt x="553403" y="835247"/>
                    </a:lnTo>
                    <a:lnTo>
                      <a:pt x="549593" y="849535"/>
                    </a:lnTo>
                    <a:lnTo>
                      <a:pt x="542925" y="863822"/>
                    </a:lnTo>
                    <a:lnTo>
                      <a:pt x="542925" y="874395"/>
                    </a:lnTo>
                    <a:lnTo>
                      <a:pt x="560070" y="878110"/>
                    </a:lnTo>
                    <a:lnTo>
                      <a:pt x="567690" y="884872"/>
                    </a:lnTo>
                    <a:lnTo>
                      <a:pt x="570547" y="902970"/>
                    </a:lnTo>
                    <a:lnTo>
                      <a:pt x="563880" y="923925"/>
                    </a:lnTo>
                    <a:lnTo>
                      <a:pt x="557213" y="934307"/>
                    </a:lnTo>
                    <a:lnTo>
                      <a:pt x="542925" y="941070"/>
                    </a:lnTo>
                    <a:lnTo>
                      <a:pt x="528638" y="951547"/>
                    </a:lnTo>
                    <a:lnTo>
                      <a:pt x="486728" y="994410"/>
                    </a:lnTo>
                    <a:lnTo>
                      <a:pt x="476250" y="1000982"/>
                    </a:lnTo>
                    <a:lnTo>
                      <a:pt x="472440" y="1008697"/>
                    </a:lnTo>
                    <a:lnTo>
                      <a:pt x="489585" y="1022032"/>
                    </a:lnTo>
                    <a:lnTo>
                      <a:pt x="503872" y="1040035"/>
                    </a:lnTo>
                    <a:lnTo>
                      <a:pt x="518160" y="1043845"/>
                    </a:lnTo>
                    <a:lnTo>
                      <a:pt x="542925" y="1057275"/>
                    </a:lnTo>
                    <a:lnTo>
                      <a:pt x="563880" y="1075373"/>
                    </a:lnTo>
                    <a:lnTo>
                      <a:pt x="574357" y="1081945"/>
                    </a:lnTo>
                    <a:lnTo>
                      <a:pt x="581025" y="1096232"/>
                    </a:lnTo>
                    <a:lnTo>
                      <a:pt x="578168" y="1106710"/>
                    </a:lnTo>
                    <a:lnTo>
                      <a:pt x="578168" y="1117282"/>
                    </a:lnTo>
                    <a:lnTo>
                      <a:pt x="584835" y="1124807"/>
                    </a:lnTo>
                    <a:lnTo>
                      <a:pt x="592455" y="1110520"/>
                    </a:lnTo>
                    <a:lnTo>
                      <a:pt x="602932" y="1096232"/>
                    </a:lnTo>
                    <a:lnTo>
                      <a:pt x="605790" y="1089660"/>
                    </a:lnTo>
                    <a:lnTo>
                      <a:pt x="609600" y="1079182"/>
                    </a:lnTo>
                    <a:lnTo>
                      <a:pt x="613410" y="1068610"/>
                    </a:lnTo>
                    <a:lnTo>
                      <a:pt x="613410" y="1057275"/>
                    </a:lnTo>
                    <a:lnTo>
                      <a:pt x="620078" y="1050607"/>
                    </a:lnTo>
                    <a:lnTo>
                      <a:pt x="626745" y="1043845"/>
                    </a:lnTo>
                    <a:lnTo>
                      <a:pt x="634365" y="1033463"/>
                    </a:lnTo>
                    <a:lnTo>
                      <a:pt x="641032" y="1025747"/>
                    </a:lnTo>
                    <a:lnTo>
                      <a:pt x="648653" y="1022032"/>
                    </a:lnTo>
                    <a:lnTo>
                      <a:pt x="651510" y="1029557"/>
                    </a:lnTo>
                    <a:lnTo>
                      <a:pt x="644843" y="1040035"/>
                    </a:lnTo>
                    <a:lnTo>
                      <a:pt x="634365" y="1050607"/>
                    </a:lnTo>
                    <a:lnTo>
                      <a:pt x="626745" y="1057275"/>
                    </a:lnTo>
                    <a:lnTo>
                      <a:pt x="620078" y="1064895"/>
                    </a:lnTo>
                    <a:lnTo>
                      <a:pt x="620078" y="1068610"/>
                    </a:lnTo>
                    <a:lnTo>
                      <a:pt x="620078" y="1075373"/>
                    </a:lnTo>
                    <a:lnTo>
                      <a:pt x="634365" y="1064895"/>
                    </a:lnTo>
                    <a:lnTo>
                      <a:pt x="644843" y="1057275"/>
                    </a:lnTo>
                    <a:lnTo>
                      <a:pt x="651510" y="1043845"/>
                    </a:lnTo>
                    <a:lnTo>
                      <a:pt x="659130" y="1036320"/>
                    </a:lnTo>
                    <a:lnTo>
                      <a:pt x="661988" y="1029557"/>
                    </a:lnTo>
                    <a:lnTo>
                      <a:pt x="669607" y="1011460"/>
                    </a:lnTo>
                    <a:lnTo>
                      <a:pt x="676275" y="998220"/>
                    </a:lnTo>
                    <a:lnTo>
                      <a:pt x="686753" y="986695"/>
                    </a:lnTo>
                    <a:lnTo>
                      <a:pt x="701040" y="969645"/>
                    </a:lnTo>
                    <a:lnTo>
                      <a:pt x="711518" y="955357"/>
                    </a:lnTo>
                    <a:lnTo>
                      <a:pt x="708660" y="926782"/>
                    </a:lnTo>
                    <a:lnTo>
                      <a:pt x="708660" y="909638"/>
                    </a:lnTo>
                    <a:lnTo>
                      <a:pt x="711518" y="884872"/>
                    </a:lnTo>
                    <a:lnTo>
                      <a:pt x="719138" y="870585"/>
                    </a:lnTo>
                    <a:lnTo>
                      <a:pt x="736282" y="853345"/>
                    </a:lnTo>
                    <a:lnTo>
                      <a:pt x="757238" y="845820"/>
                    </a:lnTo>
                    <a:lnTo>
                      <a:pt x="771525" y="832485"/>
                    </a:lnTo>
                    <a:lnTo>
                      <a:pt x="785813" y="832485"/>
                    </a:lnTo>
                    <a:lnTo>
                      <a:pt x="800100" y="824770"/>
                    </a:lnTo>
                    <a:lnTo>
                      <a:pt x="817245" y="807720"/>
                    </a:lnTo>
                    <a:lnTo>
                      <a:pt x="848678" y="803910"/>
                    </a:lnTo>
                    <a:lnTo>
                      <a:pt x="870585" y="803910"/>
                    </a:lnTo>
                    <a:lnTo>
                      <a:pt x="895350" y="796195"/>
                    </a:lnTo>
                    <a:lnTo>
                      <a:pt x="902018" y="785813"/>
                    </a:lnTo>
                    <a:lnTo>
                      <a:pt x="912495" y="775335"/>
                    </a:lnTo>
                    <a:lnTo>
                      <a:pt x="922972" y="764857"/>
                    </a:lnTo>
                    <a:lnTo>
                      <a:pt x="929640" y="739997"/>
                    </a:lnTo>
                    <a:lnTo>
                      <a:pt x="943928" y="719138"/>
                    </a:lnTo>
                    <a:lnTo>
                      <a:pt x="958215" y="690563"/>
                    </a:lnTo>
                    <a:lnTo>
                      <a:pt x="964882" y="662845"/>
                    </a:lnTo>
                    <a:lnTo>
                      <a:pt x="972503" y="644747"/>
                    </a:lnTo>
                    <a:lnTo>
                      <a:pt x="976313" y="617220"/>
                    </a:lnTo>
                    <a:lnTo>
                      <a:pt x="979170" y="595313"/>
                    </a:lnTo>
                    <a:lnTo>
                      <a:pt x="979170" y="567595"/>
                    </a:lnTo>
                    <a:lnTo>
                      <a:pt x="976313" y="546735"/>
                    </a:lnTo>
                    <a:lnTo>
                      <a:pt x="976313" y="532447"/>
                    </a:lnTo>
                    <a:lnTo>
                      <a:pt x="979170" y="518160"/>
                    </a:lnTo>
                    <a:lnTo>
                      <a:pt x="989647" y="511397"/>
                    </a:lnTo>
                    <a:lnTo>
                      <a:pt x="1003935" y="503872"/>
                    </a:lnTo>
                    <a:lnTo>
                      <a:pt x="1011555" y="497110"/>
                    </a:lnTo>
                    <a:lnTo>
                      <a:pt x="1018222" y="489585"/>
                    </a:lnTo>
                    <a:lnTo>
                      <a:pt x="1022032" y="479107"/>
                    </a:lnTo>
                    <a:lnTo>
                      <a:pt x="1022032" y="464820"/>
                    </a:lnTo>
                    <a:lnTo>
                      <a:pt x="1057275" y="433388"/>
                    </a:lnTo>
                    <a:lnTo>
                      <a:pt x="1070610" y="416147"/>
                    </a:lnTo>
                    <a:lnTo>
                      <a:pt x="1088707" y="394335"/>
                    </a:lnTo>
                    <a:lnTo>
                      <a:pt x="1092518" y="362807"/>
                    </a:lnTo>
                    <a:lnTo>
                      <a:pt x="1092518" y="334232"/>
                    </a:lnTo>
                    <a:lnTo>
                      <a:pt x="1081088" y="306610"/>
                    </a:lnTo>
                    <a:lnTo>
                      <a:pt x="1074420" y="28860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id="{62227778-B6BD-B7A0-83EF-07CA3F8FE71B}"/>
                  </a:ext>
                </a:extLst>
              </p:cNvPr>
              <p:cNvSpPr/>
              <p:nvPr/>
            </p:nvSpPr>
            <p:spPr>
              <a:xfrm>
                <a:off x="2136637" y="2130974"/>
                <a:ext cx="2330575" cy="1193215"/>
              </a:xfrm>
              <a:custGeom>
                <a:avLst/>
                <a:gdLst>
                  <a:gd name="connsiteX0" fmla="*/ 1271587 w 2377439"/>
                  <a:gd name="connsiteY0" fmla="*/ 959167 h 1217199"/>
                  <a:gd name="connsiteX1" fmla="*/ 1285875 w 2377439"/>
                  <a:gd name="connsiteY1" fmla="*/ 959167 h 1217199"/>
                  <a:gd name="connsiteX2" fmla="*/ 1288733 w 2377439"/>
                  <a:gd name="connsiteY2" fmla="*/ 973455 h 1217199"/>
                  <a:gd name="connsiteX3" fmla="*/ 1296353 w 2377439"/>
                  <a:gd name="connsiteY3" fmla="*/ 980980 h 1217199"/>
                  <a:gd name="connsiteX4" fmla="*/ 1317308 w 2377439"/>
                  <a:gd name="connsiteY4" fmla="*/ 987742 h 1217199"/>
                  <a:gd name="connsiteX5" fmla="*/ 1359218 w 2377439"/>
                  <a:gd name="connsiteY5" fmla="*/ 994410 h 1217199"/>
                  <a:gd name="connsiteX6" fmla="*/ 1383983 w 2377439"/>
                  <a:gd name="connsiteY6" fmla="*/ 1002030 h 1217199"/>
                  <a:gd name="connsiteX7" fmla="*/ 1404937 w 2377439"/>
                  <a:gd name="connsiteY7" fmla="*/ 1005840 h 1217199"/>
                  <a:gd name="connsiteX8" fmla="*/ 1415415 w 2377439"/>
                  <a:gd name="connsiteY8" fmla="*/ 1005840 h 1217199"/>
                  <a:gd name="connsiteX9" fmla="*/ 1425893 w 2377439"/>
                  <a:gd name="connsiteY9" fmla="*/ 1008698 h 1217199"/>
                  <a:gd name="connsiteX10" fmla="*/ 1440180 w 2377439"/>
                  <a:gd name="connsiteY10" fmla="*/ 998125 h 1217199"/>
                  <a:gd name="connsiteX11" fmla="*/ 1458278 w 2377439"/>
                  <a:gd name="connsiteY11" fmla="*/ 987742 h 1217199"/>
                  <a:gd name="connsiteX12" fmla="*/ 1472565 w 2377439"/>
                  <a:gd name="connsiteY12" fmla="*/ 977265 h 1217199"/>
                  <a:gd name="connsiteX13" fmla="*/ 1485900 w 2377439"/>
                  <a:gd name="connsiteY13" fmla="*/ 977265 h 1217199"/>
                  <a:gd name="connsiteX14" fmla="*/ 1503998 w 2377439"/>
                  <a:gd name="connsiteY14" fmla="*/ 983837 h 1217199"/>
                  <a:gd name="connsiteX15" fmla="*/ 1521143 w 2377439"/>
                  <a:gd name="connsiteY15" fmla="*/ 983837 h 1217199"/>
                  <a:gd name="connsiteX16" fmla="*/ 1531620 w 2377439"/>
                  <a:gd name="connsiteY16" fmla="*/ 998125 h 1217199"/>
                  <a:gd name="connsiteX17" fmla="*/ 1539240 w 2377439"/>
                  <a:gd name="connsiteY17" fmla="*/ 1012412 h 1217199"/>
                  <a:gd name="connsiteX18" fmla="*/ 1560195 w 2377439"/>
                  <a:gd name="connsiteY18" fmla="*/ 1012412 h 1217199"/>
                  <a:gd name="connsiteX19" fmla="*/ 1564005 w 2377439"/>
                  <a:gd name="connsiteY19" fmla="*/ 1019080 h 1217199"/>
                  <a:gd name="connsiteX20" fmla="*/ 1570673 w 2377439"/>
                  <a:gd name="connsiteY20" fmla="*/ 1040987 h 1217199"/>
                  <a:gd name="connsiteX21" fmla="*/ 1577340 w 2377439"/>
                  <a:gd name="connsiteY21" fmla="*/ 1058228 h 1217199"/>
                  <a:gd name="connsiteX22" fmla="*/ 1588770 w 2377439"/>
                  <a:gd name="connsiteY22" fmla="*/ 1068705 h 1217199"/>
                  <a:gd name="connsiteX23" fmla="*/ 1609725 w 2377439"/>
                  <a:gd name="connsiteY23" fmla="*/ 1072515 h 1217199"/>
                  <a:gd name="connsiteX24" fmla="*/ 1637348 w 2377439"/>
                  <a:gd name="connsiteY24" fmla="*/ 1072515 h 1217199"/>
                  <a:gd name="connsiteX25" fmla="*/ 1659255 w 2377439"/>
                  <a:gd name="connsiteY25" fmla="*/ 1076230 h 1217199"/>
                  <a:gd name="connsiteX26" fmla="*/ 1680210 w 2377439"/>
                  <a:gd name="connsiteY26" fmla="*/ 1082992 h 1217199"/>
                  <a:gd name="connsiteX27" fmla="*/ 1693545 w 2377439"/>
                  <a:gd name="connsiteY27" fmla="*/ 1097280 h 1217199"/>
                  <a:gd name="connsiteX28" fmla="*/ 1704975 w 2377439"/>
                  <a:gd name="connsiteY28" fmla="*/ 1114330 h 1217199"/>
                  <a:gd name="connsiteX29" fmla="*/ 1701165 w 2377439"/>
                  <a:gd name="connsiteY29" fmla="*/ 1128617 h 1217199"/>
                  <a:gd name="connsiteX30" fmla="*/ 1686878 w 2377439"/>
                  <a:gd name="connsiteY30" fmla="*/ 1132523 h 1217199"/>
                  <a:gd name="connsiteX31" fmla="*/ 1676400 w 2377439"/>
                  <a:gd name="connsiteY31" fmla="*/ 1121950 h 1217199"/>
                  <a:gd name="connsiteX32" fmla="*/ 1669733 w 2377439"/>
                  <a:gd name="connsiteY32" fmla="*/ 1121950 h 1217199"/>
                  <a:gd name="connsiteX33" fmla="*/ 1665923 w 2377439"/>
                  <a:gd name="connsiteY33" fmla="*/ 1132523 h 1217199"/>
                  <a:gd name="connsiteX34" fmla="*/ 1655445 w 2377439"/>
                  <a:gd name="connsiteY34" fmla="*/ 1142905 h 1217199"/>
                  <a:gd name="connsiteX35" fmla="*/ 1651635 w 2377439"/>
                  <a:gd name="connsiteY35" fmla="*/ 1157192 h 1217199"/>
                  <a:gd name="connsiteX36" fmla="*/ 1647825 w 2377439"/>
                  <a:gd name="connsiteY36" fmla="*/ 1174337 h 1217199"/>
                  <a:gd name="connsiteX37" fmla="*/ 1634490 w 2377439"/>
                  <a:gd name="connsiteY37" fmla="*/ 1178242 h 1217199"/>
                  <a:gd name="connsiteX38" fmla="*/ 1624012 w 2377439"/>
                  <a:gd name="connsiteY38" fmla="*/ 1182053 h 1217199"/>
                  <a:gd name="connsiteX39" fmla="*/ 1624012 w 2377439"/>
                  <a:gd name="connsiteY39" fmla="*/ 1196340 h 1217199"/>
                  <a:gd name="connsiteX40" fmla="*/ 1620203 w 2377439"/>
                  <a:gd name="connsiteY40" fmla="*/ 1199198 h 1217199"/>
                  <a:gd name="connsiteX41" fmla="*/ 1620203 w 2377439"/>
                  <a:gd name="connsiteY41" fmla="*/ 1213485 h 1217199"/>
                  <a:gd name="connsiteX42" fmla="*/ 1626870 w 2377439"/>
                  <a:gd name="connsiteY42" fmla="*/ 1217200 h 1217199"/>
                  <a:gd name="connsiteX43" fmla="*/ 1641158 w 2377439"/>
                  <a:gd name="connsiteY43" fmla="*/ 1209580 h 1217199"/>
                  <a:gd name="connsiteX44" fmla="*/ 1655445 w 2377439"/>
                  <a:gd name="connsiteY44" fmla="*/ 1199198 h 1217199"/>
                  <a:gd name="connsiteX45" fmla="*/ 1669733 w 2377439"/>
                  <a:gd name="connsiteY45" fmla="*/ 1196340 h 1217199"/>
                  <a:gd name="connsiteX46" fmla="*/ 1697355 w 2377439"/>
                  <a:gd name="connsiteY46" fmla="*/ 1188625 h 1217199"/>
                  <a:gd name="connsiteX47" fmla="*/ 1727835 w 2377439"/>
                  <a:gd name="connsiteY47" fmla="*/ 1185767 h 1217199"/>
                  <a:gd name="connsiteX48" fmla="*/ 1725930 w 2377439"/>
                  <a:gd name="connsiteY48" fmla="*/ 1178242 h 1217199"/>
                  <a:gd name="connsiteX49" fmla="*/ 1728788 w 2377439"/>
                  <a:gd name="connsiteY49" fmla="*/ 1171480 h 1217199"/>
                  <a:gd name="connsiteX50" fmla="*/ 1715452 w 2377439"/>
                  <a:gd name="connsiteY50" fmla="*/ 1171480 h 1217199"/>
                  <a:gd name="connsiteX51" fmla="*/ 1711642 w 2377439"/>
                  <a:gd name="connsiteY51" fmla="*/ 1163955 h 1217199"/>
                  <a:gd name="connsiteX52" fmla="*/ 1725930 w 2377439"/>
                  <a:gd name="connsiteY52" fmla="*/ 1157192 h 1217199"/>
                  <a:gd name="connsiteX53" fmla="*/ 1736408 w 2377439"/>
                  <a:gd name="connsiteY53" fmla="*/ 1149667 h 1217199"/>
                  <a:gd name="connsiteX54" fmla="*/ 1764030 w 2377439"/>
                  <a:gd name="connsiteY54" fmla="*/ 1149667 h 1217199"/>
                  <a:gd name="connsiteX55" fmla="*/ 1785938 w 2377439"/>
                  <a:gd name="connsiteY55" fmla="*/ 1149667 h 1217199"/>
                  <a:gd name="connsiteX56" fmla="*/ 1796415 w 2377439"/>
                  <a:gd name="connsiteY56" fmla="*/ 1142905 h 1217199"/>
                  <a:gd name="connsiteX57" fmla="*/ 1806892 w 2377439"/>
                  <a:gd name="connsiteY57" fmla="*/ 1136237 h 1217199"/>
                  <a:gd name="connsiteX58" fmla="*/ 1821180 w 2377439"/>
                  <a:gd name="connsiteY58" fmla="*/ 1124903 h 1217199"/>
                  <a:gd name="connsiteX59" fmla="*/ 1834515 w 2377439"/>
                  <a:gd name="connsiteY59" fmla="*/ 1114330 h 1217199"/>
                  <a:gd name="connsiteX60" fmla="*/ 1937385 w 2377439"/>
                  <a:gd name="connsiteY60" fmla="*/ 1114330 h 1217199"/>
                  <a:gd name="connsiteX61" fmla="*/ 1958340 w 2377439"/>
                  <a:gd name="connsiteY61" fmla="*/ 1103948 h 1217199"/>
                  <a:gd name="connsiteX62" fmla="*/ 1968817 w 2377439"/>
                  <a:gd name="connsiteY62" fmla="*/ 1089660 h 1217199"/>
                  <a:gd name="connsiteX63" fmla="*/ 1968817 w 2377439"/>
                  <a:gd name="connsiteY63" fmla="*/ 1079087 h 1217199"/>
                  <a:gd name="connsiteX64" fmla="*/ 1975485 w 2377439"/>
                  <a:gd name="connsiteY64" fmla="*/ 1061942 h 1217199"/>
                  <a:gd name="connsiteX65" fmla="*/ 1989773 w 2377439"/>
                  <a:gd name="connsiteY65" fmla="*/ 1037273 h 1217199"/>
                  <a:gd name="connsiteX66" fmla="*/ 2004060 w 2377439"/>
                  <a:gd name="connsiteY66" fmla="*/ 1022985 h 1217199"/>
                  <a:gd name="connsiteX67" fmla="*/ 2018348 w 2377439"/>
                  <a:gd name="connsiteY67" fmla="*/ 1030605 h 1217199"/>
                  <a:gd name="connsiteX68" fmla="*/ 2043113 w 2377439"/>
                  <a:gd name="connsiteY68" fmla="*/ 1037273 h 1217199"/>
                  <a:gd name="connsiteX69" fmla="*/ 2045970 w 2377439"/>
                  <a:gd name="connsiteY69" fmla="*/ 1051560 h 1217199"/>
                  <a:gd name="connsiteX70" fmla="*/ 2043113 w 2377439"/>
                  <a:gd name="connsiteY70" fmla="*/ 1079087 h 1217199"/>
                  <a:gd name="connsiteX71" fmla="*/ 2045970 w 2377439"/>
                  <a:gd name="connsiteY71" fmla="*/ 1093375 h 1217199"/>
                  <a:gd name="connsiteX72" fmla="*/ 2056448 w 2377439"/>
                  <a:gd name="connsiteY72" fmla="*/ 1103948 h 1217199"/>
                  <a:gd name="connsiteX73" fmla="*/ 2064067 w 2377439"/>
                  <a:gd name="connsiteY73" fmla="*/ 1114330 h 1217199"/>
                  <a:gd name="connsiteX74" fmla="*/ 2091690 w 2377439"/>
                  <a:gd name="connsiteY74" fmla="*/ 1107662 h 1217199"/>
                  <a:gd name="connsiteX75" fmla="*/ 2109788 w 2377439"/>
                  <a:gd name="connsiteY75" fmla="*/ 1101090 h 1217199"/>
                  <a:gd name="connsiteX76" fmla="*/ 2130743 w 2377439"/>
                  <a:gd name="connsiteY76" fmla="*/ 1089660 h 1217199"/>
                  <a:gd name="connsiteX77" fmla="*/ 2137410 w 2377439"/>
                  <a:gd name="connsiteY77" fmla="*/ 1093375 h 1217199"/>
                  <a:gd name="connsiteX78" fmla="*/ 2141220 w 2377439"/>
                  <a:gd name="connsiteY78" fmla="*/ 1101090 h 1217199"/>
                  <a:gd name="connsiteX79" fmla="*/ 2141220 w 2377439"/>
                  <a:gd name="connsiteY79" fmla="*/ 1103948 h 1217199"/>
                  <a:gd name="connsiteX80" fmla="*/ 2137410 w 2377439"/>
                  <a:gd name="connsiteY80" fmla="*/ 1107662 h 1217199"/>
                  <a:gd name="connsiteX81" fmla="*/ 2116455 w 2377439"/>
                  <a:gd name="connsiteY81" fmla="*/ 1114330 h 1217199"/>
                  <a:gd name="connsiteX82" fmla="*/ 2095500 w 2377439"/>
                  <a:gd name="connsiteY82" fmla="*/ 1128617 h 1217199"/>
                  <a:gd name="connsiteX83" fmla="*/ 2088833 w 2377439"/>
                  <a:gd name="connsiteY83" fmla="*/ 1142905 h 1217199"/>
                  <a:gd name="connsiteX84" fmla="*/ 2091690 w 2377439"/>
                  <a:gd name="connsiteY84" fmla="*/ 1157192 h 1217199"/>
                  <a:gd name="connsiteX85" fmla="*/ 2109788 w 2377439"/>
                  <a:gd name="connsiteY85" fmla="*/ 1167765 h 1217199"/>
                  <a:gd name="connsiteX86" fmla="*/ 2120265 w 2377439"/>
                  <a:gd name="connsiteY86" fmla="*/ 1157192 h 1217199"/>
                  <a:gd name="connsiteX87" fmla="*/ 2134552 w 2377439"/>
                  <a:gd name="connsiteY87" fmla="*/ 1142905 h 1217199"/>
                  <a:gd name="connsiteX88" fmla="*/ 2147888 w 2377439"/>
                  <a:gd name="connsiteY88" fmla="*/ 1128617 h 1217199"/>
                  <a:gd name="connsiteX89" fmla="*/ 2165985 w 2377439"/>
                  <a:gd name="connsiteY89" fmla="*/ 1128617 h 1217199"/>
                  <a:gd name="connsiteX90" fmla="*/ 2194560 w 2377439"/>
                  <a:gd name="connsiteY90" fmla="*/ 1118235 h 1217199"/>
                  <a:gd name="connsiteX91" fmla="*/ 2215515 w 2377439"/>
                  <a:gd name="connsiteY91" fmla="*/ 1111567 h 1217199"/>
                  <a:gd name="connsiteX92" fmla="*/ 2222183 w 2377439"/>
                  <a:gd name="connsiteY92" fmla="*/ 1103948 h 1217199"/>
                  <a:gd name="connsiteX93" fmla="*/ 2232660 w 2377439"/>
                  <a:gd name="connsiteY93" fmla="*/ 1086803 h 1217199"/>
                  <a:gd name="connsiteX94" fmla="*/ 2243138 w 2377439"/>
                  <a:gd name="connsiteY94" fmla="*/ 1086803 h 1217199"/>
                  <a:gd name="connsiteX95" fmla="*/ 2261235 w 2377439"/>
                  <a:gd name="connsiteY95" fmla="*/ 1086803 h 1217199"/>
                  <a:gd name="connsiteX96" fmla="*/ 2261235 w 2377439"/>
                  <a:gd name="connsiteY96" fmla="*/ 1072515 h 1217199"/>
                  <a:gd name="connsiteX97" fmla="*/ 2250758 w 2377439"/>
                  <a:gd name="connsiteY97" fmla="*/ 1065848 h 1217199"/>
                  <a:gd name="connsiteX98" fmla="*/ 2250758 w 2377439"/>
                  <a:gd name="connsiteY98" fmla="*/ 1051560 h 1217199"/>
                  <a:gd name="connsiteX99" fmla="*/ 2236470 w 2377439"/>
                  <a:gd name="connsiteY99" fmla="*/ 1051560 h 1217199"/>
                  <a:gd name="connsiteX100" fmla="*/ 2229802 w 2377439"/>
                  <a:gd name="connsiteY100" fmla="*/ 1065848 h 1217199"/>
                  <a:gd name="connsiteX101" fmla="*/ 2222183 w 2377439"/>
                  <a:gd name="connsiteY101" fmla="*/ 1079087 h 1217199"/>
                  <a:gd name="connsiteX102" fmla="*/ 2207895 w 2377439"/>
                  <a:gd name="connsiteY102" fmla="*/ 1082992 h 1217199"/>
                  <a:gd name="connsiteX103" fmla="*/ 2176463 w 2377439"/>
                  <a:gd name="connsiteY103" fmla="*/ 1082992 h 1217199"/>
                  <a:gd name="connsiteX104" fmla="*/ 2151698 w 2377439"/>
                  <a:gd name="connsiteY104" fmla="*/ 1076230 h 1217199"/>
                  <a:gd name="connsiteX105" fmla="*/ 2130743 w 2377439"/>
                  <a:gd name="connsiteY105" fmla="*/ 1061942 h 1217199"/>
                  <a:gd name="connsiteX106" fmla="*/ 2124075 w 2377439"/>
                  <a:gd name="connsiteY106" fmla="*/ 1047655 h 1217199"/>
                  <a:gd name="connsiteX107" fmla="*/ 2120265 w 2377439"/>
                  <a:gd name="connsiteY107" fmla="*/ 1037273 h 1217199"/>
                  <a:gd name="connsiteX108" fmla="*/ 2126933 w 2377439"/>
                  <a:gd name="connsiteY108" fmla="*/ 1022985 h 1217199"/>
                  <a:gd name="connsiteX109" fmla="*/ 2120265 w 2377439"/>
                  <a:gd name="connsiteY109" fmla="*/ 1005840 h 1217199"/>
                  <a:gd name="connsiteX110" fmla="*/ 2137410 w 2377439"/>
                  <a:gd name="connsiteY110" fmla="*/ 1002030 h 1217199"/>
                  <a:gd name="connsiteX111" fmla="*/ 2145030 w 2377439"/>
                  <a:gd name="connsiteY111" fmla="*/ 991553 h 1217199"/>
                  <a:gd name="connsiteX112" fmla="*/ 2137410 w 2377439"/>
                  <a:gd name="connsiteY112" fmla="*/ 973455 h 1217199"/>
                  <a:gd name="connsiteX113" fmla="*/ 2116455 w 2377439"/>
                  <a:gd name="connsiteY113" fmla="*/ 966692 h 1217199"/>
                  <a:gd name="connsiteX114" fmla="*/ 2085023 w 2377439"/>
                  <a:gd name="connsiteY114" fmla="*/ 962978 h 1217199"/>
                  <a:gd name="connsiteX115" fmla="*/ 2066925 w 2377439"/>
                  <a:gd name="connsiteY115" fmla="*/ 970598 h 1217199"/>
                  <a:gd name="connsiteX116" fmla="*/ 2056448 w 2377439"/>
                  <a:gd name="connsiteY116" fmla="*/ 977265 h 1217199"/>
                  <a:gd name="connsiteX117" fmla="*/ 2025015 w 2377439"/>
                  <a:gd name="connsiteY117" fmla="*/ 991553 h 1217199"/>
                  <a:gd name="connsiteX118" fmla="*/ 1996440 w 2377439"/>
                  <a:gd name="connsiteY118" fmla="*/ 1008698 h 1217199"/>
                  <a:gd name="connsiteX119" fmla="*/ 1972627 w 2377439"/>
                  <a:gd name="connsiteY119" fmla="*/ 1037273 h 1217199"/>
                  <a:gd name="connsiteX120" fmla="*/ 1965008 w 2377439"/>
                  <a:gd name="connsiteY120" fmla="*/ 1040987 h 1217199"/>
                  <a:gd name="connsiteX121" fmla="*/ 1954530 w 2377439"/>
                  <a:gd name="connsiteY121" fmla="*/ 1047655 h 1217199"/>
                  <a:gd name="connsiteX122" fmla="*/ 1954530 w 2377439"/>
                  <a:gd name="connsiteY122" fmla="*/ 1043940 h 1217199"/>
                  <a:gd name="connsiteX123" fmla="*/ 1958340 w 2377439"/>
                  <a:gd name="connsiteY123" fmla="*/ 1040987 h 1217199"/>
                  <a:gd name="connsiteX124" fmla="*/ 1961198 w 2377439"/>
                  <a:gd name="connsiteY124" fmla="*/ 1033367 h 1217199"/>
                  <a:gd name="connsiteX125" fmla="*/ 1985963 w 2377439"/>
                  <a:gd name="connsiteY125" fmla="*/ 1005840 h 1217199"/>
                  <a:gd name="connsiteX126" fmla="*/ 2004060 w 2377439"/>
                  <a:gd name="connsiteY126" fmla="*/ 987742 h 1217199"/>
                  <a:gd name="connsiteX127" fmla="*/ 2028825 w 2377439"/>
                  <a:gd name="connsiteY127" fmla="*/ 966692 h 1217199"/>
                  <a:gd name="connsiteX128" fmla="*/ 2053590 w 2377439"/>
                  <a:gd name="connsiteY128" fmla="*/ 959167 h 1217199"/>
                  <a:gd name="connsiteX129" fmla="*/ 2066925 w 2377439"/>
                  <a:gd name="connsiteY129" fmla="*/ 938117 h 1217199"/>
                  <a:gd name="connsiteX130" fmla="*/ 2095500 w 2377439"/>
                  <a:gd name="connsiteY130" fmla="*/ 927735 h 1217199"/>
                  <a:gd name="connsiteX131" fmla="*/ 2145030 w 2377439"/>
                  <a:gd name="connsiteY131" fmla="*/ 923830 h 1217199"/>
                  <a:gd name="connsiteX132" fmla="*/ 2180273 w 2377439"/>
                  <a:gd name="connsiteY132" fmla="*/ 923830 h 1217199"/>
                  <a:gd name="connsiteX133" fmla="*/ 2225993 w 2377439"/>
                  <a:gd name="connsiteY133" fmla="*/ 931450 h 1217199"/>
                  <a:gd name="connsiteX134" fmla="*/ 2264093 w 2377439"/>
                  <a:gd name="connsiteY134" fmla="*/ 923830 h 1217199"/>
                  <a:gd name="connsiteX135" fmla="*/ 2292668 w 2377439"/>
                  <a:gd name="connsiteY135" fmla="*/ 902875 h 1217199"/>
                  <a:gd name="connsiteX136" fmla="*/ 2306955 w 2377439"/>
                  <a:gd name="connsiteY136" fmla="*/ 885730 h 1217199"/>
                  <a:gd name="connsiteX137" fmla="*/ 2342198 w 2377439"/>
                  <a:gd name="connsiteY137" fmla="*/ 885730 h 1217199"/>
                  <a:gd name="connsiteX138" fmla="*/ 2359343 w 2377439"/>
                  <a:gd name="connsiteY138" fmla="*/ 875348 h 1217199"/>
                  <a:gd name="connsiteX139" fmla="*/ 2373630 w 2377439"/>
                  <a:gd name="connsiteY139" fmla="*/ 861060 h 1217199"/>
                  <a:gd name="connsiteX140" fmla="*/ 2377440 w 2377439"/>
                  <a:gd name="connsiteY140" fmla="*/ 836200 h 1217199"/>
                  <a:gd name="connsiteX141" fmla="*/ 2373630 w 2377439"/>
                  <a:gd name="connsiteY141" fmla="*/ 807625 h 1217199"/>
                  <a:gd name="connsiteX142" fmla="*/ 2352675 w 2377439"/>
                  <a:gd name="connsiteY142" fmla="*/ 797242 h 1217199"/>
                  <a:gd name="connsiteX143" fmla="*/ 2342198 w 2377439"/>
                  <a:gd name="connsiteY143" fmla="*/ 797242 h 1217199"/>
                  <a:gd name="connsiteX144" fmla="*/ 2338388 w 2377439"/>
                  <a:gd name="connsiteY144" fmla="*/ 797242 h 1217199"/>
                  <a:gd name="connsiteX145" fmla="*/ 2331720 w 2377439"/>
                  <a:gd name="connsiteY145" fmla="*/ 780098 h 1217199"/>
                  <a:gd name="connsiteX146" fmla="*/ 2313623 w 2377439"/>
                  <a:gd name="connsiteY146" fmla="*/ 782955 h 1217199"/>
                  <a:gd name="connsiteX147" fmla="*/ 2288858 w 2377439"/>
                  <a:gd name="connsiteY147" fmla="*/ 793337 h 1217199"/>
                  <a:gd name="connsiteX148" fmla="*/ 2261235 w 2377439"/>
                  <a:gd name="connsiteY148" fmla="*/ 807625 h 1217199"/>
                  <a:gd name="connsiteX149" fmla="*/ 2257425 w 2377439"/>
                  <a:gd name="connsiteY149" fmla="*/ 807625 h 1217199"/>
                  <a:gd name="connsiteX150" fmla="*/ 2257425 w 2377439"/>
                  <a:gd name="connsiteY150" fmla="*/ 804767 h 1217199"/>
                  <a:gd name="connsiteX151" fmla="*/ 2253615 w 2377439"/>
                  <a:gd name="connsiteY151" fmla="*/ 801053 h 1217199"/>
                  <a:gd name="connsiteX152" fmla="*/ 2275523 w 2377439"/>
                  <a:gd name="connsiteY152" fmla="*/ 790480 h 1217199"/>
                  <a:gd name="connsiteX153" fmla="*/ 2288858 w 2377439"/>
                  <a:gd name="connsiteY153" fmla="*/ 782955 h 1217199"/>
                  <a:gd name="connsiteX154" fmla="*/ 2313623 w 2377439"/>
                  <a:gd name="connsiteY154" fmla="*/ 772478 h 1217199"/>
                  <a:gd name="connsiteX155" fmla="*/ 2321243 w 2377439"/>
                  <a:gd name="connsiteY155" fmla="*/ 758190 h 1217199"/>
                  <a:gd name="connsiteX156" fmla="*/ 2306955 w 2377439"/>
                  <a:gd name="connsiteY156" fmla="*/ 758190 h 1217199"/>
                  <a:gd name="connsiteX157" fmla="*/ 2286000 w 2377439"/>
                  <a:gd name="connsiteY157" fmla="*/ 751523 h 1217199"/>
                  <a:gd name="connsiteX158" fmla="*/ 2261235 w 2377439"/>
                  <a:gd name="connsiteY158" fmla="*/ 744855 h 1217199"/>
                  <a:gd name="connsiteX159" fmla="*/ 2243138 w 2377439"/>
                  <a:gd name="connsiteY159" fmla="*/ 737235 h 1217199"/>
                  <a:gd name="connsiteX160" fmla="*/ 2243138 w 2377439"/>
                  <a:gd name="connsiteY160" fmla="*/ 726662 h 1217199"/>
                  <a:gd name="connsiteX161" fmla="*/ 2240280 w 2377439"/>
                  <a:gd name="connsiteY161" fmla="*/ 720090 h 1217199"/>
                  <a:gd name="connsiteX162" fmla="*/ 2211705 w 2377439"/>
                  <a:gd name="connsiteY162" fmla="*/ 701992 h 1217199"/>
                  <a:gd name="connsiteX163" fmla="*/ 2207895 w 2377439"/>
                  <a:gd name="connsiteY163" fmla="*/ 687705 h 1217199"/>
                  <a:gd name="connsiteX164" fmla="*/ 2218373 w 2377439"/>
                  <a:gd name="connsiteY164" fmla="*/ 677228 h 1217199"/>
                  <a:gd name="connsiteX165" fmla="*/ 2211705 w 2377439"/>
                  <a:gd name="connsiteY165" fmla="*/ 656273 h 1217199"/>
                  <a:gd name="connsiteX166" fmla="*/ 2207895 w 2377439"/>
                  <a:gd name="connsiteY166" fmla="*/ 635317 h 1217199"/>
                  <a:gd name="connsiteX167" fmla="*/ 2190750 w 2377439"/>
                  <a:gd name="connsiteY167" fmla="*/ 624840 h 1217199"/>
                  <a:gd name="connsiteX168" fmla="*/ 2186940 w 2377439"/>
                  <a:gd name="connsiteY168" fmla="*/ 610553 h 1217199"/>
                  <a:gd name="connsiteX169" fmla="*/ 2162175 w 2377439"/>
                  <a:gd name="connsiteY169" fmla="*/ 579025 h 1217199"/>
                  <a:gd name="connsiteX170" fmla="*/ 2145030 w 2377439"/>
                  <a:gd name="connsiteY170" fmla="*/ 550450 h 1217199"/>
                  <a:gd name="connsiteX171" fmla="*/ 2130743 w 2377439"/>
                  <a:gd name="connsiteY171" fmla="*/ 529590 h 1217199"/>
                  <a:gd name="connsiteX172" fmla="*/ 2120265 w 2377439"/>
                  <a:gd name="connsiteY172" fmla="*/ 540067 h 1217199"/>
                  <a:gd name="connsiteX173" fmla="*/ 2105977 w 2377439"/>
                  <a:gd name="connsiteY173" fmla="*/ 557117 h 1217199"/>
                  <a:gd name="connsiteX174" fmla="*/ 2105977 w 2377439"/>
                  <a:gd name="connsiteY174" fmla="*/ 579025 h 1217199"/>
                  <a:gd name="connsiteX175" fmla="*/ 2081213 w 2377439"/>
                  <a:gd name="connsiteY175" fmla="*/ 599980 h 1217199"/>
                  <a:gd name="connsiteX176" fmla="*/ 2056448 w 2377439"/>
                  <a:gd name="connsiteY176" fmla="*/ 621030 h 1217199"/>
                  <a:gd name="connsiteX177" fmla="*/ 2035492 w 2377439"/>
                  <a:gd name="connsiteY177" fmla="*/ 610553 h 1217199"/>
                  <a:gd name="connsiteX178" fmla="*/ 2021205 w 2377439"/>
                  <a:gd name="connsiteY178" fmla="*/ 596265 h 1217199"/>
                  <a:gd name="connsiteX179" fmla="*/ 2000250 w 2377439"/>
                  <a:gd name="connsiteY179" fmla="*/ 592455 h 1217199"/>
                  <a:gd name="connsiteX180" fmla="*/ 2000250 w 2377439"/>
                  <a:gd name="connsiteY180" fmla="*/ 579025 h 1217199"/>
                  <a:gd name="connsiteX181" fmla="*/ 1989773 w 2377439"/>
                  <a:gd name="connsiteY181" fmla="*/ 554355 h 1217199"/>
                  <a:gd name="connsiteX182" fmla="*/ 1989773 w 2377439"/>
                  <a:gd name="connsiteY182" fmla="*/ 529590 h 1217199"/>
                  <a:gd name="connsiteX183" fmla="*/ 1996440 w 2377439"/>
                  <a:gd name="connsiteY183" fmla="*/ 511492 h 1217199"/>
                  <a:gd name="connsiteX184" fmla="*/ 1958340 w 2377439"/>
                  <a:gd name="connsiteY184" fmla="*/ 504730 h 1217199"/>
                  <a:gd name="connsiteX185" fmla="*/ 1933575 w 2377439"/>
                  <a:gd name="connsiteY185" fmla="*/ 490442 h 1217199"/>
                  <a:gd name="connsiteX186" fmla="*/ 1919288 w 2377439"/>
                  <a:gd name="connsiteY186" fmla="*/ 469487 h 1217199"/>
                  <a:gd name="connsiteX187" fmla="*/ 1894523 w 2377439"/>
                  <a:gd name="connsiteY187" fmla="*/ 451485 h 1217199"/>
                  <a:gd name="connsiteX188" fmla="*/ 1873567 w 2377439"/>
                  <a:gd name="connsiteY188" fmla="*/ 438055 h 1217199"/>
                  <a:gd name="connsiteX189" fmla="*/ 1863090 w 2377439"/>
                  <a:gd name="connsiteY189" fmla="*/ 451485 h 1217199"/>
                  <a:gd name="connsiteX190" fmla="*/ 1838325 w 2377439"/>
                  <a:gd name="connsiteY190" fmla="*/ 455200 h 1217199"/>
                  <a:gd name="connsiteX191" fmla="*/ 1821180 w 2377439"/>
                  <a:gd name="connsiteY191" fmla="*/ 451485 h 1217199"/>
                  <a:gd name="connsiteX192" fmla="*/ 1792605 w 2377439"/>
                  <a:gd name="connsiteY192" fmla="*/ 440912 h 1217199"/>
                  <a:gd name="connsiteX193" fmla="*/ 1761173 w 2377439"/>
                  <a:gd name="connsiteY193" fmla="*/ 440912 h 1217199"/>
                  <a:gd name="connsiteX194" fmla="*/ 1753552 w 2377439"/>
                  <a:gd name="connsiteY194" fmla="*/ 465772 h 1217199"/>
                  <a:gd name="connsiteX195" fmla="*/ 1771650 w 2377439"/>
                  <a:gd name="connsiteY195" fmla="*/ 483775 h 1217199"/>
                  <a:gd name="connsiteX196" fmla="*/ 1764030 w 2377439"/>
                  <a:gd name="connsiteY196" fmla="*/ 515303 h 1217199"/>
                  <a:gd name="connsiteX197" fmla="*/ 1767840 w 2377439"/>
                  <a:gd name="connsiteY197" fmla="*/ 536162 h 1217199"/>
                  <a:gd name="connsiteX198" fmla="*/ 1771650 w 2377439"/>
                  <a:gd name="connsiteY198" fmla="*/ 557117 h 1217199"/>
                  <a:gd name="connsiteX199" fmla="*/ 1753552 w 2377439"/>
                  <a:gd name="connsiteY199" fmla="*/ 579025 h 1217199"/>
                  <a:gd name="connsiteX200" fmla="*/ 1743075 w 2377439"/>
                  <a:gd name="connsiteY200" fmla="*/ 589598 h 1217199"/>
                  <a:gd name="connsiteX201" fmla="*/ 1740217 w 2377439"/>
                  <a:gd name="connsiteY201" fmla="*/ 599980 h 1217199"/>
                  <a:gd name="connsiteX202" fmla="*/ 1757363 w 2377439"/>
                  <a:gd name="connsiteY202" fmla="*/ 610553 h 1217199"/>
                  <a:gd name="connsiteX203" fmla="*/ 1778317 w 2377439"/>
                  <a:gd name="connsiteY203" fmla="*/ 624840 h 1217199"/>
                  <a:gd name="connsiteX204" fmla="*/ 1796415 w 2377439"/>
                  <a:gd name="connsiteY204" fmla="*/ 656273 h 1217199"/>
                  <a:gd name="connsiteX205" fmla="*/ 1799273 w 2377439"/>
                  <a:gd name="connsiteY205" fmla="*/ 695230 h 1217199"/>
                  <a:gd name="connsiteX206" fmla="*/ 1782127 w 2377439"/>
                  <a:gd name="connsiteY206" fmla="*/ 716280 h 1217199"/>
                  <a:gd name="connsiteX207" fmla="*/ 1764030 w 2377439"/>
                  <a:gd name="connsiteY207" fmla="*/ 737235 h 1217199"/>
                  <a:gd name="connsiteX208" fmla="*/ 1725930 w 2377439"/>
                  <a:gd name="connsiteY208" fmla="*/ 747617 h 1217199"/>
                  <a:gd name="connsiteX209" fmla="*/ 1711642 w 2377439"/>
                  <a:gd name="connsiteY209" fmla="*/ 755237 h 1217199"/>
                  <a:gd name="connsiteX210" fmla="*/ 1725930 w 2377439"/>
                  <a:gd name="connsiteY210" fmla="*/ 790480 h 1217199"/>
                  <a:gd name="connsiteX211" fmla="*/ 1732598 w 2377439"/>
                  <a:gd name="connsiteY211" fmla="*/ 815340 h 1217199"/>
                  <a:gd name="connsiteX212" fmla="*/ 1743075 w 2377439"/>
                  <a:gd name="connsiteY212" fmla="*/ 850487 h 1217199"/>
                  <a:gd name="connsiteX213" fmla="*/ 1740217 w 2377439"/>
                  <a:gd name="connsiteY213" fmla="*/ 864775 h 1217199"/>
                  <a:gd name="connsiteX214" fmla="*/ 1732598 w 2377439"/>
                  <a:gd name="connsiteY214" fmla="*/ 878205 h 1217199"/>
                  <a:gd name="connsiteX215" fmla="*/ 1707833 w 2377439"/>
                  <a:gd name="connsiteY215" fmla="*/ 892492 h 1217199"/>
                  <a:gd name="connsiteX216" fmla="*/ 1693545 w 2377439"/>
                  <a:gd name="connsiteY216" fmla="*/ 885730 h 1217199"/>
                  <a:gd name="connsiteX217" fmla="*/ 1683068 w 2377439"/>
                  <a:gd name="connsiteY217" fmla="*/ 878205 h 1217199"/>
                  <a:gd name="connsiteX218" fmla="*/ 1662112 w 2377439"/>
                  <a:gd name="connsiteY218" fmla="*/ 853440 h 1217199"/>
                  <a:gd name="connsiteX219" fmla="*/ 1641158 w 2377439"/>
                  <a:gd name="connsiteY219" fmla="*/ 828580 h 1217199"/>
                  <a:gd name="connsiteX220" fmla="*/ 1641158 w 2377439"/>
                  <a:gd name="connsiteY220" fmla="*/ 815340 h 1217199"/>
                  <a:gd name="connsiteX221" fmla="*/ 1641158 w 2377439"/>
                  <a:gd name="connsiteY221" fmla="*/ 804767 h 1217199"/>
                  <a:gd name="connsiteX222" fmla="*/ 1641158 w 2377439"/>
                  <a:gd name="connsiteY222" fmla="*/ 780098 h 1217199"/>
                  <a:gd name="connsiteX223" fmla="*/ 1634490 w 2377439"/>
                  <a:gd name="connsiteY223" fmla="*/ 740950 h 1217199"/>
                  <a:gd name="connsiteX224" fmla="*/ 1612583 w 2377439"/>
                  <a:gd name="connsiteY224" fmla="*/ 740950 h 1217199"/>
                  <a:gd name="connsiteX225" fmla="*/ 1591628 w 2377439"/>
                  <a:gd name="connsiteY225" fmla="*/ 737235 h 1217199"/>
                  <a:gd name="connsiteX226" fmla="*/ 1577340 w 2377439"/>
                  <a:gd name="connsiteY226" fmla="*/ 734378 h 1217199"/>
                  <a:gd name="connsiteX227" fmla="*/ 1560195 w 2377439"/>
                  <a:gd name="connsiteY227" fmla="*/ 734378 h 1217199"/>
                  <a:gd name="connsiteX228" fmla="*/ 1521143 w 2377439"/>
                  <a:gd name="connsiteY228" fmla="*/ 720090 h 1217199"/>
                  <a:gd name="connsiteX229" fmla="*/ 1489710 w 2377439"/>
                  <a:gd name="connsiteY229" fmla="*/ 701992 h 1217199"/>
                  <a:gd name="connsiteX230" fmla="*/ 1461135 w 2377439"/>
                  <a:gd name="connsiteY230" fmla="*/ 674275 h 1217199"/>
                  <a:gd name="connsiteX231" fmla="*/ 1433512 w 2377439"/>
                  <a:gd name="connsiteY231" fmla="*/ 670560 h 1217199"/>
                  <a:gd name="connsiteX232" fmla="*/ 1408748 w 2377439"/>
                  <a:gd name="connsiteY232" fmla="*/ 659987 h 1217199"/>
                  <a:gd name="connsiteX233" fmla="*/ 1377315 w 2377439"/>
                  <a:gd name="connsiteY233" fmla="*/ 659987 h 1217199"/>
                  <a:gd name="connsiteX234" fmla="*/ 1352550 w 2377439"/>
                  <a:gd name="connsiteY234" fmla="*/ 666655 h 1217199"/>
                  <a:gd name="connsiteX235" fmla="*/ 1338262 w 2377439"/>
                  <a:gd name="connsiteY235" fmla="*/ 621030 h 1217199"/>
                  <a:gd name="connsiteX236" fmla="*/ 1331595 w 2377439"/>
                  <a:gd name="connsiteY236" fmla="*/ 606742 h 1217199"/>
                  <a:gd name="connsiteX237" fmla="*/ 1317308 w 2377439"/>
                  <a:gd name="connsiteY237" fmla="*/ 603885 h 1217199"/>
                  <a:gd name="connsiteX238" fmla="*/ 1299210 w 2377439"/>
                  <a:gd name="connsiteY238" fmla="*/ 603885 h 1217199"/>
                  <a:gd name="connsiteX239" fmla="*/ 1296353 w 2377439"/>
                  <a:gd name="connsiteY239" fmla="*/ 592455 h 1217199"/>
                  <a:gd name="connsiteX240" fmla="*/ 1292543 w 2377439"/>
                  <a:gd name="connsiteY240" fmla="*/ 585692 h 1217199"/>
                  <a:gd name="connsiteX241" fmla="*/ 1303020 w 2377439"/>
                  <a:gd name="connsiteY241" fmla="*/ 511492 h 1217199"/>
                  <a:gd name="connsiteX242" fmla="*/ 1334453 w 2377439"/>
                  <a:gd name="connsiteY242" fmla="*/ 459105 h 1217199"/>
                  <a:gd name="connsiteX243" fmla="*/ 1369695 w 2377439"/>
                  <a:gd name="connsiteY243" fmla="*/ 426625 h 1217199"/>
                  <a:gd name="connsiteX244" fmla="*/ 1402080 w 2377439"/>
                  <a:gd name="connsiteY244" fmla="*/ 420053 h 1217199"/>
                  <a:gd name="connsiteX245" fmla="*/ 1398270 w 2377439"/>
                  <a:gd name="connsiteY245" fmla="*/ 402812 h 1217199"/>
                  <a:gd name="connsiteX246" fmla="*/ 1369695 w 2377439"/>
                  <a:gd name="connsiteY246" fmla="*/ 391478 h 1217199"/>
                  <a:gd name="connsiteX247" fmla="*/ 1359218 w 2377439"/>
                  <a:gd name="connsiteY247" fmla="*/ 380905 h 1217199"/>
                  <a:gd name="connsiteX248" fmla="*/ 1380173 w 2377439"/>
                  <a:gd name="connsiteY248" fmla="*/ 388525 h 1217199"/>
                  <a:gd name="connsiteX249" fmla="*/ 1415415 w 2377439"/>
                  <a:gd name="connsiteY249" fmla="*/ 384810 h 1217199"/>
                  <a:gd name="connsiteX250" fmla="*/ 1415415 w 2377439"/>
                  <a:gd name="connsiteY250" fmla="*/ 367665 h 1217199"/>
                  <a:gd name="connsiteX251" fmla="*/ 1429703 w 2377439"/>
                  <a:gd name="connsiteY251" fmla="*/ 374237 h 1217199"/>
                  <a:gd name="connsiteX252" fmla="*/ 1443990 w 2377439"/>
                  <a:gd name="connsiteY252" fmla="*/ 374237 h 1217199"/>
                  <a:gd name="connsiteX253" fmla="*/ 1461135 w 2377439"/>
                  <a:gd name="connsiteY253" fmla="*/ 370522 h 1217199"/>
                  <a:gd name="connsiteX254" fmla="*/ 1479233 w 2377439"/>
                  <a:gd name="connsiteY254" fmla="*/ 359950 h 1217199"/>
                  <a:gd name="connsiteX255" fmla="*/ 1493520 w 2377439"/>
                  <a:gd name="connsiteY255" fmla="*/ 339090 h 1217199"/>
                  <a:gd name="connsiteX256" fmla="*/ 1503998 w 2377439"/>
                  <a:gd name="connsiteY256" fmla="*/ 320992 h 1217199"/>
                  <a:gd name="connsiteX257" fmla="*/ 1483043 w 2377439"/>
                  <a:gd name="connsiteY257" fmla="*/ 320992 h 1217199"/>
                  <a:gd name="connsiteX258" fmla="*/ 1468755 w 2377439"/>
                  <a:gd name="connsiteY258" fmla="*/ 318135 h 1217199"/>
                  <a:gd name="connsiteX259" fmla="*/ 1447800 w 2377439"/>
                  <a:gd name="connsiteY259" fmla="*/ 314230 h 1217199"/>
                  <a:gd name="connsiteX260" fmla="*/ 1437323 w 2377439"/>
                  <a:gd name="connsiteY260" fmla="*/ 303847 h 1217199"/>
                  <a:gd name="connsiteX261" fmla="*/ 1429703 w 2377439"/>
                  <a:gd name="connsiteY261" fmla="*/ 289560 h 1217199"/>
                  <a:gd name="connsiteX262" fmla="*/ 1447800 w 2377439"/>
                  <a:gd name="connsiteY262" fmla="*/ 293275 h 1217199"/>
                  <a:gd name="connsiteX263" fmla="*/ 1468755 w 2377439"/>
                  <a:gd name="connsiteY263" fmla="*/ 307562 h 1217199"/>
                  <a:gd name="connsiteX264" fmla="*/ 1489710 w 2377439"/>
                  <a:gd name="connsiteY264" fmla="*/ 310515 h 1217199"/>
                  <a:gd name="connsiteX265" fmla="*/ 1507808 w 2377439"/>
                  <a:gd name="connsiteY265" fmla="*/ 307562 h 1217199"/>
                  <a:gd name="connsiteX266" fmla="*/ 1521143 w 2377439"/>
                  <a:gd name="connsiteY266" fmla="*/ 293275 h 1217199"/>
                  <a:gd name="connsiteX267" fmla="*/ 1531620 w 2377439"/>
                  <a:gd name="connsiteY267" fmla="*/ 275272 h 1217199"/>
                  <a:gd name="connsiteX268" fmla="*/ 1521143 w 2377439"/>
                  <a:gd name="connsiteY268" fmla="*/ 264700 h 1217199"/>
                  <a:gd name="connsiteX269" fmla="*/ 1528762 w 2377439"/>
                  <a:gd name="connsiteY269" fmla="*/ 254317 h 1217199"/>
                  <a:gd name="connsiteX270" fmla="*/ 1545908 w 2377439"/>
                  <a:gd name="connsiteY270" fmla="*/ 254317 h 1217199"/>
                  <a:gd name="connsiteX271" fmla="*/ 1566862 w 2377439"/>
                  <a:gd name="connsiteY271" fmla="*/ 275272 h 1217199"/>
                  <a:gd name="connsiteX272" fmla="*/ 1581150 w 2377439"/>
                  <a:gd name="connsiteY272" fmla="*/ 268605 h 1217199"/>
                  <a:gd name="connsiteX273" fmla="*/ 1588770 w 2377439"/>
                  <a:gd name="connsiteY273" fmla="*/ 254317 h 1217199"/>
                  <a:gd name="connsiteX274" fmla="*/ 1612583 w 2377439"/>
                  <a:gd name="connsiteY274" fmla="*/ 268605 h 1217199"/>
                  <a:gd name="connsiteX275" fmla="*/ 1630680 w 2377439"/>
                  <a:gd name="connsiteY275" fmla="*/ 258127 h 1217199"/>
                  <a:gd name="connsiteX276" fmla="*/ 1651635 w 2377439"/>
                  <a:gd name="connsiteY276" fmla="*/ 240030 h 1217199"/>
                  <a:gd name="connsiteX277" fmla="*/ 1665923 w 2377439"/>
                  <a:gd name="connsiteY277" fmla="*/ 222885 h 1217199"/>
                  <a:gd name="connsiteX278" fmla="*/ 1655445 w 2377439"/>
                  <a:gd name="connsiteY278" fmla="*/ 201835 h 1217199"/>
                  <a:gd name="connsiteX279" fmla="*/ 1644968 w 2377439"/>
                  <a:gd name="connsiteY279" fmla="*/ 187547 h 1217199"/>
                  <a:gd name="connsiteX280" fmla="*/ 1641158 w 2377439"/>
                  <a:gd name="connsiteY280" fmla="*/ 169450 h 1217199"/>
                  <a:gd name="connsiteX281" fmla="*/ 1655445 w 2377439"/>
                  <a:gd name="connsiteY281" fmla="*/ 165735 h 1217199"/>
                  <a:gd name="connsiteX282" fmla="*/ 1665923 w 2377439"/>
                  <a:gd name="connsiteY282" fmla="*/ 158972 h 1217199"/>
                  <a:gd name="connsiteX283" fmla="*/ 1647825 w 2377439"/>
                  <a:gd name="connsiteY283" fmla="*/ 134302 h 1217199"/>
                  <a:gd name="connsiteX284" fmla="*/ 1624012 w 2377439"/>
                  <a:gd name="connsiteY284" fmla="*/ 117062 h 1217199"/>
                  <a:gd name="connsiteX285" fmla="*/ 1584960 w 2377439"/>
                  <a:gd name="connsiteY285" fmla="*/ 102775 h 1217199"/>
                  <a:gd name="connsiteX286" fmla="*/ 1553528 w 2377439"/>
                  <a:gd name="connsiteY286" fmla="*/ 99060 h 1217199"/>
                  <a:gd name="connsiteX287" fmla="*/ 1549718 w 2377439"/>
                  <a:gd name="connsiteY287" fmla="*/ 109538 h 1217199"/>
                  <a:gd name="connsiteX288" fmla="*/ 1560195 w 2377439"/>
                  <a:gd name="connsiteY288" fmla="*/ 130397 h 1217199"/>
                  <a:gd name="connsiteX289" fmla="*/ 1564005 w 2377439"/>
                  <a:gd name="connsiteY289" fmla="*/ 144685 h 1217199"/>
                  <a:gd name="connsiteX290" fmla="*/ 1543050 w 2377439"/>
                  <a:gd name="connsiteY290" fmla="*/ 158972 h 1217199"/>
                  <a:gd name="connsiteX291" fmla="*/ 1539240 w 2377439"/>
                  <a:gd name="connsiteY291" fmla="*/ 187547 h 1217199"/>
                  <a:gd name="connsiteX292" fmla="*/ 1524953 w 2377439"/>
                  <a:gd name="connsiteY292" fmla="*/ 212312 h 1217199"/>
                  <a:gd name="connsiteX293" fmla="*/ 1510665 w 2377439"/>
                  <a:gd name="connsiteY293" fmla="*/ 222885 h 1217199"/>
                  <a:gd name="connsiteX294" fmla="*/ 1485900 w 2377439"/>
                  <a:gd name="connsiteY294" fmla="*/ 212312 h 1217199"/>
                  <a:gd name="connsiteX295" fmla="*/ 1468755 w 2377439"/>
                  <a:gd name="connsiteY295" fmla="*/ 198025 h 1217199"/>
                  <a:gd name="connsiteX296" fmla="*/ 1472565 w 2377439"/>
                  <a:gd name="connsiteY296" fmla="*/ 177165 h 1217199"/>
                  <a:gd name="connsiteX297" fmla="*/ 1483043 w 2377439"/>
                  <a:gd name="connsiteY297" fmla="*/ 158972 h 1217199"/>
                  <a:gd name="connsiteX298" fmla="*/ 1464945 w 2377439"/>
                  <a:gd name="connsiteY298" fmla="*/ 138113 h 1217199"/>
                  <a:gd name="connsiteX299" fmla="*/ 1443990 w 2377439"/>
                  <a:gd name="connsiteY299" fmla="*/ 130397 h 1217199"/>
                  <a:gd name="connsiteX300" fmla="*/ 1433512 w 2377439"/>
                  <a:gd name="connsiteY300" fmla="*/ 144685 h 1217199"/>
                  <a:gd name="connsiteX301" fmla="*/ 1443990 w 2377439"/>
                  <a:gd name="connsiteY301" fmla="*/ 162877 h 1217199"/>
                  <a:gd name="connsiteX302" fmla="*/ 1429703 w 2377439"/>
                  <a:gd name="connsiteY302" fmla="*/ 173260 h 1217199"/>
                  <a:gd name="connsiteX303" fmla="*/ 1412558 w 2377439"/>
                  <a:gd name="connsiteY303" fmla="*/ 165735 h 1217199"/>
                  <a:gd name="connsiteX304" fmla="*/ 1402080 w 2377439"/>
                  <a:gd name="connsiteY304" fmla="*/ 141922 h 1217199"/>
                  <a:gd name="connsiteX305" fmla="*/ 1398270 w 2377439"/>
                  <a:gd name="connsiteY305" fmla="*/ 113347 h 1217199"/>
                  <a:gd name="connsiteX306" fmla="*/ 1383983 w 2377439"/>
                  <a:gd name="connsiteY306" fmla="*/ 109538 h 1217199"/>
                  <a:gd name="connsiteX307" fmla="*/ 1363028 w 2377439"/>
                  <a:gd name="connsiteY307" fmla="*/ 113347 h 1217199"/>
                  <a:gd name="connsiteX308" fmla="*/ 1356360 w 2377439"/>
                  <a:gd name="connsiteY308" fmla="*/ 95250 h 1217199"/>
                  <a:gd name="connsiteX309" fmla="*/ 1366837 w 2377439"/>
                  <a:gd name="connsiteY309" fmla="*/ 84772 h 1217199"/>
                  <a:gd name="connsiteX310" fmla="*/ 1363028 w 2377439"/>
                  <a:gd name="connsiteY310" fmla="*/ 71438 h 1217199"/>
                  <a:gd name="connsiteX311" fmla="*/ 1344930 w 2377439"/>
                  <a:gd name="connsiteY311" fmla="*/ 46672 h 1217199"/>
                  <a:gd name="connsiteX312" fmla="*/ 1342073 w 2377439"/>
                  <a:gd name="connsiteY312" fmla="*/ 36100 h 1217199"/>
                  <a:gd name="connsiteX313" fmla="*/ 1321118 w 2377439"/>
                  <a:gd name="connsiteY313" fmla="*/ 7525 h 1217199"/>
                  <a:gd name="connsiteX314" fmla="*/ 1288733 w 2377439"/>
                  <a:gd name="connsiteY314" fmla="*/ 0 h 1217199"/>
                  <a:gd name="connsiteX315" fmla="*/ 1271587 w 2377439"/>
                  <a:gd name="connsiteY315" fmla="*/ 7525 h 1217199"/>
                  <a:gd name="connsiteX316" fmla="*/ 1263968 w 2377439"/>
                  <a:gd name="connsiteY316" fmla="*/ 21812 h 1217199"/>
                  <a:gd name="connsiteX317" fmla="*/ 1246823 w 2377439"/>
                  <a:gd name="connsiteY317" fmla="*/ 21812 h 1217199"/>
                  <a:gd name="connsiteX318" fmla="*/ 1240155 w 2377439"/>
                  <a:gd name="connsiteY318" fmla="*/ 46672 h 1217199"/>
                  <a:gd name="connsiteX319" fmla="*/ 1253490 w 2377439"/>
                  <a:gd name="connsiteY319" fmla="*/ 57150 h 1217199"/>
                  <a:gd name="connsiteX320" fmla="*/ 1240155 w 2377439"/>
                  <a:gd name="connsiteY320" fmla="*/ 78010 h 1217199"/>
                  <a:gd name="connsiteX321" fmla="*/ 1246823 w 2377439"/>
                  <a:gd name="connsiteY321" fmla="*/ 92297 h 1217199"/>
                  <a:gd name="connsiteX322" fmla="*/ 1271587 w 2377439"/>
                  <a:gd name="connsiteY322" fmla="*/ 106585 h 1217199"/>
                  <a:gd name="connsiteX323" fmla="*/ 1303020 w 2377439"/>
                  <a:gd name="connsiteY323" fmla="*/ 113347 h 1217199"/>
                  <a:gd name="connsiteX324" fmla="*/ 1321118 w 2377439"/>
                  <a:gd name="connsiteY324" fmla="*/ 138113 h 1217199"/>
                  <a:gd name="connsiteX325" fmla="*/ 1323975 w 2377439"/>
                  <a:gd name="connsiteY325" fmla="*/ 158972 h 1217199"/>
                  <a:gd name="connsiteX326" fmla="*/ 1306830 w 2377439"/>
                  <a:gd name="connsiteY326" fmla="*/ 180022 h 1217199"/>
                  <a:gd name="connsiteX327" fmla="*/ 1271587 w 2377439"/>
                  <a:gd name="connsiteY327" fmla="*/ 190500 h 1217199"/>
                  <a:gd name="connsiteX328" fmla="*/ 1274445 w 2377439"/>
                  <a:gd name="connsiteY328" fmla="*/ 212312 h 1217199"/>
                  <a:gd name="connsiteX329" fmla="*/ 1274445 w 2377439"/>
                  <a:gd name="connsiteY329" fmla="*/ 237172 h 1217199"/>
                  <a:gd name="connsiteX330" fmla="*/ 1261110 w 2377439"/>
                  <a:gd name="connsiteY330" fmla="*/ 237172 h 1217199"/>
                  <a:gd name="connsiteX331" fmla="*/ 1250633 w 2377439"/>
                  <a:gd name="connsiteY331" fmla="*/ 222885 h 1217199"/>
                  <a:gd name="connsiteX332" fmla="*/ 1240155 w 2377439"/>
                  <a:gd name="connsiteY332" fmla="*/ 204788 h 1217199"/>
                  <a:gd name="connsiteX333" fmla="*/ 1246823 w 2377439"/>
                  <a:gd name="connsiteY333" fmla="*/ 198025 h 1217199"/>
                  <a:gd name="connsiteX334" fmla="*/ 1225868 w 2377439"/>
                  <a:gd name="connsiteY334" fmla="*/ 177165 h 1217199"/>
                  <a:gd name="connsiteX335" fmla="*/ 1204912 w 2377439"/>
                  <a:gd name="connsiteY335" fmla="*/ 169450 h 1217199"/>
                  <a:gd name="connsiteX336" fmla="*/ 1193483 w 2377439"/>
                  <a:gd name="connsiteY336" fmla="*/ 173260 h 1217199"/>
                  <a:gd name="connsiteX337" fmla="*/ 1190625 w 2377439"/>
                  <a:gd name="connsiteY337" fmla="*/ 187547 h 1217199"/>
                  <a:gd name="connsiteX338" fmla="*/ 1211580 w 2377439"/>
                  <a:gd name="connsiteY338" fmla="*/ 190500 h 1217199"/>
                  <a:gd name="connsiteX339" fmla="*/ 1222058 w 2377439"/>
                  <a:gd name="connsiteY339" fmla="*/ 198025 h 1217199"/>
                  <a:gd name="connsiteX340" fmla="*/ 1211580 w 2377439"/>
                  <a:gd name="connsiteY340" fmla="*/ 208597 h 1217199"/>
                  <a:gd name="connsiteX341" fmla="*/ 1176337 w 2377439"/>
                  <a:gd name="connsiteY341" fmla="*/ 204788 h 1217199"/>
                  <a:gd name="connsiteX342" fmla="*/ 1137285 w 2377439"/>
                  <a:gd name="connsiteY342" fmla="*/ 204788 h 1217199"/>
                  <a:gd name="connsiteX343" fmla="*/ 1095375 w 2377439"/>
                  <a:gd name="connsiteY343" fmla="*/ 204788 h 1217199"/>
                  <a:gd name="connsiteX344" fmla="*/ 1056323 w 2377439"/>
                  <a:gd name="connsiteY344" fmla="*/ 198025 h 1217199"/>
                  <a:gd name="connsiteX345" fmla="*/ 1018223 w 2377439"/>
                  <a:gd name="connsiteY345" fmla="*/ 183737 h 1217199"/>
                  <a:gd name="connsiteX346" fmla="*/ 985837 w 2377439"/>
                  <a:gd name="connsiteY346" fmla="*/ 165735 h 1217199"/>
                  <a:gd name="connsiteX347" fmla="*/ 943928 w 2377439"/>
                  <a:gd name="connsiteY347" fmla="*/ 183737 h 1217199"/>
                  <a:gd name="connsiteX348" fmla="*/ 925830 w 2377439"/>
                  <a:gd name="connsiteY348" fmla="*/ 194310 h 1217199"/>
                  <a:gd name="connsiteX349" fmla="*/ 933450 w 2377439"/>
                  <a:gd name="connsiteY349" fmla="*/ 212312 h 1217199"/>
                  <a:gd name="connsiteX350" fmla="*/ 940118 w 2377439"/>
                  <a:gd name="connsiteY350" fmla="*/ 243840 h 1217199"/>
                  <a:gd name="connsiteX351" fmla="*/ 929640 w 2377439"/>
                  <a:gd name="connsiteY351" fmla="*/ 250412 h 1217199"/>
                  <a:gd name="connsiteX352" fmla="*/ 915353 w 2377439"/>
                  <a:gd name="connsiteY352" fmla="*/ 229552 h 1217199"/>
                  <a:gd name="connsiteX353" fmla="*/ 887730 w 2377439"/>
                  <a:gd name="connsiteY353" fmla="*/ 212312 h 1217199"/>
                  <a:gd name="connsiteX354" fmla="*/ 856298 w 2377439"/>
                  <a:gd name="connsiteY354" fmla="*/ 194310 h 1217199"/>
                  <a:gd name="connsiteX355" fmla="*/ 842010 w 2377439"/>
                  <a:gd name="connsiteY355" fmla="*/ 201835 h 1217199"/>
                  <a:gd name="connsiteX356" fmla="*/ 802957 w 2377439"/>
                  <a:gd name="connsiteY356" fmla="*/ 204788 h 1217199"/>
                  <a:gd name="connsiteX357" fmla="*/ 750570 w 2377439"/>
                  <a:gd name="connsiteY357" fmla="*/ 208597 h 1217199"/>
                  <a:gd name="connsiteX358" fmla="*/ 721995 w 2377439"/>
                  <a:gd name="connsiteY358" fmla="*/ 194310 h 1217199"/>
                  <a:gd name="connsiteX359" fmla="*/ 725805 w 2377439"/>
                  <a:gd name="connsiteY359" fmla="*/ 180022 h 1217199"/>
                  <a:gd name="connsiteX360" fmla="*/ 746760 w 2377439"/>
                  <a:gd name="connsiteY360" fmla="*/ 177165 h 1217199"/>
                  <a:gd name="connsiteX361" fmla="*/ 742950 w 2377439"/>
                  <a:gd name="connsiteY361" fmla="*/ 162877 h 1217199"/>
                  <a:gd name="connsiteX362" fmla="*/ 711518 w 2377439"/>
                  <a:gd name="connsiteY362" fmla="*/ 148590 h 1217199"/>
                  <a:gd name="connsiteX363" fmla="*/ 672465 w 2377439"/>
                  <a:gd name="connsiteY363" fmla="*/ 144685 h 1217199"/>
                  <a:gd name="connsiteX364" fmla="*/ 620078 w 2377439"/>
                  <a:gd name="connsiteY364" fmla="*/ 127635 h 1217199"/>
                  <a:gd name="connsiteX365" fmla="*/ 577215 w 2377439"/>
                  <a:gd name="connsiteY365" fmla="*/ 117062 h 1217199"/>
                  <a:gd name="connsiteX366" fmla="*/ 531495 w 2377439"/>
                  <a:gd name="connsiteY366" fmla="*/ 99060 h 1217199"/>
                  <a:gd name="connsiteX367" fmla="*/ 496253 w 2377439"/>
                  <a:gd name="connsiteY367" fmla="*/ 109538 h 1217199"/>
                  <a:gd name="connsiteX368" fmla="*/ 475298 w 2377439"/>
                  <a:gd name="connsiteY368" fmla="*/ 123825 h 1217199"/>
                  <a:gd name="connsiteX369" fmla="*/ 461010 w 2377439"/>
                  <a:gd name="connsiteY369" fmla="*/ 92297 h 1217199"/>
                  <a:gd name="connsiteX370" fmla="*/ 450532 w 2377439"/>
                  <a:gd name="connsiteY370" fmla="*/ 88487 h 1217199"/>
                  <a:gd name="connsiteX371" fmla="*/ 429578 w 2377439"/>
                  <a:gd name="connsiteY371" fmla="*/ 117062 h 1217199"/>
                  <a:gd name="connsiteX372" fmla="*/ 404813 w 2377439"/>
                  <a:gd name="connsiteY372" fmla="*/ 113347 h 1217199"/>
                  <a:gd name="connsiteX373" fmla="*/ 383857 w 2377439"/>
                  <a:gd name="connsiteY373" fmla="*/ 81915 h 1217199"/>
                  <a:gd name="connsiteX374" fmla="*/ 366713 w 2377439"/>
                  <a:gd name="connsiteY374" fmla="*/ 67627 h 1217199"/>
                  <a:gd name="connsiteX375" fmla="*/ 338138 w 2377439"/>
                  <a:gd name="connsiteY375" fmla="*/ 102775 h 1217199"/>
                  <a:gd name="connsiteX376" fmla="*/ 317182 w 2377439"/>
                  <a:gd name="connsiteY376" fmla="*/ 99060 h 1217199"/>
                  <a:gd name="connsiteX377" fmla="*/ 313373 w 2377439"/>
                  <a:gd name="connsiteY377" fmla="*/ 84772 h 1217199"/>
                  <a:gd name="connsiteX378" fmla="*/ 285750 w 2377439"/>
                  <a:gd name="connsiteY378" fmla="*/ 84772 h 1217199"/>
                  <a:gd name="connsiteX379" fmla="*/ 242888 w 2377439"/>
                  <a:gd name="connsiteY379" fmla="*/ 106585 h 1217199"/>
                  <a:gd name="connsiteX380" fmla="*/ 203835 w 2377439"/>
                  <a:gd name="connsiteY380" fmla="*/ 127635 h 1217199"/>
                  <a:gd name="connsiteX381" fmla="*/ 193357 w 2377439"/>
                  <a:gd name="connsiteY381" fmla="*/ 120015 h 1217199"/>
                  <a:gd name="connsiteX382" fmla="*/ 176213 w 2377439"/>
                  <a:gd name="connsiteY382" fmla="*/ 109538 h 1217199"/>
                  <a:gd name="connsiteX383" fmla="*/ 144780 w 2377439"/>
                  <a:gd name="connsiteY383" fmla="*/ 127635 h 1217199"/>
                  <a:gd name="connsiteX384" fmla="*/ 147638 w 2377439"/>
                  <a:gd name="connsiteY384" fmla="*/ 152400 h 1217199"/>
                  <a:gd name="connsiteX385" fmla="*/ 84773 w 2377439"/>
                  <a:gd name="connsiteY385" fmla="*/ 134302 h 1217199"/>
                  <a:gd name="connsiteX386" fmla="*/ 31432 w 2377439"/>
                  <a:gd name="connsiteY386" fmla="*/ 113347 h 1217199"/>
                  <a:gd name="connsiteX387" fmla="*/ 0 w 2377439"/>
                  <a:gd name="connsiteY387" fmla="*/ 109538 h 1217199"/>
                  <a:gd name="connsiteX388" fmla="*/ 0 w 2377439"/>
                  <a:gd name="connsiteY388" fmla="*/ 533305 h 1217199"/>
                  <a:gd name="connsiteX389" fmla="*/ 18098 w 2377439"/>
                  <a:gd name="connsiteY389" fmla="*/ 540067 h 1217199"/>
                  <a:gd name="connsiteX390" fmla="*/ 31432 w 2377439"/>
                  <a:gd name="connsiteY390" fmla="*/ 533305 h 1217199"/>
                  <a:gd name="connsiteX391" fmla="*/ 45720 w 2377439"/>
                  <a:gd name="connsiteY391" fmla="*/ 529590 h 1217199"/>
                  <a:gd name="connsiteX392" fmla="*/ 60007 w 2377439"/>
                  <a:gd name="connsiteY392" fmla="*/ 546735 h 1217199"/>
                  <a:gd name="connsiteX393" fmla="*/ 87630 w 2377439"/>
                  <a:gd name="connsiteY393" fmla="*/ 568642 h 1217199"/>
                  <a:gd name="connsiteX394" fmla="*/ 101917 w 2377439"/>
                  <a:gd name="connsiteY394" fmla="*/ 581978 h 1217199"/>
                  <a:gd name="connsiteX395" fmla="*/ 120015 w 2377439"/>
                  <a:gd name="connsiteY395" fmla="*/ 579025 h 1217199"/>
                  <a:gd name="connsiteX396" fmla="*/ 122873 w 2377439"/>
                  <a:gd name="connsiteY396" fmla="*/ 568642 h 1217199"/>
                  <a:gd name="connsiteX397" fmla="*/ 137160 w 2377439"/>
                  <a:gd name="connsiteY397" fmla="*/ 561023 h 1217199"/>
                  <a:gd name="connsiteX398" fmla="*/ 155257 w 2377439"/>
                  <a:gd name="connsiteY398" fmla="*/ 554355 h 1217199"/>
                  <a:gd name="connsiteX399" fmla="*/ 176213 w 2377439"/>
                  <a:gd name="connsiteY399" fmla="*/ 575310 h 1217199"/>
                  <a:gd name="connsiteX400" fmla="*/ 193357 w 2377439"/>
                  <a:gd name="connsiteY400" fmla="*/ 592455 h 1217199"/>
                  <a:gd name="connsiteX401" fmla="*/ 221932 w 2377439"/>
                  <a:gd name="connsiteY401" fmla="*/ 621030 h 1217199"/>
                  <a:gd name="connsiteX402" fmla="*/ 239077 w 2377439"/>
                  <a:gd name="connsiteY402" fmla="*/ 656273 h 1217199"/>
                  <a:gd name="connsiteX403" fmla="*/ 257175 w 2377439"/>
                  <a:gd name="connsiteY403" fmla="*/ 677228 h 1217199"/>
                  <a:gd name="connsiteX404" fmla="*/ 263842 w 2377439"/>
                  <a:gd name="connsiteY404" fmla="*/ 680942 h 1217199"/>
                  <a:gd name="connsiteX405" fmla="*/ 278130 w 2377439"/>
                  <a:gd name="connsiteY405" fmla="*/ 691515 h 1217199"/>
                  <a:gd name="connsiteX406" fmla="*/ 302895 w 2377439"/>
                  <a:gd name="connsiteY406" fmla="*/ 705803 h 1217199"/>
                  <a:gd name="connsiteX407" fmla="*/ 306705 w 2377439"/>
                  <a:gd name="connsiteY407" fmla="*/ 720090 h 1217199"/>
                  <a:gd name="connsiteX408" fmla="*/ 313373 w 2377439"/>
                  <a:gd name="connsiteY408" fmla="*/ 722948 h 1217199"/>
                  <a:gd name="connsiteX409" fmla="*/ 317182 w 2377439"/>
                  <a:gd name="connsiteY409" fmla="*/ 740950 h 1217199"/>
                  <a:gd name="connsiteX410" fmla="*/ 306705 w 2377439"/>
                  <a:gd name="connsiteY410" fmla="*/ 761905 h 1217199"/>
                  <a:gd name="connsiteX411" fmla="*/ 306705 w 2377439"/>
                  <a:gd name="connsiteY411" fmla="*/ 772478 h 1217199"/>
                  <a:gd name="connsiteX412" fmla="*/ 302895 w 2377439"/>
                  <a:gd name="connsiteY412" fmla="*/ 786765 h 1217199"/>
                  <a:gd name="connsiteX413" fmla="*/ 302895 w 2377439"/>
                  <a:gd name="connsiteY413" fmla="*/ 807625 h 1217199"/>
                  <a:gd name="connsiteX414" fmla="*/ 317182 w 2377439"/>
                  <a:gd name="connsiteY414" fmla="*/ 807625 h 1217199"/>
                  <a:gd name="connsiteX415" fmla="*/ 331470 w 2377439"/>
                  <a:gd name="connsiteY415" fmla="*/ 797242 h 1217199"/>
                  <a:gd name="connsiteX416" fmla="*/ 341948 w 2377439"/>
                  <a:gd name="connsiteY416" fmla="*/ 790480 h 1217199"/>
                  <a:gd name="connsiteX417" fmla="*/ 344805 w 2377439"/>
                  <a:gd name="connsiteY417" fmla="*/ 804767 h 1217199"/>
                  <a:gd name="connsiteX418" fmla="*/ 334328 w 2377439"/>
                  <a:gd name="connsiteY418" fmla="*/ 821912 h 1217199"/>
                  <a:gd name="connsiteX419" fmla="*/ 331470 w 2377439"/>
                  <a:gd name="connsiteY419" fmla="*/ 836200 h 1217199"/>
                  <a:gd name="connsiteX420" fmla="*/ 344805 w 2377439"/>
                  <a:gd name="connsiteY420" fmla="*/ 828580 h 1217199"/>
                  <a:gd name="connsiteX421" fmla="*/ 355282 w 2377439"/>
                  <a:gd name="connsiteY421" fmla="*/ 832485 h 1217199"/>
                  <a:gd name="connsiteX422" fmla="*/ 362903 w 2377439"/>
                  <a:gd name="connsiteY422" fmla="*/ 842867 h 1217199"/>
                  <a:gd name="connsiteX423" fmla="*/ 366713 w 2377439"/>
                  <a:gd name="connsiteY423" fmla="*/ 857155 h 1217199"/>
                  <a:gd name="connsiteX424" fmla="*/ 366713 w 2377439"/>
                  <a:gd name="connsiteY424" fmla="*/ 871442 h 1217199"/>
                  <a:gd name="connsiteX425" fmla="*/ 380048 w 2377439"/>
                  <a:gd name="connsiteY425" fmla="*/ 871442 h 1217199"/>
                  <a:gd name="connsiteX426" fmla="*/ 383857 w 2377439"/>
                  <a:gd name="connsiteY426" fmla="*/ 882015 h 1217199"/>
                  <a:gd name="connsiteX427" fmla="*/ 377190 w 2377439"/>
                  <a:gd name="connsiteY427" fmla="*/ 900017 h 1217199"/>
                  <a:gd name="connsiteX428" fmla="*/ 408623 w 2377439"/>
                  <a:gd name="connsiteY428" fmla="*/ 902875 h 1217199"/>
                  <a:gd name="connsiteX429" fmla="*/ 429578 w 2377439"/>
                  <a:gd name="connsiteY429" fmla="*/ 917162 h 1217199"/>
                  <a:gd name="connsiteX430" fmla="*/ 440055 w 2377439"/>
                  <a:gd name="connsiteY430" fmla="*/ 910590 h 1217199"/>
                  <a:gd name="connsiteX431" fmla="*/ 450532 w 2377439"/>
                  <a:gd name="connsiteY431" fmla="*/ 927735 h 1217199"/>
                  <a:gd name="connsiteX432" fmla="*/ 468630 w 2377439"/>
                  <a:gd name="connsiteY432" fmla="*/ 945737 h 1217199"/>
                  <a:gd name="connsiteX433" fmla="*/ 479107 w 2377439"/>
                  <a:gd name="connsiteY433" fmla="*/ 938117 h 1217199"/>
                  <a:gd name="connsiteX434" fmla="*/ 496253 w 2377439"/>
                  <a:gd name="connsiteY434" fmla="*/ 956310 h 1217199"/>
                  <a:gd name="connsiteX435" fmla="*/ 510540 w 2377439"/>
                  <a:gd name="connsiteY435" fmla="*/ 973455 h 1217199"/>
                  <a:gd name="connsiteX436" fmla="*/ 1267778 w 2377439"/>
                  <a:gd name="connsiteY436" fmla="*/ 973455 h 1217199"/>
                  <a:gd name="connsiteX437" fmla="*/ 1271587 w 2377439"/>
                  <a:gd name="connsiteY437" fmla="*/ 959167 h 1217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</a:cxnLst>
                <a:rect l="l" t="t" r="r" b="b"/>
                <a:pathLst>
                  <a:path w="2377439" h="1217199">
                    <a:moveTo>
                      <a:pt x="1271587" y="959167"/>
                    </a:moveTo>
                    <a:lnTo>
                      <a:pt x="1285875" y="959167"/>
                    </a:lnTo>
                    <a:lnTo>
                      <a:pt x="1288733" y="973455"/>
                    </a:lnTo>
                    <a:lnTo>
                      <a:pt x="1296353" y="980980"/>
                    </a:lnTo>
                    <a:lnTo>
                      <a:pt x="1317308" y="987742"/>
                    </a:lnTo>
                    <a:lnTo>
                      <a:pt x="1359218" y="994410"/>
                    </a:lnTo>
                    <a:lnTo>
                      <a:pt x="1383983" y="1002030"/>
                    </a:lnTo>
                    <a:lnTo>
                      <a:pt x="1404937" y="1005840"/>
                    </a:lnTo>
                    <a:lnTo>
                      <a:pt x="1415415" y="1005840"/>
                    </a:lnTo>
                    <a:lnTo>
                      <a:pt x="1425893" y="1008698"/>
                    </a:lnTo>
                    <a:lnTo>
                      <a:pt x="1440180" y="998125"/>
                    </a:lnTo>
                    <a:lnTo>
                      <a:pt x="1458278" y="987742"/>
                    </a:lnTo>
                    <a:lnTo>
                      <a:pt x="1472565" y="977265"/>
                    </a:lnTo>
                    <a:lnTo>
                      <a:pt x="1485900" y="977265"/>
                    </a:lnTo>
                    <a:lnTo>
                      <a:pt x="1503998" y="983837"/>
                    </a:lnTo>
                    <a:lnTo>
                      <a:pt x="1521143" y="983837"/>
                    </a:lnTo>
                    <a:lnTo>
                      <a:pt x="1531620" y="998125"/>
                    </a:lnTo>
                    <a:lnTo>
                      <a:pt x="1539240" y="1012412"/>
                    </a:lnTo>
                    <a:lnTo>
                      <a:pt x="1560195" y="1012412"/>
                    </a:lnTo>
                    <a:lnTo>
                      <a:pt x="1564005" y="1019080"/>
                    </a:lnTo>
                    <a:lnTo>
                      <a:pt x="1570673" y="1040987"/>
                    </a:lnTo>
                    <a:lnTo>
                      <a:pt x="1577340" y="1058228"/>
                    </a:lnTo>
                    <a:lnTo>
                      <a:pt x="1588770" y="1068705"/>
                    </a:lnTo>
                    <a:lnTo>
                      <a:pt x="1609725" y="1072515"/>
                    </a:lnTo>
                    <a:lnTo>
                      <a:pt x="1637348" y="1072515"/>
                    </a:lnTo>
                    <a:lnTo>
                      <a:pt x="1659255" y="1076230"/>
                    </a:lnTo>
                    <a:lnTo>
                      <a:pt x="1680210" y="1082992"/>
                    </a:lnTo>
                    <a:lnTo>
                      <a:pt x="1693545" y="1097280"/>
                    </a:lnTo>
                    <a:lnTo>
                      <a:pt x="1704975" y="1114330"/>
                    </a:lnTo>
                    <a:lnTo>
                      <a:pt x="1701165" y="1128617"/>
                    </a:lnTo>
                    <a:lnTo>
                      <a:pt x="1686878" y="1132523"/>
                    </a:lnTo>
                    <a:lnTo>
                      <a:pt x="1676400" y="1121950"/>
                    </a:lnTo>
                    <a:lnTo>
                      <a:pt x="1669733" y="1121950"/>
                    </a:lnTo>
                    <a:lnTo>
                      <a:pt x="1665923" y="1132523"/>
                    </a:lnTo>
                    <a:lnTo>
                      <a:pt x="1655445" y="1142905"/>
                    </a:lnTo>
                    <a:lnTo>
                      <a:pt x="1651635" y="1157192"/>
                    </a:lnTo>
                    <a:lnTo>
                      <a:pt x="1647825" y="1174337"/>
                    </a:lnTo>
                    <a:lnTo>
                      <a:pt x="1634490" y="1178242"/>
                    </a:lnTo>
                    <a:lnTo>
                      <a:pt x="1624012" y="1182053"/>
                    </a:lnTo>
                    <a:lnTo>
                      <a:pt x="1624012" y="1196340"/>
                    </a:lnTo>
                    <a:lnTo>
                      <a:pt x="1620203" y="1199198"/>
                    </a:lnTo>
                    <a:lnTo>
                      <a:pt x="1620203" y="1213485"/>
                    </a:lnTo>
                    <a:lnTo>
                      <a:pt x="1626870" y="1217200"/>
                    </a:lnTo>
                    <a:lnTo>
                      <a:pt x="1641158" y="1209580"/>
                    </a:lnTo>
                    <a:lnTo>
                      <a:pt x="1655445" y="1199198"/>
                    </a:lnTo>
                    <a:lnTo>
                      <a:pt x="1669733" y="1196340"/>
                    </a:lnTo>
                    <a:lnTo>
                      <a:pt x="1697355" y="1188625"/>
                    </a:lnTo>
                    <a:lnTo>
                      <a:pt x="1727835" y="1185767"/>
                    </a:lnTo>
                    <a:lnTo>
                      <a:pt x="1725930" y="1178242"/>
                    </a:lnTo>
                    <a:lnTo>
                      <a:pt x="1728788" y="1171480"/>
                    </a:lnTo>
                    <a:lnTo>
                      <a:pt x="1715452" y="1171480"/>
                    </a:lnTo>
                    <a:lnTo>
                      <a:pt x="1711642" y="1163955"/>
                    </a:lnTo>
                    <a:lnTo>
                      <a:pt x="1725930" y="1157192"/>
                    </a:lnTo>
                    <a:lnTo>
                      <a:pt x="1736408" y="1149667"/>
                    </a:lnTo>
                    <a:lnTo>
                      <a:pt x="1764030" y="1149667"/>
                    </a:lnTo>
                    <a:lnTo>
                      <a:pt x="1785938" y="1149667"/>
                    </a:lnTo>
                    <a:lnTo>
                      <a:pt x="1796415" y="1142905"/>
                    </a:lnTo>
                    <a:lnTo>
                      <a:pt x="1806892" y="1136237"/>
                    </a:lnTo>
                    <a:lnTo>
                      <a:pt x="1821180" y="1124903"/>
                    </a:lnTo>
                    <a:lnTo>
                      <a:pt x="1834515" y="1114330"/>
                    </a:lnTo>
                    <a:lnTo>
                      <a:pt x="1937385" y="1114330"/>
                    </a:lnTo>
                    <a:lnTo>
                      <a:pt x="1958340" y="1103948"/>
                    </a:lnTo>
                    <a:lnTo>
                      <a:pt x="1968817" y="1089660"/>
                    </a:lnTo>
                    <a:lnTo>
                      <a:pt x="1968817" y="1079087"/>
                    </a:lnTo>
                    <a:lnTo>
                      <a:pt x="1975485" y="1061942"/>
                    </a:lnTo>
                    <a:lnTo>
                      <a:pt x="1989773" y="1037273"/>
                    </a:lnTo>
                    <a:lnTo>
                      <a:pt x="2004060" y="1022985"/>
                    </a:lnTo>
                    <a:lnTo>
                      <a:pt x="2018348" y="1030605"/>
                    </a:lnTo>
                    <a:lnTo>
                      <a:pt x="2043113" y="1037273"/>
                    </a:lnTo>
                    <a:lnTo>
                      <a:pt x="2045970" y="1051560"/>
                    </a:lnTo>
                    <a:lnTo>
                      <a:pt x="2043113" y="1079087"/>
                    </a:lnTo>
                    <a:lnTo>
                      <a:pt x="2045970" y="1093375"/>
                    </a:lnTo>
                    <a:lnTo>
                      <a:pt x="2056448" y="1103948"/>
                    </a:lnTo>
                    <a:lnTo>
                      <a:pt x="2064067" y="1114330"/>
                    </a:lnTo>
                    <a:lnTo>
                      <a:pt x="2091690" y="1107662"/>
                    </a:lnTo>
                    <a:lnTo>
                      <a:pt x="2109788" y="1101090"/>
                    </a:lnTo>
                    <a:lnTo>
                      <a:pt x="2130743" y="1089660"/>
                    </a:lnTo>
                    <a:lnTo>
                      <a:pt x="2137410" y="1093375"/>
                    </a:lnTo>
                    <a:lnTo>
                      <a:pt x="2141220" y="1101090"/>
                    </a:lnTo>
                    <a:lnTo>
                      <a:pt x="2141220" y="1103948"/>
                    </a:lnTo>
                    <a:lnTo>
                      <a:pt x="2137410" y="1107662"/>
                    </a:lnTo>
                    <a:lnTo>
                      <a:pt x="2116455" y="1114330"/>
                    </a:lnTo>
                    <a:lnTo>
                      <a:pt x="2095500" y="1128617"/>
                    </a:lnTo>
                    <a:lnTo>
                      <a:pt x="2088833" y="1142905"/>
                    </a:lnTo>
                    <a:lnTo>
                      <a:pt x="2091690" y="1157192"/>
                    </a:lnTo>
                    <a:lnTo>
                      <a:pt x="2109788" y="1167765"/>
                    </a:lnTo>
                    <a:lnTo>
                      <a:pt x="2120265" y="1157192"/>
                    </a:lnTo>
                    <a:lnTo>
                      <a:pt x="2134552" y="1142905"/>
                    </a:lnTo>
                    <a:lnTo>
                      <a:pt x="2147888" y="1128617"/>
                    </a:lnTo>
                    <a:lnTo>
                      <a:pt x="2165985" y="1128617"/>
                    </a:lnTo>
                    <a:lnTo>
                      <a:pt x="2194560" y="1118235"/>
                    </a:lnTo>
                    <a:lnTo>
                      <a:pt x="2215515" y="1111567"/>
                    </a:lnTo>
                    <a:lnTo>
                      <a:pt x="2222183" y="1103948"/>
                    </a:lnTo>
                    <a:lnTo>
                      <a:pt x="2232660" y="1086803"/>
                    </a:lnTo>
                    <a:lnTo>
                      <a:pt x="2243138" y="1086803"/>
                    </a:lnTo>
                    <a:lnTo>
                      <a:pt x="2261235" y="1086803"/>
                    </a:lnTo>
                    <a:lnTo>
                      <a:pt x="2261235" y="1072515"/>
                    </a:lnTo>
                    <a:lnTo>
                      <a:pt x="2250758" y="1065848"/>
                    </a:lnTo>
                    <a:lnTo>
                      <a:pt x="2250758" y="1051560"/>
                    </a:lnTo>
                    <a:lnTo>
                      <a:pt x="2236470" y="1051560"/>
                    </a:lnTo>
                    <a:lnTo>
                      <a:pt x="2229802" y="1065848"/>
                    </a:lnTo>
                    <a:lnTo>
                      <a:pt x="2222183" y="1079087"/>
                    </a:lnTo>
                    <a:lnTo>
                      <a:pt x="2207895" y="1082992"/>
                    </a:lnTo>
                    <a:lnTo>
                      <a:pt x="2176463" y="1082992"/>
                    </a:lnTo>
                    <a:lnTo>
                      <a:pt x="2151698" y="1076230"/>
                    </a:lnTo>
                    <a:lnTo>
                      <a:pt x="2130743" y="1061942"/>
                    </a:lnTo>
                    <a:lnTo>
                      <a:pt x="2124075" y="1047655"/>
                    </a:lnTo>
                    <a:lnTo>
                      <a:pt x="2120265" y="1037273"/>
                    </a:lnTo>
                    <a:lnTo>
                      <a:pt x="2126933" y="1022985"/>
                    </a:lnTo>
                    <a:lnTo>
                      <a:pt x="2120265" y="1005840"/>
                    </a:lnTo>
                    <a:lnTo>
                      <a:pt x="2137410" y="1002030"/>
                    </a:lnTo>
                    <a:lnTo>
                      <a:pt x="2145030" y="991553"/>
                    </a:lnTo>
                    <a:lnTo>
                      <a:pt x="2137410" y="973455"/>
                    </a:lnTo>
                    <a:lnTo>
                      <a:pt x="2116455" y="966692"/>
                    </a:lnTo>
                    <a:lnTo>
                      <a:pt x="2085023" y="962978"/>
                    </a:lnTo>
                    <a:lnTo>
                      <a:pt x="2066925" y="970598"/>
                    </a:lnTo>
                    <a:lnTo>
                      <a:pt x="2056448" y="977265"/>
                    </a:lnTo>
                    <a:lnTo>
                      <a:pt x="2025015" y="991553"/>
                    </a:lnTo>
                    <a:lnTo>
                      <a:pt x="1996440" y="1008698"/>
                    </a:lnTo>
                    <a:lnTo>
                      <a:pt x="1972627" y="1037273"/>
                    </a:lnTo>
                    <a:lnTo>
                      <a:pt x="1965008" y="1040987"/>
                    </a:lnTo>
                    <a:lnTo>
                      <a:pt x="1954530" y="1047655"/>
                    </a:lnTo>
                    <a:lnTo>
                      <a:pt x="1954530" y="1043940"/>
                    </a:lnTo>
                    <a:lnTo>
                      <a:pt x="1958340" y="1040987"/>
                    </a:lnTo>
                    <a:lnTo>
                      <a:pt x="1961198" y="1033367"/>
                    </a:lnTo>
                    <a:lnTo>
                      <a:pt x="1985963" y="1005840"/>
                    </a:lnTo>
                    <a:lnTo>
                      <a:pt x="2004060" y="987742"/>
                    </a:lnTo>
                    <a:lnTo>
                      <a:pt x="2028825" y="966692"/>
                    </a:lnTo>
                    <a:lnTo>
                      <a:pt x="2053590" y="959167"/>
                    </a:lnTo>
                    <a:lnTo>
                      <a:pt x="2066925" y="938117"/>
                    </a:lnTo>
                    <a:lnTo>
                      <a:pt x="2095500" y="927735"/>
                    </a:lnTo>
                    <a:lnTo>
                      <a:pt x="2145030" y="923830"/>
                    </a:lnTo>
                    <a:lnTo>
                      <a:pt x="2180273" y="923830"/>
                    </a:lnTo>
                    <a:lnTo>
                      <a:pt x="2225993" y="931450"/>
                    </a:lnTo>
                    <a:lnTo>
                      <a:pt x="2264093" y="923830"/>
                    </a:lnTo>
                    <a:lnTo>
                      <a:pt x="2292668" y="902875"/>
                    </a:lnTo>
                    <a:lnTo>
                      <a:pt x="2306955" y="885730"/>
                    </a:lnTo>
                    <a:lnTo>
                      <a:pt x="2342198" y="885730"/>
                    </a:lnTo>
                    <a:lnTo>
                      <a:pt x="2359343" y="875348"/>
                    </a:lnTo>
                    <a:lnTo>
                      <a:pt x="2373630" y="861060"/>
                    </a:lnTo>
                    <a:lnTo>
                      <a:pt x="2377440" y="836200"/>
                    </a:lnTo>
                    <a:lnTo>
                      <a:pt x="2373630" y="807625"/>
                    </a:lnTo>
                    <a:lnTo>
                      <a:pt x="2352675" y="797242"/>
                    </a:lnTo>
                    <a:lnTo>
                      <a:pt x="2342198" y="797242"/>
                    </a:lnTo>
                    <a:lnTo>
                      <a:pt x="2338388" y="797242"/>
                    </a:lnTo>
                    <a:lnTo>
                      <a:pt x="2331720" y="780098"/>
                    </a:lnTo>
                    <a:lnTo>
                      <a:pt x="2313623" y="782955"/>
                    </a:lnTo>
                    <a:lnTo>
                      <a:pt x="2288858" y="793337"/>
                    </a:lnTo>
                    <a:lnTo>
                      <a:pt x="2261235" y="807625"/>
                    </a:lnTo>
                    <a:lnTo>
                      <a:pt x="2257425" y="807625"/>
                    </a:lnTo>
                    <a:lnTo>
                      <a:pt x="2257425" y="804767"/>
                    </a:lnTo>
                    <a:lnTo>
                      <a:pt x="2253615" y="801053"/>
                    </a:lnTo>
                    <a:lnTo>
                      <a:pt x="2275523" y="790480"/>
                    </a:lnTo>
                    <a:lnTo>
                      <a:pt x="2288858" y="782955"/>
                    </a:lnTo>
                    <a:lnTo>
                      <a:pt x="2313623" y="772478"/>
                    </a:lnTo>
                    <a:lnTo>
                      <a:pt x="2321243" y="758190"/>
                    </a:lnTo>
                    <a:lnTo>
                      <a:pt x="2306955" y="758190"/>
                    </a:lnTo>
                    <a:lnTo>
                      <a:pt x="2286000" y="751523"/>
                    </a:lnTo>
                    <a:lnTo>
                      <a:pt x="2261235" y="744855"/>
                    </a:lnTo>
                    <a:lnTo>
                      <a:pt x="2243138" y="737235"/>
                    </a:lnTo>
                    <a:lnTo>
                      <a:pt x="2243138" y="726662"/>
                    </a:lnTo>
                    <a:lnTo>
                      <a:pt x="2240280" y="720090"/>
                    </a:lnTo>
                    <a:lnTo>
                      <a:pt x="2211705" y="701992"/>
                    </a:lnTo>
                    <a:lnTo>
                      <a:pt x="2207895" y="687705"/>
                    </a:lnTo>
                    <a:lnTo>
                      <a:pt x="2218373" y="677228"/>
                    </a:lnTo>
                    <a:lnTo>
                      <a:pt x="2211705" y="656273"/>
                    </a:lnTo>
                    <a:lnTo>
                      <a:pt x="2207895" y="635317"/>
                    </a:lnTo>
                    <a:lnTo>
                      <a:pt x="2190750" y="624840"/>
                    </a:lnTo>
                    <a:lnTo>
                      <a:pt x="2186940" y="610553"/>
                    </a:lnTo>
                    <a:lnTo>
                      <a:pt x="2162175" y="579025"/>
                    </a:lnTo>
                    <a:lnTo>
                      <a:pt x="2145030" y="550450"/>
                    </a:lnTo>
                    <a:lnTo>
                      <a:pt x="2130743" y="529590"/>
                    </a:lnTo>
                    <a:lnTo>
                      <a:pt x="2120265" y="540067"/>
                    </a:lnTo>
                    <a:lnTo>
                      <a:pt x="2105977" y="557117"/>
                    </a:lnTo>
                    <a:lnTo>
                      <a:pt x="2105977" y="579025"/>
                    </a:lnTo>
                    <a:lnTo>
                      <a:pt x="2081213" y="599980"/>
                    </a:lnTo>
                    <a:lnTo>
                      <a:pt x="2056448" y="621030"/>
                    </a:lnTo>
                    <a:lnTo>
                      <a:pt x="2035492" y="610553"/>
                    </a:lnTo>
                    <a:lnTo>
                      <a:pt x="2021205" y="596265"/>
                    </a:lnTo>
                    <a:lnTo>
                      <a:pt x="2000250" y="592455"/>
                    </a:lnTo>
                    <a:lnTo>
                      <a:pt x="2000250" y="579025"/>
                    </a:lnTo>
                    <a:lnTo>
                      <a:pt x="1989773" y="554355"/>
                    </a:lnTo>
                    <a:lnTo>
                      <a:pt x="1989773" y="529590"/>
                    </a:lnTo>
                    <a:lnTo>
                      <a:pt x="1996440" y="511492"/>
                    </a:lnTo>
                    <a:lnTo>
                      <a:pt x="1958340" y="504730"/>
                    </a:lnTo>
                    <a:lnTo>
                      <a:pt x="1933575" y="490442"/>
                    </a:lnTo>
                    <a:lnTo>
                      <a:pt x="1919288" y="469487"/>
                    </a:lnTo>
                    <a:lnTo>
                      <a:pt x="1894523" y="451485"/>
                    </a:lnTo>
                    <a:lnTo>
                      <a:pt x="1873567" y="438055"/>
                    </a:lnTo>
                    <a:lnTo>
                      <a:pt x="1863090" y="451485"/>
                    </a:lnTo>
                    <a:lnTo>
                      <a:pt x="1838325" y="455200"/>
                    </a:lnTo>
                    <a:lnTo>
                      <a:pt x="1821180" y="451485"/>
                    </a:lnTo>
                    <a:lnTo>
                      <a:pt x="1792605" y="440912"/>
                    </a:lnTo>
                    <a:lnTo>
                      <a:pt x="1761173" y="440912"/>
                    </a:lnTo>
                    <a:lnTo>
                      <a:pt x="1753552" y="465772"/>
                    </a:lnTo>
                    <a:lnTo>
                      <a:pt x="1771650" y="483775"/>
                    </a:lnTo>
                    <a:lnTo>
                      <a:pt x="1764030" y="515303"/>
                    </a:lnTo>
                    <a:lnTo>
                      <a:pt x="1767840" y="536162"/>
                    </a:lnTo>
                    <a:lnTo>
                      <a:pt x="1771650" y="557117"/>
                    </a:lnTo>
                    <a:lnTo>
                      <a:pt x="1753552" y="579025"/>
                    </a:lnTo>
                    <a:lnTo>
                      <a:pt x="1743075" y="589598"/>
                    </a:lnTo>
                    <a:lnTo>
                      <a:pt x="1740217" y="599980"/>
                    </a:lnTo>
                    <a:lnTo>
                      <a:pt x="1757363" y="610553"/>
                    </a:lnTo>
                    <a:lnTo>
                      <a:pt x="1778317" y="624840"/>
                    </a:lnTo>
                    <a:lnTo>
                      <a:pt x="1796415" y="656273"/>
                    </a:lnTo>
                    <a:lnTo>
                      <a:pt x="1799273" y="695230"/>
                    </a:lnTo>
                    <a:lnTo>
                      <a:pt x="1782127" y="716280"/>
                    </a:lnTo>
                    <a:lnTo>
                      <a:pt x="1764030" y="737235"/>
                    </a:lnTo>
                    <a:lnTo>
                      <a:pt x="1725930" y="747617"/>
                    </a:lnTo>
                    <a:lnTo>
                      <a:pt x="1711642" y="755237"/>
                    </a:lnTo>
                    <a:lnTo>
                      <a:pt x="1725930" y="790480"/>
                    </a:lnTo>
                    <a:lnTo>
                      <a:pt x="1732598" y="815340"/>
                    </a:lnTo>
                    <a:lnTo>
                      <a:pt x="1743075" y="850487"/>
                    </a:lnTo>
                    <a:lnTo>
                      <a:pt x="1740217" y="864775"/>
                    </a:lnTo>
                    <a:lnTo>
                      <a:pt x="1732598" y="878205"/>
                    </a:lnTo>
                    <a:lnTo>
                      <a:pt x="1707833" y="892492"/>
                    </a:lnTo>
                    <a:lnTo>
                      <a:pt x="1693545" y="885730"/>
                    </a:lnTo>
                    <a:lnTo>
                      <a:pt x="1683068" y="878205"/>
                    </a:lnTo>
                    <a:lnTo>
                      <a:pt x="1662112" y="853440"/>
                    </a:lnTo>
                    <a:lnTo>
                      <a:pt x="1641158" y="828580"/>
                    </a:lnTo>
                    <a:lnTo>
                      <a:pt x="1641158" y="815340"/>
                    </a:lnTo>
                    <a:lnTo>
                      <a:pt x="1641158" y="804767"/>
                    </a:lnTo>
                    <a:lnTo>
                      <a:pt x="1641158" y="780098"/>
                    </a:lnTo>
                    <a:lnTo>
                      <a:pt x="1634490" y="740950"/>
                    </a:lnTo>
                    <a:lnTo>
                      <a:pt x="1612583" y="740950"/>
                    </a:lnTo>
                    <a:lnTo>
                      <a:pt x="1591628" y="737235"/>
                    </a:lnTo>
                    <a:lnTo>
                      <a:pt x="1577340" y="734378"/>
                    </a:lnTo>
                    <a:lnTo>
                      <a:pt x="1560195" y="734378"/>
                    </a:lnTo>
                    <a:lnTo>
                      <a:pt x="1521143" y="720090"/>
                    </a:lnTo>
                    <a:lnTo>
                      <a:pt x="1489710" y="701992"/>
                    </a:lnTo>
                    <a:lnTo>
                      <a:pt x="1461135" y="674275"/>
                    </a:lnTo>
                    <a:lnTo>
                      <a:pt x="1433512" y="670560"/>
                    </a:lnTo>
                    <a:lnTo>
                      <a:pt x="1408748" y="659987"/>
                    </a:lnTo>
                    <a:lnTo>
                      <a:pt x="1377315" y="659987"/>
                    </a:lnTo>
                    <a:lnTo>
                      <a:pt x="1352550" y="666655"/>
                    </a:lnTo>
                    <a:lnTo>
                      <a:pt x="1338262" y="621030"/>
                    </a:lnTo>
                    <a:lnTo>
                      <a:pt x="1331595" y="606742"/>
                    </a:lnTo>
                    <a:lnTo>
                      <a:pt x="1317308" y="603885"/>
                    </a:lnTo>
                    <a:lnTo>
                      <a:pt x="1299210" y="603885"/>
                    </a:lnTo>
                    <a:lnTo>
                      <a:pt x="1296353" y="592455"/>
                    </a:lnTo>
                    <a:lnTo>
                      <a:pt x="1292543" y="585692"/>
                    </a:lnTo>
                    <a:lnTo>
                      <a:pt x="1303020" y="511492"/>
                    </a:lnTo>
                    <a:lnTo>
                      <a:pt x="1334453" y="459105"/>
                    </a:lnTo>
                    <a:lnTo>
                      <a:pt x="1369695" y="426625"/>
                    </a:lnTo>
                    <a:lnTo>
                      <a:pt x="1402080" y="420053"/>
                    </a:lnTo>
                    <a:lnTo>
                      <a:pt x="1398270" y="402812"/>
                    </a:lnTo>
                    <a:lnTo>
                      <a:pt x="1369695" y="391478"/>
                    </a:lnTo>
                    <a:lnTo>
                      <a:pt x="1359218" y="380905"/>
                    </a:lnTo>
                    <a:lnTo>
                      <a:pt x="1380173" y="388525"/>
                    </a:lnTo>
                    <a:lnTo>
                      <a:pt x="1415415" y="384810"/>
                    </a:lnTo>
                    <a:lnTo>
                      <a:pt x="1415415" y="367665"/>
                    </a:lnTo>
                    <a:lnTo>
                      <a:pt x="1429703" y="374237"/>
                    </a:lnTo>
                    <a:lnTo>
                      <a:pt x="1443990" y="374237"/>
                    </a:lnTo>
                    <a:lnTo>
                      <a:pt x="1461135" y="370522"/>
                    </a:lnTo>
                    <a:lnTo>
                      <a:pt x="1479233" y="359950"/>
                    </a:lnTo>
                    <a:lnTo>
                      <a:pt x="1493520" y="339090"/>
                    </a:lnTo>
                    <a:lnTo>
                      <a:pt x="1503998" y="320992"/>
                    </a:lnTo>
                    <a:lnTo>
                      <a:pt x="1483043" y="320992"/>
                    </a:lnTo>
                    <a:lnTo>
                      <a:pt x="1468755" y="318135"/>
                    </a:lnTo>
                    <a:lnTo>
                      <a:pt x="1447800" y="314230"/>
                    </a:lnTo>
                    <a:lnTo>
                      <a:pt x="1437323" y="303847"/>
                    </a:lnTo>
                    <a:lnTo>
                      <a:pt x="1429703" y="289560"/>
                    </a:lnTo>
                    <a:lnTo>
                      <a:pt x="1447800" y="293275"/>
                    </a:lnTo>
                    <a:lnTo>
                      <a:pt x="1468755" y="307562"/>
                    </a:lnTo>
                    <a:lnTo>
                      <a:pt x="1489710" y="310515"/>
                    </a:lnTo>
                    <a:lnTo>
                      <a:pt x="1507808" y="307562"/>
                    </a:lnTo>
                    <a:lnTo>
                      <a:pt x="1521143" y="293275"/>
                    </a:lnTo>
                    <a:lnTo>
                      <a:pt x="1531620" y="275272"/>
                    </a:lnTo>
                    <a:lnTo>
                      <a:pt x="1521143" y="264700"/>
                    </a:lnTo>
                    <a:lnTo>
                      <a:pt x="1528762" y="254317"/>
                    </a:lnTo>
                    <a:lnTo>
                      <a:pt x="1545908" y="254317"/>
                    </a:lnTo>
                    <a:lnTo>
                      <a:pt x="1566862" y="275272"/>
                    </a:lnTo>
                    <a:lnTo>
                      <a:pt x="1581150" y="268605"/>
                    </a:lnTo>
                    <a:lnTo>
                      <a:pt x="1588770" y="254317"/>
                    </a:lnTo>
                    <a:lnTo>
                      <a:pt x="1612583" y="268605"/>
                    </a:lnTo>
                    <a:lnTo>
                      <a:pt x="1630680" y="258127"/>
                    </a:lnTo>
                    <a:lnTo>
                      <a:pt x="1651635" y="240030"/>
                    </a:lnTo>
                    <a:lnTo>
                      <a:pt x="1665923" y="222885"/>
                    </a:lnTo>
                    <a:lnTo>
                      <a:pt x="1655445" y="201835"/>
                    </a:lnTo>
                    <a:lnTo>
                      <a:pt x="1644968" y="187547"/>
                    </a:lnTo>
                    <a:lnTo>
                      <a:pt x="1641158" y="169450"/>
                    </a:lnTo>
                    <a:lnTo>
                      <a:pt x="1655445" y="165735"/>
                    </a:lnTo>
                    <a:lnTo>
                      <a:pt x="1665923" y="158972"/>
                    </a:lnTo>
                    <a:lnTo>
                      <a:pt x="1647825" y="134302"/>
                    </a:lnTo>
                    <a:lnTo>
                      <a:pt x="1624012" y="117062"/>
                    </a:lnTo>
                    <a:lnTo>
                      <a:pt x="1584960" y="102775"/>
                    </a:lnTo>
                    <a:lnTo>
                      <a:pt x="1553528" y="99060"/>
                    </a:lnTo>
                    <a:lnTo>
                      <a:pt x="1549718" y="109538"/>
                    </a:lnTo>
                    <a:lnTo>
                      <a:pt x="1560195" y="130397"/>
                    </a:lnTo>
                    <a:lnTo>
                      <a:pt x="1564005" y="144685"/>
                    </a:lnTo>
                    <a:lnTo>
                      <a:pt x="1543050" y="158972"/>
                    </a:lnTo>
                    <a:lnTo>
                      <a:pt x="1539240" y="187547"/>
                    </a:lnTo>
                    <a:lnTo>
                      <a:pt x="1524953" y="212312"/>
                    </a:lnTo>
                    <a:lnTo>
                      <a:pt x="1510665" y="222885"/>
                    </a:lnTo>
                    <a:lnTo>
                      <a:pt x="1485900" y="212312"/>
                    </a:lnTo>
                    <a:lnTo>
                      <a:pt x="1468755" y="198025"/>
                    </a:lnTo>
                    <a:lnTo>
                      <a:pt x="1472565" y="177165"/>
                    </a:lnTo>
                    <a:lnTo>
                      <a:pt x="1483043" y="158972"/>
                    </a:lnTo>
                    <a:lnTo>
                      <a:pt x="1464945" y="138113"/>
                    </a:lnTo>
                    <a:lnTo>
                      <a:pt x="1443990" y="130397"/>
                    </a:lnTo>
                    <a:lnTo>
                      <a:pt x="1433512" y="144685"/>
                    </a:lnTo>
                    <a:lnTo>
                      <a:pt x="1443990" y="162877"/>
                    </a:lnTo>
                    <a:lnTo>
                      <a:pt x="1429703" y="173260"/>
                    </a:lnTo>
                    <a:lnTo>
                      <a:pt x="1412558" y="165735"/>
                    </a:lnTo>
                    <a:lnTo>
                      <a:pt x="1402080" y="141922"/>
                    </a:lnTo>
                    <a:lnTo>
                      <a:pt x="1398270" y="113347"/>
                    </a:lnTo>
                    <a:lnTo>
                      <a:pt x="1383983" y="109538"/>
                    </a:lnTo>
                    <a:lnTo>
                      <a:pt x="1363028" y="113347"/>
                    </a:lnTo>
                    <a:lnTo>
                      <a:pt x="1356360" y="95250"/>
                    </a:lnTo>
                    <a:lnTo>
                      <a:pt x="1366837" y="84772"/>
                    </a:lnTo>
                    <a:lnTo>
                      <a:pt x="1363028" y="71438"/>
                    </a:lnTo>
                    <a:lnTo>
                      <a:pt x="1344930" y="46672"/>
                    </a:lnTo>
                    <a:lnTo>
                      <a:pt x="1342073" y="36100"/>
                    </a:lnTo>
                    <a:lnTo>
                      <a:pt x="1321118" y="7525"/>
                    </a:lnTo>
                    <a:lnTo>
                      <a:pt x="1288733" y="0"/>
                    </a:lnTo>
                    <a:lnTo>
                      <a:pt x="1271587" y="7525"/>
                    </a:lnTo>
                    <a:lnTo>
                      <a:pt x="1263968" y="21812"/>
                    </a:lnTo>
                    <a:lnTo>
                      <a:pt x="1246823" y="21812"/>
                    </a:lnTo>
                    <a:lnTo>
                      <a:pt x="1240155" y="46672"/>
                    </a:lnTo>
                    <a:lnTo>
                      <a:pt x="1253490" y="57150"/>
                    </a:lnTo>
                    <a:lnTo>
                      <a:pt x="1240155" y="78010"/>
                    </a:lnTo>
                    <a:lnTo>
                      <a:pt x="1246823" y="92297"/>
                    </a:lnTo>
                    <a:lnTo>
                      <a:pt x="1271587" y="106585"/>
                    </a:lnTo>
                    <a:lnTo>
                      <a:pt x="1303020" y="113347"/>
                    </a:lnTo>
                    <a:lnTo>
                      <a:pt x="1321118" y="138113"/>
                    </a:lnTo>
                    <a:lnTo>
                      <a:pt x="1323975" y="158972"/>
                    </a:lnTo>
                    <a:lnTo>
                      <a:pt x="1306830" y="180022"/>
                    </a:lnTo>
                    <a:lnTo>
                      <a:pt x="1271587" y="190500"/>
                    </a:lnTo>
                    <a:lnTo>
                      <a:pt x="1274445" y="212312"/>
                    </a:lnTo>
                    <a:lnTo>
                      <a:pt x="1274445" y="237172"/>
                    </a:lnTo>
                    <a:lnTo>
                      <a:pt x="1261110" y="237172"/>
                    </a:lnTo>
                    <a:lnTo>
                      <a:pt x="1250633" y="222885"/>
                    </a:lnTo>
                    <a:lnTo>
                      <a:pt x="1240155" y="204788"/>
                    </a:lnTo>
                    <a:lnTo>
                      <a:pt x="1246823" y="198025"/>
                    </a:lnTo>
                    <a:lnTo>
                      <a:pt x="1225868" y="177165"/>
                    </a:lnTo>
                    <a:lnTo>
                      <a:pt x="1204912" y="169450"/>
                    </a:lnTo>
                    <a:lnTo>
                      <a:pt x="1193483" y="173260"/>
                    </a:lnTo>
                    <a:lnTo>
                      <a:pt x="1190625" y="187547"/>
                    </a:lnTo>
                    <a:lnTo>
                      <a:pt x="1211580" y="190500"/>
                    </a:lnTo>
                    <a:lnTo>
                      <a:pt x="1222058" y="198025"/>
                    </a:lnTo>
                    <a:lnTo>
                      <a:pt x="1211580" y="208597"/>
                    </a:lnTo>
                    <a:lnTo>
                      <a:pt x="1176337" y="204788"/>
                    </a:lnTo>
                    <a:lnTo>
                      <a:pt x="1137285" y="204788"/>
                    </a:lnTo>
                    <a:lnTo>
                      <a:pt x="1095375" y="204788"/>
                    </a:lnTo>
                    <a:lnTo>
                      <a:pt x="1056323" y="198025"/>
                    </a:lnTo>
                    <a:lnTo>
                      <a:pt x="1018223" y="183737"/>
                    </a:lnTo>
                    <a:lnTo>
                      <a:pt x="985837" y="165735"/>
                    </a:lnTo>
                    <a:lnTo>
                      <a:pt x="943928" y="183737"/>
                    </a:lnTo>
                    <a:lnTo>
                      <a:pt x="925830" y="194310"/>
                    </a:lnTo>
                    <a:lnTo>
                      <a:pt x="933450" y="212312"/>
                    </a:lnTo>
                    <a:lnTo>
                      <a:pt x="940118" y="243840"/>
                    </a:lnTo>
                    <a:lnTo>
                      <a:pt x="929640" y="250412"/>
                    </a:lnTo>
                    <a:lnTo>
                      <a:pt x="915353" y="229552"/>
                    </a:lnTo>
                    <a:lnTo>
                      <a:pt x="887730" y="212312"/>
                    </a:lnTo>
                    <a:lnTo>
                      <a:pt x="856298" y="194310"/>
                    </a:lnTo>
                    <a:lnTo>
                      <a:pt x="842010" y="201835"/>
                    </a:lnTo>
                    <a:lnTo>
                      <a:pt x="802957" y="204788"/>
                    </a:lnTo>
                    <a:lnTo>
                      <a:pt x="750570" y="208597"/>
                    </a:lnTo>
                    <a:lnTo>
                      <a:pt x="721995" y="194310"/>
                    </a:lnTo>
                    <a:lnTo>
                      <a:pt x="725805" y="180022"/>
                    </a:lnTo>
                    <a:lnTo>
                      <a:pt x="746760" y="177165"/>
                    </a:lnTo>
                    <a:lnTo>
                      <a:pt x="742950" y="162877"/>
                    </a:lnTo>
                    <a:lnTo>
                      <a:pt x="711518" y="148590"/>
                    </a:lnTo>
                    <a:lnTo>
                      <a:pt x="672465" y="144685"/>
                    </a:lnTo>
                    <a:lnTo>
                      <a:pt x="620078" y="127635"/>
                    </a:lnTo>
                    <a:lnTo>
                      <a:pt x="577215" y="117062"/>
                    </a:lnTo>
                    <a:lnTo>
                      <a:pt x="531495" y="99060"/>
                    </a:lnTo>
                    <a:lnTo>
                      <a:pt x="496253" y="109538"/>
                    </a:lnTo>
                    <a:lnTo>
                      <a:pt x="475298" y="123825"/>
                    </a:lnTo>
                    <a:lnTo>
                      <a:pt x="461010" y="92297"/>
                    </a:lnTo>
                    <a:lnTo>
                      <a:pt x="450532" y="88487"/>
                    </a:lnTo>
                    <a:lnTo>
                      <a:pt x="429578" y="117062"/>
                    </a:lnTo>
                    <a:lnTo>
                      <a:pt x="404813" y="113347"/>
                    </a:lnTo>
                    <a:lnTo>
                      <a:pt x="383857" y="81915"/>
                    </a:lnTo>
                    <a:lnTo>
                      <a:pt x="366713" y="67627"/>
                    </a:lnTo>
                    <a:lnTo>
                      <a:pt x="338138" y="102775"/>
                    </a:lnTo>
                    <a:lnTo>
                      <a:pt x="317182" y="99060"/>
                    </a:lnTo>
                    <a:lnTo>
                      <a:pt x="313373" y="84772"/>
                    </a:lnTo>
                    <a:lnTo>
                      <a:pt x="285750" y="84772"/>
                    </a:lnTo>
                    <a:lnTo>
                      <a:pt x="242888" y="106585"/>
                    </a:lnTo>
                    <a:lnTo>
                      <a:pt x="203835" y="127635"/>
                    </a:lnTo>
                    <a:lnTo>
                      <a:pt x="193357" y="120015"/>
                    </a:lnTo>
                    <a:lnTo>
                      <a:pt x="176213" y="109538"/>
                    </a:lnTo>
                    <a:lnTo>
                      <a:pt x="144780" y="127635"/>
                    </a:lnTo>
                    <a:lnTo>
                      <a:pt x="147638" y="152400"/>
                    </a:lnTo>
                    <a:lnTo>
                      <a:pt x="84773" y="134302"/>
                    </a:lnTo>
                    <a:lnTo>
                      <a:pt x="31432" y="113347"/>
                    </a:lnTo>
                    <a:lnTo>
                      <a:pt x="0" y="109538"/>
                    </a:lnTo>
                    <a:lnTo>
                      <a:pt x="0" y="533305"/>
                    </a:lnTo>
                    <a:lnTo>
                      <a:pt x="18098" y="540067"/>
                    </a:lnTo>
                    <a:lnTo>
                      <a:pt x="31432" y="533305"/>
                    </a:lnTo>
                    <a:lnTo>
                      <a:pt x="45720" y="529590"/>
                    </a:lnTo>
                    <a:lnTo>
                      <a:pt x="60007" y="546735"/>
                    </a:lnTo>
                    <a:lnTo>
                      <a:pt x="87630" y="568642"/>
                    </a:lnTo>
                    <a:lnTo>
                      <a:pt x="101917" y="581978"/>
                    </a:lnTo>
                    <a:lnTo>
                      <a:pt x="120015" y="579025"/>
                    </a:lnTo>
                    <a:lnTo>
                      <a:pt x="122873" y="568642"/>
                    </a:lnTo>
                    <a:lnTo>
                      <a:pt x="137160" y="561023"/>
                    </a:lnTo>
                    <a:lnTo>
                      <a:pt x="155257" y="554355"/>
                    </a:lnTo>
                    <a:lnTo>
                      <a:pt x="176213" y="575310"/>
                    </a:lnTo>
                    <a:lnTo>
                      <a:pt x="193357" y="592455"/>
                    </a:lnTo>
                    <a:lnTo>
                      <a:pt x="221932" y="621030"/>
                    </a:lnTo>
                    <a:lnTo>
                      <a:pt x="239077" y="656273"/>
                    </a:lnTo>
                    <a:lnTo>
                      <a:pt x="257175" y="677228"/>
                    </a:lnTo>
                    <a:lnTo>
                      <a:pt x="263842" y="680942"/>
                    </a:lnTo>
                    <a:lnTo>
                      <a:pt x="278130" y="691515"/>
                    </a:lnTo>
                    <a:lnTo>
                      <a:pt x="302895" y="705803"/>
                    </a:lnTo>
                    <a:lnTo>
                      <a:pt x="306705" y="720090"/>
                    </a:lnTo>
                    <a:lnTo>
                      <a:pt x="313373" y="722948"/>
                    </a:lnTo>
                    <a:lnTo>
                      <a:pt x="317182" y="740950"/>
                    </a:lnTo>
                    <a:lnTo>
                      <a:pt x="306705" y="761905"/>
                    </a:lnTo>
                    <a:lnTo>
                      <a:pt x="306705" y="772478"/>
                    </a:lnTo>
                    <a:lnTo>
                      <a:pt x="302895" y="786765"/>
                    </a:lnTo>
                    <a:lnTo>
                      <a:pt x="302895" y="807625"/>
                    </a:lnTo>
                    <a:lnTo>
                      <a:pt x="317182" y="807625"/>
                    </a:lnTo>
                    <a:lnTo>
                      <a:pt x="331470" y="797242"/>
                    </a:lnTo>
                    <a:lnTo>
                      <a:pt x="341948" y="790480"/>
                    </a:lnTo>
                    <a:lnTo>
                      <a:pt x="344805" y="804767"/>
                    </a:lnTo>
                    <a:lnTo>
                      <a:pt x="334328" y="821912"/>
                    </a:lnTo>
                    <a:lnTo>
                      <a:pt x="331470" y="836200"/>
                    </a:lnTo>
                    <a:lnTo>
                      <a:pt x="344805" y="828580"/>
                    </a:lnTo>
                    <a:lnTo>
                      <a:pt x="355282" y="832485"/>
                    </a:lnTo>
                    <a:lnTo>
                      <a:pt x="362903" y="842867"/>
                    </a:lnTo>
                    <a:lnTo>
                      <a:pt x="366713" y="857155"/>
                    </a:lnTo>
                    <a:lnTo>
                      <a:pt x="366713" y="871442"/>
                    </a:lnTo>
                    <a:lnTo>
                      <a:pt x="380048" y="871442"/>
                    </a:lnTo>
                    <a:lnTo>
                      <a:pt x="383857" y="882015"/>
                    </a:lnTo>
                    <a:lnTo>
                      <a:pt x="377190" y="900017"/>
                    </a:lnTo>
                    <a:lnTo>
                      <a:pt x="408623" y="902875"/>
                    </a:lnTo>
                    <a:lnTo>
                      <a:pt x="429578" y="917162"/>
                    </a:lnTo>
                    <a:lnTo>
                      <a:pt x="440055" y="910590"/>
                    </a:lnTo>
                    <a:lnTo>
                      <a:pt x="450532" y="927735"/>
                    </a:lnTo>
                    <a:lnTo>
                      <a:pt x="468630" y="945737"/>
                    </a:lnTo>
                    <a:lnTo>
                      <a:pt x="479107" y="938117"/>
                    </a:lnTo>
                    <a:lnTo>
                      <a:pt x="496253" y="956310"/>
                    </a:lnTo>
                    <a:lnTo>
                      <a:pt x="510540" y="973455"/>
                    </a:lnTo>
                    <a:lnTo>
                      <a:pt x="1267778" y="973455"/>
                    </a:lnTo>
                    <a:lnTo>
                      <a:pt x="1271587" y="95916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id="{69D83861-EC62-62D2-2E52-CE1D1D6B9ED3}"/>
                  </a:ext>
                </a:extLst>
              </p:cNvPr>
              <p:cNvSpPr/>
              <p:nvPr/>
            </p:nvSpPr>
            <p:spPr>
              <a:xfrm>
                <a:off x="2585758" y="3071243"/>
                <a:ext cx="1574258" cy="774998"/>
              </a:xfrm>
              <a:custGeom>
                <a:avLst/>
                <a:gdLst>
                  <a:gd name="connsiteX0" fmla="*/ 1400175 w 1605914"/>
                  <a:gd name="connsiteY0" fmla="*/ 308610 h 790575"/>
                  <a:gd name="connsiteX1" fmla="*/ 1415415 w 1605914"/>
                  <a:gd name="connsiteY1" fmla="*/ 293275 h 790575"/>
                  <a:gd name="connsiteX2" fmla="*/ 1446848 w 1605914"/>
                  <a:gd name="connsiteY2" fmla="*/ 285750 h 790575"/>
                  <a:gd name="connsiteX3" fmla="*/ 1475423 w 1605914"/>
                  <a:gd name="connsiteY3" fmla="*/ 278987 h 790575"/>
                  <a:gd name="connsiteX4" fmla="*/ 1492568 w 1605914"/>
                  <a:gd name="connsiteY4" fmla="*/ 272320 h 790575"/>
                  <a:gd name="connsiteX5" fmla="*/ 1503045 w 1605914"/>
                  <a:gd name="connsiteY5" fmla="*/ 272320 h 790575"/>
                  <a:gd name="connsiteX6" fmla="*/ 1517333 w 1605914"/>
                  <a:gd name="connsiteY6" fmla="*/ 260985 h 790575"/>
                  <a:gd name="connsiteX7" fmla="*/ 1503045 w 1605914"/>
                  <a:gd name="connsiteY7" fmla="*/ 258032 h 790575"/>
                  <a:gd name="connsiteX8" fmla="*/ 1496377 w 1605914"/>
                  <a:gd name="connsiteY8" fmla="*/ 250412 h 790575"/>
                  <a:gd name="connsiteX9" fmla="*/ 1496377 w 1605914"/>
                  <a:gd name="connsiteY9" fmla="*/ 237173 h 790575"/>
                  <a:gd name="connsiteX10" fmla="*/ 1510665 w 1605914"/>
                  <a:gd name="connsiteY10" fmla="*/ 219075 h 790575"/>
                  <a:gd name="connsiteX11" fmla="*/ 1521143 w 1605914"/>
                  <a:gd name="connsiteY11" fmla="*/ 194310 h 790575"/>
                  <a:gd name="connsiteX12" fmla="*/ 1538287 w 1605914"/>
                  <a:gd name="connsiteY12" fmla="*/ 183737 h 790575"/>
                  <a:gd name="connsiteX13" fmla="*/ 1556385 w 1605914"/>
                  <a:gd name="connsiteY13" fmla="*/ 173355 h 790575"/>
                  <a:gd name="connsiteX14" fmla="*/ 1577340 w 1605914"/>
                  <a:gd name="connsiteY14" fmla="*/ 169450 h 790575"/>
                  <a:gd name="connsiteX15" fmla="*/ 1598295 w 1605914"/>
                  <a:gd name="connsiteY15" fmla="*/ 169450 h 790575"/>
                  <a:gd name="connsiteX16" fmla="*/ 1605915 w 1605914"/>
                  <a:gd name="connsiteY16" fmla="*/ 159068 h 790575"/>
                  <a:gd name="connsiteX17" fmla="*/ 1598295 w 1605914"/>
                  <a:gd name="connsiteY17" fmla="*/ 144780 h 790575"/>
                  <a:gd name="connsiteX18" fmla="*/ 1587818 w 1605914"/>
                  <a:gd name="connsiteY18" fmla="*/ 134207 h 790575"/>
                  <a:gd name="connsiteX19" fmla="*/ 1584960 w 1605914"/>
                  <a:gd name="connsiteY19" fmla="*/ 119920 h 790575"/>
                  <a:gd name="connsiteX20" fmla="*/ 1587818 w 1605914"/>
                  <a:gd name="connsiteY20" fmla="*/ 92393 h 790575"/>
                  <a:gd name="connsiteX21" fmla="*/ 1584960 w 1605914"/>
                  <a:gd name="connsiteY21" fmla="*/ 78105 h 790575"/>
                  <a:gd name="connsiteX22" fmla="*/ 1560195 w 1605914"/>
                  <a:gd name="connsiteY22" fmla="*/ 71438 h 790575"/>
                  <a:gd name="connsiteX23" fmla="*/ 1545908 w 1605914"/>
                  <a:gd name="connsiteY23" fmla="*/ 63818 h 790575"/>
                  <a:gd name="connsiteX24" fmla="*/ 1531620 w 1605914"/>
                  <a:gd name="connsiteY24" fmla="*/ 78105 h 790575"/>
                  <a:gd name="connsiteX25" fmla="*/ 1517333 w 1605914"/>
                  <a:gd name="connsiteY25" fmla="*/ 102775 h 790575"/>
                  <a:gd name="connsiteX26" fmla="*/ 1510665 w 1605914"/>
                  <a:gd name="connsiteY26" fmla="*/ 130493 h 790575"/>
                  <a:gd name="connsiteX27" fmla="*/ 1500187 w 1605914"/>
                  <a:gd name="connsiteY27" fmla="*/ 144780 h 790575"/>
                  <a:gd name="connsiteX28" fmla="*/ 1479233 w 1605914"/>
                  <a:gd name="connsiteY28" fmla="*/ 155162 h 790575"/>
                  <a:gd name="connsiteX29" fmla="*/ 1376362 w 1605914"/>
                  <a:gd name="connsiteY29" fmla="*/ 155162 h 790575"/>
                  <a:gd name="connsiteX30" fmla="*/ 1348740 w 1605914"/>
                  <a:gd name="connsiteY30" fmla="*/ 177070 h 790575"/>
                  <a:gd name="connsiteX31" fmla="*/ 1348740 w 1605914"/>
                  <a:gd name="connsiteY31" fmla="*/ 198025 h 790575"/>
                  <a:gd name="connsiteX32" fmla="*/ 1330643 w 1605914"/>
                  <a:gd name="connsiteY32" fmla="*/ 212312 h 790575"/>
                  <a:gd name="connsiteX33" fmla="*/ 1309687 w 1605914"/>
                  <a:gd name="connsiteY33" fmla="*/ 215170 h 790575"/>
                  <a:gd name="connsiteX34" fmla="*/ 1270635 w 1605914"/>
                  <a:gd name="connsiteY34" fmla="*/ 212312 h 790575"/>
                  <a:gd name="connsiteX35" fmla="*/ 1267777 w 1605914"/>
                  <a:gd name="connsiteY35" fmla="*/ 219075 h 790575"/>
                  <a:gd name="connsiteX36" fmla="*/ 1270635 w 1605914"/>
                  <a:gd name="connsiteY36" fmla="*/ 225743 h 790575"/>
                  <a:gd name="connsiteX37" fmla="*/ 1269683 w 1605914"/>
                  <a:gd name="connsiteY37" fmla="*/ 226600 h 790575"/>
                  <a:gd name="connsiteX38" fmla="*/ 1270635 w 1605914"/>
                  <a:gd name="connsiteY38" fmla="*/ 229457 h 790575"/>
                  <a:gd name="connsiteX39" fmla="*/ 1267777 w 1605914"/>
                  <a:gd name="connsiteY39" fmla="*/ 240030 h 790575"/>
                  <a:gd name="connsiteX40" fmla="*/ 1257300 w 1605914"/>
                  <a:gd name="connsiteY40" fmla="*/ 243745 h 790575"/>
                  <a:gd name="connsiteX41" fmla="*/ 1235393 w 1605914"/>
                  <a:gd name="connsiteY41" fmla="*/ 254318 h 790575"/>
                  <a:gd name="connsiteX42" fmla="*/ 1214438 w 1605914"/>
                  <a:gd name="connsiteY42" fmla="*/ 260985 h 790575"/>
                  <a:gd name="connsiteX43" fmla="*/ 1193483 w 1605914"/>
                  <a:gd name="connsiteY43" fmla="*/ 272320 h 790575"/>
                  <a:gd name="connsiteX44" fmla="*/ 1162050 w 1605914"/>
                  <a:gd name="connsiteY44" fmla="*/ 272320 h 790575"/>
                  <a:gd name="connsiteX45" fmla="*/ 1147763 w 1605914"/>
                  <a:gd name="connsiteY45" fmla="*/ 260985 h 790575"/>
                  <a:gd name="connsiteX46" fmla="*/ 1154430 w 1605914"/>
                  <a:gd name="connsiteY46" fmla="*/ 247650 h 790575"/>
                  <a:gd name="connsiteX47" fmla="*/ 1162050 w 1605914"/>
                  <a:gd name="connsiteY47" fmla="*/ 240030 h 790575"/>
                  <a:gd name="connsiteX48" fmla="*/ 1162050 w 1605914"/>
                  <a:gd name="connsiteY48" fmla="*/ 240030 h 790575"/>
                  <a:gd name="connsiteX49" fmla="*/ 1165860 w 1605914"/>
                  <a:gd name="connsiteY49" fmla="*/ 237173 h 790575"/>
                  <a:gd name="connsiteX50" fmla="*/ 1165860 w 1605914"/>
                  <a:gd name="connsiteY50" fmla="*/ 222885 h 790575"/>
                  <a:gd name="connsiteX51" fmla="*/ 1168718 w 1605914"/>
                  <a:gd name="connsiteY51" fmla="*/ 212312 h 790575"/>
                  <a:gd name="connsiteX52" fmla="*/ 1168718 w 1605914"/>
                  <a:gd name="connsiteY52" fmla="*/ 194310 h 790575"/>
                  <a:gd name="connsiteX53" fmla="*/ 1158240 w 1605914"/>
                  <a:gd name="connsiteY53" fmla="*/ 190500 h 790575"/>
                  <a:gd name="connsiteX54" fmla="*/ 1147763 w 1605914"/>
                  <a:gd name="connsiteY54" fmla="*/ 198025 h 790575"/>
                  <a:gd name="connsiteX55" fmla="*/ 1137285 w 1605914"/>
                  <a:gd name="connsiteY55" fmla="*/ 204788 h 790575"/>
                  <a:gd name="connsiteX56" fmla="*/ 1133475 w 1605914"/>
                  <a:gd name="connsiteY56" fmla="*/ 198025 h 790575"/>
                  <a:gd name="connsiteX57" fmla="*/ 1141095 w 1605914"/>
                  <a:gd name="connsiteY57" fmla="*/ 190500 h 790575"/>
                  <a:gd name="connsiteX58" fmla="*/ 1147763 w 1605914"/>
                  <a:gd name="connsiteY58" fmla="*/ 177070 h 790575"/>
                  <a:gd name="connsiteX59" fmla="*/ 1151573 w 1605914"/>
                  <a:gd name="connsiteY59" fmla="*/ 159068 h 790575"/>
                  <a:gd name="connsiteX60" fmla="*/ 1143953 w 1605914"/>
                  <a:gd name="connsiteY60" fmla="*/ 144780 h 790575"/>
                  <a:gd name="connsiteX61" fmla="*/ 1126808 w 1605914"/>
                  <a:gd name="connsiteY61" fmla="*/ 141923 h 790575"/>
                  <a:gd name="connsiteX62" fmla="*/ 1112520 w 1605914"/>
                  <a:gd name="connsiteY62" fmla="*/ 134207 h 790575"/>
                  <a:gd name="connsiteX63" fmla="*/ 1098233 w 1605914"/>
                  <a:gd name="connsiteY63" fmla="*/ 138113 h 790575"/>
                  <a:gd name="connsiteX64" fmla="*/ 1091565 w 1605914"/>
                  <a:gd name="connsiteY64" fmla="*/ 148495 h 790575"/>
                  <a:gd name="connsiteX65" fmla="*/ 1084898 w 1605914"/>
                  <a:gd name="connsiteY65" fmla="*/ 155162 h 790575"/>
                  <a:gd name="connsiteX66" fmla="*/ 1073468 w 1605914"/>
                  <a:gd name="connsiteY66" fmla="*/ 155162 h 790575"/>
                  <a:gd name="connsiteX67" fmla="*/ 1070610 w 1605914"/>
                  <a:gd name="connsiteY67" fmla="*/ 162782 h 790575"/>
                  <a:gd name="connsiteX68" fmla="*/ 1070610 w 1605914"/>
                  <a:gd name="connsiteY68" fmla="*/ 177070 h 790575"/>
                  <a:gd name="connsiteX69" fmla="*/ 1070610 w 1605914"/>
                  <a:gd name="connsiteY69" fmla="*/ 198025 h 790575"/>
                  <a:gd name="connsiteX70" fmla="*/ 1070610 w 1605914"/>
                  <a:gd name="connsiteY70" fmla="*/ 215170 h 790575"/>
                  <a:gd name="connsiteX71" fmla="*/ 1070610 w 1605914"/>
                  <a:gd name="connsiteY71" fmla="*/ 237173 h 790575"/>
                  <a:gd name="connsiteX72" fmla="*/ 1062990 w 1605914"/>
                  <a:gd name="connsiteY72" fmla="*/ 254318 h 790575"/>
                  <a:gd name="connsiteX73" fmla="*/ 1045845 w 1605914"/>
                  <a:gd name="connsiteY73" fmla="*/ 268605 h 790575"/>
                  <a:gd name="connsiteX74" fmla="*/ 1027747 w 1605914"/>
                  <a:gd name="connsiteY74" fmla="*/ 272320 h 790575"/>
                  <a:gd name="connsiteX75" fmla="*/ 1021080 w 1605914"/>
                  <a:gd name="connsiteY75" fmla="*/ 247650 h 790575"/>
                  <a:gd name="connsiteX76" fmla="*/ 1021080 w 1605914"/>
                  <a:gd name="connsiteY76" fmla="*/ 225743 h 790575"/>
                  <a:gd name="connsiteX77" fmla="*/ 1027747 w 1605914"/>
                  <a:gd name="connsiteY77" fmla="*/ 183737 h 790575"/>
                  <a:gd name="connsiteX78" fmla="*/ 1042035 w 1605914"/>
                  <a:gd name="connsiteY78" fmla="*/ 152400 h 790575"/>
                  <a:gd name="connsiteX79" fmla="*/ 1035368 w 1605914"/>
                  <a:gd name="connsiteY79" fmla="*/ 165735 h 790575"/>
                  <a:gd name="connsiteX80" fmla="*/ 1021080 w 1605914"/>
                  <a:gd name="connsiteY80" fmla="*/ 169450 h 790575"/>
                  <a:gd name="connsiteX81" fmla="*/ 1017270 w 1605914"/>
                  <a:gd name="connsiteY81" fmla="*/ 155162 h 790575"/>
                  <a:gd name="connsiteX82" fmla="*/ 1035368 w 1605914"/>
                  <a:gd name="connsiteY82" fmla="*/ 141923 h 790575"/>
                  <a:gd name="connsiteX83" fmla="*/ 1049655 w 1605914"/>
                  <a:gd name="connsiteY83" fmla="*/ 127635 h 790575"/>
                  <a:gd name="connsiteX84" fmla="*/ 1056323 w 1605914"/>
                  <a:gd name="connsiteY84" fmla="*/ 119920 h 790575"/>
                  <a:gd name="connsiteX85" fmla="*/ 1062990 w 1605914"/>
                  <a:gd name="connsiteY85" fmla="*/ 127635 h 790575"/>
                  <a:gd name="connsiteX86" fmla="*/ 1073468 w 1605914"/>
                  <a:gd name="connsiteY86" fmla="*/ 123825 h 790575"/>
                  <a:gd name="connsiteX87" fmla="*/ 1087755 w 1605914"/>
                  <a:gd name="connsiteY87" fmla="*/ 113348 h 790575"/>
                  <a:gd name="connsiteX88" fmla="*/ 1105853 w 1605914"/>
                  <a:gd name="connsiteY88" fmla="*/ 113348 h 790575"/>
                  <a:gd name="connsiteX89" fmla="*/ 1119188 w 1605914"/>
                  <a:gd name="connsiteY89" fmla="*/ 119920 h 790575"/>
                  <a:gd name="connsiteX90" fmla="*/ 1119188 w 1605914"/>
                  <a:gd name="connsiteY90" fmla="*/ 113348 h 790575"/>
                  <a:gd name="connsiteX91" fmla="*/ 1105853 w 1605914"/>
                  <a:gd name="connsiteY91" fmla="*/ 102775 h 790575"/>
                  <a:gd name="connsiteX92" fmla="*/ 1095375 w 1605914"/>
                  <a:gd name="connsiteY92" fmla="*/ 95250 h 790575"/>
                  <a:gd name="connsiteX93" fmla="*/ 1077278 w 1605914"/>
                  <a:gd name="connsiteY93" fmla="*/ 99060 h 790575"/>
                  <a:gd name="connsiteX94" fmla="*/ 1062990 w 1605914"/>
                  <a:gd name="connsiteY94" fmla="*/ 99060 h 790575"/>
                  <a:gd name="connsiteX95" fmla="*/ 1045845 w 1605914"/>
                  <a:gd name="connsiteY95" fmla="*/ 102775 h 790575"/>
                  <a:gd name="connsiteX96" fmla="*/ 1027747 w 1605914"/>
                  <a:gd name="connsiteY96" fmla="*/ 95250 h 790575"/>
                  <a:gd name="connsiteX97" fmla="*/ 1010603 w 1605914"/>
                  <a:gd name="connsiteY97" fmla="*/ 84773 h 790575"/>
                  <a:gd name="connsiteX98" fmla="*/ 1002983 w 1605914"/>
                  <a:gd name="connsiteY98" fmla="*/ 74200 h 790575"/>
                  <a:gd name="connsiteX99" fmla="*/ 989647 w 1605914"/>
                  <a:gd name="connsiteY99" fmla="*/ 84773 h 790575"/>
                  <a:gd name="connsiteX100" fmla="*/ 982028 w 1605914"/>
                  <a:gd name="connsiteY100" fmla="*/ 92393 h 790575"/>
                  <a:gd name="connsiteX101" fmla="*/ 971550 w 1605914"/>
                  <a:gd name="connsiteY101" fmla="*/ 99060 h 790575"/>
                  <a:gd name="connsiteX102" fmla="*/ 950595 w 1605914"/>
                  <a:gd name="connsiteY102" fmla="*/ 99060 h 790575"/>
                  <a:gd name="connsiteX103" fmla="*/ 925830 w 1605914"/>
                  <a:gd name="connsiteY103" fmla="*/ 99060 h 790575"/>
                  <a:gd name="connsiteX104" fmla="*/ 908685 w 1605914"/>
                  <a:gd name="connsiteY104" fmla="*/ 92393 h 790575"/>
                  <a:gd name="connsiteX105" fmla="*/ 915353 w 1605914"/>
                  <a:gd name="connsiteY105" fmla="*/ 84773 h 790575"/>
                  <a:gd name="connsiteX106" fmla="*/ 929640 w 1605914"/>
                  <a:gd name="connsiteY106" fmla="*/ 71438 h 790575"/>
                  <a:gd name="connsiteX107" fmla="*/ 943928 w 1605914"/>
                  <a:gd name="connsiteY107" fmla="*/ 63818 h 790575"/>
                  <a:gd name="connsiteX108" fmla="*/ 964883 w 1605914"/>
                  <a:gd name="connsiteY108" fmla="*/ 57150 h 790575"/>
                  <a:gd name="connsiteX109" fmla="*/ 967740 w 1605914"/>
                  <a:gd name="connsiteY109" fmla="*/ 49530 h 790575"/>
                  <a:gd name="connsiteX110" fmla="*/ 946785 w 1605914"/>
                  <a:gd name="connsiteY110" fmla="*/ 46673 h 790575"/>
                  <a:gd name="connsiteX111" fmla="*/ 940118 w 1605914"/>
                  <a:gd name="connsiteY111" fmla="*/ 46673 h 790575"/>
                  <a:gd name="connsiteX112" fmla="*/ 925830 w 1605914"/>
                  <a:gd name="connsiteY112" fmla="*/ 42863 h 790575"/>
                  <a:gd name="connsiteX113" fmla="*/ 919163 w 1605914"/>
                  <a:gd name="connsiteY113" fmla="*/ 42863 h 790575"/>
                  <a:gd name="connsiteX114" fmla="*/ 901065 w 1605914"/>
                  <a:gd name="connsiteY114" fmla="*/ 35243 h 790575"/>
                  <a:gd name="connsiteX115" fmla="*/ 859155 w 1605914"/>
                  <a:gd name="connsiteY115" fmla="*/ 28575 h 790575"/>
                  <a:gd name="connsiteX116" fmla="*/ 838200 w 1605914"/>
                  <a:gd name="connsiteY116" fmla="*/ 21812 h 790575"/>
                  <a:gd name="connsiteX117" fmla="*/ 830580 w 1605914"/>
                  <a:gd name="connsiteY117" fmla="*/ 14288 h 790575"/>
                  <a:gd name="connsiteX118" fmla="*/ 827722 w 1605914"/>
                  <a:gd name="connsiteY118" fmla="*/ 0 h 790575"/>
                  <a:gd name="connsiteX119" fmla="*/ 813435 w 1605914"/>
                  <a:gd name="connsiteY119" fmla="*/ 0 h 790575"/>
                  <a:gd name="connsiteX120" fmla="*/ 809625 w 1605914"/>
                  <a:gd name="connsiteY120" fmla="*/ 14288 h 790575"/>
                  <a:gd name="connsiteX121" fmla="*/ 52388 w 1605914"/>
                  <a:gd name="connsiteY121" fmla="*/ 14288 h 790575"/>
                  <a:gd name="connsiteX122" fmla="*/ 52388 w 1605914"/>
                  <a:gd name="connsiteY122" fmla="*/ 35243 h 790575"/>
                  <a:gd name="connsiteX123" fmla="*/ 62865 w 1605914"/>
                  <a:gd name="connsiteY123" fmla="*/ 49530 h 790575"/>
                  <a:gd name="connsiteX124" fmla="*/ 60008 w 1605914"/>
                  <a:gd name="connsiteY124" fmla="*/ 67532 h 790575"/>
                  <a:gd name="connsiteX125" fmla="*/ 48578 w 1605914"/>
                  <a:gd name="connsiteY125" fmla="*/ 78105 h 790575"/>
                  <a:gd name="connsiteX126" fmla="*/ 45720 w 1605914"/>
                  <a:gd name="connsiteY126" fmla="*/ 67532 h 790575"/>
                  <a:gd name="connsiteX127" fmla="*/ 41910 w 1605914"/>
                  <a:gd name="connsiteY127" fmla="*/ 53245 h 790575"/>
                  <a:gd name="connsiteX128" fmla="*/ 31433 w 1605914"/>
                  <a:gd name="connsiteY128" fmla="*/ 49530 h 790575"/>
                  <a:gd name="connsiteX129" fmla="*/ 13335 w 1605914"/>
                  <a:gd name="connsiteY129" fmla="*/ 42863 h 790575"/>
                  <a:gd name="connsiteX130" fmla="*/ 0 w 1605914"/>
                  <a:gd name="connsiteY130" fmla="*/ 49530 h 790575"/>
                  <a:gd name="connsiteX131" fmla="*/ 6667 w 1605914"/>
                  <a:gd name="connsiteY131" fmla="*/ 67532 h 790575"/>
                  <a:gd name="connsiteX132" fmla="*/ 13335 w 1605914"/>
                  <a:gd name="connsiteY132" fmla="*/ 74200 h 790575"/>
                  <a:gd name="connsiteX133" fmla="*/ 10477 w 1605914"/>
                  <a:gd name="connsiteY133" fmla="*/ 84773 h 790575"/>
                  <a:gd name="connsiteX134" fmla="*/ 17145 w 1605914"/>
                  <a:gd name="connsiteY134" fmla="*/ 95250 h 790575"/>
                  <a:gd name="connsiteX135" fmla="*/ 27622 w 1605914"/>
                  <a:gd name="connsiteY135" fmla="*/ 113348 h 790575"/>
                  <a:gd name="connsiteX136" fmla="*/ 17145 w 1605914"/>
                  <a:gd name="connsiteY136" fmla="*/ 113348 h 790575"/>
                  <a:gd name="connsiteX137" fmla="*/ 10477 w 1605914"/>
                  <a:gd name="connsiteY137" fmla="*/ 198025 h 790575"/>
                  <a:gd name="connsiteX138" fmla="*/ 2858 w 1605914"/>
                  <a:gd name="connsiteY138" fmla="*/ 215170 h 790575"/>
                  <a:gd name="connsiteX139" fmla="*/ 10477 w 1605914"/>
                  <a:gd name="connsiteY139" fmla="*/ 260985 h 790575"/>
                  <a:gd name="connsiteX140" fmla="*/ 2858 w 1605914"/>
                  <a:gd name="connsiteY140" fmla="*/ 300038 h 790575"/>
                  <a:gd name="connsiteX141" fmla="*/ 2858 w 1605914"/>
                  <a:gd name="connsiteY141" fmla="*/ 314325 h 790575"/>
                  <a:gd name="connsiteX142" fmla="*/ 17145 w 1605914"/>
                  <a:gd name="connsiteY142" fmla="*/ 328613 h 790575"/>
                  <a:gd name="connsiteX143" fmla="*/ 17145 w 1605914"/>
                  <a:gd name="connsiteY143" fmla="*/ 349568 h 790575"/>
                  <a:gd name="connsiteX144" fmla="*/ 31433 w 1605914"/>
                  <a:gd name="connsiteY144" fmla="*/ 370523 h 790575"/>
                  <a:gd name="connsiteX145" fmla="*/ 45720 w 1605914"/>
                  <a:gd name="connsiteY145" fmla="*/ 384810 h 790575"/>
                  <a:gd name="connsiteX146" fmla="*/ 66675 w 1605914"/>
                  <a:gd name="connsiteY146" fmla="*/ 384810 h 790575"/>
                  <a:gd name="connsiteX147" fmla="*/ 56197 w 1605914"/>
                  <a:gd name="connsiteY147" fmla="*/ 402812 h 790575"/>
                  <a:gd name="connsiteX148" fmla="*/ 62865 w 1605914"/>
                  <a:gd name="connsiteY148" fmla="*/ 419957 h 790575"/>
                  <a:gd name="connsiteX149" fmla="*/ 73342 w 1605914"/>
                  <a:gd name="connsiteY149" fmla="*/ 426625 h 790575"/>
                  <a:gd name="connsiteX150" fmla="*/ 66675 w 1605914"/>
                  <a:gd name="connsiteY150" fmla="*/ 438150 h 790575"/>
                  <a:gd name="connsiteX151" fmla="*/ 83820 w 1605914"/>
                  <a:gd name="connsiteY151" fmla="*/ 455200 h 790575"/>
                  <a:gd name="connsiteX152" fmla="*/ 101917 w 1605914"/>
                  <a:gd name="connsiteY152" fmla="*/ 480060 h 790575"/>
                  <a:gd name="connsiteX153" fmla="*/ 105728 w 1605914"/>
                  <a:gd name="connsiteY153" fmla="*/ 504825 h 790575"/>
                  <a:gd name="connsiteX154" fmla="*/ 130492 w 1605914"/>
                  <a:gd name="connsiteY154" fmla="*/ 497110 h 790575"/>
                  <a:gd name="connsiteX155" fmla="*/ 147638 w 1605914"/>
                  <a:gd name="connsiteY155" fmla="*/ 511397 h 790575"/>
                  <a:gd name="connsiteX156" fmla="*/ 172403 w 1605914"/>
                  <a:gd name="connsiteY156" fmla="*/ 519113 h 790575"/>
                  <a:gd name="connsiteX157" fmla="*/ 182880 w 1605914"/>
                  <a:gd name="connsiteY157" fmla="*/ 525685 h 790575"/>
                  <a:gd name="connsiteX158" fmla="*/ 197167 w 1605914"/>
                  <a:gd name="connsiteY158" fmla="*/ 539972 h 790575"/>
                  <a:gd name="connsiteX159" fmla="*/ 203835 w 1605914"/>
                  <a:gd name="connsiteY159" fmla="*/ 561023 h 790575"/>
                  <a:gd name="connsiteX160" fmla="*/ 260033 w 1605914"/>
                  <a:gd name="connsiteY160" fmla="*/ 557213 h 790575"/>
                  <a:gd name="connsiteX161" fmla="*/ 292417 w 1605914"/>
                  <a:gd name="connsiteY161" fmla="*/ 568547 h 790575"/>
                  <a:gd name="connsiteX162" fmla="*/ 338138 w 1605914"/>
                  <a:gd name="connsiteY162" fmla="*/ 589598 h 790575"/>
                  <a:gd name="connsiteX163" fmla="*/ 365760 w 1605914"/>
                  <a:gd name="connsiteY163" fmla="*/ 600075 h 790575"/>
                  <a:gd name="connsiteX164" fmla="*/ 446722 w 1605914"/>
                  <a:gd name="connsiteY164" fmla="*/ 600075 h 790575"/>
                  <a:gd name="connsiteX165" fmla="*/ 461010 w 1605914"/>
                  <a:gd name="connsiteY165" fmla="*/ 589598 h 790575"/>
                  <a:gd name="connsiteX166" fmla="*/ 496253 w 1605914"/>
                  <a:gd name="connsiteY166" fmla="*/ 581978 h 790575"/>
                  <a:gd name="connsiteX167" fmla="*/ 531495 w 1605914"/>
                  <a:gd name="connsiteY167" fmla="*/ 610553 h 790575"/>
                  <a:gd name="connsiteX168" fmla="*/ 548640 w 1605914"/>
                  <a:gd name="connsiteY168" fmla="*/ 624840 h 790575"/>
                  <a:gd name="connsiteX169" fmla="*/ 552450 w 1605914"/>
                  <a:gd name="connsiteY169" fmla="*/ 652463 h 790575"/>
                  <a:gd name="connsiteX170" fmla="*/ 581025 w 1605914"/>
                  <a:gd name="connsiteY170" fmla="*/ 670560 h 790575"/>
                  <a:gd name="connsiteX171" fmla="*/ 601980 w 1605914"/>
                  <a:gd name="connsiteY171" fmla="*/ 666750 h 790575"/>
                  <a:gd name="connsiteX172" fmla="*/ 605790 w 1605914"/>
                  <a:gd name="connsiteY172" fmla="*/ 649510 h 790575"/>
                  <a:gd name="connsiteX173" fmla="*/ 619125 w 1605914"/>
                  <a:gd name="connsiteY173" fmla="*/ 641985 h 790575"/>
                  <a:gd name="connsiteX174" fmla="*/ 619125 w 1605914"/>
                  <a:gd name="connsiteY174" fmla="*/ 641985 h 790575"/>
                  <a:gd name="connsiteX175" fmla="*/ 619125 w 1605914"/>
                  <a:gd name="connsiteY175" fmla="*/ 641985 h 790575"/>
                  <a:gd name="connsiteX176" fmla="*/ 658178 w 1605914"/>
                  <a:gd name="connsiteY176" fmla="*/ 659987 h 790575"/>
                  <a:gd name="connsiteX177" fmla="*/ 668655 w 1605914"/>
                  <a:gd name="connsiteY177" fmla="*/ 684848 h 790575"/>
                  <a:gd name="connsiteX178" fmla="*/ 686753 w 1605914"/>
                  <a:gd name="connsiteY178" fmla="*/ 705803 h 790575"/>
                  <a:gd name="connsiteX179" fmla="*/ 700088 w 1605914"/>
                  <a:gd name="connsiteY179" fmla="*/ 726662 h 790575"/>
                  <a:gd name="connsiteX180" fmla="*/ 714375 w 1605914"/>
                  <a:gd name="connsiteY180" fmla="*/ 747713 h 790575"/>
                  <a:gd name="connsiteX181" fmla="*/ 742950 w 1605914"/>
                  <a:gd name="connsiteY181" fmla="*/ 758190 h 790575"/>
                  <a:gd name="connsiteX182" fmla="*/ 763905 w 1605914"/>
                  <a:gd name="connsiteY182" fmla="*/ 762000 h 790575"/>
                  <a:gd name="connsiteX183" fmla="*/ 757238 w 1605914"/>
                  <a:gd name="connsiteY183" fmla="*/ 740950 h 790575"/>
                  <a:gd name="connsiteX184" fmla="*/ 753428 w 1605914"/>
                  <a:gd name="connsiteY184" fmla="*/ 720090 h 790575"/>
                  <a:gd name="connsiteX185" fmla="*/ 760095 w 1605914"/>
                  <a:gd name="connsiteY185" fmla="*/ 705803 h 790575"/>
                  <a:gd name="connsiteX186" fmla="*/ 770572 w 1605914"/>
                  <a:gd name="connsiteY186" fmla="*/ 695325 h 790575"/>
                  <a:gd name="connsiteX187" fmla="*/ 778193 w 1605914"/>
                  <a:gd name="connsiteY187" fmla="*/ 684848 h 790575"/>
                  <a:gd name="connsiteX188" fmla="*/ 799147 w 1605914"/>
                  <a:gd name="connsiteY188" fmla="*/ 684848 h 790575"/>
                  <a:gd name="connsiteX189" fmla="*/ 809625 w 1605914"/>
                  <a:gd name="connsiteY189" fmla="*/ 677228 h 790575"/>
                  <a:gd name="connsiteX190" fmla="*/ 820103 w 1605914"/>
                  <a:gd name="connsiteY190" fmla="*/ 666750 h 790575"/>
                  <a:gd name="connsiteX191" fmla="*/ 827722 w 1605914"/>
                  <a:gd name="connsiteY191" fmla="*/ 652463 h 790575"/>
                  <a:gd name="connsiteX192" fmla="*/ 838200 w 1605914"/>
                  <a:gd name="connsiteY192" fmla="*/ 659987 h 790575"/>
                  <a:gd name="connsiteX193" fmla="*/ 851535 w 1605914"/>
                  <a:gd name="connsiteY193" fmla="*/ 656273 h 790575"/>
                  <a:gd name="connsiteX194" fmla="*/ 859155 w 1605914"/>
                  <a:gd name="connsiteY194" fmla="*/ 645700 h 790575"/>
                  <a:gd name="connsiteX195" fmla="*/ 876300 w 1605914"/>
                  <a:gd name="connsiteY195" fmla="*/ 645700 h 790575"/>
                  <a:gd name="connsiteX196" fmla="*/ 894397 w 1605914"/>
                  <a:gd name="connsiteY196" fmla="*/ 656273 h 790575"/>
                  <a:gd name="connsiteX197" fmla="*/ 901065 w 1605914"/>
                  <a:gd name="connsiteY197" fmla="*/ 652463 h 790575"/>
                  <a:gd name="connsiteX198" fmla="*/ 908685 w 1605914"/>
                  <a:gd name="connsiteY198" fmla="*/ 649510 h 790575"/>
                  <a:gd name="connsiteX199" fmla="*/ 925830 w 1605914"/>
                  <a:gd name="connsiteY199" fmla="*/ 656273 h 790575"/>
                  <a:gd name="connsiteX200" fmla="*/ 940118 w 1605914"/>
                  <a:gd name="connsiteY200" fmla="*/ 666750 h 790575"/>
                  <a:gd name="connsiteX201" fmla="*/ 957263 w 1605914"/>
                  <a:gd name="connsiteY201" fmla="*/ 662940 h 790575"/>
                  <a:gd name="connsiteX202" fmla="*/ 971550 w 1605914"/>
                  <a:gd name="connsiteY202" fmla="*/ 662940 h 790575"/>
                  <a:gd name="connsiteX203" fmla="*/ 985838 w 1605914"/>
                  <a:gd name="connsiteY203" fmla="*/ 659987 h 790575"/>
                  <a:gd name="connsiteX204" fmla="*/ 975360 w 1605914"/>
                  <a:gd name="connsiteY204" fmla="*/ 649510 h 790575"/>
                  <a:gd name="connsiteX205" fmla="*/ 964883 w 1605914"/>
                  <a:gd name="connsiteY205" fmla="*/ 641985 h 790575"/>
                  <a:gd name="connsiteX206" fmla="*/ 954405 w 1605914"/>
                  <a:gd name="connsiteY206" fmla="*/ 631412 h 790575"/>
                  <a:gd name="connsiteX207" fmla="*/ 971550 w 1605914"/>
                  <a:gd name="connsiteY207" fmla="*/ 627698 h 790575"/>
                  <a:gd name="connsiteX208" fmla="*/ 996315 w 1605914"/>
                  <a:gd name="connsiteY208" fmla="*/ 624840 h 790575"/>
                  <a:gd name="connsiteX209" fmla="*/ 1024890 w 1605914"/>
                  <a:gd name="connsiteY209" fmla="*/ 624840 h 790575"/>
                  <a:gd name="connsiteX210" fmla="*/ 1042035 w 1605914"/>
                  <a:gd name="connsiteY210" fmla="*/ 631412 h 790575"/>
                  <a:gd name="connsiteX211" fmla="*/ 1066800 w 1605914"/>
                  <a:gd name="connsiteY211" fmla="*/ 635222 h 790575"/>
                  <a:gd name="connsiteX212" fmla="*/ 1087755 w 1605914"/>
                  <a:gd name="connsiteY212" fmla="*/ 639128 h 790575"/>
                  <a:gd name="connsiteX213" fmla="*/ 1102043 w 1605914"/>
                  <a:gd name="connsiteY213" fmla="*/ 656273 h 790575"/>
                  <a:gd name="connsiteX214" fmla="*/ 1116330 w 1605914"/>
                  <a:gd name="connsiteY214" fmla="*/ 641985 h 790575"/>
                  <a:gd name="connsiteX215" fmla="*/ 1126808 w 1605914"/>
                  <a:gd name="connsiteY215" fmla="*/ 639128 h 790575"/>
                  <a:gd name="connsiteX216" fmla="*/ 1143953 w 1605914"/>
                  <a:gd name="connsiteY216" fmla="*/ 645700 h 790575"/>
                  <a:gd name="connsiteX217" fmla="*/ 1154430 w 1605914"/>
                  <a:gd name="connsiteY217" fmla="*/ 659987 h 790575"/>
                  <a:gd name="connsiteX218" fmla="*/ 1168718 w 1605914"/>
                  <a:gd name="connsiteY218" fmla="*/ 674275 h 790575"/>
                  <a:gd name="connsiteX219" fmla="*/ 1165860 w 1605914"/>
                  <a:gd name="connsiteY219" fmla="*/ 691515 h 790575"/>
                  <a:gd name="connsiteX220" fmla="*/ 1165860 w 1605914"/>
                  <a:gd name="connsiteY220" fmla="*/ 712375 h 790575"/>
                  <a:gd name="connsiteX221" fmla="*/ 1168718 w 1605914"/>
                  <a:gd name="connsiteY221" fmla="*/ 734378 h 790575"/>
                  <a:gd name="connsiteX222" fmla="*/ 1183005 w 1605914"/>
                  <a:gd name="connsiteY222" fmla="*/ 744760 h 790575"/>
                  <a:gd name="connsiteX223" fmla="*/ 1197293 w 1605914"/>
                  <a:gd name="connsiteY223" fmla="*/ 755237 h 790575"/>
                  <a:gd name="connsiteX224" fmla="*/ 1207770 w 1605914"/>
                  <a:gd name="connsiteY224" fmla="*/ 776288 h 790575"/>
                  <a:gd name="connsiteX225" fmla="*/ 1222058 w 1605914"/>
                  <a:gd name="connsiteY225" fmla="*/ 790575 h 790575"/>
                  <a:gd name="connsiteX226" fmla="*/ 1235393 w 1605914"/>
                  <a:gd name="connsiteY226" fmla="*/ 790575 h 790575"/>
                  <a:gd name="connsiteX227" fmla="*/ 1239203 w 1605914"/>
                  <a:gd name="connsiteY227" fmla="*/ 776288 h 790575"/>
                  <a:gd name="connsiteX228" fmla="*/ 1239203 w 1605914"/>
                  <a:gd name="connsiteY228" fmla="*/ 747713 h 790575"/>
                  <a:gd name="connsiteX229" fmla="*/ 1235393 w 1605914"/>
                  <a:gd name="connsiteY229" fmla="*/ 716185 h 790575"/>
                  <a:gd name="connsiteX230" fmla="*/ 1224915 w 1605914"/>
                  <a:gd name="connsiteY230" fmla="*/ 691515 h 790575"/>
                  <a:gd name="connsiteX231" fmla="*/ 1218248 w 1605914"/>
                  <a:gd name="connsiteY231" fmla="*/ 666750 h 790575"/>
                  <a:gd name="connsiteX232" fmla="*/ 1207770 w 1605914"/>
                  <a:gd name="connsiteY232" fmla="*/ 641985 h 790575"/>
                  <a:gd name="connsiteX233" fmla="*/ 1201103 w 1605914"/>
                  <a:gd name="connsiteY233" fmla="*/ 617125 h 790575"/>
                  <a:gd name="connsiteX234" fmla="*/ 1207770 w 1605914"/>
                  <a:gd name="connsiteY234" fmla="*/ 596265 h 790575"/>
                  <a:gd name="connsiteX235" fmla="*/ 1224915 w 1605914"/>
                  <a:gd name="connsiteY235" fmla="*/ 575310 h 790575"/>
                  <a:gd name="connsiteX236" fmla="*/ 1235393 w 1605914"/>
                  <a:gd name="connsiteY236" fmla="*/ 561023 h 790575"/>
                  <a:gd name="connsiteX237" fmla="*/ 1257300 w 1605914"/>
                  <a:gd name="connsiteY237" fmla="*/ 554260 h 790575"/>
                  <a:gd name="connsiteX238" fmla="*/ 1274445 w 1605914"/>
                  <a:gd name="connsiteY238" fmla="*/ 525685 h 790575"/>
                  <a:gd name="connsiteX239" fmla="*/ 1292543 w 1605914"/>
                  <a:gd name="connsiteY239" fmla="*/ 521875 h 790575"/>
                  <a:gd name="connsiteX240" fmla="*/ 1299210 w 1605914"/>
                  <a:gd name="connsiteY240" fmla="*/ 515303 h 790575"/>
                  <a:gd name="connsiteX241" fmla="*/ 1323975 w 1605914"/>
                  <a:gd name="connsiteY241" fmla="*/ 494348 h 790575"/>
                  <a:gd name="connsiteX242" fmla="*/ 1341120 w 1605914"/>
                  <a:gd name="connsiteY242" fmla="*/ 490538 h 790575"/>
                  <a:gd name="connsiteX243" fmla="*/ 1341120 w 1605914"/>
                  <a:gd name="connsiteY243" fmla="*/ 476250 h 790575"/>
                  <a:gd name="connsiteX244" fmla="*/ 1355408 w 1605914"/>
                  <a:gd name="connsiteY244" fmla="*/ 465773 h 790575"/>
                  <a:gd name="connsiteX245" fmla="*/ 1363027 w 1605914"/>
                  <a:gd name="connsiteY245" fmla="*/ 451485 h 790575"/>
                  <a:gd name="connsiteX246" fmla="*/ 1355408 w 1605914"/>
                  <a:gd name="connsiteY246" fmla="*/ 434245 h 790575"/>
                  <a:gd name="connsiteX247" fmla="*/ 1344930 w 1605914"/>
                  <a:gd name="connsiteY247" fmla="*/ 430530 h 790575"/>
                  <a:gd name="connsiteX248" fmla="*/ 1341120 w 1605914"/>
                  <a:gd name="connsiteY248" fmla="*/ 413385 h 790575"/>
                  <a:gd name="connsiteX249" fmla="*/ 1344930 w 1605914"/>
                  <a:gd name="connsiteY249" fmla="*/ 402812 h 790575"/>
                  <a:gd name="connsiteX250" fmla="*/ 1334452 w 1605914"/>
                  <a:gd name="connsiteY250" fmla="*/ 391382 h 790575"/>
                  <a:gd name="connsiteX251" fmla="*/ 1320165 w 1605914"/>
                  <a:gd name="connsiteY251" fmla="*/ 378143 h 790575"/>
                  <a:gd name="connsiteX252" fmla="*/ 1327785 w 1605914"/>
                  <a:gd name="connsiteY252" fmla="*/ 374237 h 790575"/>
                  <a:gd name="connsiteX253" fmla="*/ 1338262 w 1605914"/>
                  <a:gd name="connsiteY253" fmla="*/ 378143 h 790575"/>
                  <a:gd name="connsiteX254" fmla="*/ 1341120 w 1605914"/>
                  <a:gd name="connsiteY254" fmla="*/ 356235 h 790575"/>
                  <a:gd name="connsiteX255" fmla="*/ 1344930 w 1605914"/>
                  <a:gd name="connsiteY255" fmla="*/ 342900 h 790575"/>
                  <a:gd name="connsiteX256" fmla="*/ 1352550 w 1605914"/>
                  <a:gd name="connsiteY256" fmla="*/ 349568 h 790575"/>
                  <a:gd name="connsiteX257" fmla="*/ 1348740 w 1605914"/>
                  <a:gd name="connsiteY257" fmla="*/ 366713 h 790575"/>
                  <a:gd name="connsiteX258" fmla="*/ 1355408 w 1605914"/>
                  <a:gd name="connsiteY258" fmla="*/ 388525 h 790575"/>
                  <a:gd name="connsiteX259" fmla="*/ 1355408 w 1605914"/>
                  <a:gd name="connsiteY259" fmla="*/ 413385 h 790575"/>
                  <a:gd name="connsiteX260" fmla="*/ 1363027 w 1605914"/>
                  <a:gd name="connsiteY260" fmla="*/ 402812 h 790575"/>
                  <a:gd name="connsiteX261" fmla="*/ 1376362 w 1605914"/>
                  <a:gd name="connsiteY261" fmla="*/ 384810 h 790575"/>
                  <a:gd name="connsiteX262" fmla="*/ 1383983 w 1605914"/>
                  <a:gd name="connsiteY262" fmla="*/ 370523 h 790575"/>
                  <a:gd name="connsiteX263" fmla="*/ 1376362 w 1605914"/>
                  <a:gd name="connsiteY263" fmla="*/ 349568 h 790575"/>
                  <a:gd name="connsiteX264" fmla="*/ 1390650 w 1605914"/>
                  <a:gd name="connsiteY264" fmla="*/ 353282 h 790575"/>
                  <a:gd name="connsiteX265" fmla="*/ 1401127 w 1605914"/>
                  <a:gd name="connsiteY265" fmla="*/ 326612 h 790575"/>
                  <a:gd name="connsiteX266" fmla="*/ 1443990 w 1605914"/>
                  <a:gd name="connsiteY266" fmla="*/ 307562 h 790575"/>
                  <a:gd name="connsiteX267" fmla="*/ 1448752 w 1605914"/>
                  <a:gd name="connsiteY267" fmla="*/ 300038 h 790575"/>
                  <a:gd name="connsiteX268" fmla="*/ 1400175 w 1605914"/>
                  <a:gd name="connsiteY268" fmla="*/ 308610 h 790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</a:cxnLst>
                <a:rect l="l" t="t" r="r" b="b"/>
                <a:pathLst>
                  <a:path w="1605914" h="790575">
                    <a:moveTo>
                      <a:pt x="1400175" y="308610"/>
                    </a:moveTo>
                    <a:lnTo>
                      <a:pt x="1415415" y="293275"/>
                    </a:lnTo>
                    <a:lnTo>
                      <a:pt x="1446848" y="285750"/>
                    </a:lnTo>
                    <a:lnTo>
                      <a:pt x="1475423" y="278987"/>
                    </a:lnTo>
                    <a:lnTo>
                      <a:pt x="1492568" y="272320"/>
                    </a:lnTo>
                    <a:lnTo>
                      <a:pt x="1503045" y="272320"/>
                    </a:lnTo>
                    <a:lnTo>
                      <a:pt x="1517333" y="260985"/>
                    </a:lnTo>
                    <a:lnTo>
                      <a:pt x="1503045" y="258032"/>
                    </a:lnTo>
                    <a:lnTo>
                      <a:pt x="1496377" y="250412"/>
                    </a:lnTo>
                    <a:lnTo>
                      <a:pt x="1496377" y="237173"/>
                    </a:lnTo>
                    <a:lnTo>
                      <a:pt x="1510665" y="219075"/>
                    </a:lnTo>
                    <a:lnTo>
                      <a:pt x="1521143" y="194310"/>
                    </a:lnTo>
                    <a:lnTo>
                      <a:pt x="1538287" y="183737"/>
                    </a:lnTo>
                    <a:lnTo>
                      <a:pt x="1556385" y="173355"/>
                    </a:lnTo>
                    <a:lnTo>
                      <a:pt x="1577340" y="169450"/>
                    </a:lnTo>
                    <a:lnTo>
                      <a:pt x="1598295" y="169450"/>
                    </a:lnTo>
                    <a:lnTo>
                      <a:pt x="1605915" y="159068"/>
                    </a:lnTo>
                    <a:lnTo>
                      <a:pt x="1598295" y="144780"/>
                    </a:lnTo>
                    <a:lnTo>
                      <a:pt x="1587818" y="134207"/>
                    </a:lnTo>
                    <a:lnTo>
                      <a:pt x="1584960" y="119920"/>
                    </a:lnTo>
                    <a:lnTo>
                      <a:pt x="1587818" y="92393"/>
                    </a:lnTo>
                    <a:lnTo>
                      <a:pt x="1584960" y="78105"/>
                    </a:lnTo>
                    <a:lnTo>
                      <a:pt x="1560195" y="71438"/>
                    </a:lnTo>
                    <a:lnTo>
                      <a:pt x="1545908" y="63818"/>
                    </a:lnTo>
                    <a:lnTo>
                      <a:pt x="1531620" y="78105"/>
                    </a:lnTo>
                    <a:lnTo>
                      <a:pt x="1517333" y="102775"/>
                    </a:lnTo>
                    <a:lnTo>
                      <a:pt x="1510665" y="130493"/>
                    </a:lnTo>
                    <a:lnTo>
                      <a:pt x="1500187" y="144780"/>
                    </a:lnTo>
                    <a:lnTo>
                      <a:pt x="1479233" y="155162"/>
                    </a:lnTo>
                    <a:lnTo>
                      <a:pt x="1376362" y="155162"/>
                    </a:lnTo>
                    <a:lnTo>
                      <a:pt x="1348740" y="177070"/>
                    </a:lnTo>
                    <a:lnTo>
                      <a:pt x="1348740" y="198025"/>
                    </a:lnTo>
                    <a:lnTo>
                      <a:pt x="1330643" y="212312"/>
                    </a:lnTo>
                    <a:lnTo>
                      <a:pt x="1309687" y="215170"/>
                    </a:lnTo>
                    <a:lnTo>
                      <a:pt x="1270635" y="212312"/>
                    </a:lnTo>
                    <a:lnTo>
                      <a:pt x="1267777" y="219075"/>
                    </a:lnTo>
                    <a:lnTo>
                      <a:pt x="1270635" y="225743"/>
                    </a:lnTo>
                    <a:lnTo>
                      <a:pt x="1269683" y="226600"/>
                    </a:lnTo>
                    <a:lnTo>
                      <a:pt x="1270635" y="229457"/>
                    </a:lnTo>
                    <a:lnTo>
                      <a:pt x="1267777" y="240030"/>
                    </a:lnTo>
                    <a:lnTo>
                      <a:pt x="1257300" y="243745"/>
                    </a:lnTo>
                    <a:lnTo>
                      <a:pt x="1235393" y="254318"/>
                    </a:lnTo>
                    <a:lnTo>
                      <a:pt x="1214438" y="260985"/>
                    </a:lnTo>
                    <a:lnTo>
                      <a:pt x="1193483" y="272320"/>
                    </a:lnTo>
                    <a:lnTo>
                      <a:pt x="1162050" y="272320"/>
                    </a:lnTo>
                    <a:lnTo>
                      <a:pt x="1147763" y="260985"/>
                    </a:lnTo>
                    <a:lnTo>
                      <a:pt x="1154430" y="247650"/>
                    </a:lnTo>
                    <a:lnTo>
                      <a:pt x="1162050" y="240030"/>
                    </a:lnTo>
                    <a:lnTo>
                      <a:pt x="1162050" y="240030"/>
                    </a:lnTo>
                    <a:lnTo>
                      <a:pt x="1165860" y="237173"/>
                    </a:lnTo>
                    <a:lnTo>
                      <a:pt x="1165860" y="222885"/>
                    </a:lnTo>
                    <a:lnTo>
                      <a:pt x="1168718" y="212312"/>
                    </a:lnTo>
                    <a:lnTo>
                      <a:pt x="1168718" y="194310"/>
                    </a:lnTo>
                    <a:lnTo>
                      <a:pt x="1158240" y="190500"/>
                    </a:lnTo>
                    <a:lnTo>
                      <a:pt x="1147763" y="198025"/>
                    </a:lnTo>
                    <a:lnTo>
                      <a:pt x="1137285" y="204788"/>
                    </a:lnTo>
                    <a:lnTo>
                      <a:pt x="1133475" y="198025"/>
                    </a:lnTo>
                    <a:lnTo>
                      <a:pt x="1141095" y="190500"/>
                    </a:lnTo>
                    <a:lnTo>
                      <a:pt x="1147763" y="177070"/>
                    </a:lnTo>
                    <a:lnTo>
                      <a:pt x="1151573" y="159068"/>
                    </a:lnTo>
                    <a:lnTo>
                      <a:pt x="1143953" y="144780"/>
                    </a:lnTo>
                    <a:lnTo>
                      <a:pt x="1126808" y="141923"/>
                    </a:lnTo>
                    <a:lnTo>
                      <a:pt x="1112520" y="134207"/>
                    </a:lnTo>
                    <a:lnTo>
                      <a:pt x="1098233" y="138113"/>
                    </a:lnTo>
                    <a:lnTo>
                      <a:pt x="1091565" y="148495"/>
                    </a:lnTo>
                    <a:lnTo>
                      <a:pt x="1084898" y="155162"/>
                    </a:lnTo>
                    <a:lnTo>
                      <a:pt x="1073468" y="155162"/>
                    </a:lnTo>
                    <a:lnTo>
                      <a:pt x="1070610" y="162782"/>
                    </a:lnTo>
                    <a:lnTo>
                      <a:pt x="1070610" y="177070"/>
                    </a:lnTo>
                    <a:lnTo>
                      <a:pt x="1070610" y="198025"/>
                    </a:lnTo>
                    <a:lnTo>
                      <a:pt x="1070610" y="215170"/>
                    </a:lnTo>
                    <a:lnTo>
                      <a:pt x="1070610" y="237173"/>
                    </a:lnTo>
                    <a:lnTo>
                      <a:pt x="1062990" y="254318"/>
                    </a:lnTo>
                    <a:lnTo>
                      <a:pt x="1045845" y="268605"/>
                    </a:lnTo>
                    <a:lnTo>
                      <a:pt x="1027747" y="272320"/>
                    </a:lnTo>
                    <a:lnTo>
                      <a:pt x="1021080" y="247650"/>
                    </a:lnTo>
                    <a:lnTo>
                      <a:pt x="1021080" y="225743"/>
                    </a:lnTo>
                    <a:lnTo>
                      <a:pt x="1027747" y="183737"/>
                    </a:lnTo>
                    <a:lnTo>
                      <a:pt x="1042035" y="152400"/>
                    </a:lnTo>
                    <a:lnTo>
                      <a:pt x="1035368" y="165735"/>
                    </a:lnTo>
                    <a:lnTo>
                      <a:pt x="1021080" y="169450"/>
                    </a:lnTo>
                    <a:lnTo>
                      <a:pt x="1017270" y="155162"/>
                    </a:lnTo>
                    <a:lnTo>
                      <a:pt x="1035368" y="141923"/>
                    </a:lnTo>
                    <a:lnTo>
                      <a:pt x="1049655" y="127635"/>
                    </a:lnTo>
                    <a:lnTo>
                      <a:pt x="1056323" y="119920"/>
                    </a:lnTo>
                    <a:lnTo>
                      <a:pt x="1062990" y="127635"/>
                    </a:lnTo>
                    <a:lnTo>
                      <a:pt x="1073468" y="123825"/>
                    </a:lnTo>
                    <a:lnTo>
                      <a:pt x="1087755" y="113348"/>
                    </a:lnTo>
                    <a:lnTo>
                      <a:pt x="1105853" y="113348"/>
                    </a:lnTo>
                    <a:lnTo>
                      <a:pt x="1119188" y="119920"/>
                    </a:lnTo>
                    <a:lnTo>
                      <a:pt x="1119188" y="113348"/>
                    </a:lnTo>
                    <a:lnTo>
                      <a:pt x="1105853" y="102775"/>
                    </a:lnTo>
                    <a:lnTo>
                      <a:pt x="1095375" y="95250"/>
                    </a:lnTo>
                    <a:lnTo>
                      <a:pt x="1077278" y="99060"/>
                    </a:lnTo>
                    <a:lnTo>
                      <a:pt x="1062990" y="99060"/>
                    </a:lnTo>
                    <a:lnTo>
                      <a:pt x="1045845" y="102775"/>
                    </a:lnTo>
                    <a:lnTo>
                      <a:pt x="1027747" y="95250"/>
                    </a:lnTo>
                    <a:lnTo>
                      <a:pt x="1010603" y="84773"/>
                    </a:lnTo>
                    <a:lnTo>
                      <a:pt x="1002983" y="74200"/>
                    </a:lnTo>
                    <a:lnTo>
                      <a:pt x="989647" y="84773"/>
                    </a:lnTo>
                    <a:lnTo>
                      <a:pt x="982028" y="92393"/>
                    </a:lnTo>
                    <a:lnTo>
                      <a:pt x="971550" y="99060"/>
                    </a:lnTo>
                    <a:lnTo>
                      <a:pt x="950595" y="99060"/>
                    </a:lnTo>
                    <a:lnTo>
                      <a:pt x="925830" y="99060"/>
                    </a:lnTo>
                    <a:lnTo>
                      <a:pt x="908685" y="92393"/>
                    </a:lnTo>
                    <a:lnTo>
                      <a:pt x="915353" y="84773"/>
                    </a:lnTo>
                    <a:lnTo>
                      <a:pt x="929640" y="71438"/>
                    </a:lnTo>
                    <a:lnTo>
                      <a:pt x="943928" y="63818"/>
                    </a:lnTo>
                    <a:lnTo>
                      <a:pt x="964883" y="57150"/>
                    </a:lnTo>
                    <a:lnTo>
                      <a:pt x="967740" y="49530"/>
                    </a:lnTo>
                    <a:lnTo>
                      <a:pt x="946785" y="46673"/>
                    </a:lnTo>
                    <a:lnTo>
                      <a:pt x="940118" y="46673"/>
                    </a:lnTo>
                    <a:lnTo>
                      <a:pt x="925830" y="42863"/>
                    </a:lnTo>
                    <a:lnTo>
                      <a:pt x="919163" y="42863"/>
                    </a:lnTo>
                    <a:lnTo>
                      <a:pt x="901065" y="35243"/>
                    </a:lnTo>
                    <a:lnTo>
                      <a:pt x="859155" y="28575"/>
                    </a:lnTo>
                    <a:lnTo>
                      <a:pt x="838200" y="21812"/>
                    </a:lnTo>
                    <a:lnTo>
                      <a:pt x="830580" y="14288"/>
                    </a:lnTo>
                    <a:lnTo>
                      <a:pt x="827722" y="0"/>
                    </a:lnTo>
                    <a:lnTo>
                      <a:pt x="813435" y="0"/>
                    </a:lnTo>
                    <a:lnTo>
                      <a:pt x="809625" y="14288"/>
                    </a:lnTo>
                    <a:lnTo>
                      <a:pt x="52388" y="14288"/>
                    </a:lnTo>
                    <a:lnTo>
                      <a:pt x="52388" y="35243"/>
                    </a:lnTo>
                    <a:lnTo>
                      <a:pt x="62865" y="49530"/>
                    </a:lnTo>
                    <a:lnTo>
                      <a:pt x="60008" y="67532"/>
                    </a:lnTo>
                    <a:lnTo>
                      <a:pt x="48578" y="78105"/>
                    </a:lnTo>
                    <a:lnTo>
                      <a:pt x="45720" y="67532"/>
                    </a:lnTo>
                    <a:lnTo>
                      <a:pt x="41910" y="53245"/>
                    </a:lnTo>
                    <a:lnTo>
                      <a:pt x="31433" y="49530"/>
                    </a:lnTo>
                    <a:lnTo>
                      <a:pt x="13335" y="42863"/>
                    </a:lnTo>
                    <a:lnTo>
                      <a:pt x="0" y="49530"/>
                    </a:lnTo>
                    <a:lnTo>
                      <a:pt x="6667" y="67532"/>
                    </a:lnTo>
                    <a:lnTo>
                      <a:pt x="13335" y="74200"/>
                    </a:lnTo>
                    <a:lnTo>
                      <a:pt x="10477" y="84773"/>
                    </a:lnTo>
                    <a:lnTo>
                      <a:pt x="17145" y="95250"/>
                    </a:lnTo>
                    <a:lnTo>
                      <a:pt x="27622" y="113348"/>
                    </a:lnTo>
                    <a:lnTo>
                      <a:pt x="17145" y="113348"/>
                    </a:lnTo>
                    <a:lnTo>
                      <a:pt x="10477" y="198025"/>
                    </a:lnTo>
                    <a:lnTo>
                      <a:pt x="2858" y="215170"/>
                    </a:lnTo>
                    <a:lnTo>
                      <a:pt x="10477" y="260985"/>
                    </a:lnTo>
                    <a:lnTo>
                      <a:pt x="2858" y="300038"/>
                    </a:lnTo>
                    <a:lnTo>
                      <a:pt x="2858" y="314325"/>
                    </a:lnTo>
                    <a:lnTo>
                      <a:pt x="17145" y="328613"/>
                    </a:lnTo>
                    <a:lnTo>
                      <a:pt x="17145" y="349568"/>
                    </a:lnTo>
                    <a:lnTo>
                      <a:pt x="31433" y="370523"/>
                    </a:lnTo>
                    <a:lnTo>
                      <a:pt x="45720" y="384810"/>
                    </a:lnTo>
                    <a:lnTo>
                      <a:pt x="66675" y="384810"/>
                    </a:lnTo>
                    <a:lnTo>
                      <a:pt x="56197" y="402812"/>
                    </a:lnTo>
                    <a:lnTo>
                      <a:pt x="62865" y="419957"/>
                    </a:lnTo>
                    <a:lnTo>
                      <a:pt x="73342" y="426625"/>
                    </a:lnTo>
                    <a:lnTo>
                      <a:pt x="66675" y="438150"/>
                    </a:lnTo>
                    <a:lnTo>
                      <a:pt x="83820" y="455200"/>
                    </a:lnTo>
                    <a:lnTo>
                      <a:pt x="101917" y="480060"/>
                    </a:lnTo>
                    <a:lnTo>
                      <a:pt x="105728" y="504825"/>
                    </a:lnTo>
                    <a:lnTo>
                      <a:pt x="130492" y="497110"/>
                    </a:lnTo>
                    <a:lnTo>
                      <a:pt x="147638" y="511397"/>
                    </a:lnTo>
                    <a:lnTo>
                      <a:pt x="172403" y="519113"/>
                    </a:lnTo>
                    <a:lnTo>
                      <a:pt x="182880" y="525685"/>
                    </a:lnTo>
                    <a:lnTo>
                      <a:pt x="197167" y="539972"/>
                    </a:lnTo>
                    <a:lnTo>
                      <a:pt x="203835" y="561023"/>
                    </a:lnTo>
                    <a:lnTo>
                      <a:pt x="260033" y="557213"/>
                    </a:lnTo>
                    <a:lnTo>
                      <a:pt x="292417" y="568547"/>
                    </a:lnTo>
                    <a:lnTo>
                      <a:pt x="338138" y="589598"/>
                    </a:lnTo>
                    <a:lnTo>
                      <a:pt x="365760" y="600075"/>
                    </a:lnTo>
                    <a:lnTo>
                      <a:pt x="446722" y="600075"/>
                    </a:lnTo>
                    <a:lnTo>
                      <a:pt x="461010" y="589598"/>
                    </a:lnTo>
                    <a:lnTo>
                      <a:pt x="496253" y="581978"/>
                    </a:lnTo>
                    <a:lnTo>
                      <a:pt x="531495" y="610553"/>
                    </a:lnTo>
                    <a:lnTo>
                      <a:pt x="548640" y="624840"/>
                    </a:lnTo>
                    <a:lnTo>
                      <a:pt x="552450" y="652463"/>
                    </a:lnTo>
                    <a:lnTo>
                      <a:pt x="581025" y="670560"/>
                    </a:lnTo>
                    <a:lnTo>
                      <a:pt x="601980" y="666750"/>
                    </a:lnTo>
                    <a:lnTo>
                      <a:pt x="605790" y="649510"/>
                    </a:lnTo>
                    <a:lnTo>
                      <a:pt x="619125" y="641985"/>
                    </a:lnTo>
                    <a:lnTo>
                      <a:pt x="619125" y="641985"/>
                    </a:lnTo>
                    <a:lnTo>
                      <a:pt x="619125" y="641985"/>
                    </a:lnTo>
                    <a:lnTo>
                      <a:pt x="658178" y="659987"/>
                    </a:lnTo>
                    <a:lnTo>
                      <a:pt x="668655" y="684848"/>
                    </a:lnTo>
                    <a:lnTo>
                      <a:pt x="686753" y="705803"/>
                    </a:lnTo>
                    <a:lnTo>
                      <a:pt x="700088" y="726662"/>
                    </a:lnTo>
                    <a:lnTo>
                      <a:pt x="714375" y="747713"/>
                    </a:lnTo>
                    <a:lnTo>
                      <a:pt x="742950" y="758190"/>
                    </a:lnTo>
                    <a:lnTo>
                      <a:pt x="763905" y="762000"/>
                    </a:lnTo>
                    <a:lnTo>
                      <a:pt x="757238" y="740950"/>
                    </a:lnTo>
                    <a:lnTo>
                      <a:pt x="753428" y="720090"/>
                    </a:lnTo>
                    <a:lnTo>
                      <a:pt x="760095" y="705803"/>
                    </a:lnTo>
                    <a:lnTo>
                      <a:pt x="770572" y="695325"/>
                    </a:lnTo>
                    <a:lnTo>
                      <a:pt x="778193" y="684848"/>
                    </a:lnTo>
                    <a:lnTo>
                      <a:pt x="799147" y="684848"/>
                    </a:lnTo>
                    <a:lnTo>
                      <a:pt x="809625" y="677228"/>
                    </a:lnTo>
                    <a:lnTo>
                      <a:pt x="820103" y="666750"/>
                    </a:lnTo>
                    <a:lnTo>
                      <a:pt x="827722" y="652463"/>
                    </a:lnTo>
                    <a:lnTo>
                      <a:pt x="838200" y="659987"/>
                    </a:lnTo>
                    <a:lnTo>
                      <a:pt x="851535" y="656273"/>
                    </a:lnTo>
                    <a:lnTo>
                      <a:pt x="859155" y="645700"/>
                    </a:lnTo>
                    <a:lnTo>
                      <a:pt x="876300" y="645700"/>
                    </a:lnTo>
                    <a:lnTo>
                      <a:pt x="894397" y="656273"/>
                    </a:lnTo>
                    <a:lnTo>
                      <a:pt x="901065" y="652463"/>
                    </a:lnTo>
                    <a:lnTo>
                      <a:pt x="908685" y="649510"/>
                    </a:lnTo>
                    <a:lnTo>
                      <a:pt x="925830" y="656273"/>
                    </a:lnTo>
                    <a:lnTo>
                      <a:pt x="940118" y="666750"/>
                    </a:lnTo>
                    <a:lnTo>
                      <a:pt x="957263" y="662940"/>
                    </a:lnTo>
                    <a:lnTo>
                      <a:pt x="971550" y="662940"/>
                    </a:lnTo>
                    <a:lnTo>
                      <a:pt x="985838" y="659987"/>
                    </a:lnTo>
                    <a:lnTo>
                      <a:pt x="975360" y="649510"/>
                    </a:lnTo>
                    <a:lnTo>
                      <a:pt x="964883" y="641985"/>
                    </a:lnTo>
                    <a:lnTo>
                      <a:pt x="954405" y="631412"/>
                    </a:lnTo>
                    <a:lnTo>
                      <a:pt x="971550" y="627698"/>
                    </a:lnTo>
                    <a:lnTo>
                      <a:pt x="996315" y="624840"/>
                    </a:lnTo>
                    <a:lnTo>
                      <a:pt x="1024890" y="624840"/>
                    </a:lnTo>
                    <a:lnTo>
                      <a:pt x="1042035" y="631412"/>
                    </a:lnTo>
                    <a:lnTo>
                      <a:pt x="1066800" y="635222"/>
                    </a:lnTo>
                    <a:lnTo>
                      <a:pt x="1087755" y="639128"/>
                    </a:lnTo>
                    <a:lnTo>
                      <a:pt x="1102043" y="656273"/>
                    </a:lnTo>
                    <a:lnTo>
                      <a:pt x="1116330" y="641985"/>
                    </a:lnTo>
                    <a:lnTo>
                      <a:pt x="1126808" y="639128"/>
                    </a:lnTo>
                    <a:lnTo>
                      <a:pt x="1143953" y="645700"/>
                    </a:lnTo>
                    <a:lnTo>
                      <a:pt x="1154430" y="659987"/>
                    </a:lnTo>
                    <a:lnTo>
                      <a:pt x="1168718" y="674275"/>
                    </a:lnTo>
                    <a:lnTo>
                      <a:pt x="1165860" y="691515"/>
                    </a:lnTo>
                    <a:lnTo>
                      <a:pt x="1165860" y="712375"/>
                    </a:lnTo>
                    <a:lnTo>
                      <a:pt x="1168718" y="734378"/>
                    </a:lnTo>
                    <a:lnTo>
                      <a:pt x="1183005" y="744760"/>
                    </a:lnTo>
                    <a:lnTo>
                      <a:pt x="1197293" y="755237"/>
                    </a:lnTo>
                    <a:lnTo>
                      <a:pt x="1207770" y="776288"/>
                    </a:lnTo>
                    <a:lnTo>
                      <a:pt x="1222058" y="790575"/>
                    </a:lnTo>
                    <a:lnTo>
                      <a:pt x="1235393" y="790575"/>
                    </a:lnTo>
                    <a:lnTo>
                      <a:pt x="1239203" y="776288"/>
                    </a:lnTo>
                    <a:lnTo>
                      <a:pt x="1239203" y="747713"/>
                    </a:lnTo>
                    <a:lnTo>
                      <a:pt x="1235393" y="716185"/>
                    </a:lnTo>
                    <a:lnTo>
                      <a:pt x="1224915" y="691515"/>
                    </a:lnTo>
                    <a:lnTo>
                      <a:pt x="1218248" y="666750"/>
                    </a:lnTo>
                    <a:lnTo>
                      <a:pt x="1207770" y="641985"/>
                    </a:lnTo>
                    <a:lnTo>
                      <a:pt x="1201103" y="617125"/>
                    </a:lnTo>
                    <a:lnTo>
                      <a:pt x="1207770" y="596265"/>
                    </a:lnTo>
                    <a:lnTo>
                      <a:pt x="1224915" y="575310"/>
                    </a:lnTo>
                    <a:lnTo>
                      <a:pt x="1235393" y="561023"/>
                    </a:lnTo>
                    <a:lnTo>
                      <a:pt x="1257300" y="554260"/>
                    </a:lnTo>
                    <a:lnTo>
                      <a:pt x="1274445" y="525685"/>
                    </a:lnTo>
                    <a:lnTo>
                      <a:pt x="1292543" y="521875"/>
                    </a:lnTo>
                    <a:lnTo>
                      <a:pt x="1299210" y="515303"/>
                    </a:lnTo>
                    <a:lnTo>
                      <a:pt x="1323975" y="494348"/>
                    </a:lnTo>
                    <a:lnTo>
                      <a:pt x="1341120" y="490538"/>
                    </a:lnTo>
                    <a:lnTo>
                      <a:pt x="1341120" y="476250"/>
                    </a:lnTo>
                    <a:lnTo>
                      <a:pt x="1355408" y="465773"/>
                    </a:lnTo>
                    <a:lnTo>
                      <a:pt x="1363027" y="451485"/>
                    </a:lnTo>
                    <a:lnTo>
                      <a:pt x="1355408" y="434245"/>
                    </a:lnTo>
                    <a:lnTo>
                      <a:pt x="1344930" y="430530"/>
                    </a:lnTo>
                    <a:lnTo>
                      <a:pt x="1341120" y="413385"/>
                    </a:lnTo>
                    <a:lnTo>
                      <a:pt x="1344930" y="402812"/>
                    </a:lnTo>
                    <a:lnTo>
                      <a:pt x="1334452" y="391382"/>
                    </a:lnTo>
                    <a:lnTo>
                      <a:pt x="1320165" y="378143"/>
                    </a:lnTo>
                    <a:lnTo>
                      <a:pt x="1327785" y="374237"/>
                    </a:lnTo>
                    <a:lnTo>
                      <a:pt x="1338262" y="378143"/>
                    </a:lnTo>
                    <a:lnTo>
                      <a:pt x="1341120" y="356235"/>
                    </a:lnTo>
                    <a:lnTo>
                      <a:pt x="1344930" y="342900"/>
                    </a:lnTo>
                    <a:lnTo>
                      <a:pt x="1352550" y="349568"/>
                    </a:lnTo>
                    <a:lnTo>
                      <a:pt x="1348740" y="366713"/>
                    </a:lnTo>
                    <a:lnTo>
                      <a:pt x="1355408" y="388525"/>
                    </a:lnTo>
                    <a:lnTo>
                      <a:pt x="1355408" y="413385"/>
                    </a:lnTo>
                    <a:lnTo>
                      <a:pt x="1363027" y="402812"/>
                    </a:lnTo>
                    <a:lnTo>
                      <a:pt x="1376362" y="384810"/>
                    </a:lnTo>
                    <a:lnTo>
                      <a:pt x="1383983" y="370523"/>
                    </a:lnTo>
                    <a:lnTo>
                      <a:pt x="1376362" y="349568"/>
                    </a:lnTo>
                    <a:lnTo>
                      <a:pt x="1390650" y="353282"/>
                    </a:lnTo>
                    <a:lnTo>
                      <a:pt x="1401127" y="326612"/>
                    </a:lnTo>
                    <a:lnTo>
                      <a:pt x="1443990" y="307562"/>
                    </a:lnTo>
                    <a:lnTo>
                      <a:pt x="1448752" y="300038"/>
                    </a:lnTo>
                    <a:lnTo>
                      <a:pt x="1400175" y="30861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id="{2BD3B6B8-999E-DEC5-86D0-63542A2663E1}"/>
                  </a:ext>
                </a:extLst>
              </p:cNvPr>
              <p:cNvSpPr/>
              <p:nvPr/>
            </p:nvSpPr>
            <p:spPr>
              <a:xfrm>
                <a:off x="3724902" y="3303742"/>
                <a:ext cx="3734" cy="2801"/>
              </a:xfrm>
              <a:custGeom>
                <a:avLst/>
                <a:gdLst>
                  <a:gd name="connsiteX0" fmla="*/ 0 w 3809"/>
                  <a:gd name="connsiteY0" fmla="*/ 2858 h 2857"/>
                  <a:gd name="connsiteX1" fmla="*/ 0 w 3809"/>
                  <a:gd name="connsiteY1" fmla="*/ 2858 h 2857"/>
                  <a:gd name="connsiteX2" fmla="*/ 3810 w 3809"/>
                  <a:gd name="connsiteY2" fmla="*/ 0 h 2857"/>
                  <a:gd name="connsiteX3" fmla="*/ 0 w 3809"/>
                  <a:gd name="connsiteY3" fmla="*/ 2858 h 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09" h="2857">
                    <a:moveTo>
                      <a:pt x="0" y="2858"/>
                    </a:moveTo>
                    <a:lnTo>
                      <a:pt x="0" y="2858"/>
                    </a:lnTo>
                    <a:lnTo>
                      <a:pt x="3810" y="0"/>
                    </a:lnTo>
                    <a:lnTo>
                      <a:pt x="0" y="285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5" name="Freeform: Shape 424">
                <a:extLst>
                  <a:ext uri="{FF2B5EF4-FFF2-40B4-BE49-F238E27FC236}">
                    <a16:creationId xmlns:a16="http://schemas.microsoft.com/office/drawing/2014/main" id="{1FD4B5E1-AECA-24F0-04F0-6BB23B05BE5E}"/>
                  </a:ext>
                </a:extLst>
              </p:cNvPr>
              <p:cNvSpPr/>
              <p:nvPr/>
            </p:nvSpPr>
            <p:spPr>
              <a:xfrm>
                <a:off x="3493338" y="3113260"/>
                <a:ext cx="20541" cy="3735"/>
              </a:xfrm>
              <a:custGeom>
                <a:avLst/>
                <a:gdLst>
                  <a:gd name="connsiteX0" fmla="*/ 14288 w 20954"/>
                  <a:gd name="connsiteY0" fmla="*/ 3810 h 3810"/>
                  <a:gd name="connsiteX1" fmla="*/ 20955 w 20954"/>
                  <a:gd name="connsiteY1" fmla="*/ 3810 h 3810"/>
                  <a:gd name="connsiteX2" fmla="*/ 0 w 20954"/>
                  <a:gd name="connsiteY2" fmla="*/ 0 h 3810"/>
                  <a:gd name="connsiteX3" fmla="*/ 14288 w 20954"/>
                  <a:gd name="connsiteY3" fmla="*/ 3810 h 3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4" h="3810">
                    <a:moveTo>
                      <a:pt x="14288" y="3810"/>
                    </a:moveTo>
                    <a:lnTo>
                      <a:pt x="20955" y="3810"/>
                    </a:lnTo>
                    <a:lnTo>
                      <a:pt x="0" y="0"/>
                    </a:lnTo>
                    <a:lnTo>
                      <a:pt x="14288" y="381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6" name="Freeform: Shape 425">
                <a:extLst>
                  <a:ext uri="{FF2B5EF4-FFF2-40B4-BE49-F238E27FC236}">
                    <a16:creationId xmlns:a16="http://schemas.microsoft.com/office/drawing/2014/main" id="{D784426E-FD08-7ED7-09A1-A8F916317780}"/>
                  </a:ext>
                </a:extLst>
              </p:cNvPr>
              <p:cNvSpPr/>
              <p:nvPr/>
            </p:nvSpPr>
            <p:spPr>
              <a:xfrm>
                <a:off x="3469061" y="3105791"/>
                <a:ext cx="24276" cy="7469"/>
              </a:xfrm>
              <a:custGeom>
                <a:avLst/>
                <a:gdLst>
                  <a:gd name="connsiteX0" fmla="*/ 18097 w 24764"/>
                  <a:gd name="connsiteY0" fmla="*/ 7620 h 7619"/>
                  <a:gd name="connsiteX1" fmla="*/ 24765 w 24764"/>
                  <a:gd name="connsiteY1" fmla="*/ 7620 h 7619"/>
                  <a:gd name="connsiteX2" fmla="*/ 0 w 24764"/>
                  <a:gd name="connsiteY2" fmla="*/ 0 h 7619"/>
                  <a:gd name="connsiteX3" fmla="*/ 18097 w 24764"/>
                  <a:gd name="connsiteY3" fmla="*/ 7620 h 76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4" h="7619">
                    <a:moveTo>
                      <a:pt x="18097" y="7620"/>
                    </a:moveTo>
                    <a:lnTo>
                      <a:pt x="24765" y="7620"/>
                    </a:lnTo>
                    <a:lnTo>
                      <a:pt x="0" y="0"/>
                    </a:lnTo>
                    <a:lnTo>
                      <a:pt x="18097" y="762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7" name="Freeform: Shape 426">
                <a:extLst>
                  <a:ext uri="{FF2B5EF4-FFF2-40B4-BE49-F238E27FC236}">
                    <a16:creationId xmlns:a16="http://schemas.microsoft.com/office/drawing/2014/main" id="{A0074973-BE2F-E7ED-F295-1E4B848C845F}"/>
                  </a:ext>
                </a:extLst>
              </p:cNvPr>
              <p:cNvSpPr/>
              <p:nvPr/>
            </p:nvSpPr>
            <p:spPr>
              <a:xfrm>
                <a:off x="3907912" y="3213170"/>
                <a:ext cx="148462" cy="31653"/>
              </a:xfrm>
              <a:custGeom>
                <a:avLst/>
                <a:gdLst>
                  <a:gd name="connsiteX0" fmla="*/ 27622 w 151447"/>
                  <a:gd name="connsiteY0" fmla="*/ 10382 h 32289"/>
                  <a:gd name="connsiteX1" fmla="*/ 14288 w 151447"/>
                  <a:gd name="connsiteY1" fmla="*/ 20955 h 32289"/>
                  <a:gd name="connsiteX2" fmla="*/ 0 w 151447"/>
                  <a:gd name="connsiteY2" fmla="*/ 32290 h 32289"/>
                  <a:gd name="connsiteX3" fmla="*/ 27622 w 151447"/>
                  <a:gd name="connsiteY3" fmla="*/ 10382 h 32289"/>
                  <a:gd name="connsiteX4" fmla="*/ 130493 w 151447"/>
                  <a:gd name="connsiteY4" fmla="*/ 10382 h 32289"/>
                  <a:gd name="connsiteX5" fmla="*/ 151447 w 151447"/>
                  <a:gd name="connsiteY5" fmla="*/ 0 h 32289"/>
                  <a:gd name="connsiteX6" fmla="*/ 130493 w 151447"/>
                  <a:gd name="connsiteY6" fmla="*/ 10382 h 32289"/>
                  <a:gd name="connsiteX7" fmla="*/ 27622 w 151447"/>
                  <a:gd name="connsiteY7" fmla="*/ 10382 h 32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51447" h="32289">
                    <a:moveTo>
                      <a:pt x="27622" y="10382"/>
                    </a:moveTo>
                    <a:lnTo>
                      <a:pt x="14288" y="20955"/>
                    </a:lnTo>
                    <a:lnTo>
                      <a:pt x="0" y="32290"/>
                    </a:lnTo>
                    <a:lnTo>
                      <a:pt x="27622" y="10382"/>
                    </a:lnTo>
                    <a:lnTo>
                      <a:pt x="130493" y="10382"/>
                    </a:lnTo>
                    <a:lnTo>
                      <a:pt x="151447" y="0"/>
                    </a:lnTo>
                    <a:lnTo>
                      <a:pt x="130493" y="10382"/>
                    </a:lnTo>
                    <a:lnTo>
                      <a:pt x="27622" y="103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8" name="Freeform: Shape 427">
                <a:extLst>
                  <a:ext uri="{FF2B5EF4-FFF2-40B4-BE49-F238E27FC236}">
                    <a16:creationId xmlns:a16="http://schemas.microsoft.com/office/drawing/2014/main" id="{76FBEF75-8481-F4A5-BA24-3872DD395B27}"/>
                  </a:ext>
                </a:extLst>
              </p:cNvPr>
              <p:cNvSpPr/>
              <p:nvPr/>
            </p:nvSpPr>
            <p:spPr>
              <a:xfrm>
                <a:off x="3828545" y="3286001"/>
                <a:ext cx="2801" cy="7376"/>
              </a:xfrm>
              <a:custGeom>
                <a:avLst/>
                <a:gdLst>
                  <a:gd name="connsiteX0" fmla="*/ 2858 w 2857"/>
                  <a:gd name="connsiteY0" fmla="*/ 6668 h 7524"/>
                  <a:gd name="connsiteX1" fmla="*/ 0 w 2857"/>
                  <a:gd name="connsiteY1" fmla="*/ 0 h 7524"/>
                  <a:gd name="connsiteX2" fmla="*/ 1905 w 2857"/>
                  <a:gd name="connsiteY2" fmla="*/ 7525 h 7524"/>
                  <a:gd name="connsiteX3" fmla="*/ 2858 w 2857"/>
                  <a:gd name="connsiteY3" fmla="*/ 6668 h 7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" h="7524">
                    <a:moveTo>
                      <a:pt x="2858" y="6668"/>
                    </a:moveTo>
                    <a:lnTo>
                      <a:pt x="0" y="0"/>
                    </a:lnTo>
                    <a:lnTo>
                      <a:pt x="1905" y="7525"/>
                    </a:lnTo>
                    <a:lnTo>
                      <a:pt x="2858" y="666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29" name="Freeform: Shape 428">
                <a:extLst>
                  <a:ext uri="{FF2B5EF4-FFF2-40B4-BE49-F238E27FC236}">
                    <a16:creationId xmlns:a16="http://schemas.microsoft.com/office/drawing/2014/main" id="{F8AABC47-CD20-D4E0-3A27-3F857C898C3E}"/>
                  </a:ext>
                </a:extLst>
              </p:cNvPr>
              <p:cNvSpPr/>
              <p:nvPr/>
            </p:nvSpPr>
            <p:spPr>
              <a:xfrm>
                <a:off x="2551211" y="1986246"/>
                <a:ext cx="286653" cy="180117"/>
              </a:xfrm>
              <a:custGeom>
                <a:avLst/>
                <a:gdLst>
                  <a:gd name="connsiteX0" fmla="*/ 35242 w 292417"/>
                  <a:gd name="connsiteY0" fmla="*/ 147638 h 183737"/>
                  <a:gd name="connsiteX1" fmla="*/ 56197 w 292417"/>
                  <a:gd name="connsiteY1" fmla="*/ 161925 h 183737"/>
                  <a:gd name="connsiteX2" fmla="*/ 73342 w 292417"/>
                  <a:gd name="connsiteY2" fmla="*/ 183737 h 183737"/>
                  <a:gd name="connsiteX3" fmla="*/ 95250 w 292417"/>
                  <a:gd name="connsiteY3" fmla="*/ 176213 h 183737"/>
                  <a:gd name="connsiteX4" fmla="*/ 119063 w 292417"/>
                  <a:gd name="connsiteY4" fmla="*/ 161925 h 183737"/>
                  <a:gd name="connsiteX5" fmla="*/ 140970 w 292417"/>
                  <a:gd name="connsiteY5" fmla="*/ 161925 h 183737"/>
                  <a:gd name="connsiteX6" fmla="*/ 151447 w 292417"/>
                  <a:gd name="connsiteY6" fmla="*/ 144685 h 183737"/>
                  <a:gd name="connsiteX7" fmla="*/ 158115 w 292417"/>
                  <a:gd name="connsiteY7" fmla="*/ 126587 h 183737"/>
                  <a:gd name="connsiteX8" fmla="*/ 179070 w 292417"/>
                  <a:gd name="connsiteY8" fmla="*/ 116110 h 183737"/>
                  <a:gd name="connsiteX9" fmla="*/ 186690 w 292417"/>
                  <a:gd name="connsiteY9" fmla="*/ 101822 h 183737"/>
                  <a:gd name="connsiteX10" fmla="*/ 211455 w 292417"/>
                  <a:gd name="connsiteY10" fmla="*/ 88487 h 183737"/>
                  <a:gd name="connsiteX11" fmla="*/ 246697 w 292417"/>
                  <a:gd name="connsiteY11" fmla="*/ 70485 h 183737"/>
                  <a:gd name="connsiteX12" fmla="*/ 292417 w 292417"/>
                  <a:gd name="connsiteY12" fmla="*/ 56197 h 183737"/>
                  <a:gd name="connsiteX13" fmla="*/ 278130 w 292417"/>
                  <a:gd name="connsiteY13" fmla="*/ 45625 h 183737"/>
                  <a:gd name="connsiteX14" fmla="*/ 249555 w 292417"/>
                  <a:gd name="connsiteY14" fmla="*/ 28575 h 183737"/>
                  <a:gd name="connsiteX15" fmla="*/ 224790 w 292417"/>
                  <a:gd name="connsiteY15" fmla="*/ 14288 h 183737"/>
                  <a:gd name="connsiteX16" fmla="*/ 200025 w 292417"/>
                  <a:gd name="connsiteY16" fmla="*/ 18098 h 183737"/>
                  <a:gd name="connsiteX17" fmla="*/ 186690 w 292417"/>
                  <a:gd name="connsiteY17" fmla="*/ 28575 h 183737"/>
                  <a:gd name="connsiteX18" fmla="*/ 165735 w 292417"/>
                  <a:gd name="connsiteY18" fmla="*/ 24765 h 183737"/>
                  <a:gd name="connsiteX19" fmla="*/ 130492 w 292417"/>
                  <a:gd name="connsiteY19" fmla="*/ 10478 h 183737"/>
                  <a:gd name="connsiteX20" fmla="*/ 126683 w 292417"/>
                  <a:gd name="connsiteY20" fmla="*/ 0 h 183737"/>
                  <a:gd name="connsiteX21" fmla="*/ 95250 w 292417"/>
                  <a:gd name="connsiteY21" fmla="*/ 0 h 183737"/>
                  <a:gd name="connsiteX22" fmla="*/ 91440 w 292417"/>
                  <a:gd name="connsiteY22" fmla="*/ 10478 h 183737"/>
                  <a:gd name="connsiteX23" fmla="*/ 60008 w 292417"/>
                  <a:gd name="connsiteY23" fmla="*/ 6572 h 183737"/>
                  <a:gd name="connsiteX24" fmla="*/ 35242 w 292417"/>
                  <a:gd name="connsiteY24" fmla="*/ 10478 h 183737"/>
                  <a:gd name="connsiteX25" fmla="*/ 35242 w 292417"/>
                  <a:gd name="connsiteY25" fmla="*/ 24765 h 183737"/>
                  <a:gd name="connsiteX26" fmla="*/ 48577 w 292417"/>
                  <a:gd name="connsiteY26" fmla="*/ 39053 h 183737"/>
                  <a:gd name="connsiteX27" fmla="*/ 48577 w 292417"/>
                  <a:gd name="connsiteY27" fmla="*/ 49435 h 183737"/>
                  <a:gd name="connsiteX28" fmla="*/ 41910 w 292417"/>
                  <a:gd name="connsiteY28" fmla="*/ 59912 h 183737"/>
                  <a:gd name="connsiteX29" fmla="*/ 35242 w 292417"/>
                  <a:gd name="connsiteY29" fmla="*/ 77153 h 183737"/>
                  <a:gd name="connsiteX30" fmla="*/ 20955 w 292417"/>
                  <a:gd name="connsiteY30" fmla="*/ 95250 h 183737"/>
                  <a:gd name="connsiteX31" fmla="*/ 14288 w 292417"/>
                  <a:gd name="connsiteY31" fmla="*/ 120015 h 183737"/>
                  <a:gd name="connsiteX32" fmla="*/ 0 w 292417"/>
                  <a:gd name="connsiteY32" fmla="*/ 134303 h 183737"/>
                  <a:gd name="connsiteX33" fmla="*/ 20955 w 292417"/>
                  <a:gd name="connsiteY33" fmla="*/ 140875 h 183737"/>
                  <a:gd name="connsiteX34" fmla="*/ 35242 w 292417"/>
                  <a:gd name="connsiteY34" fmla="*/ 147638 h 183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292417" h="183737">
                    <a:moveTo>
                      <a:pt x="35242" y="147638"/>
                    </a:moveTo>
                    <a:lnTo>
                      <a:pt x="56197" y="161925"/>
                    </a:lnTo>
                    <a:lnTo>
                      <a:pt x="73342" y="183737"/>
                    </a:lnTo>
                    <a:lnTo>
                      <a:pt x="95250" y="176213"/>
                    </a:lnTo>
                    <a:lnTo>
                      <a:pt x="119063" y="161925"/>
                    </a:lnTo>
                    <a:lnTo>
                      <a:pt x="140970" y="161925"/>
                    </a:lnTo>
                    <a:lnTo>
                      <a:pt x="151447" y="144685"/>
                    </a:lnTo>
                    <a:lnTo>
                      <a:pt x="158115" y="126587"/>
                    </a:lnTo>
                    <a:lnTo>
                      <a:pt x="179070" y="116110"/>
                    </a:lnTo>
                    <a:lnTo>
                      <a:pt x="186690" y="101822"/>
                    </a:lnTo>
                    <a:lnTo>
                      <a:pt x="211455" y="88487"/>
                    </a:lnTo>
                    <a:lnTo>
                      <a:pt x="246697" y="70485"/>
                    </a:lnTo>
                    <a:lnTo>
                      <a:pt x="292417" y="56197"/>
                    </a:lnTo>
                    <a:lnTo>
                      <a:pt x="278130" y="45625"/>
                    </a:lnTo>
                    <a:lnTo>
                      <a:pt x="249555" y="28575"/>
                    </a:lnTo>
                    <a:lnTo>
                      <a:pt x="224790" y="14288"/>
                    </a:lnTo>
                    <a:lnTo>
                      <a:pt x="200025" y="18098"/>
                    </a:lnTo>
                    <a:lnTo>
                      <a:pt x="186690" y="28575"/>
                    </a:lnTo>
                    <a:lnTo>
                      <a:pt x="165735" y="24765"/>
                    </a:lnTo>
                    <a:lnTo>
                      <a:pt x="130492" y="10478"/>
                    </a:lnTo>
                    <a:lnTo>
                      <a:pt x="126683" y="0"/>
                    </a:lnTo>
                    <a:lnTo>
                      <a:pt x="95250" y="0"/>
                    </a:lnTo>
                    <a:lnTo>
                      <a:pt x="91440" y="10478"/>
                    </a:lnTo>
                    <a:lnTo>
                      <a:pt x="60008" y="6572"/>
                    </a:lnTo>
                    <a:lnTo>
                      <a:pt x="35242" y="10478"/>
                    </a:lnTo>
                    <a:lnTo>
                      <a:pt x="35242" y="24765"/>
                    </a:lnTo>
                    <a:lnTo>
                      <a:pt x="48577" y="39053"/>
                    </a:lnTo>
                    <a:lnTo>
                      <a:pt x="48577" y="49435"/>
                    </a:lnTo>
                    <a:lnTo>
                      <a:pt x="41910" y="59912"/>
                    </a:lnTo>
                    <a:lnTo>
                      <a:pt x="35242" y="77153"/>
                    </a:lnTo>
                    <a:lnTo>
                      <a:pt x="20955" y="95250"/>
                    </a:lnTo>
                    <a:lnTo>
                      <a:pt x="14288" y="120015"/>
                    </a:lnTo>
                    <a:lnTo>
                      <a:pt x="0" y="134303"/>
                    </a:lnTo>
                    <a:lnTo>
                      <a:pt x="20955" y="140875"/>
                    </a:lnTo>
                    <a:lnTo>
                      <a:pt x="35242" y="14763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0" name="Freeform: Shape 429">
                <a:extLst>
                  <a:ext uri="{FF2B5EF4-FFF2-40B4-BE49-F238E27FC236}">
                    <a16:creationId xmlns:a16="http://schemas.microsoft.com/office/drawing/2014/main" id="{55FB6CAD-CA5B-F6FF-8F4E-41CDD8EFC7EF}"/>
                  </a:ext>
                </a:extLst>
              </p:cNvPr>
              <p:cNvSpPr/>
              <p:nvPr/>
            </p:nvSpPr>
            <p:spPr>
              <a:xfrm>
                <a:off x="2740756" y="2051608"/>
                <a:ext cx="490205" cy="235206"/>
              </a:xfrm>
              <a:custGeom>
                <a:avLst/>
                <a:gdLst>
                  <a:gd name="connsiteX0" fmla="*/ 493395 w 500062"/>
                  <a:gd name="connsiteY0" fmla="*/ 183737 h 239934"/>
                  <a:gd name="connsiteX1" fmla="*/ 500063 w 500062"/>
                  <a:gd name="connsiteY1" fmla="*/ 176213 h 239934"/>
                  <a:gd name="connsiteX2" fmla="*/ 472440 w 500062"/>
                  <a:gd name="connsiteY2" fmla="*/ 158972 h 239934"/>
                  <a:gd name="connsiteX3" fmla="*/ 458152 w 500062"/>
                  <a:gd name="connsiteY3" fmla="*/ 148590 h 239934"/>
                  <a:gd name="connsiteX4" fmla="*/ 437197 w 500062"/>
                  <a:gd name="connsiteY4" fmla="*/ 144685 h 239934"/>
                  <a:gd name="connsiteX5" fmla="*/ 419100 w 500062"/>
                  <a:gd name="connsiteY5" fmla="*/ 138113 h 239934"/>
                  <a:gd name="connsiteX6" fmla="*/ 401955 w 500062"/>
                  <a:gd name="connsiteY6" fmla="*/ 117062 h 239934"/>
                  <a:gd name="connsiteX7" fmla="*/ 404813 w 500062"/>
                  <a:gd name="connsiteY7" fmla="*/ 105727 h 239934"/>
                  <a:gd name="connsiteX8" fmla="*/ 404813 w 500062"/>
                  <a:gd name="connsiteY8" fmla="*/ 92297 h 239934"/>
                  <a:gd name="connsiteX9" fmla="*/ 390525 w 500062"/>
                  <a:gd name="connsiteY9" fmla="*/ 70485 h 239934"/>
                  <a:gd name="connsiteX10" fmla="*/ 380047 w 500062"/>
                  <a:gd name="connsiteY10" fmla="*/ 42863 h 239934"/>
                  <a:gd name="connsiteX11" fmla="*/ 362902 w 500062"/>
                  <a:gd name="connsiteY11" fmla="*/ 21812 h 239934"/>
                  <a:gd name="connsiteX12" fmla="*/ 338138 w 500062"/>
                  <a:gd name="connsiteY12" fmla="*/ 7525 h 239934"/>
                  <a:gd name="connsiteX13" fmla="*/ 313372 w 500062"/>
                  <a:gd name="connsiteY13" fmla="*/ 0 h 239934"/>
                  <a:gd name="connsiteX14" fmla="*/ 299085 w 500062"/>
                  <a:gd name="connsiteY14" fmla="*/ 7525 h 239934"/>
                  <a:gd name="connsiteX15" fmla="*/ 302895 w 500062"/>
                  <a:gd name="connsiteY15" fmla="*/ 28575 h 239934"/>
                  <a:gd name="connsiteX16" fmla="*/ 309563 w 500062"/>
                  <a:gd name="connsiteY16" fmla="*/ 59912 h 239934"/>
                  <a:gd name="connsiteX17" fmla="*/ 320992 w 500062"/>
                  <a:gd name="connsiteY17" fmla="*/ 78010 h 239934"/>
                  <a:gd name="connsiteX18" fmla="*/ 302895 w 500062"/>
                  <a:gd name="connsiteY18" fmla="*/ 84772 h 239934"/>
                  <a:gd name="connsiteX19" fmla="*/ 292417 w 500062"/>
                  <a:gd name="connsiteY19" fmla="*/ 67627 h 239934"/>
                  <a:gd name="connsiteX20" fmla="*/ 285750 w 500062"/>
                  <a:gd name="connsiteY20" fmla="*/ 45625 h 239934"/>
                  <a:gd name="connsiteX21" fmla="*/ 271463 w 500062"/>
                  <a:gd name="connsiteY21" fmla="*/ 28575 h 239934"/>
                  <a:gd name="connsiteX22" fmla="*/ 250507 w 500062"/>
                  <a:gd name="connsiteY22" fmla="*/ 18097 h 239934"/>
                  <a:gd name="connsiteX23" fmla="*/ 240030 w 500062"/>
                  <a:gd name="connsiteY23" fmla="*/ 21812 h 239934"/>
                  <a:gd name="connsiteX24" fmla="*/ 253365 w 500062"/>
                  <a:gd name="connsiteY24" fmla="*/ 32385 h 239934"/>
                  <a:gd name="connsiteX25" fmla="*/ 250507 w 500062"/>
                  <a:gd name="connsiteY25" fmla="*/ 45625 h 239934"/>
                  <a:gd name="connsiteX26" fmla="*/ 225742 w 500062"/>
                  <a:gd name="connsiteY26" fmla="*/ 45625 h 239934"/>
                  <a:gd name="connsiteX27" fmla="*/ 211455 w 500062"/>
                  <a:gd name="connsiteY27" fmla="*/ 49435 h 239934"/>
                  <a:gd name="connsiteX28" fmla="*/ 207645 w 500062"/>
                  <a:gd name="connsiteY28" fmla="*/ 42863 h 239934"/>
                  <a:gd name="connsiteX29" fmla="*/ 215265 w 500062"/>
                  <a:gd name="connsiteY29" fmla="*/ 32385 h 239934"/>
                  <a:gd name="connsiteX30" fmla="*/ 186690 w 500062"/>
                  <a:gd name="connsiteY30" fmla="*/ 21812 h 239934"/>
                  <a:gd name="connsiteX31" fmla="*/ 158115 w 500062"/>
                  <a:gd name="connsiteY31" fmla="*/ 14288 h 239934"/>
                  <a:gd name="connsiteX32" fmla="*/ 147638 w 500062"/>
                  <a:gd name="connsiteY32" fmla="*/ 39052 h 239934"/>
                  <a:gd name="connsiteX33" fmla="*/ 122872 w 500062"/>
                  <a:gd name="connsiteY33" fmla="*/ 32385 h 239934"/>
                  <a:gd name="connsiteX34" fmla="*/ 130492 w 500062"/>
                  <a:gd name="connsiteY34" fmla="*/ 21812 h 239934"/>
                  <a:gd name="connsiteX35" fmla="*/ 134302 w 500062"/>
                  <a:gd name="connsiteY35" fmla="*/ 14288 h 239934"/>
                  <a:gd name="connsiteX36" fmla="*/ 130492 w 500062"/>
                  <a:gd name="connsiteY36" fmla="*/ 0 h 239934"/>
                  <a:gd name="connsiteX37" fmla="*/ 88582 w 500062"/>
                  <a:gd name="connsiteY37" fmla="*/ 7525 h 239934"/>
                  <a:gd name="connsiteX38" fmla="*/ 45720 w 500062"/>
                  <a:gd name="connsiteY38" fmla="*/ 24765 h 239934"/>
                  <a:gd name="connsiteX39" fmla="*/ 18097 w 500062"/>
                  <a:gd name="connsiteY39" fmla="*/ 39052 h 239934"/>
                  <a:gd name="connsiteX40" fmla="*/ 20955 w 500062"/>
                  <a:gd name="connsiteY40" fmla="*/ 53340 h 239934"/>
                  <a:gd name="connsiteX41" fmla="*/ 14288 w 500062"/>
                  <a:gd name="connsiteY41" fmla="*/ 63722 h 239934"/>
                  <a:gd name="connsiteX42" fmla="*/ 0 w 500062"/>
                  <a:gd name="connsiteY42" fmla="*/ 74200 h 239934"/>
                  <a:gd name="connsiteX43" fmla="*/ 0 w 500062"/>
                  <a:gd name="connsiteY43" fmla="*/ 88487 h 239934"/>
                  <a:gd name="connsiteX44" fmla="*/ 24765 w 500062"/>
                  <a:gd name="connsiteY44" fmla="*/ 92297 h 239934"/>
                  <a:gd name="connsiteX45" fmla="*/ 35242 w 500062"/>
                  <a:gd name="connsiteY45" fmla="*/ 99060 h 239934"/>
                  <a:gd name="connsiteX46" fmla="*/ 60007 w 500062"/>
                  <a:gd name="connsiteY46" fmla="*/ 99060 h 239934"/>
                  <a:gd name="connsiteX47" fmla="*/ 80963 w 500062"/>
                  <a:gd name="connsiteY47" fmla="*/ 92297 h 239934"/>
                  <a:gd name="connsiteX48" fmla="*/ 99060 w 500062"/>
                  <a:gd name="connsiteY48" fmla="*/ 95250 h 239934"/>
                  <a:gd name="connsiteX49" fmla="*/ 80963 w 500062"/>
                  <a:gd name="connsiteY49" fmla="*/ 102775 h 239934"/>
                  <a:gd name="connsiteX50" fmla="*/ 53340 w 500062"/>
                  <a:gd name="connsiteY50" fmla="*/ 109538 h 239934"/>
                  <a:gd name="connsiteX51" fmla="*/ 24765 w 500062"/>
                  <a:gd name="connsiteY51" fmla="*/ 109538 h 239934"/>
                  <a:gd name="connsiteX52" fmla="*/ 18097 w 500062"/>
                  <a:gd name="connsiteY52" fmla="*/ 130397 h 239934"/>
                  <a:gd name="connsiteX53" fmla="*/ 49530 w 500062"/>
                  <a:gd name="connsiteY53" fmla="*/ 140875 h 239934"/>
                  <a:gd name="connsiteX54" fmla="*/ 91440 w 500062"/>
                  <a:gd name="connsiteY54" fmla="*/ 138113 h 239934"/>
                  <a:gd name="connsiteX55" fmla="*/ 151447 w 500062"/>
                  <a:gd name="connsiteY55" fmla="*/ 134302 h 239934"/>
                  <a:gd name="connsiteX56" fmla="*/ 182880 w 500062"/>
                  <a:gd name="connsiteY56" fmla="*/ 144685 h 239934"/>
                  <a:gd name="connsiteX57" fmla="*/ 193357 w 500062"/>
                  <a:gd name="connsiteY57" fmla="*/ 158972 h 239934"/>
                  <a:gd name="connsiteX58" fmla="*/ 172402 w 500062"/>
                  <a:gd name="connsiteY58" fmla="*/ 158972 h 239934"/>
                  <a:gd name="connsiteX59" fmla="*/ 140970 w 500062"/>
                  <a:gd name="connsiteY59" fmla="*/ 155162 h 239934"/>
                  <a:gd name="connsiteX60" fmla="*/ 84772 w 500062"/>
                  <a:gd name="connsiteY60" fmla="*/ 158972 h 239934"/>
                  <a:gd name="connsiteX61" fmla="*/ 53340 w 500062"/>
                  <a:gd name="connsiteY61" fmla="*/ 162877 h 239934"/>
                  <a:gd name="connsiteX62" fmla="*/ 39052 w 500062"/>
                  <a:gd name="connsiteY62" fmla="*/ 176213 h 239934"/>
                  <a:gd name="connsiteX63" fmla="*/ 70485 w 500062"/>
                  <a:gd name="connsiteY63" fmla="*/ 208597 h 239934"/>
                  <a:gd name="connsiteX64" fmla="*/ 144780 w 500062"/>
                  <a:gd name="connsiteY64" fmla="*/ 208597 h 239934"/>
                  <a:gd name="connsiteX65" fmla="*/ 147638 w 500062"/>
                  <a:gd name="connsiteY65" fmla="*/ 229552 h 239934"/>
                  <a:gd name="connsiteX66" fmla="*/ 158115 w 500062"/>
                  <a:gd name="connsiteY66" fmla="*/ 239935 h 239934"/>
                  <a:gd name="connsiteX67" fmla="*/ 267652 w 500062"/>
                  <a:gd name="connsiteY67" fmla="*/ 236125 h 239934"/>
                  <a:gd name="connsiteX68" fmla="*/ 296227 w 500062"/>
                  <a:gd name="connsiteY68" fmla="*/ 222885 h 239934"/>
                  <a:gd name="connsiteX69" fmla="*/ 323850 w 500062"/>
                  <a:gd name="connsiteY69" fmla="*/ 215265 h 239934"/>
                  <a:gd name="connsiteX70" fmla="*/ 344805 w 500062"/>
                  <a:gd name="connsiteY70" fmla="*/ 190500 h 239934"/>
                  <a:gd name="connsiteX71" fmla="*/ 356235 w 500062"/>
                  <a:gd name="connsiteY71" fmla="*/ 215265 h 239934"/>
                  <a:gd name="connsiteX72" fmla="*/ 373380 w 500062"/>
                  <a:gd name="connsiteY72" fmla="*/ 215265 h 239934"/>
                  <a:gd name="connsiteX73" fmla="*/ 380047 w 500062"/>
                  <a:gd name="connsiteY73" fmla="*/ 225647 h 239934"/>
                  <a:gd name="connsiteX74" fmla="*/ 422910 w 500062"/>
                  <a:gd name="connsiteY74" fmla="*/ 229552 h 239934"/>
                  <a:gd name="connsiteX75" fmla="*/ 461010 w 500062"/>
                  <a:gd name="connsiteY75" fmla="*/ 225647 h 239934"/>
                  <a:gd name="connsiteX76" fmla="*/ 479107 w 500062"/>
                  <a:gd name="connsiteY76" fmla="*/ 222885 h 239934"/>
                  <a:gd name="connsiteX77" fmla="*/ 472440 w 500062"/>
                  <a:gd name="connsiteY77" fmla="*/ 204788 h 239934"/>
                  <a:gd name="connsiteX78" fmla="*/ 450532 w 500062"/>
                  <a:gd name="connsiteY78" fmla="*/ 198025 h 239934"/>
                  <a:gd name="connsiteX79" fmla="*/ 447675 w 500062"/>
                  <a:gd name="connsiteY79" fmla="*/ 187547 h 239934"/>
                  <a:gd name="connsiteX80" fmla="*/ 464820 w 500062"/>
                  <a:gd name="connsiteY80" fmla="*/ 183737 h 239934"/>
                  <a:gd name="connsiteX81" fmla="*/ 493395 w 500062"/>
                  <a:gd name="connsiteY81" fmla="*/ 183737 h 239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</a:cxnLst>
                <a:rect l="l" t="t" r="r" b="b"/>
                <a:pathLst>
                  <a:path w="500062" h="239934">
                    <a:moveTo>
                      <a:pt x="493395" y="183737"/>
                    </a:moveTo>
                    <a:lnTo>
                      <a:pt x="500063" y="176213"/>
                    </a:lnTo>
                    <a:lnTo>
                      <a:pt x="472440" y="158972"/>
                    </a:lnTo>
                    <a:lnTo>
                      <a:pt x="458152" y="148590"/>
                    </a:lnTo>
                    <a:lnTo>
                      <a:pt x="437197" y="144685"/>
                    </a:lnTo>
                    <a:lnTo>
                      <a:pt x="419100" y="138113"/>
                    </a:lnTo>
                    <a:lnTo>
                      <a:pt x="401955" y="117062"/>
                    </a:lnTo>
                    <a:lnTo>
                      <a:pt x="404813" y="105727"/>
                    </a:lnTo>
                    <a:lnTo>
                      <a:pt x="404813" y="92297"/>
                    </a:lnTo>
                    <a:lnTo>
                      <a:pt x="390525" y="70485"/>
                    </a:lnTo>
                    <a:lnTo>
                      <a:pt x="380047" y="42863"/>
                    </a:lnTo>
                    <a:lnTo>
                      <a:pt x="362902" y="21812"/>
                    </a:lnTo>
                    <a:lnTo>
                      <a:pt x="338138" y="7525"/>
                    </a:lnTo>
                    <a:lnTo>
                      <a:pt x="313372" y="0"/>
                    </a:lnTo>
                    <a:lnTo>
                      <a:pt x="299085" y="7525"/>
                    </a:lnTo>
                    <a:lnTo>
                      <a:pt x="302895" y="28575"/>
                    </a:lnTo>
                    <a:lnTo>
                      <a:pt x="309563" y="59912"/>
                    </a:lnTo>
                    <a:lnTo>
                      <a:pt x="320992" y="78010"/>
                    </a:lnTo>
                    <a:lnTo>
                      <a:pt x="302895" y="84772"/>
                    </a:lnTo>
                    <a:lnTo>
                      <a:pt x="292417" y="67627"/>
                    </a:lnTo>
                    <a:lnTo>
                      <a:pt x="285750" y="45625"/>
                    </a:lnTo>
                    <a:lnTo>
                      <a:pt x="271463" y="28575"/>
                    </a:lnTo>
                    <a:lnTo>
                      <a:pt x="250507" y="18097"/>
                    </a:lnTo>
                    <a:lnTo>
                      <a:pt x="240030" y="21812"/>
                    </a:lnTo>
                    <a:lnTo>
                      <a:pt x="253365" y="32385"/>
                    </a:lnTo>
                    <a:lnTo>
                      <a:pt x="250507" y="45625"/>
                    </a:lnTo>
                    <a:lnTo>
                      <a:pt x="225742" y="45625"/>
                    </a:lnTo>
                    <a:lnTo>
                      <a:pt x="211455" y="49435"/>
                    </a:lnTo>
                    <a:lnTo>
                      <a:pt x="207645" y="42863"/>
                    </a:lnTo>
                    <a:lnTo>
                      <a:pt x="215265" y="32385"/>
                    </a:lnTo>
                    <a:lnTo>
                      <a:pt x="186690" y="21812"/>
                    </a:lnTo>
                    <a:lnTo>
                      <a:pt x="158115" y="14288"/>
                    </a:lnTo>
                    <a:lnTo>
                      <a:pt x="147638" y="39052"/>
                    </a:lnTo>
                    <a:lnTo>
                      <a:pt x="122872" y="32385"/>
                    </a:lnTo>
                    <a:lnTo>
                      <a:pt x="130492" y="21812"/>
                    </a:lnTo>
                    <a:lnTo>
                      <a:pt x="134302" y="14288"/>
                    </a:lnTo>
                    <a:lnTo>
                      <a:pt x="130492" y="0"/>
                    </a:lnTo>
                    <a:lnTo>
                      <a:pt x="88582" y="7525"/>
                    </a:lnTo>
                    <a:lnTo>
                      <a:pt x="45720" y="24765"/>
                    </a:lnTo>
                    <a:lnTo>
                      <a:pt x="18097" y="39052"/>
                    </a:lnTo>
                    <a:lnTo>
                      <a:pt x="20955" y="53340"/>
                    </a:lnTo>
                    <a:lnTo>
                      <a:pt x="14288" y="63722"/>
                    </a:lnTo>
                    <a:lnTo>
                      <a:pt x="0" y="74200"/>
                    </a:lnTo>
                    <a:lnTo>
                      <a:pt x="0" y="88487"/>
                    </a:lnTo>
                    <a:lnTo>
                      <a:pt x="24765" y="92297"/>
                    </a:lnTo>
                    <a:lnTo>
                      <a:pt x="35242" y="99060"/>
                    </a:lnTo>
                    <a:lnTo>
                      <a:pt x="60007" y="99060"/>
                    </a:lnTo>
                    <a:lnTo>
                      <a:pt x="80963" y="92297"/>
                    </a:lnTo>
                    <a:lnTo>
                      <a:pt x="99060" y="95250"/>
                    </a:lnTo>
                    <a:lnTo>
                      <a:pt x="80963" y="102775"/>
                    </a:lnTo>
                    <a:lnTo>
                      <a:pt x="53340" y="109538"/>
                    </a:lnTo>
                    <a:lnTo>
                      <a:pt x="24765" y="109538"/>
                    </a:lnTo>
                    <a:lnTo>
                      <a:pt x="18097" y="130397"/>
                    </a:lnTo>
                    <a:lnTo>
                      <a:pt x="49530" y="140875"/>
                    </a:lnTo>
                    <a:lnTo>
                      <a:pt x="91440" y="138113"/>
                    </a:lnTo>
                    <a:lnTo>
                      <a:pt x="151447" y="134302"/>
                    </a:lnTo>
                    <a:lnTo>
                      <a:pt x="182880" y="144685"/>
                    </a:lnTo>
                    <a:lnTo>
                      <a:pt x="193357" y="158972"/>
                    </a:lnTo>
                    <a:lnTo>
                      <a:pt x="172402" y="158972"/>
                    </a:lnTo>
                    <a:lnTo>
                      <a:pt x="140970" y="155162"/>
                    </a:lnTo>
                    <a:lnTo>
                      <a:pt x="84772" y="158972"/>
                    </a:lnTo>
                    <a:lnTo>
                      <a:pt x="53340" y="162877"/>
                    </a:lnTo>
                    <a:lnTo>
                      <a:pt x="39052" y="176213"/>
                    </a:lnTo>
                    <a:lnTo>
                      <a:pt x="70485" y="208597"/>
                    </a:lnTo>
                    <a:lnTo>
                      <a:pt x="144780" y="208597"/>
                    </a:lnTo>
                    <a:lnTo>
                      <a:pt x="147638" y="229552"/>
                    </a:lnTo>
                    <a:lnTo>
                      <a:pt x="158115" y="239935"/>
                    </a:lnTo>
                    <a:lnTo>
                      <a:pt x="267652" y="236125"/>
                    </a:lnTo>
                    <a:lnTo>
                      <a:pt x="296227" y="222885"/>
                    </a:lnTo>
                    <a:lnTo>
                      <a:pt x="323850" y="215265"/>
                    </a:lnTo>
                    <a:lnTo>
                      <a:pt x="344805" y="190500"/>
                    </a:lnTo>
                    <a:lnTo>
                      <a:pt x="356235" y="215265"/>
                    </a:lnTo>
                    <a:lnTo>
                      <a:pt x="373380" y="215265"/>
                    </a:lnTo>
                    <a:lnTo>
                      <a:pt x="380047" y="225647"/>
                    </a:lnTo>
                    <a:lnTo>
                      <a:pt x="422910" y="229552"/>
                    </a:lnTo>
                    <a:lnTo>
                      <a:pt x="461010" y="225647"/>
                    </a:lnTo>
                    <a:lnTo>
                      <a:pt x="479107" y="222885"/>
                    </a:lnTo>
                    <a:lnTo>
                      <a:pt x="472440" y="204788"/>
                    </a:lnTo>
                    <a:lnTo>
                      <a:pt x="450532" y="198025"/>
                    </a:lnTo>
                    <a:lnTo>
                      <a:pt x="447675" y="187547"/>
                    </a:lnTo>
                    <a:lnTo>
                      <a:pt x="464820" y="183737"/>
                    </a:lnTo>
                    <a:lnTo>
                      <a:pt x="493395" y="18373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1" name="Freeform: Shape 430">
                <a:extLst>
                  <a:ext uri="{FF2B5EF4-FFF2-40B4-BE49-F238E27FC236}">
                    <a16:creationId xmlns:a16="http://schemas.microsoft.com/office/drawing/2014/main" id="{D240CB59-5762-B467-0949-3F0B7B6B9127}"/>
                  </a:ext>
                </a:extLst>
              </p:cNvPr>
              <p:cNvSpPr/>
              <p:nvPr/>
            </p:nvSpPr>
            <p:spPr>
              <a:xfrm>
                <a:off x="2779038" y="1854590"/>
                <a:ext cx="327737" cy="141927"/>
              </a:xfrm>
              <a:custGeom>
                <a:avLst/>
                <a:gdLst>
                  <a:gd name="connsiteX0" fmla="*/ 31433 w 334327"/>
                  <a:gd name="connsiteY0" fmla="*/ 42863 h 144780"/>
                  <a:gd name="connsiteX1" fmla="*/ 27623 w 334327"/>
                  <a:gd name="connsiteY1" fmla="*/ 53340 h 144780"/>
                  <a:gd name="connsiteX2" fmla="*/ 60008 w 334327"/>
                  <a:gd name="connsiteY2" fmla="*/ 59912 h 144780"/>
                  <a:gd name="connsiteX3" fmla="*/ 17145 w 334327"/>
                  <a:gd name="connsiteY3" fmla="*/ 63818 h 144780"/>
                  <a:gd name="connsiteX4" fmla="*/ 6667 w 334327"/>
                  <a:gd name="connsiteY4" fmla="*/ 74200 h 144780"/>
                  <a:gd name="connsiteX5" fmla="*/ 31433 w 334327"/>
                  <a:gd name="connsiteY5" fmla="*/ 80963 h 144780"/>
                  <a:gd name="connsiteX6" fmla="*/ 0 w 334327"/>
                  <a:gd name="connsiteY6" fmla="*/ 84677 h 144780"/>
                  <a:gd name="connsiteX7" fmla="*/ 2858 w 334327"/>
                  <a:gd name="connsiteY7" fmla="*/ 98965 h 144780"/>
                  <a:gd name="connsiteX8" fmla="*/ 35242 w 334327"/>
                  <a:gd name="connsiteY8" fmla="*/ 102775 h 144780"/>
                  <a:gd name="connsiteX9" fmla="*/ 52388 w 334327"/>
                  <a:gd name="connsiteY9" fmla="*/ 109538 h 144780"/>
                  <a:gd name="connsiteX10" fmla="*/ 83820 w 334327"/>
                  <a:gd name="connsiteY10" fmla="*/ 102775 h 144780"/>
                  <a:gd name="connsiteX11" fmla="*/ 91440 w 334327"/>
                  <a:gd name="connsiteY11" fmla="*/ 88487 h 144780"/>
                  <a:gd name="connsiteX12" fmla="*/ 108585 w 334327"/>
                  <a:gd name="connsiteY12" fmla="*/ 84677 h 144780"/>
                  <a:gd name="connsiteX13" fmla="*/ 101917 w 334327"/>
                  <a:gd name="connsiteY13" fmla="*/ 98965 h 144780"/>
                  <a:gd name="connsiteX14" fmla="*/ 140970 w 334327"/>
                  <a:gd name="connsiteY14" fmla="*/ 98965 h 144780"/>
                  <a:gd name="connsiteX15" fmla="*/ 172403 w 334327"/>
                  <a:gd name="connsiteY15" fmla="*/ 98965 h 144780"/>
                  <a:gd name="connsiteX16" fmla="*/ 168592 w 334327"/>
                  <a:gd name="connsiteY16" fmla="*/ 109538 h 144780"/>
                  <a:gd name="connsiteX17" fmla="*/ 140970 w 334327"/>
                  <a:gd name="connsiteY17" fmla="*/ 113252 h 144780"/>
                  <a:gd name="connsiteX18" fmla="*/ 108585 w 334327"/>
                  <a:gd name="connsiteY18" fmla="*/ 113252 h 144780"/>
                  <a:gd name="connsiteX19" fmla="*/ 87630 w 334327"/>
                  <a:gd name="connsiteY19" fmla="*/ 123825 h 144780"/>
                  <a:gd name="connsiteX20" fmla="*/ 101917 w 334327"/>
                  <a:gd name="connsiteY20" fmla="*/ 138113 h 144780"/>
                  <a:gd name="connsiteX21" fmla="*/ 130492 w 334327"/>
                  <a:gd name="connsiteY21" fmla="*/ 144780 h 144780"/>
                  <a:gd name="connsiteX22" fmla="*/ 168592 w 334327"/>
                  <a:gd name="connsiteY22" fmla="*/ 134302 h 144780"/>
                  <a:gd name="connsiteX23" fmla="*/ 200978 w 334327"/>
                  <a:gd name="connsiteY23" fmla="*/ 116205 h 144780"/>
                  <a:gd name="connsiteX24" fmla="*/ 235267 w 334327"/>
                  <a:gd name="connsiteY24" fmla="*/ 113252 h 144780"/>
                  <a:gd name="connsiteX25" fmla="*/ 260033 w 334327"/>
                  <a:gd name="connsiteY25" fmla="*/ 102775 h 144780"/>
                  <a:gd name="connsiteX26" fmla="*/ 295275 w 334327"/>
                  <a:gd name="connsiteY26" fmla="*/ 113252 h 144780"/>
                  <a:gd name="connsiteX27" fmla="*/ 320040 w 334327"/>
                  <a:gd name="connsiteY27" fmla="*/ 102775 h 144780"/>
                  <a:gd name="connsiteX28" fmla="*/ 334328 w 334327"/>
                  <a:gd name="connsiteY28" fmla="*/ 84677 h 144780"/>
                  <a:gd name="connsiteX29" fmla="*/ 334328 w 334327"/>
                  <a:gd name="connsiteY29" fmla="*/ 59912 h 144780"/>
                  <a:gd name="connsiteX30" fmla="*/ 323850 w 334327"/>
                  <a:gd name="connsiteY30" fmla="*/ 49530 h 144780"/>
                  <a:gd name="connsiteX31" fmla="*/ 302895 w 334327"/>
                  <a:gd name="connsiteY31" fmla="*/ 49530 h 144780"/>
                  <a:gd name="connsiteX32" fmla="*/ 295275 w 334327"/>
                  <a:gd name="connsiteY32" fmla="*/ 59912 h 144780"/>
                  <a:gd name="connsiteX33" fmla="*/ 284798 w 334327"/>
                  <a:gd name="connsiteY33" fmla="*/ 59912 h 144780"/>
                  <a:gd name="connsiteX34" fmla="*/ 260033 w 334327"/>
                  <a:gd name="connsiteY34" fmla="*/ 53340 h 144780"/>
                  <a:gd name="connsiteX35" fmla="*/ 257175 w 334327"/>
                  <a:gd name="connsiteY35" fmla="*/ 39052 h 144780"/>
                  <a:gd name="connsiteX36" fmla="*/ 260033 w 334327"/>
                  <a:gd name="connsiteY36" fmla="*/ 28575 h 144780"/>
                  <a:gd name="connsiteX37" fmla="*/ 249555 w 334327"/>
                  <a:gd name="connsiteY37" fmla="*/ 14288 h 144780"/>
                  <a:gd name="connsiteX38" fmla="*/ 246698 w 334327"/>
                  <a:gd name="connsiteY38" fmla="*/ 3715 h 144780"/>
                  <a:gd name="connsiteX39" fmla="*/ 228600 w 334327"/>
                  <a:gd name="connsiteY39" fmla="*/ 0 h 144780"/>
                  <a:gd name="connsiteX40" fmla="*/ 214313 w 334327"/>
                  <a:gd name="connsiteY40" fmla="*/ 18002 h 144780"/>
                  <a:gd name="connsiteX41" fmla="*/ 203835 w 334327"/>
                  <a:gd name="connsiteY41" fmla="*/ 35243 h 144780"/>
                  <a:gd name="connsiteX42" fmla="*/ 224790 w 334327"/>
                  <a:gd name="connsiteY42" fmla="*/ 42863 h 144780"/>
                  <a:gd name="connsiteX43" fmla="*/ 228600 w 334327"/>
                  <a:gd name="connsiteY43" fmla="*/ 49530 h 144780"/>
                  <a:gd name="connsiteX44" fmla="*/ 207645 w 334327"/>
                  <a:gd name="connsiteY44" fmla="*/ 59912 h 144780"/>
                  <a:gd name="connsiteX45" fmla="*/ 239078 w 334327"/>
                  <a:gd name="connsiteY45" fmla="*/ 67627 h 144780"/>
                  <a:gd name="connsiteX46" fmla="*/ 239078 w 334327"/>
                  <a:gd name="connsiteY46" fmla="*/ 78105 h 144780"/>
                  <a:gd name="connsiteX47" fmla="*/ 176213 w 334327"/>
                  <a:gd name="connsiteY47" fmla="*/ 78105 h 144780"/>
                  <a:gd name="connsiteX48" fmla="*/ 172403 w 334327"/>
                  <a:gd name="connsiteY48" fmla="*/ 74200 h 144780"/>
                  <a:gd name="connsiteX49" fmla="*/ 172403 w 334327"/>
                  <a:gd name="connsiteY49" fmla="*/ 70390 h 144780"/>
                  <a:gd name="connsiteX50" fmla="*/ 172403 w 334327"/>
                  <a:gd name="connsiteY50" fmla="*/ 63818 h 144780"/>
                  <a:gd name="connsiteX51" fmla="*/ 154305 w 334327"/>
                  <a:gd name="connsiteY51" fmla="*/ 49530 h 144780"/>
                  <a:gd name="connsiteX52" fmla="*/ 130492 w 334327"/>
                  <a:gd name="connsiteY52" fmla="*/ 35243 h 144780"/>
                  <a:gd name="connsiteX53" fmla="*/ 116205 w 334327"/>
                  <a:gd name="connsiteY53" fmla="*/ 35243 h 144780"/>
                  <a:gd name="connsiteX54" fmla="*/ 101917 w 334327"/>
                  <a:gd name="connsiteY54" fmla="*/ 39052 h 144780"/>
                  <a:gd name="connsiteX55" fmla="*/ 87630 w 334327"/>
                  <a:gd name="connsiteY55" fmla="*/ 24765 h 144780"/>
                  <a:gd name="connsiteX56" fmla="*/ 60008 w 334327"/>
                  <a:gd name="connsiteY56" fmla="*/ 28575 h 144780"/>
                  <a:gd name="connsiteX57" fmla="*/ 45720 w 334327"/>
                  <a:gd name="connsiteY57" fmla="*/ 35243 h 144780"/>
                  <a:gd name="connsiteX58" fmla="*/ 31433 w 334327"/>
                  <a:gd name="connsiteY58" fmla="*/ 42863 h 1447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</a:cxnLst>
                <a:rect l="l" t="t" r="r" b="b"/>
                <a:pathLst>
                  <a:path w="334327" h="144780">
                    <a:moveTo>
                      <a:pt x="31433" y="42863"/>
                    </a:moveTo>
                    <a:lnTo>
                      <a:pt x="27623" y="53340"/>
                    </a:lnTo>
                    <a:lnTo>
                      <a:pt x="60008" y="59912"/>
                    </a:lnTo>
                    <a:lnTo>
                      <a:pt x="17145" y="63818"/>
                    </a:lnTo>
                    <a:lnTo>
                      <a:pt x="6667" y="74200"/>
                    </a:lnTo>
                    <a:lnTo>
                      <a:pt x="31433" y="80963"/>
                    </a:lnTo>
                    <a:lnTo>
                      <a:pt x="0" y="84677"/>
                    </a:lnTo>
                    <a:lnTo>
                      <a:pt x="2858" y="98965"/>
                    </a:lnTo>
                    <a:lnTo>
                      <a:pt x="35242" y="102775"/>
                    </a:lnTo>
                    <a:lnTo>
                      <a:pt x="52388" y="109538"/>
                    </a:lnTo>
                    <a:lnTo>
                      <a:pt x="83820" y="102775"/>
                    </a:lnTo>
                    <a:lnTo>
                      <a:pt x="91440" y="88487"/>
                    </a:lnTo>
                    <a:lnTo>
                      <a:pt x="108585" y="84677"/>
                    </a:lnTo>
                    <a:lnTo>
                      <a:pt x="101917" y="98965"/>
                    </a:lnTo>
                    <a:lnTo>
                      <a:pt x="140970" y="98965"/>
                    </a:lnTo>
                    <a:lnTo>
                      <a:pt x="172403" y="98965"/>
                    </a:lnTo>
                    <a:lnTo>
                      <a:pt x="168592" y="109538"/>
                    </a:lnTo>
                    <a:lnTo>
                      <a:pt x="140970" y="113252"/>
                    </a:lnTo>
                    <a:lnTo>
                      <a:pt x="108585" y="113252"/>
                    </a:lnTo>
                    <a:lnTo>
                      <a:pt x="87630" y="123825"/>
                    </a:lnTo>
                    <a:lnTo>
                      <a:pt x="101917" y="138113"/>
                    </a:lnTo>
                    <a:lnTo>
                      <a:pt x="130492" y="144780"/>
                    </a:lnTo>
                    <a:lnTo>
                      <a:pt x="168592" y="134302"/>
                    </a:lnTo>
                    <a:lnTo>
                      <a:pt x="200978" y="116205"/>
                    </a:lnTo>
                    <a:lnTo>
                      <a:pt x="235267" y="113252"/>
                    </a:lnTo>
                    <a:lnTo>
                      <a:pt x="260033" y="102775"/>
                    </a:lnTo>
                    <a:lnTo>
                      <a:pt x="295275" y="113252"/>
                    </a:lnTo>
                    <a:lnTo>
                      <a:pt x="320040" y="102775"/>
                    </a:lnTo>
                    <a:lnTo>
                      <a:pt x="334328" y="84677"/>
                    </a:lnTo>
                    <a:lnTo>
                      <a:pt x="334328" y="59912"/>
                    </a:lnTo>
                    <a:lnTo>
                      <a:pt x="323850" y="49530"/>
                    </a:lnTo>
                    <a:lnTo>
                      <a:pt x="302895" y="49530"/>
                    </a:lnTo>
                    <a:lnTo>
                      <a:pt x="295275" y="59912"/>
                    </a:lnTo>
                    <a:lnTo>
                      <a:pt x="284798" y="59912"/>
                    </a:lnTo>
                    <a:lnTo>
                      <a:pt x="260033" y="53340"/>
                    </a:lnTo>
                    <a:lnTo>
                      <a:pt x="257175" y="39052"/>
                    </a:lnTo>
                    <a:lnTo>
                      <a:pt x="260033" y="28575"/>
                    </a:lnTo>
                    <a:lnTo>
                      <a:pt x="249555" y="14288"/>
                    </a:lnTo>
                    <a:lnTo>
                      <a:pt x="246698" y="3715"/>
                    </a:lnTo>
                    <a:lnTo>
                      <a:pt x="228600" y="0"/>
                    </a:lnTo>
                    <a:lnTo>
                      <a:pt x="214313" y="18002"/>
                    </a:lnTo>
                    <a:lnTo>
                      <a:pt x="203835" y="35243"/>
                    </a:lnTo>
                    <a:lnTo>
                      <a:pt x="224790" y="42863"/>
                    </a:lnTo>
                    <a:lnTo>
                      <a:pt x="228600" y="49530"/>
                    </a:lnTo>
                    <a:lnTo>
                      <a:pt x="207645" y="59912"/>
                    </a:lnTo>
                    <a:lnTo>
                      <a:pt x="239078" y="67627"/>
                    </a:lnTo>
                    <a:lnTo>
                      <a:pt x="239078" y="78105"/>
                    </a:lnTo>
                    <a:lnTo>
                      <a:pt x="176213" y="78105"/>
                    </a:lnTo>
                    <a:lnTo>
                      <a:pt x="172403" y="74200"/>
                    </a:lnTo>
                    <a:lnTo>
                      <a:pt x="172403" y="70390"/>
                    </a:lnTo>
                    <a:lnTo>
                      <a:pt x="172403" y="63818"/>
                    </a:lnTo>
                    <a:lnTo>
                      <a:pt x="154305" y="49530"/>
                    </a:lnTo>
                    <a:lnTo>
                      <a:pt x="130492" y="35243"/>
                    </a:lnTo>
                    <a:lnTo>
                      <a:pt x="116205" y="35243"/>
                    </a:lnTo>
                    <a:lnTo>
                      <a:pt x="101917" y="39052"/>
                    </a:lnTo>
                    <a:lnTo>
                      <a:pt x="87630" y="24765"/>
                    </a:lnTo>
                    <a:lnTo>
                      <a:pt x="60008" y="28575"/>
                    </a:lnTo>
                    <a:lnTo>
                      <a:pt x="45720" y="35243"/>
                    </a:lnTo>
                    <a:lnTo>
                      <a:pt x="31433" y="428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2" name="Freeform: Shape 431">
                <a:extLst>
                  <a:ext uri="{FF2B5EF4-FFF2-40B4-BE49-F238E27FC236}">
                    <a16:creationId xmlns:a16="http://schemas.microsoft.com/office/drawing/2014/main" id="{5DCE12B9-B640-0C05-EC4E-06D4848D7909}"/>
                  </a:ext>
                </a:extLst>
              </p:cNvPr>
              <p:cNvSpPr/>
              <p:nvPr/>
            </p:nvSpPr>
            <p:spPr>
              <a:xfrm>
                <a:off x="3106776" y="1706127"/>
                <a:ext cx="183009" cy="97108"/>
              </a:xfrm>
              <a:custGeom>
                <a:avLst/>
                <a:gdLst>
                  <a:gd name="connsiteX0" fmla="*/ 45720 w 186689"/>
                  <a:gd name="connsiteY0" fmla="*/ 35147 h 99060"/>
                  <a:gd name="connsiteX1" fmla="*/ 60008 w 186689"/>
                  <a:gd name="connsiteY1" fmla="*/ 49435 h 99060"/>
                  <a:gd name="connsiteX2" fmla="*/ 56197 w 186689"/>
                  <a:gd name="connsiteY2" fmla="*/ 53340 h 99060"/>
                  <a:gd name="connsiteX3" fmla="*/ 31433 w 186689"/>
                  <a:gd name="connsiteY3" fmla="*/ 49435 h 99060"/>
                  <a:gd name="connsiteX4" fmla="*/ 17145 w 186689"/>
                  <a:gd name="connsiteY4" fmla="*/ 53340 h 99060"/>
                  <a:gd name="connsiteX5" fmla="*/ 14288 w 186689"/>
                  <a:gd name="connsiteY5" fmla="*/ 70485 h 99060"/>
                  <a:gd name="connsiteX6" fmla="*/ 35242 w 186689"/>
                  <a:gd name="connsiteY6" fmla="*/ 74200 h 99060"/>
                  <a:gd name="connsiteX7" fmla="*/ 60008 w 186689"/>
                  <a:gd name="connsiteY7" fmla="*/ 70485 h 99060"/>
                  <a:gd name="connsiteX8" fmla="*/ 87630 w 186689"/>
                  <a:gd name="connsiteY8" fmla="*/ 66675 h 99060"/>
                  <a:gd name="connsiteX9" fmla="*/ 116205 w 186689"/>
                  <a:gd name="connsiteY9" fmla="*/ 70485 h 99060"/>
                  <a:gd name="connsiteX10" fmla="*/ 130492 w 186689"/>
                  <a:gd name="connsiteY10" fmla="*/ 80963 h 99060"/>
                  <a:gd name="connsiteX11" fmla="*/ 144780 w 186689"/>
                  <a:gd name="connsiteY11" fmla="*/ 99060 h 99060"/>
                  <a:gd name="connsiteX12" fmla="*/ 172402 w 186689"/>
                  <a:gd name="connsiteY12" fmla="*/ 99060 h 99060"/>
                  <a:gd name="connsiteX13" fmla="*/ 186690 w 186689"/>
                  <a:gd name="connsiteY13" fmla="*/ 84773 h 99060"/>
                  <a:gd name="connsiteX14" fmla="*/ 165735 w 186689"/>
                  <a:gd name="connsiteY14" fmla="*/ 66675 h 99060"/>
                  <a:gd name="connsiteX15" fmla="*/ 158115 w 186689"/>
                  <a:gd name="connsiteY15" fmla="*/ 49435 h 99060"/>
                  <a:gd name="connsiteX16" fmla="*/ 140970 w 186689"/>
                  <a:gd name="connsiteY16" fmla="*/ 35147 h 99060"/>
                  <a:gd name="connsiteX17" fmla="*/ 122872 w 186689"/>
                  <a:gd name="connsiteY17" fmla="*/ 31432 h 99060"/>
                  <a:gd name="connsiteX18" fmla="*/ 112395 w 186689"/>
                  <a:gd name="connsiteY18" fmla="*/ 20860 h 99060"/>
                  <a:gd name="connsiteX19" fmla="*/ 87630 w 186689"/>
                  <a:gd name="connsiteY19" fmla="*/ 18002 h 99060"/>
                  <a:gd name="connsiteX20" fmla="*/ 77152 w 186689"/>
                  <a:gd name="connsiteY20" fmla="*/ 35147 h 99060"/>
                  <a:gd name="connsiteX21" fmla="*/ 74295 w 186689"/>
                  <a:gd name="connsiteY21" fmla="*/ 18002 h 99060"/>
                  <a:gd name="connsiteX22" fmla="*/ 70485 w 186689"/>
                  <a:gd name="connsiteY22" fmla="*/ 3715 h 99060"/>
                  <a:gd name="connsiteX23" fmla="*/ 31433 w 186689"/>
                  <a:gd name="connsiteY23" fmla="*/ 0 h 99060"/>
                  <a:gd name="connsiteX24" fmla="*/ 0 w 186689"/>
                  <a:gd name="connsiteY24" fmla="*/ 3715 h 99060"/>
                  <a:gd name="connsiteX25" fmla="*/ 0 w 186689"/>
                  <a:gd name="connsiteY25" fmla="*/ 20860 h 99060"/>
                  <a:gd name="connsiteX26" fmla="*/ 28575 w 186689"/>
                  <a:gd name="connsiteY26" fmla="*/ 28575 h 99060"/>
                  <a:gd name="connsiteX27" fmla="*/ 45720 w 186689"/>
                  <a:gd name="connsiteY27" fmla="*/ 35147 h 99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86689" h="99060">
                    <a:moveTo>
                      <a:pt x="45720" y="35147"/>
                    </a:moveTo>
                    <a:lnTo>
                      <a:pt x="60008" y="49435"/>
                    </a:lnTo>
                    <a:lnTo>
                      <a:pt x="56197" y="53340"/>
                    </a:lnTo>
                    <a:lnTo>
                      <a:pt x="31433" y="49435"/>
                    </a:lnTo>
                    <a:lnTo>
                      <a:pt x="17145" y="53340"/>
                    </a:lnTo>
                    <a:lnTo>
                      <a:pt x="14288" y="70485"/>
                    </a:lnTo>
                    <a:lnTo>
                      <a:pt x="35242" y="74200"/>
                    </a:lnTo>
                    <a:lnTo>
                      <a:pt x="60008" y="70485"/>
                    </a:lnTo>
                    <a:lnTo>
                      <a:pt x="87630" y="66675"/>
                    </a:lnTo>
                    <a:lnTo>
                      <a:pt x="116205" y="70485"/>
                    </a:lnTo>
                    <a:lnTo>
                      <a:pt x="130492" y="80963"/>
                    </a:lnTo>
                    <a:lnTo>
                      <a:pt x="144780" y="99060"/>
                    </a:lnTo>
                    <a:lnTo>
                      <a:pt x="172402" y="99060"/>
                    </a:lnTo>
                    <a:lnTo>
                      <a:pt x="186690" y="84773"/>
                    </a:lnTo>
                    <a:lnTo>
                      <a:pt x="165735" y="66675"/>
                    </a:lnTo>
                    <a:lnTo>
                      <a:pt x="158115" y="49435"/>
                    </a:lnTo>
                    <a:lnTo>
                      <a:pt x="140970" y="35147"/>
                    </a:lnTo>
                    <a:lnTo>
                      <a:pt x="122872" y="31432"/>
                    </a:lnTo>
                    <a:lnTo>
                      <a:pt x="112395" y="20860"/>
                    </a:lnTo>
                    <a:lnTo>
                      <a:pt x="87630" y="18002"/>
                    </a:lnTo>
                    <a:lnTo>
                      <a:pt x="77152" y="35147"/>
                    </a:lnTo>
                    <a:lnTo>
                      <a:pt x="74295" y="18002"/>
                    </a:lnTo>
                    <a:lnTo>
                      <a:pt x="70485" y="3715"/>
                    </a:lnTo>
                    <a:lnTo>
                      <a:pt x="31433" y="0"/>
                    </a:lnTo>
                    <a:lnTo>
                      <a:pt x="0" y="3715"/>
                    </a:lnTo>
                    <a:lnTo>
                      <a:pt x="0" y="20860"/>
                    </a:lnTo>
                    <a:lnTo>
                      <a:pt x="28575" y="28575"/>
                    </a:lnTo>
                    <a:lnTo>
                      <a:pt x="45720" y="3514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3" name="Freeform: Shape 432">
                <a:extLst>
                  <a:ext uri="{FF2B5EF4-FFF2-40B4-BE49-F238E27FC236}">
                    <a16:creationId xmlns:a16="http://schemas.microsoft.com/office/drawing/2014/main" id="{BA761CDF-7686-3383-DE36-A24A6E9704D5}"/>
                  </a:ext>
                </a:extLst>
              </p:cNvPr>
              <p:cNvSpPr/>
              <p:nvPr/>
            </p:nvSpPr>
            <p:spPr>
              <a:xfrm>
                <a:off x="3279516" y="1872238"/>
                <a:ext cx="41083" cy="10364"/>
              </a:xfrm>
              <a:custGeom>
                <a:avLst/>
                <a:gdLst>
                  <a:gd name="connsiteX0" fmla="*/ 14288 w 41909"/>
                  <a:gd name="connsiteY0" fmla="*/ 0 h 10572"/>
                  <a:gd name="connsiteX1" fmla="*/ 35242 w 41909"/>
                  <a:gd name="connsiteY1" fmla="*/ 0 h 10572"/>
                  <a:gd name="connsiteX2" fmla="*/ 41910 w 41909"/>
                  <a:gd name="connsiteY2" fmla="*/ 10573 h 10572"/>
                  <a:gd name="connsiteX3" fmla="*/ 35242 w 41909"/>
                  <a:gd name="connsiteY3" fmla="*/ 0 h 10572"/>
                  <a:gd name="connsiteX4" fmla="*/ 14288 w 41909"/>
                  <a:gd name="connsiteY4" fmla="*/ 0 h 10572"/>
                  <a:gd name="connsiteX5" fmla="*/ 0 w 41909"/>
                  <a:gd name="connsiteY5" fmla="*/ 6763 h 10572"/>
                  <a:gd name="connsiteX6" fmla="*/ 14288 w 41909"/>
                  <a:gd name="connsiteY6" fmla="*/ 0 h 10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1909" h="10572">
                    <a:moveTo>
                      <a:pt x="14288" y="0"/>
                    </a:moveTo>
                    <a:lnTo>
                      <a:pt x="35242" y="0"/>
                    </a:lnTo>
                    <a:lnTo>
                      <a:pt x="41910" y="10573"/>
                    </a:lnTo>
                    <a:lnTo>
                      <a:pt x="35242" y="0"/>
                    </a:lnTo>
                    <a:lnTo>
                      <a:pt x="14288" y="0"/>
                    </a:lnTo>
                    <a:lnTo>
                      <a:pt x="0" y="6763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4" name="Freeform: Shape 433">
                <a:extLst>
                  <a:ext uri="{FF2B5EF4-FFF2-40B4-BE49-F238E27FC236}">
                    <a16:creationId xmlns:a16="http://schemas.microsoft.com/office/drawing/2014/main" id="{87979067-8123-6F4A-378F-AE9640E79B36}"/>
                  </a:ext>
                </a:extLst>
              </p:cNvPr>
              <p:cNvSpPr/>
              <p:nvPr/>
            </p:nvSpPr>
            <p:spPr>
              <a:xfrm>
                <a:off x="3134788" y="1864861"/>
                <a:ext cx="13071" cy="7376"/>
              </a:xfrm>
              <a:custGeom>
                <a:avLst/>
                <a:gdLst>
                  <a:gd name="connsiteX0" fmla="*/ 0 w 13334"/>
                  <a:gd name="connsiteY0" fmla="*/ 7525 h 7524"/>
                  <a:gd name="connsiteX1" fmla="*/ 0 w 13334"/>
                  <a:gd name="connsiteY1" fmla="*/ 7525 h 7524"/>
                  <a:gd name="connsiteX2" fmla="*/ 13335 w 13334"/>
                  <a:gd name="connsiteY2" fmla="*/ 0 h 7524"/>
                  <a:gd name="connsiteX3" fmla="*/ 0 w 13334"/>
                  <a:gd name="connsiteY3" fmla="*/ 7525 h 7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4" h="7524">
                    <a:moveTo>
                      <a:pt x="0" y="7525"/>
                    </a:moveTo>
                    <a:lnTo>
                      <a:pt x="0" y="7525"/>
                    </a:lnTo>
                    <a:lnTo>
                      <a:pt x="13335" y="0"/>
                    </a:lnTo>
                    <a:lnTo>
                      <a:pt x="0" y="7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5" name="Freeform: Shape 434">
                <a:extLst>
                  <a:ext uri="{FF2B5EF4-FFF2-40B4-BE49-F238E27FC236}">
                    <a16:creationId xmlns:a16="http://schemas.microsoft.com/office/drawing/2014/main" id="{48F974DF-20A5-8718-5034-2F33BFAC2128}"/>
                  </a:ext>
                </a:extLst>
              </p:cNvPr>
              <p:cNvSpPr/>
              <p:nvPr/>
            </p:nvSpPr>
            <p:spPr>
              <a:xfrm>
                <a:off x="3241233" y="1864861"/>
                <a:ext cx="3735" cy="7376"/>
              </a:xfrm>
              <a:custGeom>
                <a:avLst/>
                <a:gdLst>
                  <a:gd name="connsiteX0" fmla="*/ 0 w 3810"/>
                  <a:gd name="connsiteY0" fmla="*/ 7525 h 7524"/>
                  <a:gd name="connsiteX1" fmla="*/ 0 w 3810"/>
                  <a:gd name="connsiteY1" fmla="*/ 7525 h 7524"/>
                  <a:gd name="connsiteX2" fmla="*/ 3810 w 3810"/>
                  <a:gd name="connsiteY2" fmla="*/ 0 h 7524"/>
                  <a:gd name="connsiteX3" fmla="*/ 0 w 3810"/>
                  <a:gd name="connsiteY3" fmla="*/ 7525 h 75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0" h="7524">
                    <a:moveTo>
                      <a:pt x="0" y="7525"/>
                    </a:moveTo>
                    <a:lnTo>
                      <a:pt x="0" y="7525"/>
                    </a:lnTo>
                    <a:lnTo>
                      <a:pt x="3810" y="0"/>
                    </a:lnTo>
                    <a:lnTo>
                      <a:pt x="0" y="7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6" name="Freeform: Shape 435">
                <a:extLst>
                  <a:ext uri="{FF2B5EF4-FFF2-40B4-BE49-F238E27FC236}">
                    <a16:creationId xmlns:a16="http://schemas.microsoft.com/office/drawing/2014/main" id="{760FD86C-7BF5-73F9-0818-DEF0A2EB50B3}"/>
                  </a:ext>
                </a:extLst>
              </p:cNvPr>
              <p:cNvSpPr/>
              <p:nvPr/>
            </p:nvSpPr>
            <p:spPr>
              <a:xfrm>
                <a:off x="3375689" y="1854590"/>
                <a:ext cx="466861" cy="145661"/>
              </a:xfrm>
              <a:custGeom>
                <a:avLst/>
                <a:gdLst>
                  <a:gd name="connsiteX0" fmla="*/ 204788 w 476249"/>
                  <a:gd name="connsiteY0" fmla="*/ 148590 h 148589"/>
                  <a:gd name="connsiteX1" fmla="*/ 211455 w 476249"/>
                  <a:gd name="connsiteY1" fmla="*/ 138113 h 148589"/>
                  <a:gd name="connsiteX2" fmla="*/ 221932 w 476249"/>
                  <a:gd name="connsiteY2" fmla="*/ 127540 h 148589"/>
                  <a:gd name="connsiteX3" fmla="*/ 229552 w 476249"/>
                  <a:gd name="connsiteY3" fmla="*/ 130493 h 148589"/>
                  <a:gd name="connsiteX4" fmla="*/ 232410 w 476249"/>
                  <a:gd name="connsiteY4" fmla="*/ 148590 h 148589"/>
                  <a:gd name="connsiteX5" fmla="*/ 362902 w 476249"/>
                  <a:gd name="connsiteY5" fmla="*/ 148590 h 148589"/>
                  <a:gd name="connsiteX6" fmla="*/ 373380 w 476249"/>
                  <a:gd name="connsiteY6" fmla="*/ 134302 h 148589"/>
                  <a:gd name="connsiteX7" fmla="*/ 391477 w 476249"/>
                  <a:gd name="connsiteY7" fmla="*/ 148590 h 148589"/>
                  <a:gd name="connsiteX8" fmla="*/ 458152 w 476249"/>
                  <a:gd name="connsiteY8" fmla="*/ 144780 h 148589"/>
                  <a:gd name="connsiteX9" fmla="*/ 461962 w 476249"/>
                  <a:gd name="connsiteY9" fmla="*/ 123825 h 148589"/>
                  <a:gd name="connsiteX10" fmla="*/ 472440 w 476249"/>
                  <a:gd name="connsiteY10" fmla="*/ 116205 h 148589"/>
                  <a:gd name="connsiteX11" fmla="*/ 476250 w 476249"/>
                  <a:gd name="connsiteY11" fmla="*/ 98965 h 148589"/>
                  <a:gd name="connsiteX12" fmla="*/ 451485 w 476249"/>
                  <a:gd name="connsiteY12" fmla="*/ 88487 h 148589"/>
                  <a:gd name="connsiteX13" fmla="*/ 416242 w 476249"/>
                  <a:gd name="connsiteY13" fmla="*/ 80963 h 148589"/>
                  <a:gd name="connsiteX14" fmla="*/ 348615 w 476249"/>
                  <a:gd name="connsiteY14" fmla="*/ 78105 h 148589"/>
                  <a:gd name="connsiteX15" fmla="*/ 302895 w 476249"/>
                  <a:gd name="connsiteY15" fmla="*/ 95250 h 148589"/>
                  <a:gd name="connsiteX16" fmla="*/ 264795 w 476249"/>
                  <a:gd name="connsiteY16" fmla="*/ 92393 h 148589"/>
                  <a:gd name="connsiteX17" fmla="*/ 211455 w 476249"/>
                  <a:gd name="connsiteY17" fmla="*/ 92393 h 148589"/>
                  <a:gd name="connsiteX18" fmla="*/ 176213 w 476249"/>
                  <a:gd name="connsiteY18" fmla="*/ 70390 h 148589"/>
                  <a:gd name="connsiteX19" fmla="*/ 169545 w 476249"/>
                  <a:gd name="connsiteY19" fmla="*/ 59912 h 148589"/>
                  <a:gd name="connsiteX20" fmla="*/ 169545 w 476249"/>
                  <a:gd name="connsiteY20" fmla="*/ 42863 h 148589"/>
                  <a:gd name="connsiteX21" fmla="*/ 155257 w 476249"/>
                  <a:gd name="connsiteY21" fmla="*/ 24765 h 148589"/>
                  <a:gd name="connsiteX22" fmla="*/ 123825 w 476249"/>
                  <a:gd name="connsiteY22" fmla="*/ 32290 h 148589"/>
                  <a:gd name="connsiteX23" fmla="*/ 95250 w 476249"/>
                  <a:gd name="connsiteY23" fmla="*/ 32290 h 148589"/>
                  <a:gd name="connsiteX24" fmla="*/ 84772 w 476249"/>
                  <a:gd name="connsiteY24" fmla="*/ 18002 h 148589"/>
                  <a:gd name="connsiteX25" fmla="*/ 57150 w 476249"/>
                  <a:gd name="connsiteY25" fmla="*/ 10477 h 148589"/>
                  <a:gd name="connsiteX26" fmla="*/ 24765 w 476249"/>
                  <a:gd name="connsiteY26" fmla="*/ 0 h 148589"/>
                  <a:gd name="connsiteX27" fmla="*/ 3810 w 476249"/>
                  <a:gd name="connsiteY27" fmla="*/ 7525 h 148589"/>
                  <a:gd name="connsiteX28" fmla="*/ 0 w 476249"/>
                  <a:gd name="connsiteY28" fmla="*/ 24765 h 148589"/>
                  <a:gd name="connsiteX29" fmla="*/ 10477 w 476249"/>
                  <a:gd name="connsiteY29" fmla="*/ 35243 h 148589"/>
                  <a:gd name="connsiteX30" fmla="*/ 35242 w 476249"/>
                  <a:gd name="connsiteY30" fmla="*/ 45625 h 148589"/>
                  <a:gd name="connsiteX31" fmla="*/ 60007 w 476249"/>
                  <a:gd name="connsiteY31" fmla="*/ 49530 h 148589"/>
                  <a:gd name="connsiteX32" fmla="*/ 84772 w 476249"/>
                  <a:gd name="connsiteY32" fmla="*/ 45625 h 148589"/>
                  <a:gd name="connsiteX33" fmla="*/ 102870 w 476249"/>
                  <a:gd name="connsiteY33" fmla="*/ 49530 h 148589"/>
                  <a:gd name="connsiteX34" fmla="*/ 113347 w 476249"/>
                  <a:gd name="connsiteY34" fmla="*/ 67627 h 148589"/>
                  <a:gd name="connsiteX35" fmla="*/ 127635 w 476249"/>
                  <a:gd name="connsiteY35" fmla="*/ 84677 h 148589"/>
                  <a:gd name="connsiteX36" fmla="*/ 120015 w 476249"/>
                  <a:gd name="connsiteY36" fmla="*/ 95250 h 148589"/>
                  <a:gd name="connsiteX37" fmla="*/ 120015 w 476249"/>
                  <a:gd name="connsiteY37" fmla="*/ 102775 h 148589"/>
                  <a:gd name="connsiteX38" fmla="*/ 127635 w 476249"/>
                  <a:gd name="connsiteY38" fmla="*/ 123825 h 148589"/>
                  <a:gd name="connsiteX39" fmla="*/ 138113 w 476249"/>
                  <a:gd name="connsiteY39" fmla="*/ 138113 h 148589"/>
                  <a:gd name="connsiteX40" fmla="*/ 148590 w 476249"/>
                  <a:gd name="connsiteY40" fmla="*/ 138113 h 148589"/>
                  <a:gd name="connsiteX41" fmla="*/ 155257 w 476249"/>
                  <a:gd name="connsiteY41" fmla="*/ 130493 h 148589"/>
                  <a:gd name="connsiteX42" fmla="*/ 161925 w 476249"/>
                  <a:gd name="connsiteY42" fmla="*/ 140875 h 148589"/>
                  <a:gd name="connsiteX43" fmla="*/ 204788 w 476249"/>
                  <a:gd name="connsiteY43" fmla="*/ 148590 h 1485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476249" h="148589">
                    <a:moveTo>
                      <a:pt x="204788" y="148590"/>
                    </a:moveTo>
                    <a:lnTo>
                      <a:pt x="211455" y="138113"/>
                    </a:lnTo>
                    <a:lnTo>
                      <a:pt x="221932" y="127540"/>
                    </a:lnTo>
                    <a:lnTo>
                      <a:pt x="229552" y="130493"/>
                    </a:lnTo>
                    <a:lnTo>
                      <a:pt x="232410" y="148590"/>
                    </a:lnTo>
                    <a:lnTo>
                      <a:pt x="362902" y="148590"/>
                    </a:lnTo>
                    <a:lnTo>
                      <a:pt x="373380" y="134302"/>
                    </a:lnTo>
                    <a:lnTo>
                      <a:pt x="391477" y="148590"/>
                    </a:lnTo>
                    <a:lnTo>
                      <a:pt x="458152" y="144780"/>
                    </a:lnTo>
                    <a:lnTo>
                      <a:pt x="461962" y="123825"/>
                    </a:lnTo>
                    <a:lnTo>
                      <a:pt x="472440" y="116205"/>
                    </a:lnTo>
                    <a:lnTo>
                      <a:pt x="476250" y="98965"/>
                    </a:lnTo>
                    <a:lnTo>
                      <a:pt x="451485" y="88487"/>
                    </a:lnTo>
                    <a:lnTo>
                      <a:pt x="416242" y="80963"/>
                    </a:lnTo>
                    <a:lnTo>
                      <a:pt x="348615" y="78105"/>
                    </a:lnTo>
                    <a:lnTo>
                      <a:pt x="302895" y="95250"/>
                    </a:lnTo>
                    <a:lnTo>
                      <a:pt x="264795" y="92393"/>
                    </a:lnTo>
                    <a:lnTo>
                      <a:pt x="211455" y="92393"/>
                    </a:lnTo>
                    <a:lnTo>
                      <a:pt x="176213" y="70390"/>
                    </a:lnTo>
                    <a:lnTo>
                      <a:pt x="169545" y="59912"/>
                    </a:lnTo>
                    <a:lnTo>
                      <a:pt x="169545" y="42863"/>
                    </a:lnTo>
                    <a:lnTo>
                      <a:pt x="155257" y="24765"/>
                    </a:lnTo>
                    <a:lnTo>
                      <a:pt x="123825" y="32290"/>
                    </a:lnTo>
                    <a:lnTo>
                      <a:pt x="95250" y="32290"/>
                    </a:lnTo>
                    <a:lnTo>
                      <a:pt x="84772" y="18002"/>
                    </a:lnTo>
                    <a:lnTo>
                      <a:pt x="57150" y="10477"/>
                    </a:lnTo>
                    <a:lnTo>
                      <a:pt x="24765" y="0"/>
                    </a:lnTo>
                    <a:lnTo>
                      <a:pt x="3810" y="7525"/>
                    </a:lnTo>
                    <a:lnTo>
                      <a:pt x="0" y="24765"/>
                    </a:lnTo>
                    <a:lnTo>
                      <a:pt x="10477" y="35243"/>
                    </a:lnTo>
                    <a:lnTo>
                      <a:pt x="35242" y="45625"/>
                    </a:lnTo>
                    <a:lnTo>
                      <a:pt x="60007" y="49530"/>
                    </a:lnTo>
                    <a:lnTo>
                      <a:pt x="84772" y="45625"/>
                    </a:lnTo>
                    <a:lnTo>
                      <a:pt x="102870" y="49530"/>
                    </a:lnTo>
                    <a:lnTo>
                      <a:pt x="113347" y="67627"/>
                    </a:lnTo>
                    <a:lnTo>
                      <a:pt x="127635" y="84677"/>
                    </a:lnTo>
                    <a:lnTo>
                      <a:pt x="120015" y="95250"/>
                    </a:lnTo>
                    <a:lnTo>
                      <a:pt x="120015" y="102775"/>
                    </a:lnTo>
                    <a:lnTo>
                      <a:pt x="127635" y="123825"/>
                    </a:lnTo>
                    <a:lnTo>
                      <a:pt x="138113" y="138113"/>
                    </a:lnTo>
                    <a:lnTo>
                      <a:pt x="148590" y="138113"/>
                    </a:lnTo>
                    <a:lnTo>
                      <a:pt x="155257" y="130493"/>
                    </a:lnTo>
                    <a:lnTo>
                      <a:pt x="161925" y="140875"/>
                    </a:lnTo>
                    <a:lnTo>
                      <a:pt x="204788" y="14859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7" name="Freeform: Shape 436">
                <a:extLst>
                  <a:ext uri="{FF2B5EF4-FFF2-40B4-BE49-F238E27FC236}">
                    <a16:creationId xmlns:a16="http://schemas.microsoft.com/office/drawing/2014/main" id="{0E3F6E8D-F2C6-613D-0F59-B6C694717043}"/>
                  </a:ext>
                </a:extLst>
              </p:cNvPr>
              <p:cNvSpPr/>
              <p:nvPr/>
            </p:nvSpPr>
            <p:spPr>
              <a:xfrm>
                <a:off x="3375689" y="2010523"/>
                <a:ext cx="155931" cy="110179"/>
              </a:xfrm>
              <a:custGeom>
                <a:avLst/>
                <a:gdLst>
                  <a:gd name="connsiteX0" fmla="*/ 105727 w 159067"/>
                  <a:gd name="connsiteY0" fmla="*/ 70485 h 112394"/>
                  <a:gd name="connsiteX1" fmla="*/ 138113 w 159067"/>
                  <a:gd name="connsiteY1" fmla="*/ 31432 h 112394"/>
                  <a:gd name="connsiteX2" fmla="*/ 159067 w 159067"/>
                  <a:gd name="connsiteY2" fmla="*/ 3810 h 112394"/>
                  <a:gd name="connsiteX3" fmla="*/ 105727 w 159067"/>
                  <a:gd name="connsiteY3" fmla="*/ 3810 h 112394"/>
                  <a:gd name="connsiteX4" fmla="*/ 74295 w 159067"/>
                  <a:gd name="connsiteY4" fmla="*/ 0 h 112394"/>
                  <a:gd name="connsiteX5" fmla="*/ 35242 w 159067"/>
                  <a:gd name="connsiteY5" fmla="*/ 0 h 112394"/>
                  <a:gd name="connsiteX6" fmla="*/ 14288 w 159067"/>
                  <a:gd name="connsiteY6" fmla="*/ 3810 h 112394"/>
                  <a:gd name="connsiteX7" fmla="*/ 0 w 159067"/>
                  <a:gd name="connsiteY7" fmla="*/ 24670 h 112394"/>
                  <a:gd name="connsiteX8" fmla="*/ 7620 w 159067"/>
                  <a:gd name="connsiteY8" fmla="*/ 63722 h 112394"/>
                  <a:gd name="connsiteX9" fmla="*/ 14288 w 159067"/>
                  <a:gd name="connsiteY9" fmla="*/ 87535 h 112394"/>
                  <a:gd name="connsiteX10" fmla="*/ 21907 w 159067"/>
                  <a:gd name="connsiteY10" fmla="*/ 109538 h 112394"/>
                  <a:gd name="connsiteX11" fmla="*/ 42863 w 159067"/>
                  <a:gd name="connsiteY11" fmla="*/ 112395 h 112394"/>
                  <a:gd name="connsiteX12" fmla="*/ 60007 w 159067"/>
                  <a:gd name="connsiteY12" fmla="*/ 91345 h 112394"/>
                  <a:gd name="connsiteX13" fmla="*/ 53340 w 159067"/>
                  <a:gd name="connsiteY13" fmla="*/ 74295 h 112394"/>
                  <a:gd name="connsiteX14" fmla="*/ 74295 w 159067"/>
                  <a:gd name="connsiteY14" fmla="*/ 70485 h 112394"/>
                  <a:gd name="connsiteX15" fmla="*/ 105727 w 159067"/>
                  <a:gd name="connsiteY15" fmla="*/ 70485 h 1123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59067" h="112394">
                    <a:moveTo>
                      <a:pt x="105727" y="70485"/>
                    </a:moveTo>
                    <a:lnTo>
                      <a:pt x="138113" y="31432"/>
                    </a:lnTo>
                    <a:lnTo>
                      <a:pt x="159067" y="3810"/>
                    </a:lnTo>
                    <a:lnTo>
                      <a:pt x="105727" y="3810"/>
                    </a:lnTo>
                    <a:lnTo>
                      <a:pt x="74295" y="0"/>
                    </a:lnTo>
                    <a:lnTo>
                      <a:pt x="35242" y="0"/>
                    </a:lnTo>
                    <a:lnTo>
                      <a:pt x="14288" y="3810"/>
                    </a:lnTo>
                    <a:lnTo>
                      <a:pt x="0" y="24670"/>
                    </a:lnTo>
                    <a:lnTo>
                      <a:pt x="7620" y="63722"/>
                    </a:lnTo>
                    <a:lnTo>
                      <a:pt x="14288" y="87535"/>
                    </a:lnTo>
                    <a:lnTo>
                      <a:pt x="21907" y="109538"/>
                    </a:lnTo>
                    <a:lnTo>
                      <a:pt x="42863" y="112395"/>
                    </a:lnTo>
                    <a:lnTo>
                      <a:pt x="60007" y="91345"/>
                    </a:lnTo>
                    <a:lnTo>
                      <a:pt x="53340" y="74295"/>
                    </a:lnTo>
                    <a:lnTo>
                      <a:pt x="74295" y="70485"/>
                    </a:lnTo>
                    <a:lnTo>
                      <a:pt x="105727" y="7048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8" name="Freeform: Shape 437">
                <a:extLst>
                  <a:ext uri="{FF2B5EF4-FFF2-40B4-BE49-F238E27FC236}">
                    <a16:creationId xmlns:a16="http://schemas.microsoft.com/office/drawing/2014/main" id="{694A7800-ADFA-B148-00D3-D5997B1C9171}"/>
                  </a:ext>
                </a:extLst>
              </p:cNvPr>
              <p:cNvSpPr/>
              <p:nvPr/>
            </p:nvSpPr>
            <p:spPr>
              <a:xfrm>
                <a:off x="3479332" y="1460462"/>
                <a:ext cx="845954" cy="436145"/>
              </a:xfrm>
              <a:custGeom>
                <a:avLst/>
                <a:gdLst>
                  <a:gd name="connsiteX0" fmla="*/ 35242 w 862965"/>
                  <a:gd name="connsiteY0" fmla="*/ 99155 h 444912"/>
                  <a:gd name="connsiteX1" fmla="*/ 49530 w 862965"/>
                  <a:gd name="connsiteY1" fmla="*/ 105823 h 444912"/>
                  <a:gd name="connsiteX2" fmla="*/ 39053 w 862965"/>
                  <a:gd name="connsiteY2" fmla="*/ 113443 h 444912"/>
                  <a:gd name="connsiteX3" fmla="*/ 35242 w 862965"/>
                  <a:gd name="connsiteY3" fmla="*/ 123825 h 444912"/>
                  <a:gd name="connsiteX4" fmla="*/ 56198 w 862965"/>
                  <a:gd name="connsiteY4" fmla="*/ 116205 h 444912"/>
                  <a:gd name="connsiteX5" fmla="*/ 70485 w 862965"/>
                  <a:gd name="connsiteY5" fmla="*/ 109538 h 444912"/>
                  <a:gd name="connsiteX6" fmla="*/ 91440 w 862965"/>
                  <a:gd name="connsiteY6" fmla="*/ 109538 h 444912"/>
                  <a:gd name="connsiteX7" fmla="*/ 105728 w 862965"/>
                  <a:gd name="connsiteY7" fmla="*/ 113443 h 444912"/>
                  <a:gd name="connsiteX8" fmla="*/ 84773 w 862965"/>
                  <a:gd name="connsiteY8" fmla="*/ 116205 h 444912"/>
                  <a:gd name="connsiteX9" fmla="*/ 60008 w 862965"/>
                  <a:gd name="connsiteY9" fmla="*/ 127730 h 444912"/>
                  <a:gd name="connsiteX10" fmla="*/ 45720 w 862965"/>
                  <a:gd name="connsiteY10" fmla="*/ 134398 h 444912"/>
                  <a:gd name="connsiteX11" fmla="*/ 67628 w 862965"/>
                  <a:gd name="connsiteY11" fmla="*/ 141065 h 444912"/>
                  <a:gd name="connsiteX12" fmla="*/ 109538 w 862965"/>
                  <a:gd name="connsiteY12" fmla="*/ 138113 h 444912"/>
                  <a:gd name="connsiteX13" fmla="*/ 140970 w 862965"/>
                  <a:gd name="connsiteY13" fmla="*/ 138113 h 444912"/>
                  <a:gd name="connsiteX14" fmla="*/ 169545 w 862965"/>
                  <a:gd name="connsiteY14" fmla="*/ 127730 h 444912"/>
                  <a:gd name="connsiteX15" fmla="*/ 183833 w 862965"/>
                  <a:gd name="connsiteY15" fmla="*/ 134398 h 444912"/>
                  <a:gd name="connsiteX16" fmla="*/ 173355 w 862965"/>
                  <a:gd name="connsiteY16" fmla="*/ 144780 h 444912"/>
                  <a:gd name="connsiteX17" fmla="*/ 159067 w 862965"/>
                  <a:gd name="connsiteY17" fmla="*/ 155353 h 444912"/>
                  <a:gd name="connsiteX18" fmla="*/ 148590 w 862965"/>
                  <a:gd name="connsiteY18" fmla="*/ 173355 h 444912"/>
                  <a:gd name="connsiteX19" fmla="*/ 194310 w 862965"/>
                  <a:gd name="connsiteY19" fmla="*/ 180118 h 444912"/>
                  <a:gd name="connsiteX20" fmla="*/ 225742 w 862965"/>
                  <a:gd name="connsiteY20" fmla="*/ 176213 h 444912"/>
                  <a:gd name="connsiteX21" fmla="*/ 232410 w 862965"/>
                  <a:gd name="connsiteY21" fmla="*/ 162973 h 444912"/>
                  <a:gd name="connsiteX22" fmla="*/ 242888 w 862965"/>
                  <a:gd name="connsiteY22" fmla="*/ 162973 h 444912"/>
                  <a:gd name="connsiteX23" fmla="*/ 254317 w 862965"/>
                  <a:gd name="connsiteY23" fmla="*/ 173355 h 444912"/>
                  <a:gd name="connsiteX24" fmla="*/ 285750 w 862965"/>
                  <a:gd name="connsiteY24" fmla="*/ 169640 h 444912"/>
                  <a:gd name="connsiteX25" fmla="*/ 320992 w 862965"/>
                  <a:gd name="connsiteY25" fmla="*/ 169640 h 444912"/>
                  <a:gd name="connsiteX26" fmla="*/ 345757 w 862965"/>
                  <a:gd name="connsiteY26" fmla="*/ 151543 h 444912"/>
                  <a:gd name="connsiteX27" fmla="*/ 362903 w 862965"/>
                  <a:gd name="connsiteY27" fmla="*/ 134398 h 444912"/>
                  <a:gd name="connsiteX28" fmla="*/ 398145 w 862965"/>
                  <a:gd name="connsiteY28" fmla="*/ 120110 h 444912"/>
                  <a:gd name="connsiteX29" fmla="*/ 408622 w 862965"/>
                  <a:gd name="connsiteY29" fmla="*/ 123825 h 444912"/>
                  <a:gd name="connsiteX30" fmla="*/ 394335 w 862965"/>
                  <a:gd name="connsiteY30" fmla="*/ 130493 h 444912"/>
                  <a:gd name="connsiteX31" fmla="*/ 381000 w 862965"/>
                  <a:gd name="connsiteY31" fmla="*/ 141065 h 444912"/>
                  <a:gd name="connsiteX32" fmla="*/ 366713 w 862965"/>
                  <a:gd name="connsiteY32" fmla="*/ 151543 h 444912"/>
                  <a:gd name="connsiteX33" fmla="*/ 381000 w 862965"/>
                  <a:gd name="connsiteY33" fmla="*/ 155353 h 444912"/>
                  <a:gd name="connsiteX34" fmla="*/ 362903 w 862965"/>
                  <a:gd name="connsiteY34" fmla="*/ 165830 h 444912"/>
                  <a:gd name="connsiteX35" fmla="*/ 341947 w 862965"/>
                  <a:gd name="connsiteY35" fmla="*/ 180118 h 444912"/>
                  <a:gd name="connsiteX36" fmla="*/ 296228 w 862965"/>
                  <a:gd name="connsiteY36" fmla="*/ 183928 h 444912"/>
                  <a:gd name="connsiteX37" fmla="*/ 257175 w 862965"/>
                  <a:gd name="connsiteY37" fmla="*/ 183928 h 444912"/>
                  <a:gd name="connsiteX38" fmla="*/ 246698 w 862965"/>
                  <a:gd name="connsiteY38" fmla="*/ 194405 h 444912"/>
                  <a:gd name="connsiteX39" fmla="*/ 275273 w 862965"/>
                  <a:gd name="connsiteY39" fmla="*/ 208693 h 444912"/>
                  <a:gd name="connsiteX40" fmla="*/ 292417 w 862965"/>
                  <a:gd name="connsiteY40" fmla="*/ 222980 h 444912"/>
                  <a:gd name="connsiteX41" fmla="*/ 317183 w 862965"/>
                  <a:gd name="connsiteY41" fmla="*/ 229648 h 444912"/>
                  <a:gd name="connsiteX42" fmla="*/ 292417 w 862965"/>
                  <a:gd name="connsiteY42" fmla="*/ 236315 h 444912"/>
                  <a:gd name="connsiteX43" fmla="*/ 275273 w 862965"/>
                  <a:gd name="connsiteY43" fmla="*/ 225743 h 444912"/>
                  <a:gd name="connsiteX44" fmla="*/ 254317 w 862965"/>
                  <a:gd name="connsiteY44" fmla="*/ 211455 h 444912"/>
                  <a:gd name="connsiteX45" fmla="*/ 229553 w 862965"/>
                  <a:gd name="connsiteY45" fmla="*/ 194405 h 444912"/>
                  <a:gd name="connsiteX46" fmla="*/ 190500 w 862965"/>
                  <a:gd name="connsiteY46" fmla="*/ 198215 h 444912"/>
                  <a:gd name="connsiteX47" fmla="*/ 159067 w 862965"/>
                  <a:gd name="connsiteY47" fmla="*/ 186785 h 444912"/>
                  <a:gd name="connsiteX48" fmla="*/ 151448 w 862965"/>
                  <a:gd name="connsiteY48" fmla="*/ 201073 h 444912"/>
                  <a:gd name="connsiteX49" fmla="*/ 151448 w 862965"/>
                  <a:gd name="connsiteY49" fmla="*/ 225743 h 444912"/>
                  <a:gd name="connsiteX50" fmla="*/ 165735 w 862965"/>
                  <a:gd name="connsiteY50" fmla="*/ 229648 h 444912"/>
                  <a:gd name="connsiteX51" fmla="*/ 186690 w 862965"/>
                  <a:gd name="connsiteY51" fmla="*/ 229648 h 444912"/>
                  <a:gd name="connsiteX52" fmla="*/ 200978 w 862965"/>
                  <a:gd name="connsiteY52" fmla="*/ 243935 h 444912"/>
                  <a:gd name="connsiteX53" fmla="*/ 221933 w 862965"/>
                  <a:gd name="connsiteY53" fmla="*/ 271463 h 444912"/>
                  <a:gd name="connsiteX54" fmla="*/ 250508 w 862965"/>
                  <a:gd name="connsiteY54" fmla="*/ 279178 h 444912"/>
                  <a:gd name="connsiteX55" fmla="*/ 271463 w 862965"/>
                  <a:gd name="connsiteY55" fmla="*/ 275368 h 444912"/>
                  <a:gd name="connsiteX56" fmla="*/ 281940 w 862965"/>
                  <a:gd name="connsiteY56" fmla="*/ 279178 h 444912"/>
                  <a:gd name="connsiteX57" fmla="*/ 264795 w 862965"/>
                  <a:gd name="connsiteY57" fmla="*/ 293465 h 444912"/>
                  <a:gd name="connsiteX58" fmla="*/ 242888 w 862965"/>
                  <a:gd name="connsiteY58" fmla="*/ 293465 h 444912"/>
                  <a:gd name="connsiteX59" fmla="*/ 221933 w 862965"/>
                  <a:gd name="connsiteY59" fmla="*/ 285750 h 444912"/>
                  <a:gd name="connsiteX60" fmla="*/ 200978 w 862965"/>
                  <a:gd name="connsiteY60" fmla="*/ 282035 h 444912"/>
                  <a:gd name="connsiteX61" fmla="*/ 183833 w 862965"/>
                  <a:gd name="connsiteY61" fmla="*/ 285750 h 444912"/>
                  <a:gd name="connsiteX62" fmla="*/ 151448 w 862965"/>
                  <a:gd name="connsiteY62" fmla="*/ 285750 h 444912"/>
                  <a:gd name="connsiteX63" fmla="*/ 138113 w 862965"/>
                  <a:gd name="connsiteY63" fmla="*/ 293465 h 444912"/>
                  <a:gd name="connsiteX64" fmla="*/ 120015 w 862965"/>
                  <a:gd name="connsiteY64" fmla="*/ 310515 h 444912"/>
                  <a:gd name="connsiteX65" fmla="*/ 134303 w 862965"/>
                  <a:gd name="connsiteY65" fmla="*/ 324803 h 444912"/>
                  <a:gd name="connsiteX66" fmla="*/ 155258 w 862965"/>
                  <a:gd name="connsiteY66" fmla="*/ 321088 h 444912"/>
                  <a:gd name="connsiteX67" fmla="*/ 176213 w 862965"/>
                  <a:gd name="connsiteY67" fmla="*/ 328612 h 444912"/>
                  <a:gd name="connsiteX68" fmla="*/ 186690 w 862965"/>
                  <a:gd name="connsiteY68" fmla="*/ 317278 h 444912"/>
                  <a:gd name="connsiteX69" fmla="*/ 200978 w 862965"/>
                  <a:gd name="connsiteY69" fmla="*/ 306800 h 444912"/>
                  <a:gd name="connsiteX70" fmla="*/ 204788 w 862965"/>
                  <a:gd name="connsiteY70" fmla="*/ 321088 h 444912"/>
                  <a:gd name="connsiteX71" fmla="*/ 207645 w 862965"/>
                  <a:gd name="connsiteY71" fmla="*/ 328612 h 444912"/>
                  <a:gd name="connsiteX72" fmla="*/ 190500 w 862965"/>
                  <a:gd name="connsiteY72" fmla="*/ 342043 h 444912"/>
                  <a:gd name="connsiteX73" fmla="*/ 183833 w 862965"/>
                  <a:gd name="connsiteY73" fmla="*/ 352425 h 444912"/>
                  <a:gd name="connsiteX74" fmla="*/ 215265 w 862965"/>
                  <a:gd name="connsiteY74" fmla="*/ 363950 h 444912"/>
                  <a:gd name="connsiteX75" fmla="*/ 232410 w 862965"/>
                  <a:gd name="connsiteY75" fmla="*/ 356330 h 444912"/>
                  <a:gd name="connsiteX76" fmla="*/ 246698 w 862965"/>
                  <a:gd name="connsiteY76" fmla="*/ 342043 h 444912"/>
                  <a:gd name="connsiteX77" fmla="*/ 260985 w 862965"/>
                  <a:gd name="connsiteY77" fmla="*/ 331565 h 444912"/>
                  <a:gd name="connsiteX78" fmla="*/ 267653 w 862965"/>
                  <a:gd name="connsiteY78" fmla="*/ 335375 h 444912"/>
                  <a:gd name="connsiteX79" fmla="*/ 257175 w 862965"/>
                  <a:gd name="connsiteY79" fmla="*/ 356330 h 444912"/>
                  <a:gd name="connsiteX80" fmla="*/ 232410 w 862965"/>
                  <a:gd name="connsiteY80" fmla="*/ 374428 h 444912"/>
                  <a:gd name="connsiteX81" fmla="*/ 211455 w 862965"/>
                  <a:gd name="connsiteY81" fmla="*/ 374428 h 444912"/>
                  <a:gd name="connsiteX82" fmla="*/ 180023 w 862965"/>
                  <a:gd name="connsiteY82" fmla="*/ 370618 h 444912"/>
                  <a:gd name="connsiteX83" fmla="*/ 165735 w 862965"/>
                  <a:gd name="connsiteY83" fmla="*/ 360140 h 444912"/>
                  <a:gd name="connsiteX84" fmla="*/ 155258 w 862965"/>
                  <a:gd name="connsiteY84" fmla="*/ 345853 h 444912"/>
                  <a:gd name="connsiteX85" fmla="*/ 109538 w 862965"/>
                  <a:gd name="connsiteY85" fmla="*/ 345853 h 444912"/>
                  <a:gd name="connsiteX86" fmla="*/ 109538 w 862965"/>
                  <a:gd name="connsiteY86" fmla="*/ 360140 h 444912"/>
                  <a:gd name="connsiteX87" fmla="*/ 123825 w 862965"/>
                  <a:gd name="connsiteY87" fmla="*/ 374428 h 444912"/>
                  <a:gd name="connsiteX88" fmla="*/ 140970 w 862965"/>
                  <a:gd name="connsiteY88" fmla="*/ 374428 h 444912"/>
                  <a:gd name="connsiteX89" fmla="*/ 148590 w 862965"/>
                  <a:gd name="connsiteY89" fmla="*/ 388715 h 444912"/>
                  <a:gd name="connsiteX90" fmla="*/ 126683 w 862965"/>
                  <a:gd name="connsiteY90" fmla="*/ 388715 h 444912"/>
                  <a:gd name="connsiteX91" fmla="*/ 99060 w 862965"/>
                  <a:gd name="connsiteY91" fmla="*/ 388715 h 444912"/>
                  <a:gd name="connsiteX92" fmla="*/ 74295 w 862965"/>
                  <a:gd name="connsiteY92" fmla="*/ 395287 h 444912"/>
                  <a:gd name="connsiteX93" fmla="*/ 67628 w 862965"/>
                  <a:gd name="connsiteY93" fmla="*/ 416338 h 444912"/>
                  <a:gd name="connsiteX94" fmla="*/ 80963 w 862965"/>
                  <a:gd name="connsiteY94" fmla="*/ 430625 h 444912"/>
                  <a:gd name="connsiteX95" fmla="*/ 99060 w 862965"/>
                  <a:gd name="connsiteY95" fmla="*/ 416338 h 444912"/>
                  <a:gd name="connsiteX96" fmla="*/ 109538 w 862965"/>
                  <a:gd name="connsiteY96" fmla="*/ 430625 h 444912"/>
                  <a:gd name="connsiteX97" fmla="*/ 120015 w 862965"/>
                  <a:gd name="connsiteY97" fmla="*/ 423862 h 444912"/>
                  <a:gd name="connsiteX98" fmla="*/ 126683 w 862965"/>
                  <a:gd name="connsiteY98" fmla="*/ 430625 h 444912"/>
                  <a:gd name="connsiteX99" fmla="*/ 144780 w 862965"/>
                  <a:gd name="connsiteY99" fmla="*/ 420053 h 444912"/>
                  <a:gd name="connsiteX100" fmla="*/ 155258 w 862965"/>
                  <a:gd name="connsiteY100" fmla="*/ 430625 h 444912"/>
                  <a:gd name="connsiteX101" fmla="*/ 211455 w 862965"/>
                  <a:gd name="connsiteY101" fmla="*/ 430625 h 444912"/>
                  <a:gd name="connsiteX102" fmla="*/ 219075 w 862965"/>
                  <a:gd name="connsiteY102" fmla="*/ 420053 h 444912"/>
                  <a:gd name="connsiteX103" fmla="*/ 232410 w 862965"/>
                  <a:gd name="connsiteY103" fmla="*/ 430625 h 444912"/>
                  <a:gd name="connsiteX104" fmla="*/ 242888 w 862965"/>
                  <a:gd name="connsiteY104" fmla="*/ 420053 h 444912"/>
                  <a:gd name="connsiteX105" fmla="*/ 264795 w 862965"/>
                  <a:gd name="connsiteY105" fmla="*/ 426815 h 444912"/>
                  <a:gd name="connsiteX106" fmla="*/ 285750 w 862965"/>
                  <a:gd name="connsiteY106" fmla="*/ 423862 h 444912"/>
                  <a:gd name="connsiteX107" fmla="*/ 302895 w 862965"/>
                  <a:gd name="connsiteY107" fmla="*/ 430625 h 444912"/>
                  <a:gd name="connsiteX108" fmla="*/ 302895 w 862965"/>
                  <a:gd name="connsiteY108" fmla="*/ 444913 h 444912"/>
                  <a:gd name="connsiteX109" fmla="*/ 331470 w 862965"/>
                  <a:gd name="connsiteY109" fmla="*/ 441103 h 444912"/>
                  <a:gd name="connsiteX110" fmla="*/ 359093 w 862965"/>
                  <a:gd name="connsiteY110" fmla="*/ 430625 h 444912"/>
                  <a:gd name="connsiteX111" fmla="*/ 383857 w 862965"/>
                  <a:gd name="connsiteY111" fmla="*/ 423862 h 444912"/>
                  <a:gd name="connsiteX112" fmla="*/ 394335 w 862965"/>
                  <a:gd name="connsiteY112" fmla="*/ 416338 h 444912"/>
                  <a:gd name="connsiteX113" fmla="*/ 391478 w 862965"/>
                  <a:gd name="connsiteY113" fmla="*/ 399193 h 444912"/>
                  <a:gd name="connsiteX114" fmla="*/ 383857 w 862965"/>
                  <a:gd name="connsiteY114" fmla="*/ 391478 h 444912"/>
                  <a:gd name="connsiteX115" fmla="*/ 377190 w 862965"/>
                  <a:gd name="connsiteY115" fmla="*/ 399193 h 444912"/>
                  <a:gd name="connsiteX116" fmla="*/ 362903 w 862965"/>
                  <a:gd name="connsiteY116" fmla="*/ 409575 h 444912"/>
                  <a:gd name="connsiteX117" fmla="*/ 359093 w 862965"/>
                  <a:gd name="connsiteY117" fmla="*/ 399193 h 444912"/>
                  <a:gd name="connsiteX118" fmla="*/ 356235 w 862965"/>
                  <a:gd name="connsiteY118" fmla="*/ 388715 h 444912"/>
                  <a:gd name="connsiteX119" fmla="*/ 317183 w 862965"/>
                  <a:gd name="connsiteY119" fmla="*/ 388715 h 444912"/>
                  <a:gd name="connsiteX120" fmla="*/ 289560 w 862965"/>
                  <a:gd name="connsiteY120" fmla="*/ 381000 h 444912"/>
                  <a:gd name="connsiteX121" fmla="*/ 292417 w 862965"/>
                  <a:gd name="connsiteY121" fmla="*/ 366712 h 444912"/>
                  <a:gd name="connsiteX122" fmla="*/ 327660 w 862965"/>
                  <a:gd name="connsiteY122" fmla="*/ 374428 h 444912"/>
                  <a:gd name="connsiteX123" fmla="*/ 370522 w 862965"/>
                  <a:gd name="connsiteY123" fmla="*/ 374428 h 444912"/>
                  <a:gd name="connsiteX124" fmla="*/ 387668 w 862965"/>
                  <a:gd name="connsiteY124" fmla="*/ 363950 h 444912"/>
                  <a:gd name="connsiteX125" fmla="*/ 394335 w 862965"/>
                  <a:gd name="connsiteY125" fmla="*/ 342043 h 444912"/>
                  <a:gd name="connsiteX126" fmla="*/ 447675 w 862965"/>
                  <a:gd name="connsiteY126" fmla="*/ 339090 h 444912"/>
                  <a:gd name="connsiteX127" fmla="*/ 454343 w 862965"/>
                  <a:gd name="connsiteY127" fmla="*/ 331565 h 444912"/>
                  <a:gd name="connsiteX128" fmla="*/ 458153 w 862965"/>
                  <a:gd name="connsiteY128" fmla="*/ 324803 h 444912"/>
                  <a:gd name="connsiteX129" fmla="*/ 468630 w 862965"/>
                  <a:gd name="connsiteY129" fmla="*/ 317278 h 444912"/>
                  <a:gd name="connsiteX130" fmla="*/ 447675 w 862965"/>
                  <a:gd name="connsiteY130" fmla="*/ 306800 h 444912"/>
                  <a:gd name="connsiteX131" fmla="*/ 441007 w 862965"/>
                  <a:gd name="connsiteY131" fmla="*/ 296323 h 444912"/>
                  <a:gd name="connsiteX132" fmla="*/ 472440 w 862965"/>
                  <a:gd name="connsiteY132" fmla="*/ 300037 h 444912"/>
                  <a:gd name="connsiteX133" fmla="*/ 479107 w 862965"/>
                  <a:gd name="connsiteY133" fmla="*/ 296323 h 444912"/>
                  <a:gd name="connsiteX134" fmla="*/ 479107 w 862965"/>
                  <a:gd name="connsiteY134" fmla="*/ 285750 h 444912"/>
                  <a:gd name="connsiteX135" fmla="*/ 451485 w 862965"/>
                  <a:gd name="connsiteY135" fmla="*/ 282035 h 444912"/>
                  <a:gd name="connsiteX136" fmla="*/ 447675 w 862965"/>
                  <a:gd name="connsiteY136" fmla="*/ 271463 h 444912"/>
                  <a:gd name="connsiteX137" fmla="*/ 472440 w 862965"/>
                  <a:gd name="connsiteY137" fmla="*/ 271463 h 444912"/>
                  <a:gd name="connsiteX138" fmla="*/ 486728 w 862965"/>
                  <a:gd name="connsiteY138" fmla="*/ 271463 h 444912"/>
                  <a:gd name="connsiteX139" fmla="*/ 479107 w 862965"/>
                  <a:gd name="connsiteY139" fmla="*/ 261080 h 444912"/>
                  <a:gd name="connsiteX140" fmla="*/ 447675 w 862965"/>
                  <a:gd name="connsiteY140" fmla="*/ 261080 h 444912"/>
                  <a:gd name="connsiteX141" fmla="*/ 422910 w 862965"/>
                  <a:gd name="connsiteY141" fmla="*/ 261080 h 444912"/>
                  <a:gd name="connsiteX142" fmla="*/ 412432 w 862965"/>
                  <a:gd name="connsiteY142" fmla="*/ 250603 h 444912"/>
                  <a:gd name="connsiteX143" fmla="*/ 433388 w 862965"/>
                  <a:gd name="connsiteY143" fmla="*/ 243935 h 444912"/>
                  <a:gd name="connsiteX144" fmla="*/ 464820 w 862965"/>
                  <a:gd name="connsiteY144" fmla="*/ 246793 h 444912"/>
                  <a:gd name="connsiteX145" fmla="*/ 486728 w 862965"/>
                  <a:gd name="connsiteY145" fmla="*/ 250603 h 444912"/>
                  <a:gd name="connsiteX146" fmla="*/ 503872 w 862965"/>
                  <a:gd name="connsiteY146" fmla="*/ 243935 h 444912"/>
                  <a:gd name="connsiteX147" fmla="*/ 518160 w 862965"/>
                  <a:gd name="connsiteY147" fmla="*/ 243935 h 444912"/>
                  <a:gd name="connsiteX148" fmla="*/ 521970 w 862965"/>
                  <a:gd name="connsiteY148" fmla="*/ 243935 h 444912"/>
                  <a:gd name="connsiteX149" fmla="*/ 521970 w 862965"/>
                  <a:gd name="connsiteY149" fmla="*/ 240030 h 444912"/>
                  <a:gd name="connsiteX150" fmla="*/ 521970 w 862965"/>
                  <a:gd name="connsiteY150" fmla="*/ 233363 h 444912"/>
                  <a:gd name="connsiteX151" fmla="*/ 507682 w 862965"/>
                  <a:gd name="connsiteY151" fmla="*/ 229648 h 444912"/>
                  <a:gd name="connsiteX152" fmla="*/ 493395 w 862965"/>
                  <a:gd name="connsiteY152" fmla="*/ 222980 h 444912"/>
                  <a:gd name="connsiteX153" fmla="*/ 503872 w 862965"/>
                  <a:gd name="connsiteY153" fmla="*/ 219075 h 444912"/>
                  <a:gd name="connsiteX154" fmla="*/ 528638 w 862965"/>
                  <a:gd name="connsiteY154" fmla="*/ 225743 h 444912"/>
                  <a:gd name="connsiteX155" fmla="*/ 542925 w 862965"/>
                  <a:gd name="connsiteY155" fmla="*/ 236315 h 444912"/>
                  <a:gd name="connsiteX156" fmla="*/ 570547 w 862965"/>
                  <a:gd name="connsiteY156" fmla="*/ 229648 h 444912"/>
                  <a:gd name="connsiteX157" fmla="*/ 591503 w 862965"/>
                  <a:gd name="connsiteY157" fmla="*/ 211455 h 444912"/>
                  <a:gd name="connsiteX158" fmla="*/ 599122 w 862965"/>
                  <a:gd name="connsiteY158" fmla="*/ 190500 h 444912"/>
                  <a:gd name="connsiteX159" fmla="*/ 620078 w 862965"/>
                  <a:gd name="connsiteY159" fmla="*/ 190500 h 444912"/>
                  <a:gd name="connsiteX160" fmla="*/ 651510 w 862965"/>
                  <a:gd name="connsiteY160" fmla="*/ 165830 h 444912"/>
                  <a:gd name="connsiteX161" fmla="*/ 697230 w 862965"/>
                  <a:gd name="connsiteY161" fmla="*/ 151543 h 444912"/>
                  <a:gd name="connsiteX162" fmla="*/ 725805 w 862965"/>
                  <a:gd name="connsiteY162" fmla="*/ 134398 h 444912"/>
                  <a:gd name="connsiteX163" fmla="*/ 764857 w 862965"/>
                  <a:gd name="connsiteY163" fmla="*/ 120110 h 444912"/>
                  <a:gd name="connsiteX164" fmla="*/ 761047 w 862965"/>
                  <a:gd name="connsiteY164" fmla="*/ 113443 h 444912"/>
                  <a:gd name="connsiteX165" fmla="*/ 736282 w 862965"/>
                  <a:gd name="connsiteY165" fmla="*/ 113443 h 444912"/>
                  <a:gd name="connsiteX166" fmla="*/ 701040 w 862965"/>
                  <a:gd name="connsiteY166" fmla="*/ 123825 h 444912"/>
                  <a:gd name="connsiteX167" fmla="*/ 648653 w 862965"/>
                  <a:gd name="connsiteY167" fmla="*/ 130493 h 444912"/>
                  <a:gd name="connsiteX168" fmla="*/ 683895 w 862965"/>
                  <a:gd name="connsiteY168" fmla="*/ 116205 h 444912"/>
                  <a:gd name="connsiteX169" fmla="*/ 701040 w 862965"/>
                  <a:gd name="connsiteY169" fmla="*/ 113443 h 444912"/>
                  <a:gd name="connsiteX170" fmla="*/ 661988 w 862965"/>
                  <a:gd name="connsiteY170" fmla="*/ 109538 h 444912"/>
                  <a:gd name="connsiteX171" fmla="*/ 673418 w 862965"/>
                  <a:gd name="connsiteY171" fmla="*/ 102965 h 444912"/>
                  <a:gd name="connsiteX172" fmla="*/ 778193 w 862965"/>
                  <a:gd name="connsiteY172" fmla="*/ 99155 h 444912"/>
                  <a:gd name="connsiteX173" fmla="*/ 806768 w 862965"/>
                  <a:gd name="connsiteY173" fmla="*/ 84868 h 444912"/>
                  <a:gd name="connsiteX174" fmla="*/ 848678 w 862965"/>
                  <a:gd name="connsiteY174" fmla="*/ 70580 h 444912"/>
                  <a:gd name="connsiteX175" fmla="*/ 862965 w 862965"/>
                  <a:gd name="connsiteY175" fmla="*/ 63818 h 444912"/>
                  <a:gd name="connsiteX176" fmla="*/ 852488 w 862965"/>
                  <a:gd name="connsiteY176" fmla="*/ 45815 h 444912"/>
                  <a:gd name="connsiteX177" fmla="*/ 810578 w 862965"/>
                  <a:gd name="connsiteY177" fmla="*/ 45815 h 444912"/>
                  <a:gd name="connsiteX178" fmla="*/ 796290 w 862965"/>
                  <a:gd name="connsiteY178" fmla="*/ 24860 h 444912"/>
                  <a:gd name="connsiteX179" fmla="*/ 764857 w 862965"/>
                  <a:gd name="connsiteY179" fmla="*/ 24860 h 444912"/>
                  <a:gd name="connsiteX180" fmla="*/ 721995 w 862965"/>
                  <a:gd name="connsiteY180" fmla="*/ 24860 h 444912"/>
                  <a:gd name="connsiteX181" fmla="*/ 683895 w 862965"/>
                  <a:gd name="connsiteY181" fmla="*/ 35243 h 444912"/>
                  <a:gd name="connsiteX182" fmla="*/ 683895 w 862965"/>
                  <a:gd name="connsiteY182" fmla="*/ 28575 h 444912"/>
                  <a:gd name="connsiteX183" fmla="*/ 711518 w 862965"/>
                  <a:gd name="connsiteY183" fmla="*/ 20955 h 444912"/>
                  <a:gd name="connsiteX184" fmla="*/ 715328 w 862965"/>
                  <a:gd name="connsiteY184" fmla="*/ 14288 h 444912"/>
                  <a:gd name="connsiteX185" fmla="*/ 644843 w 862965"/>
                  <a:gd name="connsiteY185" fmla="*/ 10573 h 444912"/>
                  <a:gd name="connsiteX186" fmla="*/ 616268 w 862965"/>
                  <a:gd name="connsiteY186" fmla="*/ 3905 h 444912"/>
                  <a:gd name="connsiteX187" fmla="*/ 581025 w 862965"/>
                  <a:gd name="connsiteY187" fmla="*/ 7715 h 444912"/>
                  <a:gd name="connsiteX188" fmla="*/ 574357 w 862965"/>
                  <a:gd name="connsiteY188" fmla="*/ 18193 h 444912"/>
                  <a:gd name="connsiteX189" fmla="*/ 560070 w 862965"/>
                  <a:gd name="connsiteY189" fmla="*/ 7715 h 444912"/>
                  <a:gd name="connsiteX190" fmla="*/ 524828 w 862965"/>
                  <a:gd name="connsiteY190" fmla="*/ 3905 h 444912"/>
                  <a:gd name="connsiteX191" fmla="*/ 521970 w 862965"/>
                  <a:gd name="connsiteY191" fmla="*/ 18193 h 444912"/>
                  <a:gd name="connsiteX192" fmla="*/ 535305 w 862965"/>
                  <a:gd name="connsiteY192" fmla="*/ 32480 h 444912"/>
                  <a:gd name="connsiteX193" fmla="*/ 500063 w 862965"/>
                  <a:gd name="connsiteY193" fmla="*/ 20955 h 444912"/>
                  <a:gd name="connsiteX194" fmla="*/ 489585 w 862965"/>
                  <a:gd name="connsiteY194" fmla="*/ 7715 h 444912"/>
                  <a:gd name="connsiteX195" fmla="*/ 416243 w 862965"/>
                  <a:gd name="connsiteY195" fmla="*/ 0 h 444912"/>
                  <a:gd name="connsiteX196" fmla="*/ 419100 w 862965"/>
                  <a:gd name="connsiteY196" fmla="*/ 10573 h 444912"/>
                  <a:gd name="connsiteX197" fmla="*/ 433388 w 862965"/>
                  <a:gd name="connsiteY197" fmla="*/ 24860 h 444912"/>
                  <a:gd name="connsiteX198" fmla="*/ 447675 w 862965"/>
                  <a:gd name="connsiteY198" fmla="*/ 39148 h 444912"/>
                  <a:gd name="connsiteX199" fmla="*/ 433388 w 862965"/>
                  <a:gd name="connsiteY199" fmla="*/ 45815 h 444912"/>
                  <a:gd name="connsiteX200" fmla="*/ 416243 w 862965"/>
                  <a:gd name="connsiteY200" fmla="*/ 32480 h 444912"/>
                  <a:gd name="connsiteX201" fmla="*/ 401955 w 862965"/>
                  <a:gd name="connsiteY201" fmla="*/ 24860 h 444912"/>
                  <a:gd name="connsiteX202" fmla="*/ 381000 w 862965"/>
                  <a:gd name="connsiteY202" fmla="*/ 18193 h 444912"/>
                  <a:gd name="connsiteX203" fmla="*/ 348615 w 862965"/>
                  <a:gd name="connsiteY203" fmla="*/ 14288 h 444912"/>
                  <a:gd name="connsiteX204" fmla="*/ 323850 w 862965"/>
                  <a:gd name="connsiteY204" fmla="*/ 24860 h 444912"/>
                  <a:gd name="connsiteX205" fmla="*/ 300038 w 862965"/>
                  <a:gd name="connsiteY205" fmla="*/ 24860 h 444912"/>
                  <a:gd name="connsiteX206" fmla="*/ 289560 w 862965"/>
                  <a:gd name="connsiteY206" fmla="*/ 32480 h 444912"/>
                  <a:gd name="connsiteX207" fmla="*/ 264795 w 862965"/>
                  <a:gd name="connsiteY207" fmla="*/ 35243 h 444912"/>
                  <a:gd name="connsiteX208" fmla="*/ 257175 w 862965"/>
                  <a:gd name="connsiteY208" fmla="*/ 45815 h 444912"/>
                  <a:gd name="connsiteX209" fmla="*/ 275273 w 862965"/>
                  <a:gd name="connsiteY209" fmla="*/ 57150 h 444912"/>
                  <a:gd name="connsiteX210" fmla="*/ 296228 w 862965"/>
                  <a:gd name="connsiteY210" fmla="*/ 70580 h 444912"/>
                  <a:gd name="connsiteX211" fmla="*/ 260985 w 862965"/>
                  <a:gd name="connsiteY211" fmla="*/ 67723 h 444912"/>
                  <a:gd name="connsiteX212" fmla="*/ 229553 w 862965"/>
                  <a:gd name="connsiteY212" fmla="*/ 60103 h 444912"/>
                  <a:gd name="connsiteX213" fmla="*/ 207645 w 862965"/>
                  <a:gd name="connsiteY213" fmla="*/ 49530 h 444912"/>
                  <a:gd name="connsiteX214" fmla="*/ 180023 w 862965"/>
                  <a:gd name="connsiteY214" fmla="*/ 49530 h 444912"/>
                  <a:gd name="connsiteX215" fmla="*/ 173355 w 862965"/>
                  <a:gd name="connsiteY215" fmla="*/ 63818 h 444912"/>
                  <a:gd name="connsiteX216" fmla="*/ 186690 w 862965"/>
                  <a:gd name="connsiteY216" fmla="*/ 80963 h 444912"/>
                  <a:gd name="connsiteX217" fmla="*/ 165735 w 862965"/>
                  <a:gd name="connsiteY217" fmla="*/ 80963 h 444912"/>
                  <a:gd name="connsiteX218" fmla="*/ 140970 w 862965"/>
                  <a:gd name="connsiteY218" fmla="*/ 80963 h 444912"/>
                  <a:gd name="connsiteX219" fmla="*/ 126683 w 862965"/>
                  <a:gd name="connsiteY219" fmla="*/ 74390 h 444912"/>
                  <a:gd name="connsiteX220" fmla="*/ 95250 w 862965"/>
                  <a:gd name="connsiteY220" fmla="*/ 74390 h 444912"/>
                  <a:gd name="connsiteX221" fmla="*/ 80963 w 862965"/>
                  <a:gd name="connsiteY221" fmla="*/ 80963 h 444912"/>
                  <a:gd name="connsiteX222" fmla="*/ 63817 w 862965"/>
                  <a:gd name="connsiteY222" fmla="*/ 88678 h 444912"/>
                  <a:gd name="connsiteX223" fmla="*/ 21908 w 862965"/>
                  <a:gd name="connsiteY223" fmla="*/ 88678 h 444912"/>
                  <a:gd name="connsiteX224" fmla="*/ 0 w 862965"/>
                  <a:gd name="connsiteY224" fmla="*/ 105823 h 444912"/>
                  <a:gd name="connsiteX225" fmla="*/ 24765 w 862965"/>
                  <a:gd name="connsiteY225" fmla="*/ 105823 h 444912"/>
                  <a:gd name="connsiteX226" fmla="*/ 35242 w 862965"/>
                  <a:gd name="connsiteY226" fmla="*/ 99155 h 444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</a:cxnLst>
                <a:rect l="l" t="t" r="r" b="b"/>
                <a:pathLst>
                  <a:path w="862965" h="444912">
                    <a:moveTo>
                      <a:pt x="35242" y="99155"/>
                    </a:moveTo>
                    <a:lnTo>
                      <a:pt x="49530" y="105823"/>
                    </a:lnTo>
                    <a:lnTo>
                      <a:pt x="39053" y="113443"/>
                    </a:lnTo>
                    <a:lnTo>
                      <a:pt x="35242" y="123825"/>
                    </a:lnTo>
                    <a:lnTo>
                      <a:pt x="56198" y="116205"/>
                    </a:lnTo>
                    <a:lnTo>
                      <a:pt x="70485" y="109538"/>
                    </a:lnTo>
                    <a:lnTo>
                      <a:pt x="91440" y="109538"/>
                    </a:lnTo>
                    <a:lnTo>
                      <a:pt x="105728" y="113443"/>
                    </a:lnTo>
                    <a:lnTo>
                      <a:pt x="84773" y="116205"/>
                    </a:lnTo>
                    <a:lnTo>
                      <a:pt x="60008" y="127730"/>
                    </a:lnTo>
                    <a:lnTo>
                      <a:pt x="45720" y="134398"/>
                    </a:lnTo>
                    <a:lnTo>
                      <a:pt x="67628" y="141065"/>
                    </a:lnTo>
                    <a:lnTo>
                      <a:pt x="109538" y="138113"/>
                    </a:lnTo>
                    <a:lnTo>
                      <a:pt x="140970" y="138113"/>
                    </a:lnTo>
                    <a:lnTo>
                      <a:pt x="169545" y="127730"/>
                    </a:lnTo>
                    <a:lnTo>
                      <a:pt x="183833" y="134398"/>
                    </a:lnTo>
                    <a:lnTo>
                      <a:pt x="173355" y="144780"/>
                    </a:lnTo>
                    <a:lnTo>
                      <a:pt x="159067" y="155353"/>
                    </a:lnTo>
                    <a:lnTo>
                      <a:pt x="148590" y="173355"/>
                    </a:lnTo>
                    <a:lnTo>
                      <a:pt x="194310" y="180118"/>
                    </a:lnTo>
                    <a:lnTo>
                      <a:pt x="225742" y="176213"/>
                    </a:lnTo>
                    <a:lnTo>
                      <a:pt x="232410" y="162973"/>
                    </a:lnTo>
                    <a:lnTo>
                      <a:pt x="242888" y="162973"/>
                    </a:lnTo>
                    <a:lnTo>
                      <a:pt x="254317" y="173355"/>
                    </a:lnTo>
                    <a:lnTo>
                      <a:pt x="285750" y="169640"/>
                    </a:lnTo>
                    <a:lnTo>
                      <a:pt x="320992" y="169640"/>
                    </a:lnTo>
                    <a:lnTo>
                      <a:pt x="345757" y="151543"/>
                    </a:lnTo>
                    <a:lnTo>
                      <a:pt x="362903" y="134398"/>
                    </a:lnTo>
                    <a:lnTo>
                      <a:pt x="398145" y="120110"/>
                    </a:lnTo>
                    <a:lnTo>
                      <a:pt x="408622" y="123825"/>
                    </a:lnTo>
                    <a:lnTo>
                      <a:pt x="394335" y="130493"/>
                    </a:lnTo>
                    <a:lnTo>
                      <a:pt x="381000" y="141065"/>
                    </a:lnTo>
                    <a:lnTo>
                      <a:pt x="366713" y="151543"/>
                    </a:lnTo>
                    <a:lnTo>
                      <a:pt x="381000" y="155353"/>
                    </a:lnTo>
                    <a:lnTo>
                      <a:pt x="362903" y="165830"/>
                    </a:lnTo>
                    <a:lnTo>
                      <a:pt x="341947" y="180118"/>
                    </a:lnTo>
                    <a:lnTo>
                      <a:pt x="296228" y="183928"/>
                    </a:lnTo>
                    <a:lnTo>
                      <a:pt x="257175" y="183928"/>
                    </a:lnTo>
                    <a:lnTo>
                      <a:pt x="246698" y="194405"/>
                    </a:lnTo>
                    <a:lnTo>
                      <a:pt x="275273" y="208693"/>
                    </a:lnTo>
                    <a:lnTo>
                      <a:pt x="292417" y="222980"/>
                    </a:lnTo>
                    <a:lnTo>
                      <a:pt x="317183" y="229648"/>
                    </a:lnTo>
                    <a:lnTo>
                      <a:pt x="292417" y="236315"/>
                    </a:lnTo>
                    <a:lnTo>
                      <a:pt x="275273" y="225743"/>
                    </a:lnTo>
                    <a:lnTo>
                      <a:pt x="254317" y="211455"/>
                    </a:lnTo>
                    <a:lnTo>
                      <a:pt x="229553" y="194405"/>
                    </a:lnTo>
                    <a:lnTo>
                      <a:pt x="190500" y="198215"/>
                    </a:lnTo>
                    <a:lnTo>
                      <a:pt x="159067" y="186785"/>
                    </a:lnTo>
                    <a:lnTo>
                      <a:pt x="151448" y="201073"/>
                    </a:lnTo>
                    <a:lnTo>
                      <a:pt x="151448" y="225743"/>
                    </a:lnTo>
                    <a:lnTo>
                      <a:pt x="165735" y="229648"/>
                    </a:lnTo>
                    <a:lnTo>
                      <a:pt x="186690" y="229648"/>
                    </a:lnTo>
                    <a:lnTo>
                      <a:pt x="200978" y="243935"/>
                    </a:lnTo>
                    <a:lnTo>
                      <a:pt x="221933" y="271463"/>
                    </a:lnTo>
                    <a:lnTo>
                      <a:pt x="250508" y="279178"/>
                    </a:lnTo>
                    <a:lnTo>
                      <a:pt x="271463" y="275368"/>
                    </a:lnTo>
                    <a:lnTo>
                      <a:pt x="281940" y="279178"/>
                    </a:lnTo>
                    <a:lnTo>
                      <a:pt x="264795" y="293465"/>
                    </a:lnTo>
                    <a:lnTo>
                      <a:pt x="242888" y="293465"/>
                    </a:lnTo>
                    <a:lnTo>
                      <a:pt x="221933" y="285750"/>
                    </a:lnTo>
                    <a:lnTo>
                      <a:pt x="200978" y="282035"/>
                    </a:lnTo>
                    <a:lnTo>
                      <a:pt x="183833" y="285750"/>
                    </a:lnTo>
                    <a:lnTo>
                      <a:pt x="151448" y="285750"/>
                    </a:lnTo>
                    <a:lnTo>
                      <a:pt x="138113" y="293465"/>
                    </a:lnTo>
                    <a:lnTo>
                      <a:pt x="120015" y="310515"/>
                    </a:lnTo>
                    <a:lnTo>
                      <a:pt x="134303" y="324803"/>
                    </a:lnTo>
                    <a:lnTo>
                      <a:pt x="155258" y="321088"/>
                    </a:lnTo>
                    <a:lnTo>
                      <a:pt x="176213" y="328612"/>
                    </a:lnTo>
                    <a:lnTo>
                      <a:pt x="186690" y="317278"/>
                    </a:lnTo>
                    <a:lnTo>
                      <a:pt x="200978" y="306800"/>
                    </a:lnTo>
                    <a:lnTo>
                      <a:pt x="204788" y="321088"/>
                    </a:lnTo>
                    <a:lnTo>
                      <a:pt x="207645" y="328612"/>
                    </a:lnTo>
                    <a:lnTo>
                      <a:pt x="190500" y="342043"/>
                    </a:lnTo>
                    <a:lnTo>
                      <a:pt x="183833" y="352425"/>
                    </a:lnTo>
                    <a:lnTo>
                      <a:pt x="215265" y="363950"/>
                    </a:lnTo>
                    <a:lnTo>
                      <a:pt x="232410" y="356330"/>
                    </a:lnTo>
                    <a:lnTo>
                      <a:pt x="246698" y="342043"/>
                    </a:lnTo>
                    <a:lnTo>
                      <a:pt x="260985" y="331565"/>
                    </a:lnTo>
                    <a:lnTo>
                      <a:pt x="267653" y="335375"/>
                    </a:lnTo>
                    <a:lnTo>
                      <a:pt x="257175" y="356330"/>
                    </a:lnTo>
                    <a:lnTo>
                      <a:pt x="232410" y="374428"/>
                    </a:lnTo>
                    <a:lnTo>
                      <a:pt x="211455" y="374428"/>
                    </a:lnTo>
                    <a:lnTo>
                      <a:pt x="180023" y="370618"/>
                    </a:lnTo>
                    <a:lnTo>
                      <a:pt x="165735" y="360140"/>
                    </a:lnTo>
                    <a:lnTo>
                      <a:pt x="155258" y="345853"/>
                    </a:lnTo>
                    <a:lnTo>
                      <a:pt x="109538" y="345853"/>
                    </a:lnTo>
                    <a:lnTo>
                      <a:pt x="109538" y="360140"/>
                    </a:lnTo>
                    <a:lnTo>
                      <a:pt x="123825" y="374428"/>
                    </a:lnTo>
                    <a:lnTo>
                      <a:pt x="140970" y="374428"/>
                    </a:lnTo>
                    <a:lnTo>
                      <a:pt x="148590" y="388715"/>
                    </a:lnTo>
                    <a:lnTo>
                      <a:pt x="126683" y="388715"/>
                    </a:lnTo>
                    <a:lnTo>
                      <a:pt x="99060" y="388715"/>
                    </a:lnTo>
                    <a:lnTo>
                      <a:pt x="74295" y="395287"/>
                    </a:lnTo>
                    <a:lnTo>
                      <a:pt x="67628" y="416338"/>
                    </a:lnTo>
                    <a:lnTo>
                      <a:pt x="80963" y="430625"/>
                    </a:lnTo>
                    <a:lnTo>
                      <a:pt x="99060" y="416338"/>
                    </a:lnTo>
                    <a:lnTo>
                      <a:pt x="109538" y="430625"/>
                    </a:lnTo>
                    <a:lnTo>
                      <a:pt x="120015" y="423862"/>
                    </a:lnTo>
                    <a:lnTo>
                      <a:pt x="126683" y="430625"/>
                    </a:lnTo>
                    <a:lnTo>
                      <a:pt x="144780" y="420053"/>
                    </a:lnTo>
                    <a:lnTo>
                      <a:pt x="155258" y="430625"/>
                    </a:lnTo>
                    <a:lnTo>
                      <a:pt x="211455" y="430625"/>
                    </a:lnTo>
                    <a:lnTo>
                      <a:pt x="219075" y="420053"/>
                    </a:lnTo>
                    <a:lnTo>
                      <a:pt x="232410" y="430625"/>
                    </a:lnTo>
                    <a:lnTo>
                      <a:pt x="242888" y="420053"/>
                    </a:lnTo>
                    <a:lnTo>
                      <a:pt x="264795" y="426815"/>
                    </a:lnTo>
                    <a:lnTo>
                      <a:pt x="285750" y="423862"/>
                    </a:lnTo>
                    <a:lnTo>
                      <a:pt x="302895" y="430625"/>
                    </a:lnTo>
                    <a:lnTo>
                      <a:pt x="302895" y="444913"/>
                    </a:lnTo>
                    <a:lnTo>
                      <a:pt x="331470" y="441103"/>
                    </a:lnTo>
                    <a:lnTo>
                      <a:pt x="359093" y="430625"/>
                    </a:lnTo>
                    <a:lnTo>
                      <a:pt x="383857" y="423862"/>
                    </a:lnTo>
                    <a:lnTo>
                      <a:pt x="394335" y="416338"/>
                    </a:lnTo>
                    <a:lnTo>
                      <a:pt x="391478" y="399193"/>
                    </a:lnTo>
                    <a:lnTo>
                      <a:pt x="383857" y="391478"/>
                    </a:lnTo>
                    <a:lnTo>
                      <a:pt x="377190" y="399193"/>
                    </a:lnTo>
                    <a:lnTo>
                      <a:pt x="362903" y="409575"/>
                    </a:lnTo>
                    <a:lnTo>
                      <a:pt x="359093" y="399193"/>
                    </a:lnTo>
                    <a:lnTo>
                      <a:pt x="356235" y="388715"/>
                    </a:lnTo>
                    <a:lnTo>
                      <a:pt x="317183" y="388715"/>
                    </a:lnTo>
                    <a:lnTo>
                      <a:pt x="289560" y="381000"/>
                    </a:lnTo>
                    <a:lnTo>
                      <a:pt x="292417" y="366712"/>
                    </a:lnTo>
                    <a:lnTo>
                      <a:pt x="327660" y="374428"/>
                    </a:lnTo>
                    <a:lnTo>
                      <a:pt x="370522" y="374428"/>
                    </a:lnTo>
                    <a:lnTo>
                      <a:pt x="387668" y="363950"/>
                    </a:lnTo>
                    <a:lnTo>
                      <a:pt x="394335" y="342043"/>
                    </a:lnTo>
                    <a:lnTo>
                      <a:pt x="447675" y="339090"/>
                    </a:lnTo>
                    <a:lnTo>
                      <a:pt x="454343" y="331565"/>
                    </a:lnTo>
                    <a:lnTo>
                      <a:pt x="458153" y="324803"/>
                    </a:lnTo>
                    <a:lnTo>
                      <a:pt x="468630" y="317278"/>
                    </a:lnTo>
                    <a:lnTo>
                      <a:pt x="447675" y="306800"/>
                    </a:lnTo>
                    <a:lnTo>
                      <a:pt x="441007" y="296323"/>
                    </a:lnTo>
                    <a:lnTo>
                      <a:pt x="472440" y="300037"/>
                    </a:lnTo>
                    <a:lnTo>
                      <a:pt x="479107" y="296323"/>
                    </a:lnTo>
                    <a:lnTo>
                      <a:pt x="479107" y="285750"/>
                    </a:lnTo>
                    <a:lnTo>
                      <a:pt x="451485" y="282035"/>
                    </a:lnTo>
                    <a:lnTo>
                      <a:pt x="447675" y="271463"/>
                    </a:lnTo>
                    <a:lnTo>
                      <a:pt x="472440" y="271463"/>
                    </a:lnTo>
                    <a:lnTo>
                      <a:pt x="486728" y="271463"/>
                    </a:lnTo>
                    <a:lnTo>
                      <a:pt x="479107" y="261080"/>
                    </a:lnTo>
                    <a:lnTo>
                      <a:pt x="447675" y="261080"/>
                    </a:lnTo>
                    <a:lnTo>
                      <a:pt x="422910" y="261080"/>
                    </a:lnTo>
                    <a:lnTo>
                      <a:pt x="412432" y="250603"/>
                    </a:lnTo>
                    <a:lnTo>
                      <a:pt x="433388" y="243935"/>
                    </a:lnTo>
                    <a:lnTo>
                      <a:pt x="464820" y="246793"/>
                    </a:lnTo>
                    <a:lnTo>
                      <a:pt x="486728" y="250603"/>
                    </a:lnTo>
                    <a:lnTo>
                      <a:pt x="503872" y="243935"/>
                    </a:lnTo>
                    <a:lnTo>
                      <a:pt x="518160" y="243935"/>
                    </a:lnTo>
                    <a:lnTo>
                      <a:pt x="521970" y="243935"/>
                    </a:lnTo>
                    <a:lnTo>
                      <a:pt x="521970" y="240030"/>
                    </a:lnTo>
                    <a:lnTo>
                      <a:pt x="521970" y="233363"/>
                    </a:lnTo>
                    <a:lnTo>
                      <a:pt x="507682" y="229648"/>
                    </a:lnTo>
                    <a:lnTo>
                      <a:pt x="493395" y="222980"/>
                    </a:lnTo>
                    <a:lnTo>
                      <a:pt x="503872" y="219075"/>
                    </a:lnTo>
                    <a:lnTo>
                      <a:pt x="528638" y="225743"/>
                    </a:lnTo>
                    <a:lnTo>
                      <a:pt x="542925" y="236315"/>
                    </a:lnTo>
                    <a:lnTo>
                      <a:pt x="570547" y="229648"/>
                    </a:lnTo>
                    <a:lnTo>
                      <a:pt x="591503" y="211455"/>
                    </a:lnTo>
                    <a:lnTo>
                      <a:pt x="599122" y="190500"/>
                    </a:lnTo>
                    <a:lnTo>
                      <a:pt x="620078" y="190500"/>
                    </a:lnTo>
                    <a:lnTo>
                      <a:pt x="651510" y="165830"/>
                    </a:lnTo>
                    <a:lnTo>
                      <a:pt x="697230" y="151543"/>
                    </a:lnTo>
                    <a:lnTo>
                      <a:pt x="725805" y="134398"/>
                    </a:lnTo>
                    <a:lnTo>
                      <a:pt x="764857" y="120110"/>
                    </a:lnTo>
                    <a:lnTo>
                      <a:pt x="761047" y="113443"/>
                    </a:lnTo>
                    <a:lnTo>
                      <a:pt x="736282" y="113443"/>
                    </a:lnTo>
                    <a:lnTo>
                      <a:pt x="701040" y="123825"/>
                    </a:lnTo>
                    <a:lnTo>
                      <a:pt x="648653" y="130493"/>
                    </a:lnTo>
                    <a:lnTo>
                      <a:pt x="683895" y="116205"/>
                    </a:lnTo>
                    <a:lnTo>
                      <a:pt x="701040" y="113443"/>
                    </a:lnTo>
                    <a:lnTo>
                      <a:pt x="661988" y="109538"/>
                    </a:lnTo>
                    <a:lnTo>
                      <a:pt x="673418" y="102965"/>
                    </a:lnTo>
                    <a:lnTo>
                      <a:pt x="778193" y="99155"/>
                    </a:lnTo>
                    <a:lnTo>
                      <a:pt x="806768" y="84868"/>
                    </a:lnTo>
                    <a:lnTo>
                      <a:pt x="848678" y="70580"/>
                    </a:lnTo>
                    <a:lnTo>
                      <a:pt x="862965" y="63818"/>
                    </a:lnTo>
                    <a:lnTo>
                      <a:pt x="852488" y="45815"/>
                    </a:lnTo>
                    <a:lnTo>
                      <a:pt x="810578" y="45815"/>
                    </a:lnTo>
                    <a:lnTo>
                      <a:pt x="796290" y="24860"/>
                    </a:lnTo>
                    <a:lnTo>
                      <a:pt x="764857" y="24860"/>
                    </a:lnTo>
                    <a:lnTo>
                      <a:pt x="721995" y="24860"/>
                    </a:lnTo>
                    <a:lnTo>
                      <a:pt x="683895" y="35243"/>
                    </a:lnTo>
                    <a:lnTo>
                      <a:pt x="683895" y="28575"/>
                    </a:lnTo>
                    <a:lnTo>
                      <a:pt x="711518" y="20955"/>
                    </a:lnTo>
                    <a:lnTo>
                      <a:pt x="715328" y="14288"/>
                    </a:lnTo>
                    <a:lnTo>
                      <a:pt x="644843" y="10573"/>
                    </a:lnTo>
                    <a:lnTo>
                      <a:pt x="616268" y="3905"/>
                    </a:lnTo>
                    <a:lnTo>
                      <a:pt x="581025" y="7715"/>
                    </a:lnTo>
                    <a:lnTo>
                      <a:pt x="574357" y="18193"/>
                    </a:lnTo>
                    <a:lnTo>
                      <a:pt x="560070" y="7715"/>
                    </a:lnTo>
                    <a:lnTo>
                      <a:pt x="524828" y="3905"/>
                    </a:lnTo>
                    <a:lnTo>
                      <a:pt x="521970" y="18193"/>
                    </a:lnTo>
                    <a:lnTo>
                      <a:pt x="535305" y="32480"/>
                    </a:lnTo>
                    <a:lnTo>
                      <a:pt x="500063" y="20955"/>
                    </a:lnTo>
                    <a:lnTo>
                      <a:pt x="489585" y="7715"/>
                    </a:lnTo>
                    <a:lnTo>
                      <a:pt x="416243" y="0"/>
                    </a:lnTo>
                    <a:lnTo>
                      <a:pt x="419100" y="10573"/>
                    </a:lnTo>
                    <a:lnTo>
                      <a:pt x="433388" y="24860"/>
                    </a:lnTo>
                    <a:lnTo>
                      <a:pt x="447675" y="39148"/>
                    </a:lnTo>
                    <a:lnTo>
                      <a:pt x="433388" y="45815"/>
                    </a:lnTo>
                    <a:lnTo>
                      <a:pt x="416243" y="32480"/>
                    </a:lnTo>
                    <a:lnTo>
                      <a:pt x="401955" y="24860"/>
                    </a:lnTo>
                    <a:lnTo>
                      <a:pt x="381000" y="18193"/>
                    </a:lnTo>
                    <a:lnTo>
                      <a:pt x="348615" y="14288"/>
                    </a:lnTo>
                    <a:lnTo>
                      <a:pt x="323850" y="24860"/>
                    </a:lnTo>
                    <a:lnTo>
                      <a:pt x="300038" y="24860"/>
                    </a:lnTo>
                    <a:lnTo>
                      <a:pt x="289560" y="32480"/>
                    </a:lnTo>
                    <a:lnTo>
                      <a:pt x="264795" y="35243"/>
                    </a:lnTo>
                    <a:lnTo>
                      <a:pt x="257175" y="45815"/>
                    </a:lnTo>
                    <a:lnTo>
                      <a:pt x="275273" y="57150"/>
                    </a:lnTo>
                    <a:lnTo>
                      <a:pt x="296228" y="70580"/>
                    </a:lnTo>
                    <a:lnTo>
                      <a:pt x="260985" y="67723"/>
                    </a:lnTo>
                    <a:lnTo>
                      <a:pt x="229553" y="60103"/>
                    </a:lnTo>
                    <a:lnTo>
                      <a:pt x="207645" y="49530"/>
                    </a:lnTo>
                    <a:lnTo>
                      <a:pt x="180023" y="49530"/>
                    </a:lnTo>
                    <a:lnTo>
                      <a:pt x="173355" y="63818"/>
                    </a:lnTo>
                    <a:lnTo>
                      <a:pt x="186690" y="80963"/>
                    </a:lnTo>
                    <a:lnTo>
                      <a:pt x="165735" y="80963"/>
                    </a:lnTo>
                    <a:lnTo>
                      <a:pt x="140970" y="80963"/>
                    </a:lnTo>
                    <a:lnTo>
                      <a:pt x="126683" y="74390"/>
                    </a:lnTo>
                    <a:lnTo>
                      <a:pt x="95250" y="74390"/>
                    </a:lnTo>
                    <a:lnTo>
                      <a:pt x="80963" y="80963"/>
                    </a:lnTo>
                    <a:lnTo>
                      <a:pt x="63817" y="88678"/>
                    </a:lnTo>
                    <a:lnTo>
                      <a:pt x="21908" y="88678"/>
                    </a:lnTo>
                    <a:lnTo>
                      <a:pt x="0" y="105823"/>
                    </a:lnTo>
                    <a:lnTo>
                      <a:pt x="24765" y="105823"/>
                    </a:lnTo>
                    <a:lnTo>
                      <a:pt x="35242" y="9915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39" name="Freeform: Shape 438">
                <a:extLst>
                  <a:ext uri="{FF2B5EF4-FFF2-40B4-BE49-F238E27FC236}">
                    <a16:creationId xmlns:a16="http://schemas.microsoft.com/office/drawing/2014/main" id="{13E12F4F-D5EA-683C-A1D7-8B00EF01F4F4}"/>
                  </a:ext>
                </a:extLst>
              </p:cNvPr>
              <p:cNvSpPr/>
              <p:nvPr/>
            </p:nvSpPr>
            <p:spPr>
              <a:xfrm>
                <a:off x="2637113" y="1813505"/>
                <a:ext cx="193280" cy="99816"/>
              </a:xfrm>
              <a:custGeom>
                <a:avLst/>
                <a:gdLst>
                  <a:gd name="connsiteX0" fmla="*/ 42863 w 197167"/>
                  <a:gd name="connsiteY0" fmla="*/ 95250 h 101822"/>
                  <a:gd name="connsiteX1" fmla="*/ 42863 w 197167"/>
                  <a:gd name="connsiteY1" fmla="*/ 87535 h 101822"/>
                  <a:gd name="connsiteX2" fmla="*/ 56197 w 197167"/>
                  <a:gd name="connsiteY2" fmla="*/ 87535 h 101822"/>
                  <a:gd name="connsiteX3" fmla="*/ 60008 w 197167"/>
                  <a:gd name="connsiteY3" fmla="*/ 101822 h 101822"/>
                  <a:gd name="connsiteX4" fmla="*/ 84772 w 197167"/>
                  <a:gd name="connsiteY4" fmla="*/ 101822 h 101822"/>
                  <a:gd name="connsiteX5" fmla="*/ 84772 w 197167"/>
                  <a:gd name="connsiteY5" fmla="*/ 84773 h 101822"/>
                  <a:gd name="connsiteX6" fmla="*/ 95250 w 197167"/>
                  <a:gd name="connsiteY6" fmla="*/ 87535 h 101822"/>
                  <a:gd name="connsiteX7" fmla="*/ 105728 w 197167"/>
                  <a:gd name="connsiteY7" fmla="*/ 84773 h 101822"/>
                  <a:gd name="connsiteX8" fmla="*/ 112395 w 197167"/>
                  <a:gd name="connsiteY8" fmla="*/ 70485 h 101822"/>
                  <a:gd name="connsiteX9" fmla="*/ 112395 w 197167"/>
                  <a:gd name="connsiteY9" fmla="*/ 59912 h 101822"/>
                  <a:gd name="connsiteX10" fmla="*/ 116205 w 197167"/>
                  <a:gd name="connsiteY10" fmla="*/ 52388 h 101822"/>
                  <a:gd name="connsiteX11" fmla="*/ 126683 w 197167"/>
                  <a:gd name="connsiteY11" fmla="*/ 49435 h 101822"/>
                  <a:gd name="connsiteX12" fmla="*/ 134303 w 197167"/>
                  <a:gd name="connsiteY12" fmla="*/ 56198 h 101822"/>
                  <a:gd name="connsiteX13" fmla="*/ 130492 w 197167"/>
                  <a:gd name="connsiteY13" fmla="*/ 74200 h 101822"/>
                  <a:gd name="connsiteX14" fmla="*/ 147638 w 197167"/>
                  <a:gd name="connsiteY14" fmla="*/ 77153 h 101822"/>
                  <a:gd name="connsiteX15" fmla="*/ 159067 w 197167"/>
                  <a:gd name="connsiteY15" fmla="*/ 66675 h 101822"/>
                  <a:gd name="connsiteX16" fmla="*/ 169545 w 197167"/>
                  <a:gd name="connsiteY16" fmla="*/ 56198 h 101822"/>
                  <a:gd name="connsiteX17" fmla="*/ 182880 w 197167"/>
                  <a:gd name="connsiteY17" fmla="*/ 52388 h 101822"/>
                  <a:gd name="connsiteX18" fmla="*/ 186690 w 197167"/>
                  <a:gd name="connsiteY18" fmla="*/ 41910 h 101822"/>
                  <a:gd name="connsiteX19" fmla="*/ 176213 w 197167"/>
                  <a:gd name="connsiteY19" fmla="*/ 28575 h 101822"/>
                  <a:gd name="connsiteX20" fmla="*/ 190500 w 197167"/>
                  <a:gd name="connsiteY20" fmla="*/ 24765 h 101822"/>
                  <a:gd name="connsiteX21" fmla="*/ 197167 w 197167"/>
                  <a:gd name="connsiteY21" fmla="*/ 14288 h 101822"/>
                  <a:gd name="connsiteX22" fmla="*/ 186690 w 197167"/>
                  <a:gd name="connsiteY22" fmla="*/ 6572 h 101822"/>
                  <a:gd name="connsiteX23" fmla="*/ 169545 w 197167"/>
                  <a:gd name="connsiteY23" fmla="*/ 0 h 101822"/>
                  <a:gd name="connsiteX24" fmla="*/ 161925 w 197167"/>
                  <a:gd name="connsiteY24" fmla="*/ 20860 h 101822"/>
                  <a:gd name="connsiteX25" fmla="*/ 151447 w 197167"/>
                  <a:gd name="connsiteY25" fmla="*/ 14288 h 101822"/>
                  <a:gd name="connsiteX26" fmla="*/ 134303 w 197167"/>
                  <a:gd name="connsiteY26" fmla="*/ 14288 h 101822"/>
                  <a:gd name="connsiteX27" fmla="*/ 101917 w 197167"/>
                  <a:gd name="connsiteY27" fmla="*/ 17050 h 101822"/>
                  <a:gd name="connsiteX28" fmla="*/ 88583 w 197167"/>
                  <a:gd name="connsiteY28" fmla="*/ 31337 h 101822"/>
                  <a:gd name="connsiteX29" fmla="*/ 63817 w 197167"/>
                  <a:gd name="connsiteY29" fmla="*/ 45625 h 101822"/>
                  <a:gd name="connsiteX30" fmla="*/ 45720 w 197167"/>
                  <a:gd name="connsiteY30" fmla="*/ 56198 h 101822"/>
                  <a:gd name="connsiteX31" fmla="*/ 28575 w 197167"/>
                  <a:gd name="connsiteY31" fmla="*/ 66675 h 101822"/>
                  <a:gd name="connsiteX32" fmla="*/ 7620 w 197167"/>
                  <a:gd name="connsiteY32" fmla="*/ 70485 h 101822"/>
                  <a:gd name="connsiteX33" fmla="*/ 0 w 197167"/>
                  <a:gd name="connsiteY33" fmla="*/ 87535 h 101822"/>
                  <a:gd name="connsiteX34" fmla="*/ 14288 w 197167"/>
                  <a:gd name="connsiteY34" fmla="*/ 95250 h 101822"/>
                  <a:gd name="connsiteX35" fmla="*/ 42863 w 197167"/>
                  <a:gd name="connsiteY35" fmla="*/ 95250 h 101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97167" h="101822">
                    <a:moveTo>
                      <a:pt x="42863" y="95250"/>
                    </a:moveTo>
                    <a:lnTo>
                      <a:pt x="42863" y="87535"/>
                    </a:lnTo>
                    <a:lnTo>
                      <a:pt x="56197" y="87535"/>
                    </a:lnTo>
                    <a:lnTo>
                      <a:pt x="60008" y="101822"/>
                    </a:lnTo>
                    <a:lnTo>
                      <a:pt x="84772" y="101822"/>
                    </a:lnTo>
                    <a:lnTo>
                      <a:pt x="84772" y="84773"/>
                    </a:lnTo>
                    <a:lnTo>
                      <a:pt x="95250" y="87535"/>
                    </a:lnTo>
                    <a:lnTo>
                      <a:pt x="105728" y="84773"/>
                    </a:lnTo>
                    <a:lnTo>
                      <a:pt x="112395" y="70485"/>
                    </a:lnTo>
                    <a:lnTo>
                      <a:pt x="112395" y="59912"/>
                    </a:lnTo>
                    <a:lnTo>
                      <a:pt x="116205" y="52388"/>
                    </a:lnTo>
                    <a:lnTo>
                      <a:pt x="126683" y="49435"/>
                    </a:lnTo>
                    <a:lnTo>
                      <a:pt x="134303" y="56198"/>
                    </a:lnTo>
                    <a:lnTo>
                      <a:pt x="130492" y="74200"/>
                    </a:lnTo>
                    <a:lnTo>
                      <a:pt x="147638" y="77153"/>
                    </a:lnTo>
                    <a:lnTo>
                      <a:pt x="159067" y="66675"/>
                    </a:lnTo>
                    <a:lnTo>
                      <a:pt x="169545" y="56198"/>
                    </a:lnTo>
                    <a:lnTo>
                      <a:pt x="182880" y="52388"/>
                    </a:lnTo>
                    <a:lnTo>
                      <a:pt x="186690" y="41910"/>
                    </a:lnTo>
                    <a:lnTo>
                      <a:pt x="176213" y="28575"/>
                    </a:lnTo>
                    <a:lnTo>
                      <a:pt x="190500" y="24765"/>
                    </a:lnTo>
                    <a:lnTo>
                      <a:pt x="197167" y="14288"/>
                    </a:lnTo>
                    <a:lnTo>
                      <a:pt x="186690" y="6572"/>
                    </a:lnTo>
                    <a:lnTo>
                      <a:pt x="169545" y="0"/>
                    </a:lnTo>
                    <a:lnTo>
                      <a:pt x="161925" y="20860"/>
                    </a:lnTo>
                    <a:lnTo>
                      <a:pt x="151447" y="14288"/>
                    </a:lnTo>
                    <a:lnTo>
                      <a:pt x="134303" y="14288"/>
                    </a:lnTo>
                    <a:lnTo>
                      <a:pt x="101917" y="17050"/>
                    </a:lnTo>
                    <a:lnTo>
                      <a:pt x="88583" y="31337"/>
                    </a:lnTo>
                    <a:lnTo>
                      <a:pt x="63817" y="45625"/>
                    </a:lnTo>
                    <a:lnTo>
                      <a:pt x="45720" y="56198"/>
                    </a:lnTo>
                    <a:lnTo>
                      <a:pt x="28575" y="66675"/>
                    </a:lnTo>
                    <a:lnTo>
                      <a:pt x="7620" y="70485"/>
                    </a:lnTo>
                    <a:lnTo>
                      <a:pt x="0" y="87535"/>
                    </a:lnTo>
                    <a:lnTo>
                      <a:pt x="14288" y="95250"/>
                    </a:lnTo>
                    <a:lnTo>
                      <a:pt x="42863" y="952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0" name="Freeform: Shape 439">
                <a:extLst>
                  <a:ext uri="{FF2B5EF4-FFF2-40B4-BE49-F238E27FC236}">
                    <a16:creationId xmlns:a16="http://schemas.microsoft.com/office/drawing/2014/main" id="{95369EA8-6840-FFA9-87C3-23EB488DE5A8}"/>
                  </a:ext>
                </a:extLst>
              </p:cNvPr>
              <p:cNvSpPr/>
              <p:nvPr/>
            </p:nvSpPr>
            <p:spPr>
              <a:xfrm>
                <a:off x="2730486" y="1899316"/>
                <a:ext cx="48553" cy="34641"/>
              </a:xfrm>
              <a:custGeom>
                <a:avLst/>
                <a:gdLst>
                  <a:gd name="connsiteX0" fmla="*/ 6667 w 49529"/>
                  <a:gd name="connsiteY0" fmla="*/ 14288 h 35337"/>
                  <a:gd name="connsiteX1" fmla="*/ 0 w 49529"/>
                  <a:gd name="connsiteY1" fmla="*/ 28575 h 35337"/>
                  <a:gd name="connsiteX2" fmla="*/ 20955 w 49529"/>
                  <a:gd name="connsiteY2" fmla="*/ 35338 h 35337"/>
                  <a:gd name="connsiteX3" fmla="*/ 35242 w 49529"/>
                  <a:gd name="connsiteY3" fmla="*/ 32480 h 35337"/>
                  <a:gd name="connsiteX4" fmla="*/ 45720 w 49529"/>
                  <a:gd name="connsiteY4" fmla="*/ 14288 h 35337"/>
                  <a:gd name="connsiteX5" fmla="*/ 49530 w 49529"/>
                  <a:gd name="connsiteY5" fmla="*/ 3905 h 35337"/>
                  <a:gd name="connsiteX6" fmla="*/ 31433 w 49529"/>
                  <a:gd name="connsiteY6" fmla="*/ 0 h 35337"/>
                  <a:gd name="connsiteX7" fmla="*/ 6667 w 49529"/>
                  <a:gd name="connsiteY7" fmla="*/ 14288 h 35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49529" h="35337">
                    <a:moveTo>
                      <a:pt x="6667" y="14288"/>
                    </a:moveTo>
                    <a:lnTo>
                      <a:pt x="0" y="28575"/>
                    </a:lnTo>
                    <a:lnTo>
                      <a:pt x="20955" y="35338"/>
                    </a:lnTo>
                    <a:lnTo>
                      <a:pt x="35242" y="32480"/>
                    </a:lnTo>
                    <a:lnTo>
                      <a:pt x="45720" y="14288"/>
                    </a:lnTo>
                    <a:lnTo>
                      <a:pt x="49530" y="3905"/>
                    </a:lnTo>
                    <a:lnTo>
                      <a:pt x="31433" y="0"/>
                    </a:lnTo>
                    <a:lnTo>
                      <a:pt x="6667" y="1428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1" name="Freeform: Shape 440">
                <a:extLst>
                  <a:ext uri="{FF2B5EF4-FFF2-40B4-BE49-F238E27FC236}">
                    <a16:creationId xmlns:a16="http://schemas.microsoft.com/office/drawing/2014/main" id="{124143C7-C45B-8AD8-EF19-D3B12E28DE63}"/>
                  </a:ext>
                </a:extLst>
              </p:cNvPr>
              <p:cNvSpPr/>
              <p:nvPr/>
            </p:nvSpPr>
            <p:spPr>
              <a:xfrm>
                <a:off x="2895755" y="1785493"/>
                <a:ext cx="97107" cy="44725"/>
              </a:xfrm>
              <a:custGeom>
                <a:avLst/>
                <a:gdLst>
                  <a:gd name="connsiteX0" fmla="*/ 28575 w 99060"/>
                  <a:gd name="connsiteY0" fmla="*/ 45625 h 45624"/>
                  <a:gd name="connsiteX1" fmla="*/ 39053 w 99060"/>
                  <a:gd name="connsiteY1" fmla="*/ 42863 h 45624"/>
                  <a:gd name="connsiteX2" fmla="*/ 57150 w 99060"/>
                  <a:gd name="connsiteY2" fmla="*/ 42863 h 45624"/>
                  <a:gd name="connsiteX3" fmla="*/ 78105 w 99060"/>
                  <a:gd name="connsiteY3" fmla="*/ 42863 h 45624"/>
                  <a:gd name="connsiteX4" fmla="*/ 88583 w 99060"/>
                  <a:gd name="connsiteY4" fmla="*/ 32385 h 45624"/>
                  <a:gd name="connsiteX5" fmla="*/ 88583 w 99060"/>
                  <a:gd name="connsiteY5" fmla="*/ 20860 h 45624"/>
                  <a:gd name="connsiteX6" fmla="*/ 70485 w 99060"/>
                  <a:gd name="connsiteY6" fmla="*/ 20860 h 45624"/>
                  <a:gd name="connsiteX7" fmla="*/ 78105 w 99060"/>
                  <a:gd name="connsiteY7" fmla="*/ 14288 h 45624"/>
                  <a:gd name="connsiteX8" fmla="*/ 99060 w 99060"/>
                  <a:gd name="connsiteY8" fmla="*/ 10478 h 45624"/>
                  <a:gd name="connsiteX9" fmla="*/ 95250 w 99060"/>
                  <a:gd name="connsiteY9" fmla="*/ 0 h 45624"/>
                  <a:gd name="connsiteX10" fmla="*/ 57150 w 99060"/>
                  <a:gd name="connsiteY10" fmla="*/ 0 h 45624"/>
                  <a:gd name="connsiteX11" fmla="*/ 24765 w 99060"/>
                  <a:gd name="connsiteY11" fmla="*/ 0 h 45624"/>
                  <a:gd name="connsiteX12" fmla="*/ 0 w 99060"/>
                  <a:gd name="connsiteY12" fmla="*/ 10478 h 45624"/>
                  <a:gd name="connsiteX13" fmla="*/ 7620 w 99060"/>
                  <a:gd name="connsiteY13" fmla="*/ 35147 h 45624"/>
                  <a:gd name="connsiteX14" fmla="*/ 28575 w 99060"/>
                  <a:gd name="connsiteY14" fmla="*/ 45625 h 456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9060" h="45624">
                    <a:moveTo>
                      <a:pt x="28575" y="45625"/>
                    </a:moveTo>
                    <a:lnTo>
                      <a:pt x="39053" y="42863"/>
                    </a:lnTo>
                    <a:lnTo>
                      <a:pt x="57150" y="42863"/>
                    </a:lnTo>
                    <a:lnTo>
                      <a:pt x="78105" y="42863"/>
                    </a:lnTo>
                    <a:lnTo>
                      <a:pt x="88583" y="32385"/>
                    </a:lnTo>
                    <a:lnTo>
                      <a:pt x="88583" y="20860"/>
                    </a:lnTo>
                    <a:lnTo>
                      <a:pt x="70485" y="20860"/>
                    </a:lnTo>
                    <a:lnTo>
                      <a:pt x="78105" y="14288"/>
                    </a:lnTo>
                    <a:lnTo>
                      <a:pt x="99060" y="10478"/>
                    </a:lnTo>
                    <a:lnTo>
                      <a:pt x="95250" y="0"/>
                    </a:lnTo>
                    <a:lnTo>
                      <a:pt x="57150" y="0"/>
                    </a:lnTo>
                    <a:lnTo>
                      <a:pt x="24765" y="0"/>
                    </a:lnTo>
                    <a:lnTo>
                      <a:pt x="0" y="10478"/>
                    </a:lnTo>
                    <a:lnTo>
                      <a:pt x="7620" y="35147"/>
                    </a:lnTo>
                    <a:lnTo>
                      <a:pt x="28575" y="456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2" name="Freeform: Shape 441">
                <a:extLst>
                  <a:ext uri="{FF2B5EF4-FFF2-40B4-BE49-F238E27FC236}">
                    <a16:creationId xmlns:a16="http://schemas.microsoft.com/office/drawing/2014/main" id="{FFB062EE-A2BA-9BD4-1712-DFB0A67208E0}"/>
                  </a:ext>
                </a:extLst>
              </p:cNvPr>
              <p:cNvSpPr/>
              <p:nvPr/>
            </p:nvSpPr>
            <p:spPr>
              <a:xfrm>
                <a:off x="2895755" y="1744409"/>
                <a:ext cx="111113" cy="30813"/>
              </a:xfrm>
              <a:custGeom>
                <a:avLst/>
                <a:gdLst>
                  <a:gd name="connsiteX0" fmla="*/ 60008 w 113347"/>
                  <a:gd name="connsiteY0" fmla="*/ 27622 h 31432"/>
                  <a:gd name="connsiteX1" fmla="*/ 92392 w 113347"/>
                  <a:gd name="connsiteY1" fmla="*/ 27622 h 31432"/>
                  <a:gd name="connsiteX2" fmla="*/ 109538 w 113347"/>
                  <a:gd name="connsiteY2" fmla="*/ 24670 h 31432"/>
                  <a:gd name="connsiteX3" fmla="*/ 113348 w 113347"/>
                  <a:gd name="connsiteY3" fmla="*/ 14288 h 31432"/>
                  <a:gd name="connsiteX4" fmla="*/ 99060 w 113347"/>
                  <a:gd name="connsiteY4" fmla="*/ 3810 h 31432"/>
                  <a:gd name="connsiteX5" fmla="*/ 74295 w 113347"/>
                  <a:gd name="connsiteY5" fmla="*/ 0 h 31432"/>
                  <a:gd name="connsiteX6" fmla="*/ 42863 w 113347"/>
                  <a:gd name="connsiteY6" fmla="*/ 10382 h 31432"/>
                  <a:gd name="connsiteX7" fmla="*/ 14288 w 113347"/>
                  <a:gd name="connsiteY7" fmla="*/ 20860 h 31432"/>
                  <a:gd name="connsiteX8" fmla="*/ 0 w 113347"/>
                  <a:gd name="connsiteY8" fmla="*/ 31432 h 31432"/>
                  <a:gd name="connsiteX9" fmla="*/ 24765 w 113347"/>
                  <a:gd name="connsiteY9" fmla="*/ 31432 h 31432"/>
                  <a:gd name="connsiteX10" fmla="*/ 60008 w 113347"/>
                  <a:gd name="connsiteY10" fmla="*/ 27622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13347" h="31432">
                    <a:moveTo>
                      <a:pt x="60008" y="27622"/>
                    </a:moveTo>
                    <a:lnTo>
                      <a:pt x="92392" y="27622"/>
                    </a:lnTo>
                    <a:lnTo>
                      <a:pt x="109538" y="24670"/>
                    </a:lnTo>
                    <a:lnTo>
                      <a:pt x="113348" y="14288"/>
                    </a:lnTo>
                    <a:lnTo>
                      <a:pt x="99060" y="3810"/>
                    </a:lnTo>
                    <a:lnTo>
                      <a:pt x="74295" y="0"/>
                    </a:lnTo>
                    <a:lnTo>
                      <a:pt x="42863" y="10382"/>
                    </a:lnTo>
                    <a:lnTo>
                      <a:pt x="14288" y="20860"/>
                    </a:lnTo>
                    <a:lnTo>
                      <a:pt x="0" y="31432"/>
                    </a:lnTo>
                    <a:lnTo>
                      <a:pt x="24765" y="31432"/>
                    </a:lnTo>
                    <a:lnTo>
                      <a:pt x="60008" y="2762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3" name="Freeform: Shape 442">
                <a:extLst>
                  <a:ext uri="{FF2B5EF4-FFF2-40B4-BE49-F238E27FC236}">
                    <a16:creationId xmlns:a16="http://schemas.microsoft.com/office/drawing/2014/main" id="{6F45D638-F2FF-4E85-93FB-0E4489C2083B}"/>
                  </a:ext>
                </a:extLst>
              </p:cNvPr>
              <p:cNvSpPr/>
              <p:nvPr/>
            </p:nvSpPr>
            <p:spPr>
              <a:xfrm>
                <a:off x="3189877" y="2024529"/>
                <a:ext cx="165269" cy="134457"/>
              </a:xfrm>
              <a:custGeom>
                <a:avLst/>
                <a:gdLst>
                  <a:gd name="connsiteX0" fmla="*/ 165735 w 168592"/>
                  <a:gd name="connsiteY0" fmla="*/ 49435 h 137160"/>
                  <a:gd name="connsiteX1" fmla="*/ 151448 w 168592"/>
                  <a:gd name="connsiteY1" fmla="*/ 60007 h 137160"/>
                  <a:gd name="connsiteX2" fmla="*/ 140970 w 168592"/>
                  <a:gd name="connsiteY2" fmla="*/ 45720 h 137160"/>
                  <a:gd name="connsiteX3" fmla="*/ 130492 w 168592"/>
                  <a:gd name="connsiteY3" fmla="*/ 45720 h 137160"/>
                  <a:gd name="connsiteX4" fmla="*/ 112395 w 168592"/>
                  <a:gd name="connsiteY4" fmla="*/ 45720 h 137160"/>
                  <a:gd name="connsiteX5" fmla="*/ 119063 w 168592"/>
                  <a:gd name="connsiteY5" fmla="*/ 35147 h 137160"/>
                  <a:gd name="connsiteX6" fmla="*/ 137160 w 168592"/>
                  <a:gd name="connsiteY6" fmla="*/ 24670 h 137160"/>
                  <a:gd name="connsiteX7" fmla="*/ 151448 w 168592"/>
                  <a:gd name="connsiteY7" fmla="*/ 10382 h 137160"/>
                  <a:gd name="connsiteX8" fmla="*/ 161925 w 168592"/>
                  <a:gd name="connsiteY8" fmla="*/ 2857 h 137160"/>
                  <a:gd name="connsiteX9" fmla="*/ 116205 w 168592"/>
                  <a:gd name="connsiteY9" fmla="*/ 0 h 137160"/>
                  <a:gd name="connsiteX10" fmla="*/ 101917 w 168592"/>
                  <a:gd name="connsiteY10" fmla="*/ 6572 h 137160"/>
                  <a:gd name="connsiteX11" fmla="*/ 87630 w 168592"/>
                  <a:gd name="connsiteY11" fmla="*/ 6572 h 137160"/>
                  <a:gd name="connsiteX12" fmla="*/ 80963 w 168592"/>
                  <a:gd name="connsiteY12" fmla="*/ 0 h 137160"/>
                  <a:gd name="connsiteX13" fmla="*/ 56198 w 168592"/>
                  <a:gd name="connsiteY13" fmla="*/ 2857 h 137160"/>
                  <a:gd name="connsiteX14" fmla="*/ 35242 w 168592"/>
                  <a:gd name="connsiteY14" fmla="*/ 20860 h 137160"/>
                  <a:gd name="connsiteX15" fmla="*/ 60008 w 168592"/>
                  <a:gd name="connsiteY15" fmla="*/ 31432 h 137160"/>
                  <a:gd name="connsiteX16" fmla="*/ 66675 w 168592"/>
                  <a:gd name="connsiteY16" fmla="*/ 41910 h 137160"/>
                  <a:gd name="connsiteX17" fmla="*/ 49530 w 168592"/>
                  <a:gd name="connsiteY17" fmla="*/ 52388 h 137160"/>
                  <a:gd name="connsiteX18" fmla="*/ 31433 w 168592"/>
                  <a:gd name="connsiteY18" fmla="*/ 56198 h 137160"/>
                  <a:gd name="connsiteX19" fmla="*/ 20955 w 168592"/>
                  <a:gd name="connsiteY19" fmla="*/ 41910 h 137160"/>
                  <a:gd name="connsiteX20" fmla="*/ 6667 w 168592"/>
                  <a:gd name="connsiteY20" fmla="*/ 38100 h 137160"/>
                  <a:gd name="connsiteX21" fmla="*/ 0 w 168592"/>
                  <a:gd name="connsiteY21" fmla="*/ 56198 h 137160"/>
                  <a:gd name="connsiteX22" fmla="*/ 2858 w 168592"/>
                  <a:gd name="connsiteY22" fmla="*/ 70485 h 137160"/>
                  <a:gd name="connsiteX23" fmla="*/ 17145 w 168592"/>
                  <a:gd name="connsiteY23" fmla="*/ 80963 h 137160"/>
                  <a:gd name="connsiteX24" fmla="*/ 45720 w 168592"/>
                  <a:gd name="connsiteY24" fmla="*/ 84773 h 137160"/>
                  <a:gd name="connsiteX25" fmla="*/ 60008 w 168592"/>
                  <a:gd name="connsiteY25" fmla="*/ 98107 h 137160"/>
                  <a:gd name="connsiteX26" fmla="*/ 87630 w 168592"/>
                  <a:gd name="connsiteY26" fmla="*/ 116110 h 137160"/>
                  <a:gd name="connsiteX27" fmla="*/ 108585 w 168592"/>
                  <a:gd name="connsiteY27" fmla="*/ 137160 h 137160"/>
                  <a:gd name="connsiteX28" fmla="*/ 119063 w 168592"/>
                  <a:gd name="connsiteY28" fmla="*/ 119920 h 137160"/>
                  <a:gd name="connsiteX29" fmla="*/ 122873 w 168592"/>
                  <a:gd name="connsiteY29" fmla="*/ 112395 h 137160"/>
                  <a:gd name="connsiteX30" fmla="*/ 137160 w 168592"/>
                  <a:gd name="connsiteY30" fmla="*/ 119920 h 137160"/>
                  <a:gd name="connsiteX31" fmla="*/ 147638 w 168592"/>
                  <a:gd name="connsiteY31" fmla="*/ 116110 h 137160"/>
                  <a:gd name="connsiteX32" fmla="*/ 161925 w 168592"/>
                  <a:gd name="connsiteY32" fmla="*/ 95250 h 137160"/>
                  <a:gd name="connsiteX33" fmla="*/ 168592 w 168592"/>
                  <a:gd name="connsiteY33" fmla="*/ 66675 h 137160"/>
                  <a:gd name="connsiteX34" fmla="*/ 165735 w 168592"/>
                  <a:gd name="connsiteY34" fmla="*/ 49435 h 137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68592" h="137160">
                    <a:moveTo>
                      <a:pt x="165735" y="49435"/>
                    </a:moveTo>
                    <a:lnTo>
                      <a:pt x="151448" y="60007"/>
                    </a:lnTo>
                    <a:lnTo>
                      <a:pt x="140970" y="45720"/>
                    </a:lnTo>
                    <a:lnTo>
                      <a:pt x="130492" y="45720"/>
                    </a:lnTo>
                    <a:lnTo>
                      <a:pt x="112395" y="45720"/>
                    </a:lnTo>
                    <a:lnTo>
                      <a:pt x="119063" y="35147"/>
                    </a:lnTo>
                    <a:lnTo>
                      <a:pt x="137160" y="24670"/>
                    </a:lnTo>
                    <a:lnTo>
                      <a:pt x="151448" y="10382"/>
                    </a:lnTo>
                    <a:lnTo>
                      <a:pt x="161925" y="2857"/>
                    </a:lnTo>
                    <a:lnTo>
                      <a:pt x="116205" y="0"/>
                    </a:lnTo>
                    <a:lnTo>
                      <a:pt x="101917" y="6572"/>
                    </a:lnTo>
                    <a:lnTo>
                      <a:pt x="87630" y="6572"/>
                    </a:lnTo>
                    <a:lnTo>
                      <a:pt x="80963" y="0"/>
                    </a:lnTo>
                    <a:lnTo>
                      <a:pt x="56198" y="2857"/>
                    </a:lnTo>
                    <a:lnTo>
                      <a:pt x="35242" y="20860"/>
                    </a:lnTo>
                    <a:lnTo>
                      <a:pt x="60008" y="31432"/>
                    </a:lnTo>
                    <a:lnTo>
                      <a:pt x="66675" y="41910"/>
                    </a:lnTo>
                    <a:lnTo>
                      <a:pt x="49530" y="52388"/>
                    </a:lnTo>
                    <a:lnTo>
                      <a:pt x="31433" y="56198"/>
                    </a:lnTo>
                    <a:lnTo>
                      <a:pt x="20955" y="41910"/>
                    </a:lnTo>
                    <a:lnTo>
                      <a:pt x="6667" y="38100"/>
                    </a:lnTo>
                    <a:lnTo>
                      <a:pt x="0" y="56198"/>
                    </a:lnTo>
                    <a:lnTo>
                      <a:pt x="2858" y="70485"/>
                    </a:lnTo>
                    <a:lnTo>
                      <a:pt x="17145" y="80963"/>
                    </a:lnTo>
                    <a:lnTo>
                      <a:pt x="45720" y="84773"/>
                    </a:lnTo>
                    <a:lnTo>
                      <a:pt x="60008" y="98107"/>
                    </a:lnTo>
                    <a:lnTo>
                      <a:pt x="87630" y="116110"/>
                    </a:lnTo>
                    <a:lnTo>
                      <a:pt x="108585" y="137160"/>
                    </a:lnTo>
                    <a:lnTo>
                      <a:pt x="119063" y="119920"/>
                    </a:lnTo>
                    <a:lnTo>
                      <a:pt x="122873" y="112395"/>
                    </a:lnTo>
                    <a:lnTo>
                      <a:pt x="137160" y="119920"/>
                    </a:lnTo>
                    <a:lnTo>
                      <a:pt x="147638" y="116110"/>
                    </a:lnTo>
                    <a:lnTo>
                      <a:pt x="161925" y="95250"/>
                    </a:lnTo>
                    <a:lnTo>
                      <a:pt x="168592" y="66675"/>
                    </a:lnTo>
                    <a:lnTo>
                      <a:pt x="165735" y="4943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4" name="Freeform: Shape 443">
                <a:extLst>
                  <a:ext uri="{FF2B5EF4-FFF2-40B4-BE49-F238E27FC236}">
                    <a16:creationId xmlns:a16="http://schemas.microsoft.com/office/drawing/2014/main" id="{A0086B6B-AAF8-01CE-5F46-47BDE00D4771}"/>
                  </a:ext>
                </a:extLst>
              </p:cNvPr>
              <p:cNvSpPr/>
              <p:nvPr/>
            </p:nvSpPr>
            <p:spPr>
              <a:xfrm>
                <a:off x="3355147" y="1917150"/>
                <a:ext cx="79366" cy="58825"/>
              </a:xfrm>
              <a:custGeom>
                <a:avLst/>
                <a:gdLst>
                  <a:gd name="connsiteX0" fmla="*/ 80963 w 80962"/>
                  <a:gd name="connsiteY0" fmla="*/ 60007 h 60007"/>
                  <a:gd name="connsiteX1" fmla="*/ 80963 w 80962"/>
                  <a:gd name="connsiteY1" fmla="*/ 38957 h 60007"/>
                  <a:gd name="connsiteX2" fmla="*/ 78105 w 80962"/>
                  <a:gd name="connsiteY2" fmla="*/ 24670 h 60007"/>
                  <a:gd name="connsiteX3" fmla="*/ 60008 w 80962"/>
                  <a:gd name="connsiteY3" fmla="*/ 10382 h 60007"/>
                  <a:gd name="connsiteX4" fmla="*/ 45720 w 80962"/>
                  <a:gd name="connsiteY4" fmla="*/ 0 h 60007"/>
                  <a:gd name="connsiteX5" fmla="*/ 31433 w 80962"/>
                  <a:gd name="connsiteY5" fmla="*/ 10382 h 60007"/>
                  <a:gd name="connsiteX6" fmla="*/ 14288 w 80962"/>
                  <a:gd name="connsiteY6" fmla="*/ 20860 h 60007"/>
                  <a:gd name="connsiteX7" fmla="*/ 0 w 80962"/>
                  <a:gd name="connsiteY7" fmla="*/ 38957 h 60007"/>
                  <a:gd name="connsiteX8" fmla="*/ 20955 w 80962"/>
                  <a:gd name="connsiteY8" fmla="*/ 52388 h 60007"/>
                  <a:gd name="connsiteX9" fmla="*/ 49530 w 80962"/>
                  <a:gd name="connsiteY9" fmla="*/ 56197 h 60007"/>
                  <a:gd name="connsiteX10" fmla="*/ 80963 w 80962"/>
                  <a:gd name="connsiteY10" fmla="*/ 60007 h 60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0962" h="60007">
                    <a:moveTo>
                      <a:pt x="80963" y="60007"/>
                    </a:moveTo>
                    <a:lnTo>
                      <a:pt x="80963" y="38957"/>
                    </a:lnTo>
                    <a:lnTo>
                      <a:pt x="78105" y="24670"/>
                    </a:lnTo>
                    <a:lnTo>
                      <a:pt x="60008" y="10382"/>
                    </a:lnTo>
                    <a:lnTo>
                      <a:pt x="45720" y="0"/>
                    </a:lnTo>
                    <a:lnTo>
                      <a:pt x="31433" y="10382"/>
                    </a:lnTo>
                    <a:lnTo>
                      <a:pt x="14288" y="20860"/>
                    </a:lnTo>
                    <a:lnTo>
                      <a:pt x="0" y="38957"/>
                    </a:lnTo>
                    <a:lnTo>
                      <a:pt x="20955" y="52388"/>
                    </a:lnTo>
                    <a:lnTo>
                      <a:pt x="49530" y="56197"/>
                    </a:lnTo>
                    <a:lnTo>
                      <a:pt x="80963" y="6000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5" name="Freeform: Shape 444">
                <a:extLst>
                  <a:ext uri="{FF2B5EF4-FFF2-40B4-BE49-F238E27FC236}">
                    <a16:creationId xmlns:a16="http://schemas.microsoft.com/office/drawing/2014/main" id="{03AD44AB-83EA-A356-2882-7A66461D51E3}"/>
                  </a:ext>
                </a:extLst>
              </p:cNvPr>
              <p:cNvSpPr/>
              <p:nvPr/>
            </p:nvSpPr>
            <p:spPr>
              <a:xfrm>
                <a:off x="3314063" y="1740581"/>
                <a:ext cx="55089" cy="17834"/>
              </a:xfrm>
              <a:custGeom>
                <a:avLst/>
                <a:gdLst>
                  <a:gd name="connsiteX0" fmla="*/ 56197 w 56197"/>
                  <a:gd name="connsiteY0" fmla="*/ 18193 h 18192"/>
                  <a:gd name="connsiteX1" fmla="*/ 31433 w 56197"/>
                  <a:gd name="connsiteY1" fmla="*/ 7715 h 18192"/>
                  <a:gd name="connsiteX2" fmla="*/ 0 w 56197"/>
                  <a:gd name="connsiteY2" fmla="*/ 0 h 18192"/>
                  <a:gd name="connsiteX3" fmla="*/ 31433 w 56197"/>
                  <a:gd name="connsiteY3" fmla="*/ 7715 h 18192"/>
                  <a:gd name="connsiteX4" fmla="*/ 56197 w 56197"/>
                  <a:gd name="connsiteY4" fmla="*/ 18193 h 18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197" h="18192">
                    <a:moveTo>
                      <a:pt x="56197" y="18193"/>
                    </a:moveTo>
                    <a:lnTo>
                      <a:pt x="31433" y="7715"/>
                    </a:lnTo>
                    <a:lnTo>
                      <a:pt x="0" y="0"/>
                    </a:lnTo>
                    <a:lnTo>
                      <a:pt x="31433" y="7715"/>
                    </a:lnTo>
                    <a:lnTo>
                      <a:pt x="56197" y="1819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6" name="Freeform: Shape 445">
                <a:extLst>
                  <a:ext uri="{FF2B5EF4-FFF2-40B4-BE49-F238E27FC236}">
                    <a16:creationId xmlns:a16="http://schemas.microsoft.com/office/drawing/2014/main" id="{8432183D-B325-F343-21D8-E3A3DC106F48}"/>
                  </a:ext>
                </a:extLst>
              </p:cNvPr>
              <p:cNvSpPr/>
              <p:nvPr/>
            </p:nvSpPr>
            <p:spPr>
              <a:xfrm>
                <a:off x="3334605" y="1778865"/>
                <a:ext cx="55089" cy="16900"/>
              </a:xfrm>
              <a:custGeom>
                <a:avLst/>
                <a:gdLst>
                  <a:gd name="connsiteX0" fmla="*/ 6667 w 56197"/>
                  <a:gd name="connsiteY0" fmla="*/ 17240 h 17240"/>
                  <a:gd name="connsiteX1" fmla="*/ 0 w 56197"/>
                  <a:gd name="connsiteY1" fmla="*/ 0 h 17240"/>
                  <a:gd name="connsiteX2" fmla="*/ 6667 w 56197"/>
                  <a:gd name="connsiteY2" fmla="*/ 17240 h 17240"/>
                  <a:gd name="connsiteX3" fmla="*/ 35242 w 56197"/>
                  <a:gd name="connsiteY3" fmla="*/ 17240 h 17240"/>
                  <a:gd name="connsiteX4" fmla="*/ 56198 w 56197"/>
                  <a:gd name="connsiteY4" fmla="*/ 14288 h 17240"/>
                  <a:gd name="connsiteX5" fmla="*/ 35242 w 56197"/>
                  <a:gd name="connsiteY5" fmla="*/ 17240 h 17240"/>
                  <a:gd name="connsiteX6" fmla="*/ 6667 w 56197"/>
                  <a:gd name="connsiteY6" fmla="*/ 17240 h 17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197" h="17240">
                    <a:moveTo>
                      <a:pt x="6667" y="17240"/>
                    </a:moveTo>
                    <a:lnTo>
                      <a:pt x="0" y="0"/>
                    </a:lnTo>
                    <a:lnTo>
                      <a:pt x="6667" y="17240"/>
                    </a:lnTo>
                    <a:lnTo>
                      <a:pt x="35242" y="17240"/>
                    </a:lnTo>
                    <a:lnTo>
                      <a:pt x="56198" y="14288"/>
                    </a:lnTo>
                    <a:lnTo>
                      <a:pt x="35242" y="17240"/>
                    </a:lnTo>
                    <a:lnTo>
                      <a:pt x="6667" y="1724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7" name="Freeform: Shape 446">
                <a:extLst>
                  <a:ext uri="{FF2B5EF4-FFF2-40B4-BE49-F238E27FC236}">
                    <a16:creationId xmlns:a16="http://schemas.microsoft.com/office/drawing/2014/main" id="{8B0D0EC7-7997-6045-76F1-FE058A190C00}"/>
                  </a:ext>
                </a:extLst>
              </p:cNvPr>
              <p:cNvSpPr/>
              <p:nvPr/>
            </p:nvSpPr>
            <p:spPr>
              <a:xfrm>
                <a:off x="3306593" y="1740581"/>
                <a:ext cx="7470" cy="7563"/>
              </a:xfrm>
              <a:custGeom>
                <a:avLst/>
                <a:gdLst>
                  <a:gd name="connsiteX0" fmla="*/ 0 w 7620"/>
                  <a:gd name="connsiteY0" fmla="*/ 7715 h 7715"/>
                  <a:gd name="connsiteX1" fmla="*/ 0 w 7620"/>
                  <a:gd name="connsiteY1" fmla="*/ 7715 h 7715"/>
                  <a:gd name="connsiteX2" fmla="*/ 7620 w 7620"/>
                  <a:gd name="connsiteY2" fmla="*/ 0 h 7715"/>
                  <a:gd name="connsiteX3" fmla="*/ 0 w 7620"/>
                  <a:gd name="connsiteY3" fmla="*/ 7715 h 7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" h="7715">
                    <a:moveTo>
                      <a:pt x="0" y="7715"/>
                    </a:moveTo>
                    <a:lnTo>
                      <a:pt x="0" y="7715"/>
                    </a:lnTo>
                    <a:lnTo>
                      <a:pt x="7620" y="0"/>
                    </a:lnTo>
                    <a:lnTo>
                      <a:pt x="0" y="7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8" name="Freeform: Shape 447">
                <a:extLst>
                  <a:ext uri="{FF2B5EF4-FFF2-40B4-BE49-F238E27FC236}">
                    <a16:creationId xmlns:a16="http://schemas.microsoft.com/office/drawing/2014/main" id="{4ACA3EF7-577B-0EF2-AAE3-07EC329DAD78}"/>
                  </a:ext>
                </a:extLst>
              </p:cNvPr>
              <p:cNvSpPr/>
              <p:nvPr/>
            </p:nvSpPr>
            <p:spPr>
              <a:xfrm>
                <a:off x="3348610" y="1581847"/>
                <a:ext cx="313731" cy="200752"/>
              </a:xfrm>
              <a:custGeom>
                <a:avLst/>
                <a:gdLst>
                  <a:gd name="connsiteX0" fmla="*/ 41910 w 320040"/>
                  <a:gd name="connsiteY0" fmla="*/ 130493 h 204787"/>
                  <a:gd name="connsiteX1" fmla="*/ 60008 w 320040"/>
                  <a:gd name="connsiteY1" fmla="*/ 126778 h 204787"/>
                  <a:gd name="connsiteX2" fmla="*/ 87630 w 320040"/>
                  <a:gd name="connsiteY2" fmla="*/ 130493 h 204787"/>
                  <a:gd name="connsiteX3" fmla="*/ 108585 w 320040"/>
                  <a:gd name="connsiteY3" fmla="*/ 126778 h 204787"/>
                  <a:gd name="connsiteX4" fmla="*/ 137160 w 320040"/>
                  <a:gd name="connsiteY4" fmla="*/ 126778 h 204787"/>
                  <a:gd name="connsiteX5" fmla="*/ 158115 w 320040"/>
                  <a:gd name="connsiteY5" fmla="*/ 130493 h 204787"/>
                  <a:gd name="connsiteX6" fmla="*/ 168592 w 320040"/>
                  <a:gd name="connsiteY6" fmla="*/ 141065 h 204787"/>
                  <a:gd name="connsiteX7" fmla="*/ 147638 w 320040"/>
                  <a:gd name="connsiteY7" fmla="*/ 144780 h 204787"/>
                  <a:gd name="connsiteX8" fmla="*/ 122873 w 320040"/>
                  <a:gd name="connsiteY8" fmla="*/ 144780 h 204787"/>
                  <a:gd name="connsiteX9" fmla="*/ 91440 w 320040"/>
                  <a:gd name="connsiteY9" fmla="*/ 144780 h 204787"/>
                  <a:gd name="connsiteX10" fmla="*/ 70485 w 320040"/>
                  <a:gd name="connsiteY10" fmla="*/ 151543 h 204787"/>
                  <a:gd name="connsiteX11" fmla="*/ 98108 w 320040"/>
                  <a:gd name="connsiteY11" fmla="*/ 172498 h 204787"/>
                  <a:gd name="connsiteX12" fmla="*/ 108585 w 320040"/>
                  <a:gd name="connsiteY12" fmla="*/ 169640 h 204787"/>
                  <a:gd name="connsiteX13" fmla="*/ 133350 w 320040"/>
                  <a:gd name="connsiteY13" fmla="*/ 172498 h 204787"/>
                  <a:gd name="connsiteX14" fmla="*/ 137160 w 320040"/>
                  <a:gd name="connsiteY14" fmla="*/ 180118 h 204787"/>
                  <a:gd name="connsiteX15" fmla="*/ 112395 w 320040"/>
                  <a:gd name="connsiteY15" fmla="*/ 176212 h 204787"/>
                  <a:gd name="connsiteX16" fmla="*/ 116205 w 320040"/>
                  <a:gd name="connsiteY16" fmla="*/ 193453 h 204787"/>
                  <a:gd name="connsiteX17" fmla="*/ 147638 w 320040"/>
                  <a:gd name="connsiteY17" fmla="*/ 204787 h 204787"/>
                  <a:gd name="connsiteX18" fmla="*/ 168592 w 320040"/>
                  <a:gd name="connsiteY18" fmla="*/ 197263 h 204787"/>
                  <a:gd name="connsiteX19" fmla="*/ 182880 w 320040"/>
                  <a:gd name="connsiteY19" fmla="*/ 193453 h 204787"/>
                  <a:gd name="connsiteX20" fmla="*/ 179070 w 320040"/>
                  <a:gd name="connsiteY20" fmla="*/ 182975 h 204787"/>
                  <a:gd name="connsiteX21" fmla="*/ 189548 w 320040"/>
                  <a:gd name="connsiteY21" fmla="*/ 176212 h 204787"/>
                  <a:gd name="connsiteX22" fmla="*/ 203835 w 320040"/>
                  <a:gd name="connsiteY22" fmla="*/ 193453 h 204787"/>
                  <a:gd name="connsiteX23" fmla="*/ 218123 w 320040"/>
                  <a:gd name="connsiteY23" fmla="*/ 204787 h 204787"/>
                  <a:gd name="connsiteX24" fmla="*/ 221933 w 320040"/>
                  <a:gd name="connsiteY24" fmla="*/ 182975 h 204787"/>
                  <a:gd name="connsiteX25" fmla="*/ 224790 w 320040"/>
                  <a:gd name="connsiteY25" fmla="*/ 186690 h 204787"/>
                  <a:gd name="connsiteX26" fmla="*/ 236220 w 320040"/>
                  <a:gd name="connsiteY26" fmla="*/ 193453 h 204787"/>
                  <a:gd name="connsiteX27" fmla="*/ 239078 w 320040"/>
                  <a:gd name="connsiteY27" fmla="*/ 190500 h 204787"/>
                  <a:gd name="connsiteX28" fmla="*/ 239078 w 320040"/>
                  <a:gd name="connsiteY28" fmla="*/ 186690 h 204787"/>
                  <a:gd name="connsiteX29" fmla="*/ 239078 w 320040"/>
                  <a:gd name="connsiteY29" fmla="*/ 180118 h 204787"/>
                  <a:gd name="connsiteX30" fmla="*/ 236220 w 320040"/>
                  <a:gd name="connsiteY30" fmla="*/ 169640 h 204787"/>
                  <a:gd name="connsiteX31" fmla="*/ 236220 w 320040"/>
                  <a:gd name="connsiteY31" fmla="*/ 161925 h 204787"/>
                  <a:gd name="connsiteX32" fmla="*/ 242888 w 320040"/>
                  <a:gd name="connsiteY32" fmla="*/ 144780 h 204787"/>
                  <a:gd name="connsiteX33" fmla="*/ 253365 w 320040"/>
                  <a:gd name="connsiteY33" fmla="*/ 144780 h 204787"/>
                  <a:gd name="connsiteX34" fmla="*/ 246698 w 320040"/>
                  <a:gd name="connsiteY34" fmla="*/ 161925 h 204787"/>
                  <a:gd name="connsiteX35" fmla="*/ 246698 w 320040"/>
                  <a:gd name="connsiteY35" fmla="*/ 172498 h 204787"/>
                  <a:gd name="connsiteX36" fmla="*/ 274320 w 320040"/>
                  <a:gd name="connsiteY36" fmla="*/ 147638 h 204787"/>
                  <a:gd name="connsiteX37" fmla="*/ 284798 w 320040"/>
                  <a:gd name="connsiteY37" fmla="*/ 144780 h 204787"/>
                  <a:gd name="connsiteX38" fmla="*/ 302895 w 320040"/>
                  <a:gd name="connsiteY38" fmla="*/ 147638 h 204787"/>
                  <a:gd name="connsiteX39" fmla="*/ 313373 w 320040"/>
                  <a:gd name="connsiteY39" fmla="*/ 141065 h 204787"/>
                  <a:gd name="connsiteX40" fmla="*/ 320040 w 320040"/>
                  <a:gd name="connsiteY40" fmla="*/ 130493 h 204787"/>
                  <a:gd name="connsiteX41" fmla="*/ 309563 w 320040"/>
                  <a:gd name="connsiteY41" fmla="*/ 120110 h 204787"/>
                  <a:gd name="connsiteX42" fmla="*/ 302895 w 320040"/>
                  <a:gd name="connsiteY42" fmla="*/ 120110 h 204787"/>
                  <a:gd name="connsiteX43" fmla="*/ 288608 w 320040"/>
                  <a:gd name="connsiteY43" fmla="*/ 116205 h 204787"/>
                  <a:gd name="connsiteX44" fmla="*/ 263842 w 320040"/>
                  <a:gd name="connsiteY44" fmla="*/ 120110 h 204787"/>
                  <a:gd name="connsiteX45" fmla="*/ 267653 w 320040"/>
                  <a:gd name="connsiteY45" fmla="*/ 101918 h 204787"/>
                  <a:gd name="connsiteX46" fmla="*/ 263842 w 320040"/>
                  <a:gd name="connsiteY46" fmla="*/ 91535 h 204787"/>
                  <a:gd name="connsiteX47" fmla="*/ 249555 w 320040"/>
                  <a:gd name="connsiteY47" fmla="*/ 80963 h 204787"/>
                  <a:gd name="connsiteX48" fmla="*/ 253365 w 320040"/>
                  <a:gd name="connsiteY48" fmla="*/ 62960 h 204787"/>
                  <a:gd name="connsiteX49" fmla="*/ 242888 w 320040"/>
                  <a:gd name="connsiteY49" fmla="*/ 60103 h 204787"/>
                  <a:gd name="connsiteX50" fmla="*/ 228600 w 320040"/>
                  <a:gd name="connsiteY50" fmla="*/ 66675 h 204787"/>
                  <a:gd name="connsiteX51" fmla="*/ 221933 w 320040"/>
                  <a:gd name="connsiteY51" fmla="*/ 84868 h 204787"/>
                  <a:gd name="connsiteX52" fmla="*/ 207645 w 320040"/>
                  <a:gd name="connsiteY52" fmla="*/ 74390 h 204787"/>
                  <a:gd name="connsiteX53" fmla="*/ 207645 w 320040"/>
                  <a:gd name="connsiteY53" fmla="*/ 60103 h 204787"/>
                  <a:gd name="connsiteX54" fmla="*/ 172403 w 320040"/>
                  <a:gd name="connsiteY54" fmla="*/ 52388 h 204787"/>
                  <a:gd name="connsiteX55" fmla="*/ 122873 w 320040"/>
                  <a:gd name="connsiteY55" fmla="*/ 3905 h 204787"/>
                  <a:gd name="connsiteX56" fmla="*/ 80963 w 320040"/>
                  <a:gd name="connsiteY56" fmla="*/ 0 h 204787"/>
                  <a:gd name="connsiteX57" fmla="*/ 73342 w 320040"/>
                  <a:gd name="connsiteY57" fmla="*/ 6668 h 204787"/>
                  <a:gd name="connsiteX58" fmla="*/ 98108 w 320040"/>
                  <a:gd name="connsiteY58" fmla="*/ 10573 h 204787"/>
                  <a:gd name="connsiteX59" fmla="*/ 101917 w 320040"/>
                  <a:gd name="connsiteY59" fmla="*/ 17240 h 204787"/>
                  <a:gd name="connsiteX60" fmla="*/ 73342 w 320040"/>
                  <a:gd name="connsiteY60" fmla="*/ 20955 h 204787"/>
                  <a:gd name="connsiteX61" fmla="*/ 60008 w 320040"/>
                  <a:gd name="connsiteY61" fmla="*/ 17240 h 204787"/>
                  <a:gd name="connsiteX62" fmla="*/ 45720 w 320040"/>
                  <a:gd name="connsiteY62" fmla="*/ 17240 h 204787"/>
                  <a:gd name="connsiteX63" fmla="*/ 41910 w 320040"/>
                  <a:gd name="connsiteY63" fmla="*/ 31528 h 204787"/>
                  <a:gd name="connsiteX64" fmla="*/ 60008 w 320040"/>
                  <a:gd name="connsiteY64" fmla="*/ 39148 h 204787"/>
                  <a:gd name="connsiteX65" fmla="*/ 73342 w 320040"/>
                  <a:gd name="connsiteY65" fmla="*/ 45815 h 204787"/>
                  <a:gd name="connsiteX66" fmla="*/ 62865 w 320040"/>
                  <a:gd name="connsiteY66" fmla="*/ 52388 h 204787"/>
                  <a:gd name="connsiteX67" fmla="*/ 41910 w 320040"/>
                  <a:gd name="connsiteY67" fmla="*/ 49530 h 204787"/>
                  <a:gd name="connsiteX68" fmla="*/ 24765 w 320040"/>
                  <a:gd name="connsiteY68" fmla="*/ 49530 h 204787"/>
                  <a:gd name="connsiteX69" fmla="*/ 27623 w 320040"/>
                  <a:gd name="connsiteY69" fmla="*/ 66675 h 204787"/>
                  <a:gd name="connsiteX70" fmla="*/ 41910 w 320040"/>
                  <a:gd name="connsiteY70" fmla="*/ 70580 h 204787"/>
                  <a:gd name="connsiteX71" fmla="*/ 62865 w 320040"/>
                  <a:gd name="connsiteY71" fmla="*/ 74390 h 204787"/>
                  <a:gd name="connsiteX72" fmla="*/ 52388 w 320040"/>
                  <a:gd name="connsiteY72" fmla="*/ 87630 h 204787"/>
                  <a:gd name="connsiteX73" fmla="*/ 24765 w 320040"/>
                  <a:gd name="connsiteY73" fmla="*/ 84868 h 204787"/>
                  <a:gd name="connsiteX74" fmla="*/ 14288 w 320040"/>
                  <a:gd name="connsiteY74" fmla="*/ 77248 h 204787"/>
                  <a:gd name="connsiteX75" fmla="*/ 0 w 320040"/>
                  <a:gd name="connsiteY75" fmla="*/ 77248 h 204787"/>
                  <a:gd name="connsiteX76" fmla="*/ 10478 w 320040"/>
                  <a:gd name="connsiteY76" fmla="*/ 95250 h 204787"/>
                  <a:gd name="connsiteX77" fmla="*/ 41910 w 320040"/>
                  <a:gd name="connsiteY77" fmla="*/ 130493 h 2047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320040" h="204787">
                    <a:moveTo>
                      <a:pt x="41910" y="130493"/>
                    </a:moveTo>
                    <a:lnTo>
                      <a:pt x="60008" y="126778"/>
                    </a:lnTo>
                    <a:lnTo>
                      <a:pt x="87630" y="130493"/>
                    </a:lnTo>
                    <a:lnTo>
                      <a:pt x="108585" y="126778"/>
                    </a:lnTo>
                    <a:lnTo>
                      <a:pt x="137160" y="126778"/>
                    </a:lnTo>
                    <a:lnTo>
                      <a:pt x="158115" y="130493"/>
                    </a:lnTo>
                    <a:lnTo>
                      <a:pt x="168592" y="141065"/>
                    </a:lnTo>
                    <a:lnTo>
                      <a:pt x="147638" y="144780"/>
                    </a:lnTo>
                    <a:lnTo>
                      <a:pt x="122873" y="144780"/>
                    </a:lnTo>
                    <a:lnTo>
                      <a:pt x="91440" y="144780"/>
                    </a:lnTo>
                    <a:lnTo>
                      <a:pt x="70485" y="151543"/>
                    </a:lnTo>
                    <a:lnTo>
                      <a:pt x="98108" y="172498"/>
                    </a:lnTo>
                    <a:lnTo>
                      <a:pt x="108585" y="169640"/>
                    </a:lnTo>
                    <a:lnTo>
                      <a:pt x="133350" y="172498"/>
                    </a:lnTo>
                    <a:lnTo>
                      <a:pt x="137160" y="180118"/>
                    </a:lnTo>
                    <a:lnTo>
                      <a:pt x="112395" y="176212"/>
                    </a:lnTo>
                    <a:lnTo>
                      <a:pt x="116205" y="193453"/>
                    </a:lnTo>
                    <a:lnTo>
                      <a:pt x="147638" y="204787"/>
                    </a:lnTo>
                    <a:lnTo>
                      <a:pt x="168592" y="197263"/>
                    </a:lnTo>
                    <a:lnTo>
                      <a:pt x="182880" y="193453"/>
                    </a:lnTo>
                    <a:lnTo>
                      <a:pt x="179070" y="182975"/>
                    </a:lnTo>
                    <a:lnTo>
                      <a:pt x="189548" y="176212"/>
                    </a:lnTo>
                    <a:lnTo>
                      <a:pt x="203835" y="193453"/>
                    </a:lnTo>
                    <a:lnTo>
                      <a:pt x="218123" y="204787"/>
                    </a:lnTo>
                    <a:lnTo>
                      <a:pt x="221933" y="182975"/>
                    </a:lnTo>
                    <a:lnTo>
                      <a:pt x="224790" y="186690"/>
                    </a:lnTo>
                    <a:lnTo>
                      <a:pt x="236220" y="193453"/>
                    </a:lnTo>
                    <a:lnTo>
                      <a:pt x="239078" y="190500"/>
                    </a:lnTo>
                    <a:lnTo>
                      <a:pt x="239078" y="186690"/>
                    </a:lnTo>
                    <a:lnTo>
                      <a:pt x="239078" y="180118"/>
                    </a:lnTo>
                    <a:lnTo>
                      <a:pt x="236220" y="169640"/>
                    </a:lnTo>
                    <a:lnTo>
                      <a:pt x="236220" y="161925"/>
                    </a:lnTo>
                    <a:lnTo>
                      <a:pt x="242888" y="144780"/>
                    </a:lnTo>
                    <a:lnTo>
                      <a:pt x="253365" y="144780"/>
                    </a:lnTo>
                    <a:lnTo>
                      <a:pt x="246698" y="161925"/>
                    </a:lnTo>
                    <a:lnTo>
                      <a:pt x="246698" y="172498"/>
                    </a:lnTo>
                    <a:lnTo>
                      <a:pt x="274320" y="147638"/>
                    </a:lnTo>
                    <a:lnTo>
                      <a:pt x="284798" y="144780"/>
                    </a:lnTo>
                    <a:lnTo>
                      <a:pt x="302895" y="147638"/>
                    </a:lnTo>
                    <a:lnTo>
                      <a:pt x="313373" y="141065"/>
                    </a:lnTo>
                    <a:lnTo>
                      <a:pt x="320040" y="130493"/>
                    </a:lnTo>
                    <a:lnTo>
                      <a:pt x="309563" y="120110"/>
                    </a:lnTo>
                    <a:lnTo>
                      <a:pt x="302895" y="120110"/>
                    </a:lnTo>
                    <a:lnTo>
                      <a:pt x="288608" y="116205"/>
                    </a:lnTo>
                    <a:lnTo>
                      <a:pt x="263842" y="120110"/>
                    </a:lnTo>
                    <a:lnTo>
                      <a:pt x="267653" y="101918"/>
                    </a:lnTo>
                    <a:lnTo>
                      <a:pt x="263842" y="91535"/>
                    </a:lnTo>
                    <a:lnTo>
                      <a:pt x="249555" y="80963"/>
                    </a:lnTo>
                    <a:lnTo>
                      <a:pt x="253365" y="62960"/>
                    </a:lnTo>
                    <a:lnTo>
                      <a:pt x="242888" y="60103"/>
                    </a:lnTo>
                    <a:lnTo>
                      <a:pt x="228600" y="66675"/>
                    </a:lnTo>
                    <a:lnTo>
                      <a:pt x="221933" y="84868"/>
                    </a:lnTo>
                    <a:lnTo>
                      <a:pt x="207645" y="74390"/>
                    </a:lnTo>
                    <a:lnTo>
                      <a:pt x="207645" y="60103"/>
                    </a:lnTo>
                    <a:lnTo>
                      <a:pt x="172403" y="52388"/>
                    </a:lnTo>
                    <a:lnTo>
                      <a:pt x="122873" y="3905"/>
                    </a:lnTo>
                    <a:lnTo>
                      <a:pt x="80963" y="0"/>
                    </a:lnTo>
                    <a:lnTo>
                      <a:pt x="73342" y="6668"/>
                    </a:lnTo>
                    <a:lnTo>
                      <a:pt x="98108" y="10573"/>
                    </a:lnTo>
                    <a:lnTo>
                      <a:pt x="101917" y="17240"/>
                    </a:lnTo>
                    <a:lnTo>
                      <a:pt x="73342" y="20955"/>
                    </a:lnTo>
                    <a:lnTo>
                      <a:pt x="60008" y="17240"/>
                    </a:lnTo>
                    <a:lnTo>
                      <a:pt x="45720" y="17240"/>
                    </a:lnTo>
                    <a:lnTo>
                      <a:pt x="41910" y="31528"/>
                    </a:lnTo>
                    <a:lnTo>
                      <a:pt x="60008" y="39148"/>
                    </a:lnTo>
                    <a:lnTo>
                      <a:pt x="73342" y="45815"/>
                    </a:lnTo>
                    <a:lnTo>
                      <a:pt x="62865" y="52388"/>
                    </a:lnTo>
                    <a:lnTo>
                      <a:pt x="41910" y="49530"/>
                    </a:lnTo>
                    <a:lnTo>
                      <a:pt x="24765" y="49530"/>
                    </a:lnTo>
                    <a:lnTo>
                      <a:pt x="27623" y="66675"/>
                    </a:lnTo>
                    <a:lnTo>
                      <a:pt x="41910" y="70580"/>
                    </a:lnTo>
                    <a:lnTo>
                      <a:pt x="62865" y="74390"/>
                    </a:lnTo>
                    <a:lnTo>
                      <a:pt x="52388" y="87630"/>
                    </a:lnTo>
                    <a:lnTo>
                      <a:pt x="24765" y="84868"/>
                    </a:lnTo>
                    <a:lnTo>
                      <a:pt x="14288" y="77248"/>
                    </a:lnTo>
                    <a:lnTo>
                      <a:pt x="0" y="77248"/>
                    </a:lnTo>
                    <a:lnTo>
                      <a:pt x="10478" y="95250"/>
                    </a:lnTo>
                    <a:lnTo>
                      <a:pt x="41910" y="13049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49" name="Freeform: Shape 448">
                <a:extLst>
                  <a:ext uri="{FF2B5EF4-FFF2-40B4-BE49-F238E27FC236}">
                    <a16:creationId xmlns:a16="http://schemas.microsoft.com/office/drawing/2014/main" id="{3BD7DEC2-4610-73B3-FC3E-23AC5D52D198}"/>
                  </a:ext>
                </a:extLst>
              </p:cNvPr>
              <p:cNvSpPr/>
              <p:nvPr/>
            </p:nvSpPr>
            <p:spPr>
              <a:xfrm>
                <a:off x="3248702" y="1657573"/>
                <a:ext cx="44819" cy="28012"/>
              </a:xfrm>
              <a:custGeom>
                <a:avLst/>
                <a:gdLst>
                  <a:gd name="connsiteX0" fmla="*/ 23813 w 45720"/>
                  <a:gd name="connsiteY0" fmla="*/ 21907 h 28575"/>
                  <a:gd name="connsiteX1" fmla="*/ 31433 w 45720"/>
                  <a:gd name="connsiteY1" fmla="*/ 28575 h 28575"/>
                  <a:gd name="connsiteX2" fmla="*/ 45720 w 45720"/>
                  <a:gd name="connsiteY2" fmla="*/ 28575 h 28575"/>
                  <a:gd name="connsiteX3" fmla="*/ 45720 w 45720"/>
                  <a:gd name="connsiteY3" fmla="*/ 10382 h 28575"/>
                  <a:gd name="connsiteX4" fmla="*/ 31433 w 45720"/>
                  <a:gd name="connsiteY4" fmla="*/ 0 h 28575"/>
                  <a:gd name="connsiteX5" fmla="*/ 13335 w 45720"/>
                  <a:gd name="connsiteY5" fmla="*/ 0 h 28575"/>
                  <a:gd name="connsiteX6" fmla="*/ 0 w 45720"/>
                  <a:gd name="connsiteY6" fmla="*/ 7620 h 28575"/>
                  <a:gd name="connsiteX7" fmla="*/ 6667 w 45720"/>
                  <a:gd name="connsiteY7" fmla="*/ 21907 h 28575"/>
                  <a:gd name="connsiteX8" fmla="*/ 23813 w 45720"/>
                  <a:gd name="connsiteY8" fmla="*/ 21907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45720" h="28575">
                    <a:moveTo>
                      <a:pt x="23813" y="21907"/>
                    </a:moveTo>
                    <a:lnTo>
                      <a:pt x="31433" y="28575"/>
                    </a:lnTo>
                    <a:lnTo>
                      <a:pt x="45720" y="28575"/>
                    </a:lnTo>
                    <a:lnTo>
                      <a:pt x="45720" y="10382"/>
                    </a:lnTo>
                    <a:lnTo>
                      <a:pt x="31433" y="0"/>
                    </a:lnTo>
                    <a:lnTo>
                      <a:pt x="13335" y="0"/>
                    </a:lnTo>
                    <a:lnTo>
                      <a:pt x="0" y="7620"/>
                    </a:lnTo>
                    <a:lnTo>
                      <a:pt x="6667" y="21907"/>
                    </a:lnTo>
                    <a:lnTo>
                      <a:pt x="23813" y="2190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0" name="Freeform: Shape 449">
                <a:extLst>
                  <a:ext uri="{FF2B5EF4-FFF2-40B4-BE49-F238E27FC236}">
                    <a16:creationId xmlns:a16="http://schemas.microsoft.com/office/drawing/2014/main" id="{CD4E6472-8813-A99C-B8C8-57B4F6B77704}"/>
                  </a:ext>
                </a:extLst>
              </p:cNvPr>
              <p:cNvSpPr/>
              <p:nvPr/>
            </p:nvSpPr>
            <p:spPr>
              <a:xfrm>
                <a:off x="3786528" y="2030971"/>
                <a:ext cx="121383" cy="48647"/>
              </a:xfrm>
              <a:custGeom>
                <a:avLst/>
                <a:gdLst>
                  <a:gd name="connsiteX0" fmla="*/ 7620 w 123824"/>
                  <a:gd name="connsiteY0" fmla="*/ 0 h 49625"/>
                  <a:gd name="connsiteX1" fmla="*/ 0 w 123824"/>
                  <a:gd name="connsiteY1" fmla="*/ 0 h 49625"/>
                  <a:gd name="connsiteX2" fmla="*/ 0 w 123824"/>
                  <a:gd name="connsiteY2" fmla="*/ 18098 h 49625"/>
                  <a:gd name="connsiteX3" fmla="*/ 18097 w 123824"/>
                  <a:gd name="connsiteY3" fmla="*/ 28575 h 49625"/>
                  <a:gd name="connsiteX4" fmla="*/ 24765 w 123824"/>
                  <a:gd name="connsiteY4" fmla="*/ 45815 h 49625"/>
                  <a:gd name="connsiteX5" fmla="*/ 45720 w 123824"/>
                  <a:gd name="connsiteY5" fmla="*/ 49625 h 49625"/>
                  <a:gd name="connsiteX6" fmla="*/ 57150 w 123824"/>
                  <a:gd name="connsiteY6" fmla="*/ 42863 h 49625"/>
                  <a:gd name="connsiteX7" fmla="*/ 80962 w 123824"/>
                  <a:gd name="connsiteY7" fmla="*/ 42863 h 49625"/>
                  <a:gd name="connsiteX8" fmla="*/ 105727 w 123824"/>
                  <a:gd name="connsiteY8" fmla="*/ 42863 h 49625"/>
                  <a:gd name="connsiteX9" fmla="*/ 123825 w 123824"/>
                  <a:gd name="connsiteY9" fmla="*/ 39148 h 49625"/>
                  <a:gd name="connsiteX10" fmla="*/ 109537 w 123824"/>
                  <a:gd name="connsiteY10" fmla="*/ 21050 h 49625"/>
                  <a:gd name="connsiteX11" fmla="*/ 74295 w 123824"/>
                  <a:gd name="connsiteY11" fmla="*/ 3810 h 49625"/>
                  <a:gd name="connsiteX12" fmla="*/ 39052 w 123824"/>
                  <a:gd name="connsiteY12" fmla="*/ 0 h 49625"/>
                  <a:gd name="connsiteX13" fmla="*/ 7620 w 123824"/>
                  <a:gd name="connsiteY13" fmla="*/ 0 h 49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23824" h="49625">
                    <a:moveTo>
                      <a:pt x="7620" y="0"/>
                    </a:moveTo>
                    <a:lnTo>
                      <a:pt x="0" y="0"/>
                    </a:lnTo>
                    <a:lnTo>
                      <a:pt x="0" y="18098"/>
                    </a:lnTo>
                    <a:lnTo>
                      <a:pt x="18097" y="28575"/>
                    </a:lnTo>
                    <a:lnTo>
                      <a:pt x="24765" y="45815"/>
                    </a:lnTo>
                    <a:lnTo>
                      <a:pt x="45720" y="49625"/>
                    </a:lnTo>
                    <a:lnTo>
                      <a:pt x="57150" y="42863"/>
                    </a:lnTo>
                    <a:lnTo>
                      <a:pt x="80962" y="42863"/>
                    </a:lnTo>
                    <a:lnTo>
                      <a:pt x="105727" y="42863"/>
                    </a:lnTo>
                    <a:lnTo>
                      <a:pt x="123825" y="39148"/>
                    </a:lnTo>
                    <a:lnTo>
                      <a:pt x="109537" y="21050"/>
                    </a:lnTo>
                    <a:lnTo>
                      <a:pt x="74295" y="3810"/>
                    </a:lnTo>
                    <a:lnTo>
                      <a:pt x="39052" y="0"/>
                    </a:lnTo>
                    <a:lnTo>
                      <a:pt x="762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1" name="Freeform: Shape 450">
                <a:extLst>
                  <a:ext uri="{FF2B5EF4-FFF2-40B4-BE49-F238E27FC236}">
                    <a16:creationId xmlns:a16="http://schemas.microsoft.com/office/drawing/2014/main" id="{B8FA5F2C-81DC-41BB-703A-635DD34B53B3}"/>
                  </a:ext>
                </a:extLst>
              </p:cNvPr>
              <p:cNvSpPr/>
              <p:nvPr/>
            </p:nvSpPr>
            <p:spPr>
              <a:xfrm>
                <a:off x="3879900" y="2300820"/>
                <a:ext cx="62559" cy="51355"/>
              </a:xfrm>
              <a:custGeom>
                <a:avLst/>
                <a:gdLst>
                  <a:gd name="connsiteX0" fmla="*/ 45720 w 63817"/>
                  <a:gd name="connsiteY0" fmla="*/ 45815 h 52387"/>
                  <a:gd name="connsiteX1" fmla="*/ 60008 w 63817"/>
                  <a:gd name="connsiteY1" fmla="*/ 35338 h 52387"/>
                  <a:gd name="connsiteX2" fmla="*/ 63818 w 63817"/>
                  <a:gd name="connsiteY2" fmla="*/ 17240 h 52387"/>
                  <a:gd name="connsiteX3" fmla="*/ 63818 w 63817"/>
                  <a:gd name="connsiteY3" fmla="*/ 6763 h 52387"/>
                  <a:gd name="connsiteX4" fmla="*/ 42863 w 63817"/>
                  <a:gd name="connsiteY4" fmla="*/ 0 h 52387"/>
                  <a:gd name="connsiteX5" fmla="*/ 20955 w 63817"/>
                  <a:gd name="connsiteY5" fmla="*/ 3905 h 52387"/>
                  <a:gd name="connsiteX6" fmla="*/ 10478 w 63817"/>
                  <a:gd name="connsiteY6" fmla="*/ 6763 h 52387"/>
                  <a:gd name="connsiteX7" fmla="*/ 3810 w 63817"/>
                  <a:gd name="connsiteY7" fmla="*/ 21050 h 52387"/>
                  <a:gd name="connsiteX8" fmla="*/ 0 w 63817"/>
                  <a:gd name="connsiteY8" fmla="*/ 45815 h 52387"/>
                  <a:gd name="connsiteX9" fmla="*/ 24765 w 63817"/>
                  <a:gd name="connsiteY9" fmla="*/ 52388 h 52387"/>
                  <a:gd name="connsiteX10" fmla="*/ 45720 w 63817"/>
                  <a:gd name="connsiteY10" fmla="*/ 45815 h 523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3817" h="52387">
                    <a:moveTo>
                      <a:pt x="45720" y="45815"/>
                    </a:moveTo>
                    <a:lnTo>
                      <a:pt x="60008" y="35338"/>
                    </a:lnTo>
                    <a:lnTo>
                      <a:pt x="63818" y="17240"/>
                    </a:lnTo>
                    <a:lnTo>
                      <a:pt x="63818" y="6763"/>
                    </a:lnTo>
                    <a:lnTo>
                      <a:pt x="42863" y="0"/>
                    </a:lnTo>
                    <a:lnTo>
                      <a:pt x="20955" y="3905"/>
                    </a:lnTo>
                    <a:lnTo>
                      <a:pt x="10478" y="6763"/>
                    </a:lnTo>
                    <a:lnTo>
                      <a:pt x="3810" y="21050"/>
                    </a:lnTo>
                    <a:lnTo>
                      <a:pt x="0" y="45815"/>
                    </a:lnTo>
                    <a:lnTo>
                      <a:pt x="24765" y="52388"/>
                    </a:lnTo>
                    <a:lnTo>
                      <a:pt x="45720" y="458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2" name="Freeform: Shape 451">
                <a:extLst>
                  <a:ext uri="{FF2B5EF4-FFF2-40B4-BE49-F238E27FC236}">
                    <a16:creationId xmlns:a16="http://schemas.microsoft.com/office/drawing/2014/main" id="{C0A89337-130F-1DA7-DC65-F05D34E28BE4}"/>
                  </a:ext>
                </a:extLst>
              </p:cNvPr>
              <p:cNvSpPr/>
              <p:nvPr/>
            </p:nvSpPr>
            <p:spPr>
              <a:xfrm>
                <a:off x="3607252" y="2414829"/>
                <a:ext cx="189546" cy="121385"/>
              </a:xfrm>
              <a:custGeom>
                <a:avLst/>
                <a:gdLst>
                  <a:gd name="connsiteX0" fmla="*/ 159068 w 193357"/>
                  <a:gd name="connsiteY0" fmla="*/ 105632 h 123825"/>
                  <a:gd name="connsiteX1" fmla="*/ 176213 w 193357"/>
                  <a:gd name="connsiteY1" fmla="*/ 109538 h 123825"/>
                  <a:gd name="connsiteX2" fmla="*/ 180023 w 193357"/>
                  <a:gd name="connsiteY2" fmla="*/ 105632 h 123825"/>
                  <a:gd name="connsiteX3" fmla="*/ 186690 w 193357"/>
                  <a:gd name="connsiteY3" fmla="*/ 105632 h 123825"/>
                  <a:gd name="connsiteX4" fmla="*/ 190500 w 193357"/>
                  <a:gd name="connsiteY4" fmla="*/ 98965 h 123825"/>
                  <a:gd name="connsiteX5" fmla="*/ 193358 w 193357"/>
                  <a:gd name="connsiteY5" fmla="*/ 98965 h 123825"/>
                  <a:gd name="connsiteX6" fmla="*/ 193358 w 193357"/>
                  <a:gd name="connsiteY6" fmla="*/ 91345 h 123825"/>
                  <a:gd name="connsiteX7" fmla="*/ 190500 w 193357"/>
                  <a:gd name="connsiteY7" fmla="*/ 84677 h 123825"/>
                  <a:gd name="connsiteX8" fmla="*/ 172403 w 193357"/>
                  <a:gd name="connsiteY8" fmla="*/ 80963 h 123825"/>
                  <a:gd name="connsiteX9" fmla="*/ 155258 w 193357"/>
                  <a:gd name="connsiteY9" fmla="*/ 80963 h 123825"/>
                  <a:gd name="connsiteX10" fmla="*/ 151448 w 193357"/>
                  <a:gd name="connsiteY10" fmla="*/ 66675 h 123825"/>
                  <a:gd name="connsiteX11" fmla="*/ 147638 w 193357"/>
                  <a:gd name="connsiteY11" fmla="*/ 56102 h 123825"/>
                  <a:gd name="connsiteX12" fmla="*/ 123825 w 193357"/>
                  <a:gd name="connsiteY12" fmla="*/ 53245 h 123825"/>
                  <a:gd name="connsiteX13" fmla="*/ 109538 w 193357"/>
                  <a:gd name="connsiteY13" fmla="*/ 38957 h 123825"/>
                  <a:gd name="connsiteX14" fmla="*/ 99060 w 193357"/>
                  <a:gd name="connsiteY14" fmla="*/ 35243 h 123825"/>
                  <a:gd name="connsiteX15" fmla="*/ 95250 w 193357"/>
                  <a:gd name="connsiteY15" fmla="*/ 28575 h 123825"/>
                  <a:gd name="connsiteX16" fmla="*/ 91440 w 193357"/>
                  <a:gd name="connsiteY16" fmla="*/ 24670 h 123825"/>
                  <a:gd name="connsiteX17" fmla="*/ 74295 w 193357"/>
                  <a:gd name="connsiteY17" fmla="*/ 20955 h 123825"/>
                  <a:gd name="connsiteX18" fmla="*/ 70485 w 193357"/>
                  <a:gd name="connsiteY18" fmla="*/ 14288 h 123825"/>
                  <a:gd name="connsiteX19" fmla="*/ 70485 w 193357"/>
                  <a:gd name="connsiteY19" fmla="*/ 0 h 123825"/>
                  <a:gd name="connsiteX20" fmla="*/ 49530 w 193357"/>
                  <a:gd name="connsiteY20" fmla="*/ 0 h 123825"/>
                  <a:gd name="connsiteX21" fmla="*/ 31433 w 193357"/>
                  <a:gd name="connsiteY21" fmla="*/ 10382 h 123825"/>
                  <a:gd name="connsiteX22" fmla="*/ 31433 w 193357"/>
                  <a:gd name="connsiteY22" fmla="*/ 28575 h 123825"/>
                  <a:gd name="connsiteX23" fmla="*/ 31433 w 193357"/>
                  <a:gd name="connsiteY23" fmla="*/ 38957 h 123825"/>
                  <a:gd name="connsiteX24" fmla="*/ 28575 w 193357"/>
                  <a:gd name="connsiteY24" fmla="*/ 45720 h 123825"/>
                  <a:gd name="connsiteX25" fmla="*/ 28575 w 193357"/>
                  <a:gd name="connsiteY25" fmla="*/ 66675 h 123825"/>
                  <a:gd name="connsiteX26" fmla="*/ 10478 w 193357"/>
                  <a:gd name="connsiteY26" fmla="*/ 84677 h 123825"/>
                  <a:gd name="connsiteX27" fmla="*/ 0 w 193357"/>
                  <a:gd name="connsiteY27" fmla="*/ 98965 h 123825"/>
                  <a:gd name="connsiteX28" fmla="*/ 10478 w 193357"/>
                  <a:gd name="connsiteY28" fmla="*/ 109538 h 123825"/>
                  <a:gd name="connsiteX29" fmla="*/ 18098 w 193357"/>
                  <a:gd name="connsiteY29" fmla="*/ 98965 h 123825"/>
                  <a:gd name="connsiteX30" fmla="*/ 24765 w 193357"/>
                  <a:gd name="connsiteY30" fmla="*/ 98965 h 123825"/>
                  <a:gd name="connsiteX31" fmla="*/ 45720 w 193357"/>
                  <a:gd name="connsiteY31" fmla="*/ 98965 h 123825"/>
                  <a:gd name="connsiteX32" fmla="*/ 42863 w 193357"/>
                  <a:gd name="connsiteY32" fmla="*/ 123825 h 123825"/>
                  <a:gd name="connsiteX33" fmla="*/ 70485 w 193357"/>
                  <a:gd name="connsiteY33" fmla="*/ 119920 h 123825"/>
                  <a:gd name="connsiteX34" fmla="*/ 91440 w 193357"/>
                  <a:gd name="connsiteY34" fmla="*/ 98965 h 123825"/>
                  <a:gd name="connsiteX35" fmla="*/ 101918 w 193357"/>
                  <a:gd name="connsiteY35" fmla="*/ 84677 h 123825"/>
                  <a:gd name="connsiteX36" fmla="*/ 105728 w 193357"/>
                  <a:gd name="connsiteY36" fmla="*/ 78105 h 123825"/>
                  <a:gd name="connsiteX37" fmla="*/ 112395 w 193357"/>
                  <a:gd name="connsiteY37" fmla="*/ 74295 h 123825"/>
                  <a:gd name="connsiteX38" fmla="*/ 120015 w 193357"/>
                  <a:gd name="connsiteY38" fmla="*/ 80963 h 123825"/>
                  <a:gd name="connsiteX39" fmla="*/ 134303 w 193357"/>
                  <a:gd name="connsiteY39" fmla="*/ 91345 h 123825"/>
                  <a:gd name="connsiteX40" fmla="*/ 147638 w 193357"/>
                  <a:gd name="connsiteY40" fmla="*/ 101918 h 123825"/>
                  <a:gd name="connsiteX41" fmla="*/ 159068 w 193357"/>
                  <a:gd name="connsiteY41" fmla="*/ 105632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193357" h="123825">
                    <a:moveTo>
                      <a:pt x="159068" y="105632"/>
                    </a:moveTo>
                    <a:lnTo>
                      <a:pt x="176213" y="109538"/>
                    </a:lnTo>
                    <a:lnTo>
                      <a:pt x="180023" y="105632"/>
                    </a:lnTo>
                    <a:lnTo>
                      <a:pt x="186690" y="105632"/>
                    </a:lnTo>
                    <a:lnTo>
                      <a:pt x="190500" y="98965"/>
                    </a:lnTo>
                    <a:lnTo>
                      <a:pt x="193358" y="98965"/>
                    </a:lnTo>
                    <a:lnTo>
                      <a:pt x="193358" y="91345"/>
                    </a:lnTo>
                    <a:lnTo>
                      <a:pt x="190500" y="84677"/>
                    </a:lnTo>
                    <a:lnTo>
                      <a:pt x="172403" y="80963"/>
                    </a:lnTo>
                    <a:lnTo>
                      <a:pt x="155258" y="80963"/>
                    </a:lnTo>
                    <a:lnTo>
                      <a:pt x="151448" y="66675"/>
                    </a:lnTo>
                    <a:lnTo>
                      <a:pt x="147638" y="56102"/>
                    </a:lnTo>
                    <a:lnTo>
                      <a:pt x="123825" y="53245"/>
                    </a:lnTo>
                    <a:lnTo>
                      <a:pt x="109538" y="38957"/>
                    </a:lnTo>
                    <a:lnTo>
                      <a:pt x="99060" y="35243"/>
                    </a:lnTo>
                    <a:lnTo>
                      <a:pt x="95250" y="28575"/>
                    </a:lnTo>
                    <a:lnTo>
                      <a:pt x="91440" y="24670"/>
                    </a:lnTo>
                    <a:lnTo>
                      <a:pt x="74295" y="20955"/>
                    </a:lnTo>
                    <a:lnTo>
                      <a:pt x="70485" y="14288"/>
                    </a:lnTo>
                    <a:lnTo>
                      <a:pt x="70485" y="0"/>
                    </a:lnTo>
                    <a:lnTo>
                      <a:pt x="49530" y="0"/>
                    </a:lnTo>
                    <a:lnTo>
                      <a:pt x="31433" y="10382"/>
                    </a:lnTo>
                    <a:lnTo>
                      <a:pt x="31433" y="28575"/>
                    </a:lnTo>
                    <a:lnTo>
                      <a:pt x="31433" y="38957"/>
                    </a:lnTo>
                    <a:lnTo>
                      <a:pt x="28575" y="45720"/>
                    </a:lnTo>
                    <a:lnTo>
                      <a:pt x="28575" y="66675"/>
                    </a:lnTo>
                    <a:lnTo>
                      <a:pt x="10478" y="84677"/>
                    </a:lnTo>
                    <a:lnTo>
                      <a:pt x="0" y="98965"/>
                    </a:lnTo>
                    <a:lnTo>
                      <a:pt x="10478" y="109538"/>
                    </a:lnTo>
                    <a:lnTo>
                      <a:pt x="18098" y="98965"/>
                    </a:lnTo>
                    <a:lnTo>
                      <a:pt x="24765" y="98965"/>
                    </a:lnTo>
                    <a:lnTo>
                      <a:pt x="45720" y="98965"/>
                    </a:lnTo>
                    <a:lnTo>
                      <a:pt x="42863" y="123825"/>
                    </a:lnTo>
                    <a:lnTo>
                      <a:pt x="70485" y="119920"/>
                    </a:lnTo>
                    <a:lnTo>
                      <a:pt x="91440" y="98965"/>
                    </a:lnTo>
                    <a:lnTo>
                      <a:pt x="101918" y="84677"/>
                    </a:lnTo>
                    <a:lnTo>
                      <a:pt x="105728" y="78105"/>
                    </a:lnTo>
                    <a:lnTo>
                      <a:pt x="112395" y="74295"/>
                    </a:lnTo>
                    <a:lnTo>
                      <a:pt x="120015" y="80963"/>
                    </a:lnTo>
                    <a:lnTo>
                      <a:pt x="134303" y="91345"/>
                    </a:lnTo>
                    <a:lnTo>
                      <a:pt x="147638" y="101918"/>
                    </a:lnTo>
                    <a:lnTo>
                      <a:pt x="159068" y="10563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3" name="Freeform: Shape 452">
                <a:extLst>
                  <a:ext uri="{FF2B5EF4-FFF2-40B4-BE49-F238E27FC236}">
                    <a16:creationId xmlns:a16="http://schemas.microsoft.com/office/drawing/2014/main" id="{70A765D5-5619-223F-CF4D-8AB25D6C2D8C}"/>
                  </a:ext>
                </a:extLst>
              </p:cNvPr>
              <p:cNvSpPr/>
              <p:nvPr/>
            </p:nvSpPr>
            <p:spPr>
              <a:xfrm>
                <a:off x="3275780" y="2228082"/>
                <a:ext cx="117649" cy="62560"/>
              </a:xfrm>
              <a:custGeom>
                <a:avLst/>
                <a:gdLst>
                  <a:gd name="connsiteX0" fmla="*/ 35243 w 120015"/>
                  <a:gd name="connsiteY0" fmla="*/ 0 h 63817"/>
                  <a:gd name="connsiteX1" fmla="*/ 31433 w 120015"/>
                  <a:gd name="connsiteY1" fmla="*/ 18002 h 63817"/>
                  <a:gd name="connsiteX2" fmla="*/ 18098 w 120015"/>
                  <a:gd name="connsiteY2" fmla="*/ 28575 h 63817"/>
                  <a:gd name="connsiteX3" fmla="*/ 0 w 120015"/>
                  <a:gd name="connsiteY3" fmla="*/ 42863 h 63817"/>
                  <a:gd name="connsiteX4" fmla="*/ 10478 w 120015"/>
                  <a:gd name="connsiteY4" fmla="*/ 45625 h 63817"/>
                  <a:gd name="connsiteX5" fmla="*/ 31433 w 120015"/>
                  <a:gd name="connsiteY5" fmla="*/ 53340 h 63817"/>
                  <a:gd name="connsiteX6" fmla="*/ 49530 w 120015"/>
                  <a:gd name="connsiteY6" fmla="*/ 59912 h 63817"/>
                  <a:gd name="connsiteX7" fmla="*/ 78105 w 120015"/>
                  <a:gd name="connsiteY7" fmla="*/ 63818 h 63817"/>
                  <a:gd name="connsiteX8" fmla="*/ 99060 w 120015"/>
                  <a:gd name="connsiteY8" fmla="*/ 63818 h 63817"/>
                  <a:gd name="connsiteX9" fmla="*/ 112395 w 120015"/>
                  <a:gd name="connsiteY9" fmla="*/ 59912 h 63817"/>
                  <a:gd name="connsiteX10" fmla="*/ 120015 w 120015"/>
                  <a:gd name="connsiteY10" fmla="*/ 56102 h 63817"/>
                  <a:gd name="connsiteX11" fmla="*/ 116205 w 120015"/>
                  <a:gd name="connsiteY11" fmla="*/ 42863 h 63817"/>
                  <a:gd name="connsiteX12" fmla="*/ 105728 w 120015"/>
                  <a:gd name="connsiteY12" fmla="*/ 31337 h 63817"/>
                  <a:gd name="connsiteX13" fmla="*/ 84773 w 120015"/>
                  <a:gd name="connsiteY13" fmla="*/ 24765 h 63817"/>
                  <a:gd name="connsiteX14" fmla="*/ 66675 w 120015"/>
                  <a:gd name="connsiteY14" fmla="*/ 10478 h 63817"/>
                  <a:gd name="connsiteX15" fmla="*/ 49530 w 120015"/>
                  <a:gd name="connsiteY15" fmla="*/ 3715 h 63817"/>
                  <a:gd name="connsiteX16" fmla="*/ 35243 w 120015"/>
                  <a:gd name="connsiteY16" fmla="*/ 0 h 638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20015" h="63817">
                    <a:moveTo>
                      <a:pt x="35243" y="0"/>
                    </a:moveTo>
                    <a:lnTo>
                      <a:pt x="31433" y="18002"/>
                    </a:lnTo>
                    <a:lnTo>
                      <a:pt x="18098" y="28575"/>
                    </a:lnTo>
                    <a:lnTo>
                      <a:pt x="0" y="42863"/>
                    </a:lnTo>
                    <a:lnTo>
                      <a:pt x="10478" y="45625"/>
                    </a:lnTo>
                    <a:lnTo>
                      <a:pt x="31433" y="53340"/>
                    </a:lnTo>
                    <a:lnTo>
                      <a:pt x="49530" y="59912"/>
                    </a:lnTo>
                    <a:lnTo>
                      <a:pt x="78105" y="63818"/>
                    </a:lnTo>
                    <a:lnTo>
                      <a:pt x="99060" y="63818"/>
                    </a:lnTo>
                    <a:lnTo>
                      <a:pt x="112395" y="59912"/>
                    </a:lnTo>
                    <a:lnTo>
                      <a:pt x="120015" y="56102"/>
                    </a:lnTo>
                    <a:lnTo>
                      <a:pt x="116205" y="42863"/>
                    </a:lnTo>
                    <a:lnTo>
                      <a:pt x="105728" y="31337"/>
                    </a:lnTo>
                    <a:lnTo>
                      <a:pt x="84773" y="24765"/>
                    </a:lnTo>
                    <a:lnTo>
                      <a:pt x="66675" y="10478"/>
                    </a:lnTo>
                    <a:lnTo>
                      <a:pt x="49530" y="3715"/>
                    </a:lnTo>
                    <a:lnTo>
                      <a:pt x="3524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4" name="Freeform: Shape 453">
                <a:extLst>
                  <a:ext uri="{FF2B5EF4-FFF2-40B4-BE49-F238E27FC236}">
                    <a16:creationId xmlns:a16="http://schemas.microsoft.com/office/drawing/2014/main" id="{C99BD41E-87C3-C789-E7A0-8B95DDE05F2B}"/>
                  </a:ext>
                </a:extLst>
              </p:cNvPr>
              <p:cNvSpPr/>
              <p:nvPr/>
            </p:nvSpPr>
            <p:spPr>
              <a:xfrm>
                <a:off x="3534422" y="2024529"/>
                <a:ext cx="794599" cy="566682"/>
              </a:xfrm>
              <a:custGeom>
                <a:avLst/>
                <a:gdLst>
                  <a:gd name="connsiteX0" fmla="*/ 521970 w 810577"/>
                  <a:gd name="connsiteY0" fmla="*/ 133350 h 578072"/>
                  <a:gd name="connsiteX1" fmla="*/ 511492 w 810577"/>
                  <a:gd name="connsiteY1" fmla="*/ 122873 h 578072"/>
                  <a:gd name="connsiteX2" fmla="*/ 493395 w 810577"/>
                  <a:gd name="connsiteY2" fmla="*/ 119920 h 578072"/>
                  <a:gd name="connsiteX3" fmla="*/ 465772 w 810577"/>
                  <a:gd name="connsiteY3" fmla="*/ 130397 h 578072"/>
                  <a:gd name="connsiteX4" fmla="*/ 447675 w 810577"/>
                  <a:gd name="connsiteY4" fmla="*/ 130397 h 578072"/>
                  <a:gd name="connsiteX5" fmla="*/ 458152 w 810577"/>
                  <a:gd name="connsiteY5" fmla="*/ 116110 h 578072"/>
                  <a:gd name="connsiteX6" fmla="*/ 454342 w 810577"/>
                  <a:gd name="connsiteY6" fmla="*/ 101822 h 578072"/>
                  <a:gd name="connsiteX7" fmla="*/ 433387 w 810577"/>
                  <a:gd name="connsiteY7" fmla="*/ 116110 h 578072"/>
                  <a:gd name="connsiteX8" fmla="*/ 419100 w 810577"/>
                  <a:gd name="connsiteY8" fmla="*/ 119920 h 578072"/>
                  <a:gd name="connsiteX9" fmla="*/ 430530 w 810577"/>
                  <a:gd name="connsiteY9" fmla="*/ 105632 h 578072"/>
                  <a:gd name="connsiteX10" fmla="*/ 441008 w 810577"/>
                  <a:gd name="connsiteY10" fmla="*/ 95250 h 578072"/>
                  <a:gd name="connsiteX11" fmla="*/ 422910 w 810577"/>
                  <a:gd name="connsiteY11" fmla="*/ 91345 h 578072"/>
                  <a:gd name="connsiteX12" fmla="*/ 398145 w 810577"/>
                  <a:gd name="connsiteY12" fmla="*/ 101822 h 578072"/>
                  <a:gd name="connsiteX13" fmla="*/ 401955 w 810577"/>
                  <a:gd name="connsiteY13" fmla="*/ 87535 h 578072"/>
                  <a:gd name="connsiteX14" fmla="*/ 419100 w 810577"/>
                  <a:gd name="connsiteY14" fmla="*/ 77057 h 578072"/>
                  <a:gd name="connsiteX15" fmla="*/ 405765 w 810577"/>
                  <a:gd name="connsiteY15" fmla="*/ 70485 h 578072"/>
                  <a:gd name="connsiteX16" fmla="*/ 377190 w 810577"/>
                  <a:gd name="connsiteY16" fmla="*/ 60007 h 578072"/>
                  <a:gd name="connsiteX17" fmla="*/ 349567 w 810577"/>
                  <a:gd name="connsiteY17" fmla="*/ 60007 h 578072"/>
                  <a:gd name="connsiteX18" fmla="*/ 324802 w 810577"/>
                  <a:gd name="connsiteY18" fmla="*/ 62770 h 578072"/>
                  <a:gd name="connsiteX19" fmla="*/ 317183 w 810577"/>
                  <a:gd name="connsiteY19" fmla="*/ 87535 h 578072"/>
                  <a:gd name="connsiteX20" fmla="*/ 296227 w 810577"/>
                  <a:gd name="connsiteY20" fmla="*/ 73247 h 578072"/>
                  <a:gd name="connsiteX21" fmla="*/ 279083 w 810577"/>
                  <a:gd name="connsiteY21" fmla="*/ 73247 h 578072"/>
                  <a:gd name="connsiteX22" fmla="*/ 271463 w 810577"/>
                  <a:gd name="connsiteY22" fmla="*/ 91345 h 578072"/>
                  <a:gd name="connsiteX23" fmla="*/ 254317 w 810577"/>
                  <a:gd name="connsiteY23" fmla="*/ 91345 h 578072"/>
                  <a:gd name="connsiteX24" fmla="*/ 254317 w 810577"/>
                  <a:gd name="connsiteY24" fmla="*/ 73247 h 578072"/>
                  <a:gd name="connsiteX25" fmla="*/ 260985 w 810577"/>
                  <a:gd name="connsiteY25" fmla="*/ 66675 h 578072"/>
                  <a:gd name="connsiteX26" fmla="*/ 260985 w 810577"/>
                  <a:gd name="connsiteY26" fmla="*/ 52388 h 578072"/>
                  <a:gd name="connsiteX27" fmla="*/ 257175 w 810577"/>
                  <a:gd name="connsiteY27" fmla="*/ 38100 h 578072"/>
                  <a:gd name="connsiteX28" fmla="*/ 246697 w 810577"/>
                  <a:gd name="connsiteY28" fmla="*/ 24670 h 578072"/>
                  <a:gd name="connsiteX29" fmla="*/ 236220 w 810577"/>
                  <a:gd name="connsiteY29" fmla="*/ 10382 h 578072"/>
                  <a:gd name="connsiteX30" fmla="*/ 215265 w 810577"/>
                  <a:gd name="connsiteY30" fmla="*/ 2857 h 578072"/>
                  <a:gd name="connsiteX31" fmla="*/ 190500 w 810577"/>
                  <a:gd name="connsiteY31" fmla="*/ 6572 h 578072"/>
                  <a:gd name="connsiteX32" fmla="*/ 148590 w 810577"/>
                  <a:gd name="connsiteY32" fmla="*/ 27623 h 578072"/>
                  <a:gd name="connsiteX33" fmla="*/ 127635 w 810577"/>
                  <a:gd name="connsiteY33" fmla="*/ 45720 h 578072"/>
                  <a:gd name="connsiteX34" fmla="*/ 123825 w 810577"/>
                  <a:gd name="connsiteY34" fmla="*/ 66675 h 578072"/>
                  <a:gd name="connsiteX35" fmla="*/ 138113 w 810577"/>
                  <a:gd name="connsiteY35" fmla="*/ 80963 h 578072"/>
                  <a:gd name="connsiteX36" fmla="*/ 117157 w 810577"/>
                  <a:gd name="connsiteY36" fmla="*/ 87535 h 578072"/>
                  <a:gd name="connsiteX37" fmla="*/ 134302 w 810577"/>
                  <a:gd name="connsiteY37" fmla="*/ 112395 h 578072"/>
                  <a:gd name="connsiteX38" fmla="*/ 144780 w 810577"/>
                  <a:gd name="connsiteY38" fmla="*/ 126682 h 578072"/>
                  <a:gd name="connsiteX39" fmla="*/ 120015 w 810577"/>
                  <a:gd name="connsiteY39" fmla="*/ 133350 h 578072"/>
                  <a:gd name="connsiteX40" fmla="*/ 95250 w 810577"/>
                  <a:gd name="connsiteY40" fmla="*/ 87535 h 578072"/>
                  <a:gd name="connsiteX41" fmla="*/ 95250 w 810577"/>
                  <a:gd name="connsiteY41" fmla="*/ 70485 h 578072"/>
                  <a:gd name="connsiteX42" fmla="*/ 95250 w 810577"/>
                  <a:gd name="connsiteY42" fmla="*/ 49435 h 578072"/>
                  <a:gd name="connsiteX43" fmla="*/ 113347 w 810577"/>
                  <a:gd name="connsiteY43" fmla="*/ 20860 h 578072"/>
                  <a:gd name="connsiteX44" fmla="*/ 134302 w 810577"/>
                  <a:gd name="connsiteY44" fmla="*/ 14288 h 578072"/>
                  <a:gd name="connsiteX45" fmla="*/ 144780 w 810577"/>
                  <a:gd name="connsiteY45" fmla="*/ 2857 h 578072"/>
                  <a:gd name="connsiteX46" fmla="*/ 92392 w 810577"/>
                  <a:gd name="connsiteY46" fmla="*/ 0 h 578072"/>
                  <a:gd name="connsiteX47" fmla="*/ 67627 w 810577"/>
                  <a:gd name="connsiteY47" fmla="*/ 2857 h 578072"/>
                  <a:gd name="connsiteX48" fmla="*/ 35242 w 810577"/>
                  <a:gd name="connsiteY48" fmla="*/ 24670 h 578072"/>
                  <a:gd name="connsiteX49" fmla="*/ 14288 w 810577"/>
                  <a:gd name="connsiteY49" fmla="*/ 52388 h 578072"/>
                  <a:gd name="connsiteX50" fmla="*/ 0 w 810577"/>
                  <a:gd name="connsiteY50" fmla="*/ 87535 h 578072"/>
                  <a:gd name="connsiteX51" fmla="*/ 0 w 810577"/>
                  <a:gd name="connsiteY51" fmla="*/ 126682 h 578072"/>
                  <a:gd name="connsiteX52" fmla="*/ 28575 w 810577"/>
                  <a:gd name="connsiteY52" fmla="*/ 137160 h 578072"/>
                  <a:gd name="connsiteX53" fmla="*/ 57150 w 810577"/>
                  <a:gd name="connsiteY53" fmla="*/ 133350 h 578072"/>
                  <a:gd name="connsiteX54" fmla="*/ 67627 w 810577"/>
                  <a:gd name="connsiteY54" fmla="*/ 144685 h 578072"/>
                  <a:gd name="connsiteX55" fmla="*/ 57150 w 810577"/>
                  <a:gd name="connsiteY55" fmla="*/ 151448 h 578072"/>
                  <a:gd name="connsiteX56" fmla="*/ 28575 w 810577"/>
                  <a:gd name="connsiteY56" fmla="*/ 147638 h 578072"/>
                  <a:gd name="connsiteX57" fmla="*/ 14288 w 810577"/>
                  <a:gd name="connsiteY57" fmla="*/ 147638 h 578072"/>
                  <a:gd name="connsiteX58" fmla="*/ 14288 w 810577"/>
                  <a:gd name="connsiteY58" fmla="*/ 165735 h 578072"/>
                  <a:gd name="connsiteX59" fmla="*/ 35242 w 810577"/>
                  <a:gd name="connsiteY59" fmla="*/ 180023 h 578072"/>
                  <a:gd name="connsiteX60" fmla="*/ 57150 w 810577"/>
                  <a:gd name="connsiteY60" fmla="*/ 186595 h 578072"/>
                  <a:gd name="connsiteX61" fmla="*/ 70485 w 810577"/>
                  <a:gd name="connsiteY61" fmla="*/ 176213 h 578072"/>
                  <a:gd name="connsiteX62" fmla="*/ 84772 w 810577"/>
                  <a:gd name="connsiteY62" fmla="*/ 182785 h 578072"/>
                  <a:gd name="connsiteX63" fmla="*/ 99060 w 810577"/>
                  <a:gd name="connsiteY63" fmla="*/ 193357 h 578072"/>
                  <a:gd name="connsiteX64" fmla="*/ 130492 w 810577"/>
                  <a:gd name="connsiteY64" fmla="*/ 193357 h 578072"/>
                  <a:gd name="connsiteX65" fmla="*/ 159067 w 810577"/>
                  <a:gd name="connsiteY65" fmla="*/ 200882 h 578072"/>
                  <a:gd name="connsiteX66" fmla="*/ 208597 w 810577"/>
                  <a:gd name="connsiteY66" fmla="*/ 207645 h 578072"/>
                  <a:gd name="connsiteX67" fmla="*/ 229552 w 810577"/>
                  <a:gd name="connsiteY67" fmla="*/ 203835 h 578072"/>
                  <a:gd name="connsiteX68" fmla="*/ 240030 w 810577"/>
                  <a:gd name="connsiteY68" fmla="*/ 193357 h 578072"/>
                  <a:gd name="connsiteX69" fmla="*/ 279083 w 810577"/>
                  <a:gd name="connsiteY69" fmla="*/ 203835 h 578072"/>
                  <a:gd name="connsiteX70" fmla="*/ 302895 w 810577"/>
                  <a:gd name="connsiteY70" fmla="*/ 203835 h 578072"/>
                  <a:gd name="connsiteX71" fmla="*/ 314325 w 810577"/>
                  <a:gd name="connsiteY71" fmla="*/ 197072 h 578072"/>
                  <a:gd name="connsiteX72" fmla="*/ 310515 w 810577"/>
                  <a:gd name="connsiteY72" fmla="*/ 186595 h 578072"/>
                  <a:gd name="connsiteX73" fmla="*/ 302895 w 810577"/>
                  <a:gd name="connsiteY73" fmla="*/ 176213 h 578072"/>
                  <a:gd name="connsiteX74" fmla="*/ 314325 w 810577"/>
                  <a:gd name="connsiteY74" fmla="*/ 172307 h 578072"/>
                  <a:gd name="connsiteX75" fmla="*/ 327660 w 810577"/>
                  <a:gd name="connsiteY75" fmla="*/ 186595 h 578072"/>
                  <a:gd name="connsiteX76" fmla="*/ 335280 w 810577"/>
                  <a:gd name="connsiteY76" fmla="*/ 197072 h 578072"/>
                  <a:gd name="connsiteX77" fmla="*/ 345758 w 810577"/>
                  <a:gd name="connsiteY77" fmla="*/ 211360 h 578072"/>
                  <a:gd name="connsiteX78" fmla="*/ 356235 w 810577"/>
                  <a:gd name="connsiteY78" fmla="*/ 200882 h 578072"/>
                  <a:gd name="connsiteX79" fmla="*/ 373380 w 810577"/>
                  <a:gd name="connsiteY79" fmla="*/ 218123 h 578072"/>
                  <a:gd name="connsiteX80" fmla="*/ 384810 w 810577"/>
                  <a:gd name="connsiteY80" fmla="*/ 225647 h 578072"/>
                  <a:gd name="connsiteX81" fmla="*/ 391477 w 810577"/>
                  <a:gd name="connsiteY81" fmla="*/ 236220 h 578072"/>
                  <a:gd name="connsiteX82" fmla="*/ 370522 w 810577"/>
                  <a:gd name="connsiteY82" fmla="*/ 250507 h 578072"/>
                  <a:gd name="connsiteX83" fmla="*/ 384810 w 810577"/>
                  <a:gd name="connsiteY83" fmla="*/ 263747 h 578072"/>
                  <a:gd name="connsiteX84" fmla="*/ 401955 w 810577"/>
                  <a:gd name="connsiteY84" fmla="*/ 250507 h 578072"/>
                  <a:gd name="connsiteX85" fmla="*/ 422910 w 810577"/>
                  <a:gd name="connsiteY85" fmla="*/ 250507 h 578072"/>
                  <a:gd name="connsiteX86" fmla="*/ 422910 w 810577"/>
                  <a:gd name="connsiteY86" fmla="*/ 260985 h 578072"/>
                  <a:gd name="connsiteX87" fmla="*/ 433387 w 810577"/>
                  <a:gd name="connsiteY87" fmla="*/ 274320 h 578072"/>
                  <a:gd name="connsiteX88" fmla="*/ 447675 w 810577"/>
                  <a:gd name="connsiteY88" fmla="*/ 267557 h 578072"/>
                  <a:gd name="connsiteX89" fmla="*/ 451485 w 810577"/>
                  <a:gd name="connsiteY89" fmla="*/ 281845 h 578072"/>
                  <a:gd name="connsiteX90" fmla="*/ 465772 w 810577"/>
                  <a:gd name="connsiteY90" fmla="*/ 281845 h 578072"/>
                  <a:gd name="connsiteX91" fmla="*/ 479108 w 810577"/>
                  <a:gd name="connsiteY91" fmla="*/ 302895 h 578072"/>
                  <a:gd name="connsiteX92" fmla="*/ 493395 w 810577"/>
                  <a:gd name="connsiteY92" fmla="*/ 334232 h 578072"/>
                  <a:gd name="connsiteX93" fmla="*/ 472440 w 810577"/>
                  <a:gd name="connsiteY93" fmla="*/ 356140 h 578072"/>
                  <a:gd name="connsiteX94" fmla="*/ 447675 w 810577"/>
                  <a:gd name="connsiteY94" fmla="*/ 369570 h 578072"/>
                  <a:gd name="connsiteX95" fmla="*/ 433387 w 810577"/>
                  <a:gd name="connsiteY95" fmla="*/ 391478 h 578072"/>
                  <a:gd name="connsiteX96" fmla="*/ 447675 w 810577"/>
                  <a:gd name="connsiteY96" fmla="*/ 401860 h 578072"/>
                  <a:gd name="connsiteX97" fmla="*/ 454342 w 810577"/>
                  <a:gd name="connsiteY97" fmla="*/ 408527 h 578072"/>
                  <a:gd name="connsiteX98" fmla="*/ 433387 w 810577"/>
                  <a:gd name="connsiteY98" fmla="*/ 416147 h 578072"/>
                  <a:gd name="connsiteX99" fmla="*/ 419100 w 810577"/>
                  <a:gd name="connsiteY99" fmla="*/ 422815 h 578072"/>
                  <a:gd name="connsiteX100" fmla="*/ 408622 w 810577"/>
                  <a:gd name="connsiteY100" fmla="*/ 433388 h 578072"/>
                  <a:gd name="connsiteX101" fmla="*/ 398145 w 810577"/>
                  <a:gd name="connsiteY101" fmla="*/ 426720 h 578072"/>
                  <a:gd name="connsiteX102" fmla="*/ 377190 w 810577"/>
                  <a:gd name="connsiteY102" fmla="*/ 419100 h 578072"/>
                  <a:gd name="connsiteX103" fmla="*/ 356235 w 810577"/>
                  <a:gd name="connsiteY103" fmla="*/ 416147 h 578072"/>
                  <a:gd name="connsiteX104" fmla="*/ 331470 w 810577"/>
                  <a:gd name="connsiteY104" fmla="*/ 433388 h 578072"/>
                  <a:gd name="connsiteX105" fmla="*/ 327660 w 810577"/>
                  <a:gd name="connsiteY105" fmla="*/ 454247 h 578072"/>
                  <a:gd name="connsiteX106" fmla="*/ 341947 w 810577"/>
                  <a:gd name="connsiteY106" fmla="*/ 472440 h 578072"/>
                  <a:gd name="connsiteX107" fmla="*/ 366712 w 810577"/>
                  <a:gd name="connsiteY107" fmla="*/ 476250 h 578072"/>
                  <a:gd name="connsiteX108" fmla="*/ 384810 w 810577"/>
                  <a:gd name="connsiteY108" fmla="*/ 468535 h 578072"/>
                  <a:gd name="connsiteX109" fmla="*/ 395287 w 810577"/>
                  <a:gd name="connsiteY109" fmla="*/ 461963 h 578072"/>
                  <a:gd name="connsiteX110" fmla="*/ 416242 w 810577"/>
                  <a:gd name="connsiteY110" fmla="*/ 461963 h 578072"/>
                  <a:gd name="connsiteX111" fmla="*/ 419100 w 810577"/>
                  <a:gd name="connsiteY111" fmla="*/ 458153 h 578072"/>
                  <a:gd name="connsiteX112" fmla="*/ 419100 w 810577"/>
                  <a:gd name="connsiteY112" fmla="*/ 454247 h 578072"/>
                  <a:gd name="connsiteX113" fmla="*/ 419100 w 810577"/>
                  <a:gd name="connsiteY113" fmla="*/ 439960 h 578072"/>
                  <a:gd name="connsiteX114" fmla="*/ 430530 w 810577"/>
                  <a:gd name="connsiteY114" fmla="*/ 447675 h 578072"/>
                  <a:gd name="connsiteX115" fmla="*/ 451485 w 810577"/>
                  <a:gd name="connsiteY115" fmla="*/ 454247 h 578072"/>
                  <a:gd name="connsiteX116" fmla="*/ 461962 w 810577"/>
                  <a:gd name="connsiteY116" fmla="*/ 464820 h 578072"/>
                  <a:gd name="connsiteX117" fmla="*/ 479108 w 810577"/>
                  <a:gd name="connsiteY117" fmla="*/ 482822 h 578072"/>
                  <a:gd name="connsiteX118" fmla="*/ 493395 w 810577"/>
                  <a:gd name="connsiteY118" fmla="*/ 497110 h 578072"/>
                  <a:gd name="connsiteX119" fmla="*/ 507683 w 810577"/>
                  <a:gd name="connsiteY119" fmla="*/ 493395 h 578072"/>
                  <a:gd name="connsiteX120" fmla="*/ 518160 w 810577"/>
                  <a:gd name="connsiteY120" fmla="*/ 503777 h 578072"/>
                  <a:gd name="connsiteX121" fmla="*/ 511492 w 810577"/>
                  <a:gd name="connsiteY121" fmla="*/ 511397 h 578072"/>
                  <a:gd name="connsiteX122" fmla="*/ 521970 w 810577"/>
                  <a:gd name="connsiteY122" fmla="*/ 524828 h 578072"/>
                  <a:gd name="connsiteX123" fmla="*/ 546735 w 810577"/>
                  <a:gd name="connsiteY123" fmla="*/ 553403 h 578072"/>
                  <a:gd name="connsiteX124" fmla="*/ 549593 w 810577"/>
                  <a:gd name="connsiteY124" fmla="*/ 535210 h 578072"/>
                  <a:gd name="connsiteX125" fmla="*/ 563880 w 810577"/>
                  <a:gd name="connsiteY125" fmla="*/ 535210 h 578072"/>
                  <a:gd name="connsiteX126" fmla="*/ 588645 w 810577"/>
                  <a:gd name="connsiteY126" fmla="*/ 553403 h 578072"/>
                  <a:gd name="connsiteX127" fmla="*/ 623887 w 810577"/>
                  <a:gd name="connsiteY127" fmla="*/ 567690 h 578072"/>
                  <a:gd name="connsiteX128" fmla="*/ 665797 w 810577"/>
                  <a:gd name="connsiteY128" fmla="*/ 578072 h 578072"/>
                  <a:gd name="connsiteX129" fmla="*/ 659130 w 810577"/>
                  <a:gd name="connsiteY129" fmla="*/ 563785 h 578072"/>
                  <a:gd name="connsiteX130" fmla="*/ 652462 w 810577"/>
                  <a:gd name="connsiteY130" fmla="*/ 549497 h 578072"/>
                  <a:gd name="connsiteX131" fmla="*/ 644843 w 810577"/>
                  <a:gd name="connsiteY131" fmla="*/ 539115 h 578072"/>
                  <a:gd name="connsiteX132" fmla="*/ 613410 w 810577"/>
                  <a:gd name="connsiteY132" fmla="*/ 514350 h 578072"/>
                  <a:gd name="connsiteX133" fmla="*/ 595312 w 810577"/>
                  <a:gd name="connsiteY133" fmla="*/ 497110 h 578072"/>
                  <a:gd name="connsiteX134" fmla="*/ 605790 w 810577"/>
                  <a:gd name="connsiteY134" fmla="*/ 489490 h 578072"/>
                  <a:gd name="connsiteX135" fmla="*/ 627697 w 810577"/>
                  <a:gd name="connsiteY135" fmla="*/ 511397 h 578072"/>
                  <a:gd name="connsiteX136" fmla="*/ 665797 w 810577"/>
                  <a:gd name="connsiteY136" fmla="*/ 532352 h 578072"/>
                  <a:gd name="connsiteX137" fmla="*/ 694372 w 810577"/>
                  <a:gd name="connsiteY137" fmla="*/ 546640 h 578072"/>
                  <a:gd name="connsiteX138" fmla="*/ 704850 w 810577"/>
                  <a:gd name="connsiteY138" fmla="*/ 535210 h 578072"/>
                  <a:gd name="connsiteX139" fmla="*/ 694372 w 810577"/>
                  <a:gd name="connsiteY139" fmla="*/ 511397 h 578072"/>
                  <a:gd name="connsiteX140" fmla="*/ 698183 w 810577"/>
                  <a:gd name="connsiteY140" fmla="*/ 507682 h 578072"/>
                  <a:gd name="connsiteX141" fmla="*/ 704850 w 810577"/>
                  <a:gd name="connsiteY141" fmla="*/ 507682 h 578072"/>
                  <a:gd name="connsiteX142" fmla="*/ 715327 w 810577"/>
                  <a:gd name="connsiteY142" fmla="*/ 511397 h 578072"/>
                  <a:gd name="connsiteX143" fmla="*/ 719137 w 810577"/>
                  <a:gd name="connsiteY143" fmla="*/ 500063 h 578072"/>
                  <a:gd name="connsiteX144" fmla="*/ 694372 w 810577"/>
                  <a:gd name="connsiteY144" fmla="*/ 476250 h 578072"/>
                  <a:gd name="connsiteX145" fmla="*/ 662940 w 810577"/>
                  <a:gd name="connsiteY145" fmla="*/ 451390 h 578072"/>
                  <a:gd name="connsiteX146" fmla="*/ 641033 w 810577"/>
                  <a:gd name="connsiteY146" fmla="*/ 429578 h 578072"/>
                  <a:gd name="connsiteX147" fmla="*/ 630555 w 810577"/>
                  <a:gd name="connsiteY147" fmla="*/ 404813 h 578072"/>
                  <a:gd name="connsiteX148" fmla="*/ 634365 w 810577"/>
                  <a:gd name="connsiteY148" fmla="*/ 391478 h 578072"/>
                  <a:gd name="connsiteX149" fmla="*/ 627697 w 810577"/>
                  <a:gd name="connsiteY149" fmla="*/ 373285 h 578072"/>
                  <a:gd name="connsiteX150" fmla="*/ 641033 w 810577"/>
                  <a:gd name="connsiteY150" fmla="*/ 366713 h 578072"/>
                  <a:gd name="connsiteX151" fmla="*/ 680085 w 810577"/>
                  <a:gd name="connsiteY151" fmla="*/ 391478 h 578072"/>
                  <a:gd name="connsiteX152" fmla="*/ 686752 w 810577"/>
                  <a:gd name="connsiteY152" fmla="*/ 404813 h 578072"/>
                  <a:gd name="connsiteX153" fmla="*/ 701040 w 810577"/>
                  <a:gd name="connsiteY153" fmla="*/ 422815 h 578072"/>
                  <a:gd name="connsiteX154" fmla="*/ 729615 w 810577"/>
                  <a:gd name="connsiteY154" fmla="*/ 437102 h 578072"/>
                  <a:gd name="connsiteX155" fmla="*/ 740093 w 810577"/>
                  <a:gd name="connsiteY155" fmla="*/ 422815 h 578072"/>
                  <a:gd name="connsiteX156" fmla="*/ 740093 w 810577"/>
                  <a:gd name="connsiteY156" fmla="*/ 408527 h 578072"/>
                  <a:gd name="connsiteX157" fmla="*/ 757237 w 810577"/>
                  <a:gd name="connsiteY157" fmla="*/ 408527 h 578072"/>
                  <a:gd name="connsiteX158" fmla="*/ 768668 w 810577"/>
                  <a:gd name="connsiteY158" fmla="*/ 398145 h 578072"/>
                  <a:gd name="connsiteX159" fmla="*/ 764858 w 810577"/>
                  <a:gd name="connsiteY159" fmla="*/ 381000 h 578072"/>
                  <a:gd name="connsiteX160" fmla="*/ 782002 w 810577"/>
                  <a:gd name="connsiteY160" fmla="*/ 381000 h 578072"/>
                  <a:gd name="connsiteX161" fmla="*/ 806768 w 810577"/>
                  <a:gd name="connsiteY161" fmla="*/ 377190 h 578072"/>
                  <a:gd name="connsiteX162" fmla="*/ 810577 w 810577"/>
                  <a:gd name="connsiteY162" fmla="*/ 373285 h 578072"/>
                  <a:gd name="connsiteX163" fmla="*/ 810577 w 810577"/>
                  <a:gd name="connsiteY163" fmla="*/ 366713 h 578072"/>
                  <a:gd name="connsiteX164" fmla="*/ 810577 w 810577"/>
                  <a:gd name="connsiteY164" fmla="*/ 358997 h 578072"/>
                  <a:gd name="connsiteX165" fmla="*/ 792480 w 810577"/>
                  <a:gd name="connsiteY165" fmla="*/ 345757 h 578072"/>
                  <a:gd name="connsiteX166" fmla="*/ 771525 w 810577"/>
                  <a:gd name="connsiteY166" fmla="*/ 341852 h 578072"/>
                  <a:gd name="connsiteX167" fmla="*/ 764858 w 810577"/>
                  <a:gd name="connsiteY167" fmla="*/ 334232 h 578072"/>
                  <a:gd name="connsiteX168" fmla="*/ 746760 w 810577"/>
                  <a:gd name="connsiteY168" fmla="*/ 320897 h 578072"/>
                  <a:gd name="connsiteX169" fmla="*/ 733425 w 810577"/>
                  <a:gd name="connsiteY169" fmla="*/ 317182 h 578072"/>
                  <a:gd name="connsiteX170" fmla="*/ 715327 w 810577"/>
                  <a:gd name="connsiteY170" fmla="*/ 317182 h 578072"/>
                  <a:gd name="connsiteX171" fmla="*/ 711518 w 810577"/>
                  <a:gd name="connsiteY171" fmla="*/ 306610 h 578072"/>
                  <a:gd name="connsiteX172" fmla="*/ 701040 w 810577"/>
                  <a:gd name="connsiteY172" fmla="*/ 299085 h 578072"/>
                  <a:gd name="connsiteX173" fmla="*/ 683895 w 810577"/>
                  <a:gd name="connsiteY173" fmla="*/ 296132 h 578072"/>
                  <a:gd name="connsiteX174" fmla="*/ 673418 w 810577"/>
                  <a:gd name="connsiteY174" fmla="*/ 292322 h 578072"/>
                  <a:gd name="connsiteX175" fmla="*/ 673418 w 810577"/>
                  <a:gd name="connsiteY175" fmla="*/ 281845 h 578072"/>
                  <a:gd name="connsiteX176" fmla="*/ 652462 w 810577"/>
                  <a:gd name="connsiteY176" fmla="*/ 271463 h 578072"/>
                  <a:gd name="connsiteX177" fmla="*/ 638175 w 810577"/>
                  <a:gd name="connsiteY177" fmla="*/ 274320 h 578072"/>
                  <a:gd name="connsiteX178" fmla="*/ 623887 w 810577"/>
                  <a:gd name="connsiteY178" fmla="*/ 274320 h 578072"/>
                  <a:gd name="connsiteX179" fmla="*/ 609600 w 810577"/>
                  <a:gd name="connsiteY179" fmla="*/ 263747 h 578072"/>
                  <a:gd name="connsiteX180" fmla="*/ 602933 w 810577"/>
                  <a:gd name="connsiteY180" fmla="*/ 253270 h 578072"/>
                  <a:gd name="connsiteX181" fmla="*/ 602933 w 810577"/>
                  <a:gd name="connsiteY181" fmla="*/ 246698 h 578072"/>
                  <a:gd name="connsiteX182" fmla="*/ 605790 w 810577"/>
                  <a:gd name="connsiteY182" fmla="*/ 242888 h 578072"/>
                  <a:gd name="connsiteX183" fmla="*/ 609600 w 810577"/>
                  <a:gd name="connsiteY183" fmla="*/ 238982 h 578072"/>
                  <a:gd name="connsiteX184" fmla="*/ 638175 w 810577"/>
                  <a:gd name="connsiteY184" fmla="*/ 242888 h 578072"/>
                  <a:gd name="connsiteX185" fmla="*/ 648652 w 810577"/>
                  <a:gd name="connsiteY185" fmla="*/ 242888 h 578072"/>
                  <a:gd name="connsiteX186" fmla="*/ 652462 w 810577"/>
                  <a:gd name="connsiteY186" fmla="*/ 242888 h 578072"/>
                  <a:gd name="connsiteX187" fmla="*/ 648652 w 810577"/>
                  <a:gd name="connsiteY187" fmla="*/ 236220 h 578072"/>
                  <a:gd name="connsiteX188" fmla="*/ 638175 w 810577"/>
                  <a:gd name="connsiteY188" fmla="*/ 225647 h 578072"/>
                  <a:gd name="connsiteX189" fmla="*/ 620077 w 810577"/>
                  <a:gd name="connsiteY189" fmla="*/ 225647 h 578072"/>
                  <a:gd name="connsiteX190" fmla="*/ 602933 w 810577"/>
                  <a:gd name="connsiteY190" fmla="*/ 225647 h 578072"/>
                  <a:gd name="connsiteX191" fmla="*/ 602933 w 810577"/>
                  <a:gd name="connsiteY191" fmla="*/ 215170 h 578072"/>
                  <a:gd name="connsiteX192" fmla="*/ 613410 w 810577"/>
                  <a:gd name="connsiteY192" fmla="*/ 215170 h 578072"/>
                  <a:gd name="connsiteX193" fmla="*/ 623887 w 810577"/>
                  <a:gd name="connsiteY193" fmla="*/ 215170 h 578072"/>
                  <a:gd name="connsiteX194" fmla="*/ 638175 w 810577"/>
                  <a:gd name="connsiteY194" fmla="*/ 215170 h 578072"/>
                  <a:gd name="connsiteX195" fmla="*/ 634365 w 810577"/>
                  <a:gd name="connsiteY195" fmla="*/ 203835 h 578072"/>
                  <a:gd name="connsiteX196" fmla="*/ 627697 w 810577"/>
                  <a:gd name="connsiteY196" fmla="*/ 193357 h 578072"/>
                  <a:gd name="connsiteX197" fmla="*/ 617220 w 810577"/>
                  <a:gd name="connsiteY197" fmla="*/ 190500 h 578072"/>
                  <a:gd name="connsiteX198" fmla="*/ 584835 w 810577"/>
                  <a:gd name="connsiteY198" fmla="*/ 197072 h 578072"/>
                  <a:gd name="connsiteX199" fmla="*/ 570547 w 810577"/>
                  <a:gd name="connsiteY199" fmla="*/ 190500 h 578072"/>
                  <a:gd name="connsiteX200" fmla="*/ 588645 w 810577"/>
                  <a:gd name="connsiteY200" fmla="*/ 182785 h 578072"/>
                  <a:gd name="connsiteX201" fmla="*/ 602933 w 810577"/>
                  <a:gd name="connsiteY201" fmla="*/ 176213 h 578072"/>
                  <a:gd name="connsiteX202" fmla="*/ 602933 w 810577"/>
                  <a:gd name="connsiteY202" fmla="*/ 168497 h 578072"/>
                  <a:gd name="connsiteX203" fmla="*/ 584835 w 810577"/>
                  <a:gd name="connsiteY203" fmla="*/ 161925 h 578072"/>
                  <a:gd name="connsiteX204" fmla="*/ 563880 w 810577"/>
                  <a:gd name="connsiteY204" fmla="*/ 161925 h 578072"/>
                  <a:gd name="connsiteX205" fmla="*/ 535305 w 810577"/>
                  <a:gd name="connsiteY205" fmla="*/ 172307 h 578072"/>
                  <a:gd name="connsiteX206" fmla="*/ 524827 w 810577"/>
                  <a:gd name="connsiteY206" fmla="*/ 172307 h 578072"/>
                  <a:gd name="connsiteX207" fmla="*/ 539115 w 810577"/>
                  <a:gd name="connsiteY207" fmla="*/ 158020 h 578072"/>
                  <a:gd name="connsiteX208" fmla="*/ 539115 w 810577"/>
                  <a:gd name="connsiteY208" fmla="*/ 147638 h 578072"/>
                  <a:gd name="connsiteX209" fmla="*/ 528637 w 810577"/>
                  <a:gd name="connsiteY209" fmla="*/ 151448 h 578072"/>
                  <a:gd name="connsiteX210" fmla="*/ 511492 w 810577"/>
                  <a:gd name="connsiteY210" fmla="*/ 158020 h 578072"/>
                  <a:gd name="connsiteX211" fmla="*/ 501015 w 810577"/>
                  <a:gd name="connsiteY211" fmla="*/ 151448 h 578072"/>
                  <a:gd name="connsiteX212" fmla="*/ 514350 w 810577"/>
                  <a:gd name="connsiteY212" fmla="*/ 140970 h 578072"/>
                  <a:gd name="connsiteX213" fmla="*/ 521970 w 810577"/>
                  <a:gd name="connsiteY213" fmla="*/ 133350 h 5780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</a:cxnLst>
                <a:rect l="l" t="t" r="r" b="b"/>
                <a:pathLst>
                  <a:path w="810577" h="578072">
                    <a:moveTo>
                      <a:pt x="521970" y="133350"/>
                    </a:moveTo>
                    <a:lnTo>
                      <a:pt x="511492" y="122873"/>
                    </a:lnTo>
                    <a:lnTo>
                      <a:pt x="493395" y="119920"/>
                    </a:lnTo>
                    <a:lnTo>
                      <a:pt x="465772" y="130397"/>
                    </a:lnTo>
                    <a:lnTo>
                      <a:pt x="447675" y="130397"/>
                    </a:lnTo>
                    <a:lnTo>
                      <a:pt x="458152" y="116110"/>
                    </a:lnTo>
                    <a:lnTo>
                      <a:pt x="454342" y="101822"/>
                    </a:lnTo>
                    <a:lnTo>
                      <a:pt x="433387" y="116110"/>
                    </a:lnTo>
                    <a:lnTo>
                      <a:pt x="419100" y="119920"/>
                    </a:lnTo>
                    <a:lnTo>
                      <a:pt x="430530" y="105632"/>
                    </a:lnTo>
                    <a:lnTo>
                      <a:pt x="441008" y="95250"/>
                    </a:lnTo>
                    <a:lnTo>
                      <a:pt x="422910" y="91345"/>
                    </a:lnTo>
                    <a:lnTo>
                      <a:pt x="398145" y="101822"/>
                    </a:lnTo>
                    <a:lnTo>
                      <a:pt x="401955" y="87535"/>
                    </a:lnTo>
                    <a:lnTo>
                      <a:pt x="419100" y="77057"/>
                    </a:lnTo>
                    <a:lnTo>
                      <a:pt x="405765" y="70485"/>
                    </a:lnTo>
                    <a:lnTo>
                      <a:pt x="377190" y="60007"/>
                    </a:lnTo>
                    <a:lnTo>
                      <a:pt x="349567" y="60007"/>
                    </a:lnTo>
                    <a:lnTo>
                      <a:pt x="324802" y="62770"/>
                    </a:lnTo>
                    <a:lnTo>
                      <a:pt x="317183" y="87535"/>
                    </a:lnTo>
                    <a:lnTo>
                      <a:pt x="296227" y="73247"/>
                    </a:lnTo>
                    <a:lnTo>
                      <a:pt x="279083" y="73247"/>
                    </a:lnTo>
                    <a:lnTo>
                      <a:pt x="271463" y="91345"/>
                    </a:lnTo>
                    <a:lnTo>
                      <a:pt x="254317" y="91345"/>
                    </a:lnTo>
                    <a:lnTo>
                      <a:pt x="254317" y="73247"/>
                    </a:lnTo>
                    <a:lnTo>
                      <a:pt x="260985" y="66675"/>
                    </a:lnTo>
                    <a:lnTo>
                      <a:pt x="260985" y="52388"/>
                    </a:lnTo>
                    <a:lnTo>
                      <a:pt x="257175" y="38100"/>
                    </a:lnTo>
                    <a:lnTo>
                      <a:pt x="246697" y="24670"/>
                    </a:lnTo>
                    <a:lnTo>
                      <a:pt x="236220" y="10382"/>
                    </a:lnTo>
                    <a:lnTo>
                      <a:pt x="215265" y="2857"/>
                    </a:lnTo>
                    <a:lnTo>
                      <a:pt x="190500" y="6572"/>
                    </a:lnTo>
                    <a:lnTo>
                      <a:pt x="148590" y="27623"/>
                    </a:lnTo>
                    <a:lnTo>
                      <a:pt x="127635" y="45720"/>
                    </a:lnTo>
                    <a:lnTo>
                      <a:pt x="123825" y="66675"/>
                    </a:lnTo>
                    <a:lnTo>
                      <a:pt x="138113" y="80963"/>
                    </a:lnTo>
                    <a:lnTo>
                      <a:pt x="117157" y="87535"/>
                    </a:lnTo>
                    <a:lnTo>
                      <a:pt x="134302" y="112395"/>
                    </a:lnTo>
                    <a:lnTo>
                      <a:pt x="144780" y="126682"/>
                    </a:lnTo>
                    <a:lnTo>
                      <a:pt x="120015" y="133350"/>
                    </a:lnTo>
                    <a:lnTo>
                      <a:pt x="95250" y="87535"/>
                    </a:lnTo>
                    <a:lnTo>
                      <a:pt x="95250" y="70485"/>
                    </a:lnTo>
                    <a:lnTo>
                      <a:pt x="95250" y="49435"/>
                    </a:lnTo>
                    <a:lnTo>
                      <a:pt x="113347" y="20860"/>
                    </a:lnTo>
                    <a:lnTo>
                      <a:pt x="134302" y="14288"/>
                    </a:lnTo>
                    <a:lnTo>
                      <a:pt x="144780" y="2857"/>
                    </a:lnTo>
                    <a:lnTo>
                      <a:pt x="92392" y="0"/>
                    </a:lnTo>
                    <a:lnTo>
                      <a:pt x="67627" y="2857"/>
                    </a:lnTo>
                    <a:lnTo>
                      <a:pt x="35242" y="24670"/>
                    </a:lnTo>
                    <a:lnTo>
                      <a:pt x="14288" y="52388"/>
                    </a:lnTo>
                    <a:lnTo>
                      <a:pt x="0" y="87535"/>
                    </a:lnTo>
                    <a:lnTo>
                      <a:pt x="0" y="126682"/>
                    </a:lnTo>
                    <a:lnTo>
                      <a:pt x="28575" y="137160"/>
                    </a:lnTo>
                    <a:lnTo>
                      <a:pt x="57150" y="133350"/>
                    </a:lnTo>
                    <a:lnTo>
                      <a:pt x="67627" y="144685"/>
                    </a:lnTo>
                    <a:lnTo>
                      <a:pt x="57150" y="151448"/>
                    </a:lnTo>
                    <a:lnTo>
                      <a:pt x="28575" y="147638"/>
                    </a:lnTo>
                    <a:lnTo>
                      <a:pt x="14288" y="147638"/>
                    </a:lnTo>
                    <a:lnTo>
                      <a:pt x="14288" y="165735"/>
                    </a:lnTo>
                    <a:lnTo>
                      <a:pt x="35242" y="180023"/>
                    </a:lnTo>
                    <a:lnTo>
                      <a:pt x="57150" y="186595"/>
                    </a:lnTo>
                    <a:lnTo>
                      <a:pt x="70485" y="176213"/>
                    </a:lnTo>
                    <a:lnTo>
                      <a:pt x="84772" y="182785"/>
                    </a:lnTo>
                    <a:lnTo>
                      <a:pt x="99060" y="193357"/>
                    </a:lnTo>
                    <a:lnTo>
                      <a:pt x="130492" y="193357"/>
                    </a:lnTo>
                    <a:lnTo>
                      <a:pt x="159067" y="200882"/>
                    </a:lnTo>
                    <a:lnTo>
                      <a:pt x="208597" y="207645"/>
                    </a:lnTo>
                    <a:lnTo>
                      <a:pt x="229552" y="203835"/>
                    </a:lnTo>
                    <a:lnTo>
                      <a:pt x="240030" y="193357"/>
                    </a:lnTo>
                    <a:lnTo>
                      <a:pt x="279083" y="203835"/>
                    </a:lnTo>
                    <a:lnTo>
                      <a:pt x="302895" y="203835"/>
                    </a:lnTo>
                    <a:lnTo>
                      <a:pt x="314325" y="197072"/>
                    </a:lnTo>
                    <a:lnTo>
                      <a:pt x="310515" y="186595"/>
                    </a:lnTo>
                    <a:lnTo>
                      <a:pt x="302895" y="176213"/>
                    </a:lnTo>
                    <a:lnTo>
                      <a:pt x="314325" y="172307"/>
                    </a:lnTo>
                    <a:lnTo>
                      <a:pt x="327660" y="186595"/>
                    </a:lnTo>
                    <a:lnTo>
                      <a:pt x="335280" y="197072"/>
                    </a:lnTo>
                    <a:lnTo>
                      <a:pt x="345758" y="211360"/>
                    </a:lnTo>
                    <a:lnTo>
                      <a:pt x="356235" y="200882"/>
                    </a:lnTo>
                    <a:lnTo>
                      <a:pt x="373380" y="218123"/>
                    </a:lnTo>
                    <a:lnTo>
                      <a:pt x="384810" y="225647"/>
                    </a:lnTo>
                    <a:lnTo>
                      <a:pt x="391477" y="236220"/>
                    </a:lnTo>
                    <a:lnTo>
                      <a:pt x="370522" y="250507"/>
                    </a:lnTo>
                    <a:lnTo>
                      <a:pt x="384810" y="263747"/>
                    </a:lnTo>
                    <a:lnTo>
                      <a:pt x="401955" y="250507"/>
                    </a:lnTo>
                    <a:lnTo>
                      <a:pt x="422910" y="250507"/>
                    </a:lnTo>
                    <a:lnTo>
                      <a:pt x="422910" y="260985"/>
                    </a:lnTo>
                    <a:lnTo>
                      <a:pt x="433387" y="274320"/>
                    </a:lnTo>
                    <a:lnTo>
                      <a:pt x="447675" y="267557"/>
                    </a:lnTo>
                    <a:lnTo>
                      <a:pt x="451485" y="281845"/>
                    </a:lnTo>
                    <a:lnTo>
                      <a:pt x="465772" y="281845"/>
                    </a:lnTo>
                    <a:lnTo>
                      <a:pt x="479108" y="302895"/>
                    </a:lnTo>
                    <a:lnTo>
                      <a:pt x="493395" y="334232"/>
                    </a:lnTo>
                    <a:lnTo>
                      <a:pt x="472440" y="356140"/>
                    </a:lnTo>
                    <a:lnTo>
                      <a:pt x="447675" y="369570"/>
                    </a:lnTo>
                    <a:lnTo>
                      <a:pt x="433387" y="391478"/>
                    </a:lnTo>
                    <a:lnTo>
                      <a:pt x="447675" y="401860"/>
                    </a:lnTo>
                    <a:lnTo>
                      <a:pt x="454342" y="408527"/>
                    </a:lnTo>
                    <a:lnTo>
                      <a:pt x="433387" y="416147"/>
                    </a:lnTo>
                    <a:lnTo>
                      <a:pt x="419100" y="422815"/>
                    </a:lnTo>
                    <a:lnTo>
                      <a:pt x="408622" y="433388"/>
                    </a:lnTo>
                    <a:lnTo>
                      <a:pt x="398145" y="426720"/>
                    </a:lnTo>
                    <a:lnTo>
                      <a:pt x="377190" y="419100"/>
                    </a:lnTo>
                    <a:lnTo>
                      <a:pt x="356235" y="416147"/>
                    </a:lnTo>
                    <a:lnTo>
                      <a:pt x="331470" y="433388"/>
                    </a:lnTo>
                    <a:lnTo>
                      <a:pt x="327660" y="454247"/>
                    </a:lnTo>
                    <a:lnTo>
                      <a:pt x="341947" y="472440"/>
                    </a:lnTo>
                    <a:lnTo>
                      <a:pt x="366712" y="476250"/>
                    </a:lnTo>
                    <a:lnTo>
                      <a:pt x="384810" y="468535"/>
                    </a:lnTo>
                    <a:lnTo>
                      <a:pt x="395287" y="461963"/>
                    </a:lnTo>
                    <a:lnTo>
                      <a:pt x="416242" y="461963"/>
                    </a:lnTo>
                    <a:lnTo>
                      <a:pt x="419100" y="458153"/>
                    </a:lnTo>
                    <a:lnTo>
                      <a:pt x="419100" y="454247"/>
                    </a:lnTo>
                    <a:lnTo>
                      <a:pt x="419100" y="439960"/>
                    </a:lnTo>
                    <a:lnTo>
                      <a:pt x="430530" y="447675"/>
                    </a:lnTo>
                    <a:lnTo>
                      <a:pt x="451485" y="454247"/>
                    </a:lnTo>
                    <a:lnTo>
                      <a:pt x="461962" y="464820"/>
                    </a:lnTo>
                    <a:lnTo>
                      <a:pt x="479108" y="482822"/>
                    </a:lnTo>
                    <a:lnTo>
                      <a:pt x="493395" y="497110"/>
                    </a:lnTo>
                    <a:lnTo>
                      <a:pt x="507683" y="493395"/>
                    </a:lnTo>
                    <a:lnTo>
                      <a:pt x="518160" y="503777"/>
                    </a:lnTo>
                    <a:lnTo>
                      <a:pt x="511492" y="511397"/>
                    </a:lnTo>
                    <a:lnTo>
                      <a:pt x="521970" y="524828"/>
                    </a:lnTo>
                    <a:lnTo>
                      <a:pt x="546735" y="553403"/>
                    </a:lnTo>
                    <a:lnTo>
                      <a:pt x="549593" y="535210"/>
                    </a:lnTo>
                    <a:lnTo>
                      <a:pt x="563880" y="535210"/>
                    </a:lnTo>
                    <a:lnTo>
                      <a:pt x="588645" y="553403"/>
                    </a:lnTo>
                    <a:lnTo>
                      <a:pt x="623887" y="567690"/>
                    </a:lnTo>
                    <a:lnTo>
                      <a:pt x="665797" y="578072"/>
                    </a:lnTo>
                    <a:lnTo>
                      <a:pt x="659130" y="563785"/>
                    </a:lnTo>
                    <a:lnTo>
                      <a:pt x="652462" y="549497"/>
                    </a:lnTo>
                    <a:lnTo>
                      <a:pt x="644843" y="539115"/>
                    </a:lnTo>
                    <a:lnTo>
                      <a:pt x="613410" y="514350"/>
                    </a:lnTo>
                    <a:lnTo>
                      <a:pt x="595312" y="497110"/>
                    </a:lnTo>
                    <a:lnTo>
                      <a:pt x="605790" y="489490"/>
                    </a:lnTo>
                    <a:lnTo>
                      <a:pt x="627697" y="511397"/>
                    </a:lnTo>
                    <a:lnTo>
                      <a:pt x="665797" y="532352"/>
                    </a:lnTo>
                    <a:lnTo>
                      <a:pt x="694372" y="546640"/>
                    </a:lnTo>
                    <a:lnTo>
                      <a:pt x="704850" y="535210"/>
                    </a:lnTo>
                    <a:lnTo>
                      <a:pt x="694372" y="511397"/>
                    </a:lnTo>
                    <a:lnTo>
                      <a:pt x="698183" y="507682"/>
                    </a:lnTo>
                    <a:lnTo>
                      <a:pt x="704850" y="507682"/>
                    </a:lnTo>
                    <a:lnTo>
                      <a:pt x="715327" y="511397"/>
                    </a:lnTo>
                    <a:lnTo>
                      <a:pt x="719137" y="500063"/>
                    </a:lnTo>
                    <a:lnTo>
                      <a:pt x="694372" y="476250"/>
                    </a:lnTo>
                    <a:lnTo>
                      <a:pt x="662940" y="451390"/>
                    </a:lnTo>
                    <a:lnTo>
                      <a:pt x="641033" y="429578"/>
                    </a:lnTo>
                    <a:lnTo>
                      <a:pt x="630555" y="404813"/>
                    </a:lnTo>
                    <a:lnTo>
                      <a:pt x="634365" y="391478"/>
                    </a:lnTo>
                    <a:lnTo>
                      <a:pt x="627697" y="373285"/>
                    </a:lnTo>
                    <a:lnTo>
                      <a:pt x="641033" y="366713"/>
                    </a:lnTo>
                    <a:lnTo>
                      <a:pt x="680085" y="391478"/>
                    </a:lnTo>
                    <a:lnTo>
                      <a:pt x="686752" y="404813"/>
                    </a:lnTo>
                    <a:lnTo>
                      <a:pt x="701040" y="422815"/>
                    </a:lnTo>
                    <a:lnTo>
                      <a:pt x="729615" y="437102"/>
                    </a:lnTo>
                    <a:lnTo>
                      <a:pt x="740093" y="422815"/>
                    </a:lnTo>
                    <a:lnTo>
                      <a:pt x="740093" y="408527"/>
                    </a:lnTo>
                    <a:lnTo>
                      <a:pt x="757237" y="408527"/>
                    </a:lnTo>
                    <a:lnTo>
                      <a:pt x="768668" y="398145"/>
                    </a:lnTo>
                    <a:lnTo>
                      <a:pt x="764858" y="381000"/>
                    </a:lnTo>
                    <a:lnTo>
                      <a:pt x="782002" y="381000"/>
                    </a:lnTo>
                    <a:lnTo>
                      <a:pt x="806768" y="377190"/>
                    </a:lnTo>
                    <a:lnTo>
                      <a:pt x="810577" y="373285"/>
                    </a:lnTo>
                    <a:lnTo>
                      <a:pt x="810577" y="366713"/>
                    </a:lnTo>
                    <a:lnTo>
                      <a:pt x="810577" y="358997"/>
                    </a:lnTo>
                    <a:lnTo>
                      <a:pt x="792480" y="345757"/>
                    </a:lnTo>
                    <a:lnTo>
                      <a:pt x="771525" y="341852"/>
                    </a:lnTo>
                    <a:lnTo>
                      <a:pt x="764858" y="334232"/>
                    </a:lnTo>
                    <a:lnTo>
                      <a:pt x="746760" y="320897"/>
                    </a:lnTo>
                    <a:lnTo>
                      <a:pt x="733425" y="317182"/>
                    </a:lnTo>
                    <a:lnTo>
                      <a:pt x="715327" y="317182"/>
                    </a:lnTo>
                    <a:lnTo>
                      <a:pt x="711518" y="306610"/>
                    </a:lnTo>
                    <a:lnTo>
                      <a:pt x="701040" y="299085"/>
                    </a:lnTo>
                    <a:lnTo>
                      <a:pt x="683895" y="296132"/>
                    </a:lnTo>
                    <a:lnTo>
                      <a:pt x="673418" y="292322"/>
                    </a:lnTo>
                    <a:lnTo>
                      <a:pt x="673418" y="281845"/>
                    </a:lnTo>
                    <a:lnTo>
                      <a:pt x="652462" y="271463"/>
                    </a:lnTo>
                    <a:lnTo>
                      <a:pt x="638175" y="274320"/>
                    </a:lnTo>
                    <a:lnTo>
                      <a:pt x="623887" y="274320"/>
                    </a:lnTo>
                    <a:lnTo>
                      <a:pt x="609600" y="263747"/>
                    </a:lnTo>
                    <a:lnTo>
                      <a:pt x="602933" y="253270"/>
                    </a:lnTo>
                    <a:lnTo>
                      <a:pt x="602933" y="246698"/>
                    </a:lnTo>
                    <a:lnTo>
                      <a:pt x="605790" y="242888"/>
                    </a:lnTo>
                    <a:lnTo>
                      <a:pt x="609600" y="238982"/>
                    </a:lnTo>
                    <a:lnTo>
                      <a:pt x="638175" y="242888"/>
                    </a:lnTo>
                    <a:lnTo>
                      <a:pt x="648652" y="242888"/>
                    </a:lnTo>
                    <a:lnTo>
                      <a:pt x="652462" y="242888"/>
                    </a:lnTo>
                    <a:lnTo>
                      <a:pt x="648652" y="236220"/>
                    </a:lnTo>
                    <a:lnTo>
                      <a:pt x="638175" y="225647"/>
                    </a:lnTo>
                    <a:lnTo>
                      <a:pt x="620077" y="225647"/>
                    </a:lnTo>
                    <a:lnTo>
                      <a:pt x="602933" y="225647"/>
                    </a:lnTo>
                    <a:lnTo>
                      <a:pt x="602933" y="215170"/>
                    </a:lnTo>
                    <a:lnTo>
                      <a:pt x="613410" y="215170"/>
                    </a:lnTo>
                    <a:lnTo>
                      <a:pt x="623887" y="215170"/>
                    </a:lnTo>
                    <a:lnTo>
                      <a:pt x="638175" y="215170"/>
                    </a:lnTo>
                    <a:lnTo>
                      <a:pt x="634365" y="203835"/>
                    </a:lnTo>
                    <a:lnTo>
                      <a:pt x="627697" y="193357"/>
                    </a:lnTo>
                    <a:lnTo>
                      <a:pt x="617220" y="190500"/>
                    </a:lnTo>
                    <a:lnTo>
                      <a:pt x="584835" y="197072"/>
                    </a:lnTo>
                    <a:lnTo>
                      <a:pt x="570547" y="190500"/>
                    </a:lnTo>
                    <a:lnTo>
                      <a:pt x="588645" y="182785"/>
                    </a:lnTo>
                    <a:lnTo>
                      <a:pt x="602933" y="176213"/>
                    </a:lnTo>
                    <a:lnTo>
                      <a:pt x="602933" y="168497"/>
                    </a:lnTo>
                    <a:lnTo>
                      <a:pt x="584835" y="161925"/>
                    </a:lnTo>
                    <a:lnTo>
                      <a:pt x="563880" y="161925"/>
                    </a:lnTo>
                    <a:lnTo>
                      <a:pt x="535305" y="172307"/>
                    </a:lnTo>
                    <a:lnTo>
                      <a:pt x="524827" y="172307"/>
                    </a:lnTo>
                    <a:lnTo>
                      <a:pt x="539115" y="158020"/>
                    </a:lnTo>
                    <a:lnTo>
                      <a:pt x="539115" y="147638"/>
                    </a:lnTo>
                    <a:lnTo>
                      <a:pt x="528637" y="151448"/>
                    </a:lnTo>
                    <a:lnTo>
                      <a:pt x="511492" y="158020"/>
                    </a:lnTo>
                    <a:lnTo>
                      <a:pt x="501015" y="151448"/>
                    </a:lnTo>
                    <a:lnTo>
                      <a:pt x="514350" y="140970"/>
                    </a:lnTo>
                    <a:lnTo>
                      <a:pt x="521970" y="1333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5" name="Freeform: Shape 454">
                <a:extLst>
                  <a:ext uri="{FF2B5EF4-FFF2-40B4-BE49-F238E27FC236}">
                    <a16:creationId xmlns:a16="http://schemas.microsoft.com/office/drawing/2014/main" id="{E6D845DB-7F3D-4D14-41F1-AD7D1DCE9138}"/>
                  </a:ext>
                </a:extLst>
              </p:cNvPr>
              <p:cNvSpPr/>
              <p:nvPr/>
            </p:nvSpPr>
            <p:spPr>
              <a:xfrm>
                <a:off x="3690354" y="2542751"/>
                <a:ext cx="61625" cy="38283"/>
              </a:xfrm>
              <a:custGeom>
                <a:avLst/>
                <a:gdLst>
                  <a:gd name="connsiteX0" fmla="*/ 14288 w 62864"/>
                  <a:gd name="connsiteY0" fmla="*/ 10477 h 39052"/>
                  <a:gd name="connsiteX1" fmla="*/ 6667 w 62864"/>
                  <a:gd name="connsiteY1" fmla="*/ 18002 h 39052"/>
                  <a:gd name="connsiteX2" fmla="*/ 3810 w 62864"/>
                  <a:gd name="connsiteY2" fmla="*/ 20860 h 39052"/>
                  <a:gd name="connsiteX3" fmla="*/ 0 w 62864"/>
                  <a:gd name="connsiteY3" fmla="*/ 24765 h 39052"/>
                  <a:gd name="connsiteX4" fmla="*/ 10477 w 62864"/>
                  <a:gd name="connsiteY4" fmla="*/ 31432 h 39052"/>
                  <a:gd name="connsiteX5" fmla="*/ 17145 w 62864"/>
                  <a:gd name="connsiteY5" fmla="*/ 39052 h 39052"/>
                  <a:gd name="connsiteX6" fmla="*/ 39052 w 62864"/>
                  <a:gd name="connsiteY6" fmla="*/ 31432 h 39052"/>
                  <a:gd name="connsiteX7" fmla="*/ 52388 w 62864"/>
                  <a:gd name="connsiteY7" fmla="*/ 20860 h 39052"/>
                  <a:gd name="connsiteX8" fmla="*/ 62865 w 62864"/>
                  <a:gd name="connsiteY8" fmla="*/ 6572 h 39052"/>
                  <a:gd name="connsiteX9" fmla="*/ 60008 w 62864"/>
                  <a:gd name="connsiteY9" fmla="*/ 0 h 39052"/>
                  <a:gd name="connsiteX10" fmla="*/ 39052 w 62864"/>
                  <a:gd name="connsiteY10" fmla="*/ 0 h 39052"/>
                  <a:gd name="connsiteX11" fmla="*/ 14288 w 62864"/>
                  <a:gd name="connsiteY11" fmla="*/ 10477 h 39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2864" h="39052">
                    <a:moveTo>
                      <a:pt x="14288" y="10477"/>
                    </a:moveTo>
                    <a:lnTo>
                      <a:pt x="6667" y="18002"/>
                    </a:lnTo>
                    <a:lnTo>
                      <a:pt x="3810" y="20860"/>
                    </a:lnTo>
                    <a:lnTo>
                      <a:pt x="0" y="24765"/>
                    </a:lnTo>
                    <a:lnTo>
                      <a:pt x="10477" y="31432"/>
                    </a:lnTo>
                    <a:lnTo>
                      <a:pt x="17145" y="39052"/>
                    </a:lnTo>
                    <a:lnTo>
                      <a:pt x="39052" y="31432"/>
                    </a:lnTo>
                    <a:lnTo>
                      <a:pt x="52388" y="20860"/>
                    </a:lnTo>
                    <a:lnTo>
                      <a:pt x="62865" y="6572"/>
                    </a:lnTo>
                    <a:lnTo>
                      <a:pt x="60008" y="0"/>
                    </a:lnTo>
                    <a:lnTo>
                      <a:pt x="39052" y="0"/>
                    </a:lnTo>
                    <a:lnTo>
                      <a:pt x="14288" y="1047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6" name="Freeform: Shape 455">
                <a:extLst>
                  <a:ext uri="{FF2B5EF4-FFF2-40B4-BE49-F238E27FC236}">
                    <a16:creationId xmlns:a16="http://schemas.microsoft.com/office/drawing/2014/main" id="{1191094B-6318-85CF-C32E-C68D8AE4C580}"/>
                  </a:ext>
                </a:extLst>
              </p:cNvPr>
              <p:cNvSpPr/>
              <p:nvPr/>
            </p:nvSpPr>
            <p:spPr>
              <a:xfrm>
                <a:off x="3796798" y="2567028"/>
                <a:ext cx="28012" cy="38189"/>
              </a:xfrm>
              <a:custGeom>
                <a:avLst/>
                <a:gdLst>
                  <a:gd name="connsiteX0" fmla="*/ 28575 w 28575"/>
                  <a:gd name="connsiteY0" fmla="*/ 3810 h 38957"/>
                  <a:gd name="connsiteX1" fmla="*/ 14288 w 28575"/>
                  <a:gd name="connsiteY1" fmla="*/ 0 h 38957"/>
                  <a:gd name="connsiteX2" fmla="*/ 3810 w 28575"/>
                  <a:gd name="connsiteY2" fmla="*/ 10382 h 38957"/>
                  <a:gd name="connsiteX3" fmla="*/ 0 w 28575"/>
                  <a:gd name="connsiteY3" fmla="*/ 24670 h 38957"/>
                  <a:gd name="connsiteX4" fmla="*/ 14288 w 28575"/>
                  <a:gd name="connsiteY4" fmla="*/ 38957 h 38957"/>
                  <a:gd name="connsiteX5" fmla="*/ 28575 w 28575"/>
                  <a:gd name="connsiteY5" fmla="*/ 3810 h 3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75" h="38957">
                    <a:moveTo>
                      <a:pt x="28575" y="3810"/>
                    </a:moveTo>
                    <a:lnTo>
                      <a:pt x="14288" y="0"/>
                    </a:lnTo>
                    <a:lnTo>
                      <a:pt x="3810" y="10382"/>
                    </a:lnTo>
                    <a:lnTo>
                      <a:pt x="0" y="24670"/>
                    </a:lnTo>
                    <a:lnTo>
                      <a:pt x="14288" y="38957"/>
                    </a:lnTo>
                    <a:lnTo>
                      <a:pt x="28575" y="381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7" name="Freeform: Shape 456">
                <a:extLst>
                  <a:ext uri="{FF2B5EF4-FFF2-40B4-BE49-F238E27FC236}">
                    <a16:creationId xmlns:a16="http://schemas.microsoft.com/office/drawing/2014/main" id="{43395F0A-345C-0100-1E14-4CAE7E67CF34}"/>
                  </a:ext>
                </a:extLst>
              </p:cNvPr>
              <p:cNvSpPr/>
              <p:nvPr/>
            </p:nvSpPr>
            <p:spPr>
              <a:xfrm>
                <a:off x="2848135" y="1785493"/>
                <a:ext cx="37349" cy="24277"/>
              </a:xfrm>
              <a:custGeom>
                <a:avLst/>
                <a:gdLst>
                  <a:gd name="connsiteX0" fmla="*/ 17145 w 38100"/>
                  <a:gd name="connsiteY0" fmla="*/ 24765 h 24765"/>
                  <a:gd name="connsiteX1" fmla="*/ 38100 w 38100"/>
                  <a:gd name="connsiteY1" fmla="*/ 14288 h 24765"/>
                  <a:gd name="connsiteX2" fmla="*/ 27622 w 38100"/>
                  <a:gd name="connsiteY2" fmla="*/ 3810 h 24765"/>
                  <a:gd name="connsiteX3" fmla="*/ 13335 w 38100"/>
                  <a:gd name="connsiteY3" fmla="*/ 0 h 24765"/>
                  <a:gd name="connsiteX4" fmla="*/ 0 w 38100"/>
                  <a:gd name="connsiteY4" fmla="*/ 3810 h 24765"/>
                  <a:gd name="connsiteX5" fmla="*/ 2857 w 38100"/>
                  <a:gd name="connsiteY5" fmla="*/ 14288 h 24765"/>
                  <a:gd name="connsiteX6" fmla="*/ 17145 w 38100"/>
                  <a:gd name="connsiteY6" fmla="*/ 24765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8100" h="24765">
                    <a:moveTo>
                      <a:pt x="17145" y="24765"/>
                    </a:moveTo>
                    <a:lnTo>
                      <a:pt x="38100" y="14288"/>
                    </a:lnTo>
                    <a:lnTo>
                      <a:pt x="27622" y="3810"/>
                    </a:lnTo>
                    <a:lnTo>
                      <a:pt x="13335" y="0"/>
                    </a:lnTo>
                    <a:lnTo>
                      <a:pt x="0" y="3810"/>
                    </a:lnTo>
                    <a:lnTo>
                      <a:pt x="2857" y="14288"/>
                    </a:lnTo>
                    <a:lnTo>
                      <a:pt x="17145" y="2476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8" name="Freeform: Shape 457">
                <a:extLst>
                  <a:ext uri="{FF2B5EF4-FFF2-40B4-BE49-F238E27FC236}">
                    <a16:creationId xmlns:a16="http://schemas.microsoft.com/office/drawing/2014/main" id="{EC81C806-DA8B-9E9A-44FA-3F00A23FB245}"/>
                  </a:ext>
                </a:extLst>
              </p:cNvPr>
              <p:cNvSpPr/>
              <p:nvPr/>
            </p:nvSpPr>
            <p:spPr>
              <a:xfrm>
                <a:off x="3952731" y="2304648"/>
                <a:ext cx="34547" cy="27078"/>
              </a:xfrm>
              <a:custGeom>
                <a:avLst/>
                <a:gdLst>
                  <a:gd name="connsiteX0" fmla="*/ 27622 w 35242"/>
                  <a:gd name="connsiteY0" fmla="*/ 27623 h 27622"/>
                  <a:gd name="connsiteX1" fmla="*/ 35242 w 35242"/>
                  <a:gd name="connsiteY1" fmla="*/ 20860 h 27622"/>
                  <a:gd name="connsiteX2" fmla="*/ 27622 w 35242"/>
                  <a:gd name="connsiteY2" fmla="*/ 10382 h 27622"/>
                  <a:gd name="connsiteX3" fmla="*/ 14288 w 35242"/>
                  <a:gd name="connsiteY3" fmla="*/ 0 h 27622"/>
                  <a:gd name="connsiteX4" fmla="*/ 0 w 35242"/>
                  <a:gd name="connsiteY4" fmla="*/ 2857 h 27622"/>
                  <a:gd name="connsiteX5" fmla="*/ 0 w 35242"/>
                  <a:gd name="connsiteY5" fmla="*/ 17145 h 27622"/>
                  <a:gd name="connsiteX6" fmla="*/ 10477 w 35242"/>
                  <a:gd name="connsiteY6" fmla="*/ 24670 h 27622"/>
                  <a:gd name="connsiteX7" fmla="*/ 27622 w 35242"/>
                  <a:gd name="connsiteY7" fmla="*/ 27623 h 2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42" h="27622">
                    <a:moveTo>
                      <a:pt x="27622" y="27623"/>
                    </a:moveTo>
                    <a:lnTo>
                      <a:pt x="35242" y="20860"/>
                    </a:lnTo>
                    <a:lnTo>
                      <a:pt x="27622" y="10382"/>
                    </a:lnTo>
                    <a:lnTo>
                      <a:pt x="14288" y="0"/>
                    </a:lnTo>
                    <a:lnTo>
                      <a:pt x="0" y="2857"/>
                    </a:lnTo>
                    <a:lnTo>
                      <a:pt x="0" y="17145"/>
                    </a:lnTo>
                    <a:lnTo>
                      <a:pt x="10477" y="24670"/>
                    </a:lnTo>
                    <a:lnTo>
                      <a:pt x="27622" y="2762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59" name="Freeform: Shape 458">
                <a:extLst>
                  <a:ext uri="{FF2B5EF4-FFF2-40B4-BE49-F238E27FC236}">
                    <a16:creationId xmlns:a16="http://schemas.microsoft.com/office/drawing/2014/main" id="{DDB79CB6-9AEE-5AE5-DE0F-51A5A0A8FAFF}"/>
                  </a:ext>
                </a:extLst>
              </p:cNvPr>
              <p:cNvSpPr/>
              <p:nvPr/>
            </p:nvSpPr>
            <p:spPr>
              <a:xfrm>
                <a:off x="4239383" y="3054436"/>
                <a:ext cx="65361" cy="30813"/>
              </a:xfrm>
              <a:custGeom>
                <a:avLst/>
                <a:gdLst>
                  <a:gd name="connsiteX0" fmla="*/ 14288 w 66675"/>
                  <a:gd name="connsiteY0" fmla="*/ 0 h 31432"/>
                  <a:gd name="connsiteX1" fmla="*/ 0 w 66675"/>
                  <a:gd name="connsiteY1" fmla="*/ 3715 h 31432"/>
                  <a:gd name="connsiteX2" fmla="*/ 14288 w 66675"/>
                  <a:gd name="connsiteY2" fmla="*/ 14288 h 31432"/>
                  <a:gd name="connsiteX3" fmla="*/ 31433 w 66675"/>
                  <a:gd name="connsiteY3" fmla="*/ 24670 h 31432"/>
                  <a:gd name="connsiteX4" fmla="*/ 60008 w 66675"/>
                  <a:gd name="connsiteY4" fmla="*/ 31432 h 31432"/>
                  <a:gd name="connsiteX5" fmla="*/ 66675 w 66675"/>
                  <a:gd name="connsiteY5" fmla="*/ 20955 h 31432"/>
                  <a:gd name="connsiteX6" fmla="*/ 38100 w 66675"/>
                  <a:gd name="connsiteY6" fmla="*/ 3715 h 31432"/>
                  <a:gd name="connsiteX7" fmla="*/ 24765 w 66675"/>
                  <a:gd name="connsiteY7" fmla="*/ 0 h 31432"/>
                  <a:gd name="connsiteX8" fmla="*/ 14288 w 66675"/>
                  <a:gd name="connsiteY8" fmla="*/ 0 h 314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6675" h="31432">
                    <a:moveTo>
                      <a:pt x="14288" y="0"/>
                    </a:moveTo>
                    <a:lnTo>
                      <a:pt x="0" y="3715"/>
                    </a:lnTo>
                    <a:lnTo>
                      <a:pt x="14288" y="14288"/>
                    </a:lnTo>
                    <a:lnTo>
                      <a:pt x="31433" y="24670"/>
                    </a:lnTo>
                    <a:lnTo>
                      <a:pt x="60008" y="31432"/>
                    </a:lnTo>
                    <a:lnTo>
                      <a:pt x="66675" y="20955"/>
                    </a:lnTo>
                    <a:lnTo>
                      <a:pt x="38100" y="3715"/>
                    </a:lnTo>
                    <a:lnTo>
                      <a:pt x="24765" y="0"/>
                    </a:lnTo>
                    <a:lnTo>
                      <a:pt x="14288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0" name="Freeform: Shape 459">
                <a:extLst>
                  <a:ext uri="{FF2B5EF4-FFF2-40B4-BE49-F238E27FC236}">
                    <a16:creationId xmlns:a16="http://schemas.microsoft.com/office/drawing/2014/main" id="{625D2027-699F-5E1B-577C-68C027236152}"/>
                  </a:ext>
                </a:extLst>
              </p:cNvPr>
              <p:cNvSpPr/>
              <p:nvPr/>
            </p:nvSpPr>
            <p:spPr>
              <a:xfrm>
                <a:off x="2488651" y="3019887"/>
                <a:ext cx="124185" cy="85903"/>
              </a:xfrm>
              <a:custGeom>
                <a:avLst/>
                <a:gdLst>
                  <a:gd name="connsiteX0" fmla="*/ 99060 w 126682"/>
                  <a:gd name="connsiteY0" fmla="*/ 87630 h 87630"/>
                  <a:gd name="connsiteX1" fmla="*/ 116205 w 126682"/>
                  <a:gd name="connsiteY1" fmla="*/ 84773 h 87630"/>
                  <a:gd name="connsiteX2" fmla="*/ 126682 w 126682"/>
                  <a:gd name="connsiteY2" fmla="*/ 80963 h 87630"/>
                  <a:gd name="connsiteX3" fmla="*/ 123825 w 126682"/>
                  <a:gd name="connsiteY3" fmla="*/ 74200 h 87630"/>
                  <a:gd name="connsiteX4" fmla="*/ 116205 w 126682"/>
                  <a:gd name="connsiteY4" fmla="*/ 63818 h 87630"/>
                  <a:gd name="connsiteX5" fmla="*/ 99060 w 126682"/>
                  <a:gd name="connsiteY5" fmla="*/ 52388 h 87630"/>
                  <a:gd name="connsiteX6" fmla="*/ 88583 w 126682"/>
                  <a:gd name="connsiteY6" fmla="*/ 45625 h 87630"/>
                  <a:gd name="connsiteX7" fmla="*/ 74295 w 126682"/>
                  <a:gd name="connsiteY7" fmla="*/ 28575 h 87630"/>
                  <a:gd name="connsiteX8" fmla="*/ 56198 w 126682"/>
                  <a:gd name="connsiteY8" fmla="*/ 17050 h 87630"/>
                  <a:gd name="connsiteX9" fmla="*/ 42863 w 126682"/>
                  <a:gd name="connsiteY9" fmla="*/ 10382 h 87630"/>
                  <a:gd name="connsiteX10" fmla="*/ 20955 w 126682"/>
                  <a:gd name="connsiteY10" fmla="*/ 3810 h 87630"/>
                  <a:gd name="connsiteX11" fmla="*/ 0 w 126682"/>
                  <a:gd name="connsiteY11" fmla="*/ 0 h 87630"/>
                  <a:gd name="connsiteX12" fmla="*/ 0 w 126682"/>
                  <a:gd name="connsiteY12" fmla="*/ 17050 h 87630"/>
                  <a:gd name="connsiteX13" fmla="*/ 10477 w 126682"/>
                  <a:gd name="connsiteY13" fmla="*/ 24670 h 87630"/>
                  <a:gd name="connsiteX14" fmla="*/ 24765 w 126682"/>
                  <a:gd name="connsiteY14" fmla="*/ 31337 h 87630"/>
                  <a:gd name="connsiteX15" fmla="*/ 35243 w 126682"/>
                  <a:gd name="connsiteY15" fmla="*/ 31337 h 87630"/>
                  <a:gd name="connsiteX16" fmla="*/ 39052 w 126682"/>
                  <a:gd name="connsiteY16" fmla="*/ 41910 h 87630"/>
                  <a:gd name="connsiteX17" fmla="*/ 49530 w 126682"/>
                  <a:gd name="connsiteY17" fmla="*/ 41910 h 87630"/>
                  <a:gd name="connsiteX18" fmla="*/ 60008 w 126682"/>
                  <a:gd name="connsiteY18" fmla="*/ 56198 h 87630"/>
                  <a:gd name="connsiteX19" fmla="*/ 70485 w 126682"/>
                  <a:gd name="connsiteY19" fmla="*/ 66675 h 87630"/>
                  <a:gd name="connsiteX20" fmla="*/ 80963 w 126682"/>
                  <a:gd name="connsiteY20" fmla="*/ 66675 h 87630"/>
                  <a:gd name="connsiteX21" fmla="*/ 80963 w 126682"/>
                  <a:gd name="connsiteY21" fmla="*/ 80963 h 87630"/>
                  <a:gd name="connsiteX22" fmla="*/ 99060 w 126682"/>
                  <a:gd name="connsiteY22" fmla="*/ 87630 h 876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26682" h="87630">
                    <a:moveTo>
                      <a:pt x="99060" y="87630"/>
                    </a:moveTo>
                    <a:lnTo>
                      <a:pt x="116205" y="84773"/>
                    </a:lnTo>
                    <a:lnTo>
                      <a:pt x="126682" y="80963"/>
                    </a:lnTo>
                    <a:lnTo>
                      <a:pt x="123825" y="74200"/>
                    </a:lnTo>
                    <a:lnTo>
                      <a:pt x="116205" y="63818"/>
                    </a:lnTo>
                    <a:lnTo>
                      <a:pt x="99060" y="52388"/>
                    </a:lnTo>
                    <a:lnTo>
                      <a:pt x="88583" y="45625"/>
                    </a:lnTo>
                    <a:lnTo>
                      <a:pt x="74295" y="28575"/>
                    </a:lnTo>
                    <a:lnTo>
                      <a:pt x="56198" y="17050"/>
                    </a:lnTo>
                    <a:lnTo>
                      <a:pt x="42863" y="10382"/>
                    </a:lnTo>
                    <a:lnTo>
                      <a:pt x="20955" y="3810"/>
                    </a:lnTo>
                    <a:lnTo>
                      <a:pt x="0" y="0"/>
                    </a:lnTo>
                    <a:lnTo>
                      <a:pt x="0" y="17050"/>
                    </a:lnTo>
                    <a:lnTo>
                      <a:pt x="10477" y="24670"/>
                    </a:lnTo>
                    <a:lnTo>
                      <a:pt x="24765" y="31337"/>
                    </a:lnTo>
                    <a:lnTo>
                      <a:pt x="35243" y="31337"/>
                    </a:lnTo>
                    <a:lnTo>
                      <a:pt x="39052" y="41910"/>
                    </a:lnTo>
                    <a:lnTo>
                      <a:pt x="49530" y="41910"/>
                    </a:lnTo>
                    <a:lnTo>
                      <a:pt x="60008" y="56198"/>
                    </a:lnTo>
                    <a:lnTo>
                      <a:pt x="70485" y="66675"/>
                    </a:lnTo>
                    <a:lnTo>
                      <a:pt x="80963" y="66675"/>
                    </a:lnTo>
                    <a:lnTo>
                      <a:pt x="80963" y="80963"/>
                    </a:lnTo>
                    <a:lnTo>
                      <a:pt x="99060" y="8763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1" name="Freeform: Shape 460">
                <a:extLst>
                  <a:ext uri="{FF2B5EF4-FFF2-40B4-BE49-F238E27FC236}">
                    <a16:creationId xmlns:a16="http://schemas.microsoft.com/office/drawing/2014/main" id="{7DBE8FE6-C045-DA41-8D6B-EE63D61A7711}"/>
                  </a:ext>
                </a:extLst>
              </p:cNvPr>
              <p:cNvSpPr/>
              <p:nvPr/>
            </p:nvSpPr>
            <p:spPr>
              <a:xfrm>
                <a:off x="1766881" y="2746304"/>
                <a:ext cx="66294" cy="45659"/>
              </a:xfrm>
              <a:custGeom>
                <a:avLst/>
                <a:gdLst>
                  <a:gd name="connsiteX0" fmla="*/ 49530 w 67627"/>
                  <a:gd name="connsiteY0" fmla="*/ 3715 h 46577"/>
                  <a:gd name="connsiteX1" fmla="*/ 35243 w 67627"/>
                  <a:gd name="connsiteY1" fmla="*/ 7620 h 46577"/>
                  <a:gd name="connsiteX2" fmla="*/ 24765 w 67627"/>
                  <a:gd name="connsiteY2" fmla="*/ 11430 h 46577"/>
                  <a:gd name="connsiteX3" fmla="*/ 24765 w 67627"/>
                  <a:gd name="connsiteY3" fmla="*/ 24670 h 46577"/>
                  <a:gd name="connsiteX4" fmla="*/ 14288 w 67627"/>
                  <a:gd name="connsiteY4" fmla="*/ 21907 h 46577"/>
                  <a:gd name="connsiteX5" fmla="*/ 7620 w 67627"/>
                  <a:gd name="connsiteY5" fmla="*/ 14288 h 46577"/>
                  <a:gd name="connsiteX6" fmla="*/ 0 w 67627"/>
                  <a:gd name="connsiteY6" fmla="*/ 21907 h 46577"/>
                  <a:gd name="connsiteX7" fmla="*/ 3810 w 67627"/>
                  <a:gd name="connsiteY7" fmla="*/ 35242 h 46577"/>
                  <a:gd name="connsiteX8" fmla="*/ 14288 w 67627"/>
                  <a:gd name="connsiteY8" fmla="*/ 46577 h 46577"/>
                  <a:gd name="connsiteX9" fmla="*/ 45720 w 67627"/>
                  <a:gd name="connsiteY9" fmla="*/ 42863 h 46577"/>
                  <a:gd name="connsiteX10" fmla="*/ 57150 w 67627"/>
                  <a:gd name="connsiteY10" fmla="*/ 28575 h 46577"/>
                  <a:gd name="connsiteX11" fmla="*/ 67627 w 67627"/>
                  <a:gd name="connsiteY11" fmla="*/ 18002 h 46577"/>
                  <a:gd name="connsiteX12" fmla="*/ 60007 w 67627"/>
                  <a:gd name="connsiteY12" fmla="*/ 0 h 46577"/>
                  <a:gd name="connsiteX13" fmla="*/ 49530 w 67627"/>
                  <a:gd name="connsiteY13" fmla="*/ 3715 h 46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67627" h="46577">
                    <a:moveTo>
                      <a:pt x="49530" y="3715"/>
                    </a:moveTo>
                    <a:lnTo>
                      <a:pt x="35243" y="7620"/>
                    </a:lnTo>
                    <a:lnTo>
                      <a:pt x="24765" y="11430"/>
                    </a:lnTo>
                    <a:lnTo>
                      <a:pt x="24765" y="24670"/>
                    </a:lnTo>
                    <a:lnTo>
                      <a:pt x="14288" y="21907"/>
                    </a:lnTo>
                    <a:lnTo>
                      <a:pt x="7620" y="14288"/>
                    </a:lnTo>
                    <a:lnTo>
                      <a:pt x="0" y="21907"/>
                    </a:lnTo>
                    <a:lnTo>
                      <a:pt x="3810" y="35242"/>
                    </a:lnTo>
                    <a:lnTo>
                      <a:pt x="14288" y="46577"/>
                    </a:lnTo>
                    <a:lnTo>
                      <a:pt x="45720" y="42863"/>
                    </a:lnTo>
                    <a:lnTo>
                      <a:pt x="57150" y="28575"/>
                    </a:lnTo>
                    <a:lnTo>
                      <a:pt x="67627" y="18002"/>
                    </a:lnTo>
                    <a:lnTo>
                      <a:pt x="60007" y="0"/>
                    </a:lnTo>
                    <a:lnTo>
                      <a:pt x="49530" y="3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2" name="Freeform: Shape 461">
                <a:extLst>
                  <a:ext uri="{FF2B5EF4-FFF2-40B4-BE49-F238E27FC236}">
                    <a16:creationId xmlns:a16="http://schemas.microsoft.com/office/drawing/2014/main" id="{1D839C20-AA1A-49C1-1C47-6F94920CA7BD}"/>
                  </a:ext>
                </a:extLst>
              </p:cNvPr>
              <p:cNvSpPr/>
              <p:nvPr/>
            </p:nvSpPr>
            <p:spPr>
              <a:xfrm>
                <a:off x="1422337" y="2653771"/>
                <a:ext cx="44818" cy="27171"/>
              </a:xfrm>
              <a:custGeom>
                <a:avLst/>
                <a:gdLst>
                  <a:gd name="connsiteX0" fmla="*/ 13335 w 45719"/>
                  <a:gd name="connsiteY0" fmla="*/ 0 h 27717"/>
                  <a:gd name="connsiteX1" fmla="*/ 2857 w 45719"/>
                  <a:gd name="connsiteY1" fmla="*/ 0 h 27717"/>
                  <a:gd name="connsiteX2" fmla="*/ 0 w 45719"/>
                  <a:gd name="connsiteY2" fmla="*/ 10573 h 27717"/>
                  <a:gd name="connsiteX3" fmla="*/ 6668 w 45719"/>
                  <a:gd name="connsiteY3" fmla="*/ 17145 h 27717"/>
                  <a:gd name="connsiteX4" fmla="*/ 17145 w 45719"/>
                  <a:gd name="connsiteY4" fmla="*/ 27718 h 27717"/>
                  <a:gd name="connsiteX5" fmla="*/ 24765 w 45719"/>
                  <a:gd name="connsiteY5" fmla="*/ 23813 h 27717"/>
                  <a:gd name="connsiteX6" fmla="*/ 38100 w 45719"/>
                  <a:gd name="connsiteY6" fmla="*/ 27718 h 27717"/>
                  <a:gd name="connsiteX7" fmla="*/ 45720 w 45719"/>
                  <a:gd name="connsiteY7" fmla="*/ 13430 h 27717"/>
                  <a:gd name="connsiteX8" fmla="*/ 45720 w 45719"/>
                  <a:gd name="connsiteY8" fmla="*/ 6763 h 27717"/>
                  <a:gd name="connsiteX9" fmla="*/ 38100 w 45719"/>
                  <a:gd name="connsiteY9" fmla="*/ 0 h 27717"/>
                  <a:gd name="connsiteX10" fmla="*/ 13335 w 45719"/>
                  <a:gd name="connsiteY10" fmla="*/ 0 h 277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719" h="27717">
                    <a:moveTo>
                      <a:pt x="13335" y="0"/>
                    </a:moveTo>
                    <a:lnTo>
                      <a:pt x="2857" y="0"/>
                    </a:lnTo>
                    <a:lnTo>
                      <a:pt x="0" y="10573"/>
                    </a:lnTo>
                    <a:lnTo>
                      <a:pt x="6668" y="17145"/>
                    </a:lnTo>
                    <a:lnTo>
                      <a:pt x="17145" y="27718"/>
                    </a:lnTo>
                    <a:lnTo>
                      <a:pt x="24765" y="23813"/>
                    </a:lnTo>
                    <a:lnTo>
                      <a:pt x="38100" y="27718"/>
                    </a:lnTo>
                    <a:lnTo>
                      <a:pt x="45720" y="13430"/>
                    </a:lnTo>
                    <a:lnTo>
                      <a:pt x="45720" y="6763"/>
                    </a:lnTo>
                    <a:lnTo>
                      <a:pt x="38100" y="0"/>
                    </a:lnTo>
                    <a:lnTo>
                      <a:pt x="1333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3" name="Freeform: Shape 462">
                <a:extLst>
                  <a:ext uri="{FF2B5EF4-FFF2-40B4-BE49-F238E27FC236}">
                    <a16:creationId xmlns:a16="http://schemas.microsoft.com/office/drawing/2014/main" id="{27108F0F-2940-7716-B394-482A4F179405}"/>
                  </a:ext>
                </a:extLst>
              </p:cNvPr>
              <p:cNvSpPr/>
              <p:nvPr/>
            </p:nvSpPr>
            <p:spPr>
              <a:xfrm>
                <a:off x="2268292" y="2743502"/>
                <a:ext cx="41084" cy="69002"/>
              </a:xfrm>
              <a:custGeom>
                <a:avLst/>
                <a:gdLst>
                  <a:gd name="connsiteX0" fmla="*/ 27623 w 41910"/>
                  <a:gd name="connsiteY0" fmla="*/ 10477 h 70389"/>
                  <a:gd name="connsiteX1" fmla="*/ 17145 w 41910"/>
                  <a:gd name="connsiteY1" fmla="*/ 2858 h 70389"/>
                  <a:gd name="connsiteX2" fmla="*/ 0 w 41910"/>
                  <a:gd name="connsiteY2" fmla="*/ 0 h 70389"/>
                  <a:gd name="connsiteX3" fmla="*/ 0 w 41910"/>
                  <a:gd name="connsiteY3" fmla="*/ 14288 h 70389"/>
                  <a:gd name="connsiteX4" fmla="*/ 6667 w 41910"/>
                  <a:gd name="connsiteY4" fmla="*/ 27527 h 70389"/>
                  <a:gd name="connsiteX5" fmla="*/ 13335 w 41910"/>
                  <a:gd name="connsiteY5" fmla="*/ 38100 h 70389"/>
                  <a:gd name="connsiteX6" fmla="*/ 27623 w 41910"/>
                  <a:gd name="connsiteY6" fmla="*/ 56102 h 70389"/>
                  <a:gd name="connsiteX7" fmla="*/ 41910 w 41910"/>
                  <a:gd name="connsiteY7" fmla="*/ 70390 h 70389"/>
                  <a:gd name="connsiteX8" fmla="*/ 41910 w 41910"/>
                  <a:gd name="connsiteY8" fmla="*/ 52388 h 70389"/>
                  <a:gd name="connsiteX9" fmla="*/ 31433 w 41910"/>
                  <a:gd name="connsiteY9" fmla="*/ 35147 h 70389"/>
                  <a:gd name="connsiteX10" fmla="*/ 27623 w 41910"/>
                  <a:gd name="connsiteY10" fmla="*/ 10477 h 703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1910" h="70389">
                    <a:moveTo>
                      <a:pt x="27623" y="10477"/>
                    </a:moveTo>
                    <a:lnTo>
                      <a:pt x="17145" y="2858"/>
                    </a:lnTo>
                    <a:lnTo>
                      <a:pt x="0" y="0"/>
                    </a:lnTo>
                    <a:lnTo>
                      <a:pt x="0" y="14288"/>
                    </a:lnTo>
                    <a:lnTo>
                      <a:pt x="6667" y="27527"/>
                    </a:lnTo>
                    <a:lnTo>
                      <a:pt x="13335" y="38100"/>
                    </a:lnTo>
                    <a:lnTo>
                      <a:pt x="27623" y="56102"/>
                    </a:lnTo>
                    <a:lnTo>
                      <a:pt x="41910" y="70390"/>
                    </a:lnTo>
                    <a:lnTo>
                      <a:pt x="41910" y="52388"/>
                    </a:lnTo>
                    <a:lnTo>
                      <a:pt x="31433" y="35147"/>
                    </a:lnTo>
                    <a:lnTo>
                      <a:pt x="27623" y="1047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4" name="Freeform: Shape 463">
                <a:extLst>
                  <a:ext uri="{FF2B5EF4-FFF2-40B4-BE49-F238E27FC236}">
                    <a16:creationId xmlns:a16="http://schemas.microsoft.com/office/drawing/2014/main" id="{82AC9111-A61C-543D-FE43-84A2C02EADC6}"/>
                  </a:ext>
                </a:extLst>
              </p:cNvPr>
              <p:cNvSpPr/>
              <p:nvPr/>
            </p:nvSpPr>
            <p:spPr>
              <a:xfrm>
                <a:off x="2343923" y="2812506"/>
                <a:ext cx="38282" cy="65361"/>
              </a:xfrm>
              <a:custGeom>
                <a:avLst/>
                <a:gdLst>
                  <a:gd name="connsiteX0" fmla="*/ 10477 w 39052"/>
                  <a:gd name="connsiteY0" fmla="*/ 42005 h 66675"/>
                  <a:gd name="connsiteX1" fmla="*/ 20955 w 39052"/>
                  <a:gd name="connsiteY1" fmla="*/ 52388 h 66675"/>
                  <a:gd name="connsiteX2" fmla="*/ 31433 w 39052"/>
                  <a:gd name="connsiteY2" fmla="*/ 66675 h 66675"/>
                  <a:gd name="connsiteX3" fmla="*/ 39052 w 39052"/>
                  <a:gd name="connsiteY3" fmla="*/ 56293 h 66675"/>
                  <a:gd name="connsiteX4" fmla="*/ 39052 w 39052"/>
                  <a:gd name="connsiteY4" fmla="*/ 42005 h 66675"/>
                  <a:gd name="connsiteX5" fmla="*/ 24765 w 39052"/>
                  <a:gd name="connsiteY5" fmla="*/ 24860 h 66675"/>
                  <a:gd name="connsiteX6" fmla="*/ 14288 w 39052"/>
                  <a:gd name="connsiteY6" fmla="*/ 3905 h 66675"/>
                  <a:gd name="connsiteX7" fmla="*/ 0 w 39052"/>
                  <a:gd name="connsiteY7" fmla="*/ 0 h 66675"/>
                  <a:gd name="connsiteX8" fmla="*/ 0 w 39052"/>
                  <a:gd name="connsiteY8" fmla="*/ 14288 h 66675"/>
                  <a:gd name="connsiteX9" fmla="*/ 6668 w 39052"/>
                  <a:gd name="connsiteY9" fmla="*/ 27718 h 66675"/>
                  <a:gd name="connsiteX10" fmla="*/ 10477 w 39052"/>
                  <a:gd name="connsiteY10" fmla="*/ 4200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9052" h="66675">
                    <a:moveTo>
                      <a:pt x="10477" y="42005"/>
                    </a:moveTo>
                    <a:lnTo>
                      <a:pt x="20955" y="52388"/>
                    </a:lnTo>
                    <a:lnTo>
                      <a:pt x="31433" y="66675"/>
                    </a:lnTo>
                    <a:lnTo>
                      <a:pt x="39052" y="56293"/>
                    </a:lnTo>
                    <a:lnTo>
                      <a:pt x="39052" y="42005"/>
                    </a:lnTo>
                    <a:lnTo>
                      <a:pt x="24765" y="24860"/>
                    </a:lnTo>
                    <a:lnTo>
                      <a:pt x="14288" y="3905"/>
                    </a:lnTo>
                    <a:lnTo>
                      <a:pt x="0" y="0"/>
                    </a:lnTo>
                    <a:lnTo>
                      <a:pt x="0" y="14288"/>
                    </a:lnTo>
                    <a:lnTo>
                      <a:pt x="6668" y="27718"/>
                    </a:lnTo>
                    <a:lnTo>
                      <a:pt x="10477" y="4200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5" name="Freeform: Shape 464">
                <a:extLst>
                  <a:ext uri="{FF2B5EF4-FFF2-40B4-BE49-F238E27FC236}">
                    <a16:creationId xmlns:a16="http://schemas.microsoft.com/office/drawing/2014/main" id="{A72E2A16-CC2A-342C-EB13-25B835D36F0C}"/>
                  </a:ext>
                </a:extLst>
              </p:cNvPr>
              <p:cNvSpPr/>
              <p:nvPr/>
            </p:nvSpPr>
            <p:spPr>
              <a:xfrm>
                <a:off x="2350459" y="2898502"/>
                <a:ext cx="44818" cy="58731"/>
              </a:xfrm>
              <a:custGeom>
                <a:avLst/>
                <a:gdLst>
                  <a:gd name="connsiteX0" fmla="*/ 32385 w 45719"/>
                  <a:gd name="connsiteY0" fmla="*/ 28575 h 59912"/>
                  <a:gd name="connsiteX1" fmla="*/ 35242 w 45719"/>
                  <a:gd name="connsiteY1" fmla="*/ 14288 h 59912"/>
                  <a:gd name="connsiteX2" fmla="*/ 32385 w 45719"/>
                  <a:gd name="connsiteY2" fmla="*/ 7525 h 59912"/>
                  <a:gd name="connsiteX3" fmla="*/ 18097 w 45719"/>
                  <a:gd name="connsiteY3" fmla="*/ 7525 h 59912"/>
                  <a:gd name="connsiteX4" fmla="*/ 0 w 45719"/>
                  <a:gd name="connsiteY4" fmla="*/ 0 h 59912"/>
                  <a:gd name="connsiteX5" fmla="*/ 3810 w 45719"/>
                  <a:gd name="connsiteY5" fmla="*/ 21812 h 59912"/>
                  <a:gd name="connsiteX6" fmla="*/ 14288 w 45719"/>
                  <a:gd name="connsiteY6" fmla="*/ 35243 h 59912"/>
                  <a:gd name="connsiteX7" fmla="*/ 32385 w 45719"/>
                  <a:gd name="connsiteY7" fmla="*/ 57150 h 59912"/>
                  <a:gd name="connsiteX8" fmla="*/ 45720 w 45719"/>
                  <a:gd name="connsiteY8" fmla="*/ 59912 h 59912"/>
                  <a:gd name="connsiteX9" fmla="*/ 39052 w 45719"/>
                  <a:gd name="connsiteY9" fmla="*/ 38957 h 59912"/>
                  <a:gd name="connsiteX10" fmla="*/ 32385 w 45719"/>
                  <a:gd name="connsiteY10" fmla="*/ 28575 h 59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5719" h="59912">
                    <a:moveTo>
                      <a:pt x="32385" y="28575"/>
                    </a:moveTo>
                    <a:lnTo>
                      <a:pt x="35242" y="14288"/>
                    </a:lnTo>
                    <a:lnTo>
                      <a:pt x="32385" y="7525"/>
                    </a:lnTo>
                    <a:lnTo>
                      <a:pt x="18097" y="7525"/>
                    </a:lnTo>
                    <a:lnTo>
                      <a:pt x="0" y="0"/>
                    </a:lnTo>
                    <a:lnTo>
                      <a:pt x="3810" y="21812"/>
                    </a:lnTo>
                    <a:lnTo>
                      <a:pt x="14288" y="35243"/>
                    </a:lnTo>
                    <a:lnTo>
                      <a:pt x="32385" y="57150"/>
                    </a:lnTo>
                    <a:lnTo>
                      <a:pt x="45720" y="59912"/>
                    </a:lnTo>
                    <a:lnTo>
                      <a:pt x="39052" y="38957"/>
                    </a:lnTo>
                    <a:lnTo>
                      <a:pt x="32385" y="2857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6" name="Freeform: Shape 465">
                <a:extLst>
                  <a:ext uri="{FF2B5EF4-FFF2-40B4-BE49-F238E27FC236}">
                    <a16:creationId xmlns:a16="http://schemas.microsoft.com/office/drawing/2014/main" id="{AB02286E-6FB2-343C-01EB-208C9C75EDEC}"/>
                  </a:ext>
                </a:extLst>
              </p:cNvPr>
              <p:cNvSpPr/>
              <p:nvPr/>
            </p:nvSpPr>
            <p:spPr>
              <a:xfrm>
                <a:off x="1481162" y="2857325"/>
                <a:ext cx="55089" cy="34548"/>
              </a:xfrm>
              <a:custGeom>
                <a:avLst/>
                <a:gdLst>
                  <a:gd name="connsiteX0" fmla="*/ 23813 w 56197"/>
                  <a:gd name="connsiteY0" fmla="*/ 6667 h 35242"/>
                  <a:gd name="connsiteX1" fmla="*/ 10477 w 56197"/>
                  <a:gd name="connsiteY1" fmla="*/ 14288 h 35242"/>
                  <a:gd name="connsiteX2" fmla="*/ 0 w 56197"/>
                  <a:gd name="connsiteY2" fmla="*/ 31528 h 35242"/>
                  <a:gd name="connsiteX3" fmla="*/ 10477 w 56197"/>
                  <a:gd name="connsiteY3" fmla="*/ 35242 h 35242"/>
                  <a:gd name="connsiteX4" fmla="*/ 20955 w 56197"/>
                  <a:gd name="connsiteY4" fmla="*/ 24860 h 35242"/>
                  <a:gd name="connsiteX5" fmla="*/ 38100 w 56197"/>
                  <a:gd name="connsiteY5" fmla="*/ 20955 h 35242"/>
                  <a:gd name="connsiteX6" fmla="*/ 48578 w 56197"/>
                  <a:gd name="connsiteY6" fmla="*/ 17240 h 35242"/>
                  <a:gd name="connsiteX7" fmla="*/ 56198 w 56197"/>
                  <a:gd name="connsiteY7" fmla="*/ 6667 h 35242"/>
                  <a:gd name="connsiteX8" fmla="*/ 45720 w 56197"/>
                  <a:gd name="connsiteY8" fmla="*/ 0 h 35242"/>
                  <a:gd name="connsiteX9" fmla="*/ 23813 w 56197"/>
                  <a:gd name="connsiteY9" fmla="*/ 6667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6197" h="35242">
                    <a:moveTo>
                      <a:pt x="23813" y="6667"/>
                    </a:moveTo>
                    <a:lnTo>
                      <a:pt x="10477" y="14288"/>
                    </a:lnTo>
                    <a:lnTo>
                      <a:pt x="0" y="31528"/>
                    </a:lnTo>
                    <a:lnTo>
                      <a:pt x="10477" y="35242"/>
                    </a:lnTo>
                    <a:lnTo>
                      <a:pt x="20955" y="24860"/>
                    </a:lnTo>
                    <a:lnTo>
                      <a:pt x="38100" y="20955"/>
                    </a:lnTo>
                    <a:lnTo>
                      <a:pt x="48578" y="17240"/>
                    </a:lnTo>
                    <a:lnTo>
                      <a:pt x="56198" y="6667"/>
                    </a:lnTo>
                    <a:lnTo>
                      <a:pt x="45720" y="0"/>
                    </a:lnTo>
                    <a:lnTo>
                      <a:pt x="23813" y="6667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7" name="Freeform: Shape 466">
                <a:extLst>
                  <a:ext uri="{FF2B5EF4-FFF2-40B4-BE49-F238E27FC236}">
                    <a16:creationId xmlns:a16="http://schemas.microsoft.com/office/drawing/2014/main" id="{738134B1-50A9-C46F-8E03-8F35B02613B1}"/>
                  </a:ext>
                </a:extLst>
              </p:cNvPr>
              <p:cNvSpPr/>
              <p:nvPr/>
            </p:nvSpPr>
            <p:spPr>
              <a:xfrm>
                <a:off x="2302839" y="2739768"/>
                <a:ext cx="27078" cy="52195"/>
              </a:xfrm>
              <a:custGeom>
                <a:avLst/>
                <a:gdLst>
                  <a:gd name="connsiteX0" fmla="*/ 17145 w 27622"/>
                  <a:gd name="connsiteY0" fmla="*/ 6668 h 53244"/>
                  <a:gd name="connsiteX1" fmla="*/ 0 w 27622"/>
                  <a:gd name="connsiteY1" fmla="*/ 0 h 53244"/>
                  <a:gd name="connsiteX2" fmla="*/ 0 w 27622"/>
                  <a:gd name="connsiteY2" fmla="*/ 14288 h 53244"/>
                  <a:gd name="connsiteX3" fmla="*/ 6668 w 27622"/>
                  <a:gd name="connsiteY3" fmla="*/ 28575 h 53244"/>
                  <a:gd name="connsiteX4" fmla="*/ 6668 w 27622"/>
                  <a:gd name="connsiteY4" fmla="*/ 38957 h 53244"/>
                  <a:gd name="connsiteX5" fmla="*/ 17145 w 27622"/>
                  <a:gd name="connsiteY5" fmla="*/ 53245 h 53244"/>
                  <a:gd name="connsiteX6" fmla="*/ 23813 w 27622"/>
                  <a:gd name="connsiteY6" fmla="*/ 41910 h 53244"/>
                  <a:gd name="connsiteX7" fmla="*/ 27623 w 27622"/>
                  <a:gd name="connsiteY7" fmla="*/ 28575 h 53244"/>
                  <a:gd name="connsiteX8" fmla="*/ 17145 w 27622"/>
                  <a:gd name="connsiteY8" fmla="*/ 6668 h 532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7622" h="53244">
                    <a:moveTo>
                      <a:pt x="17145" y="6668"/>
                    </a:moveTo>
                    <a:lnTo>
                      <a:pt x="0" y="0"/>
                    </a:lnTo>
                    <a:lnTo>
                      <a:pt x="0" y="14288"/>
                    </a:lnTo>
                    <a:lnTo>
                      <a:pt x="6668" y="28575"/>
                    </a:lnTo>
                    <a:lnTo>
                      <a:pt x="6668" y="38957"/>
                    </a:lnTo>
                    <a:lnTo>
                      <a:pt x="17145" y="53245"/>
                    </a:lnTo>
                    <a:lnTo>
                      <a:pt x="23813" y="41910"/>
                    </a:lnTo>
                    <a:lnTo>
                      <a:pt x="27623" y="28575"/>
                    </a:lnTo>
                    <a:lnTo>
                      <a:pt x="17145" y="666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8" name="Freeform: Shape 467">
                <a:extLst>
                  <a:ext uri="{FF2B5EF4-FFF2-40B4-BE49-F238E27FC236}">
                    <a16:creationId xmlns:a16="http://schemas.microsoft.com/office/drawing/2014/main" id="{C332FB55-DB7E-179E-54B7-9927274BA57C}"/>
                  </a:ext>
                </a:extLst>
              </p:cNvPr>
              <p:cNvSpPr/>
              <p:nvPr/>
            </p:nvSpPr>
            <p:spPr>
              <a:xfrm>
                <a:off x="2385008" y="2829313"/>
                <a:ext cx="24276" cy="34548"/>
              </a:xfrm>
              <a:custGeom>
                <a:avLst/>
                <a:gdLst>
                  <a:gd name="connsiteX0" fmla="*/ 24765 w 24764"/>
                  <a:gd name="connsiteY0" fmla="*/ 10573 h 35242"/>
                  <a:gd name="connsiteX1" fmla="*/ 10477 w 24764"/>
                  <a:gd name="connsiteY1" fmla="*/ 7715 h 35242"/>
                  <a:gd name="connsiteX2" fmla="*/ 0 w 24764"/>
                  <a:gd name="connsiteY2" fmla="*/ 0 h 35242"/>
                  <a:gd name="connsiteX3" fmla="*/ 0 w 24764"/>
                  <a:gd name="connsiteY3" fmla="*/ 22003 h 35242"/>
                  <a:gd name="connsiteX4" fmla="*/ 10477 w 24764"/>
                  <a:gd name="connsiteY4" fmla="*/ 35242 h 35242"/>
                  <a:gd name="connsiteX5" fmla="*/ 20955 w 24764"/>
                  <a:gd name="connsiteY5" fmla="*/ 28575 h 35242"/>
                  <a:gd name="connsiteX6" fmla="*/ 24765 w 24764"/>
                  <a:gd name="connsiteY6" fmla="*/ 10573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64" h="35242">
                    <a:moveTo>
                      <a:pt x="24765" y="10573"/>
                    </a:moveTo>
                    <a:lnTo>
                      <a:pt x="10477" y="7715"/>
                    </a:lnTo>
                    <a:lnTo>
                      <a:pt x="0" y="0"/>
                    </a:lnTo>
                    <a:lnTo>
                      <a:pt x="0" y="22003"/>
                    </a:lnTo>
                    <a:lnTo>
                      <a:pt x="10477" y="35242"/>
                    </a:lnTo>
                    <a:lnTo>
                      <a:pt x="20955" y="28575"/>
                    </a:lnTo>
                    <a:lnTo>
                      <a:pt x="24765" y="1057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69" name="Freeform: Shape 468">
                <a:extLst>
                  <a:ext uri="{FF2B5EF4-FFF2-40B4-BE49-F238E27FC236}">
                    <a16:creationId xmlns:a16="http://schemas.microsoft.com/office/drawing/2014/main" id="{E0127EEE-D199-1991-6962-615F567D108D}"/>
                  </a:ext>
                </a:extLst>
              </p:cNvPr>
              <p:cNvSpPr/>
              <p:nvPr/>
            </p:nvSpPr>
            <p:spPr>
              <a:xfrm>
                <a:off x="2329918" y="2788322"/>
                <a:ext cx="24276" cy="24183"/>
              </a:xfrm>
              <a:custGeom>
                <a:avLst/>
                <a:gdLst>
                  <a:gd name="connsiteX0" fmla="*/ 24765 w 24764"/>
                  <a:gd name="connsiteY0" fmla="*/ 10382 h 24669"/>
                  <a:gd name="connsiteX1" fmla="*/ 14288 w 24764"/>
                  <a:gd name="connsiteY1" fmla="*/ 0 h 24669"/>
                  <a:gd name="connsiteX2" fmla="*/ 6668 w 24764"/>
                  <a:gd name="connsiteY2" fmla="*/ 0 h 24669"/>
                  <a:gd name="connsiteX3" fmla="*/ 0 w 24764"/>
                  <a:gd name="connsiteY3" fmla="*/ 10382 h 24669"/>
                  <a:gd name="connsiteX4" fmla="*/ 3810 w 24764"/>
                  <a:gd name="connsiteY4" fmla="*/ 24670 h 24669"/>
                  <a:gd name="connsiteX5" fmla="*/ 14288 w 24764"/>
                  <a:gd name="connsiteY5" fmla="*/ 17145 h 24669"/>
                  <a:gd name="connsiteX6" fmla="*/ 24765 w 24764"/>
                  <a:gd name="connsiteY6" fmla="*/ 10382 h 24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4764" h="24669">
                    <a:moveTo>
                      <a:pt x="24765" y="10382"/>
                    </a:moveTo>
                    <a:lnTo>
                      <a:pt x="14288" y="0"/>
                    </a:lnTo>
                    <a:lnTo>
                      <a:pt x="6668" y="0"/>
                    </a:lnTo>
                    <a:lnTo>
                      <a:pt x="0" y="10382"/>
                    </a:lnTo>
                    <a:lnTo>
                      <a:pt x="3810" y="24670"/>
                    </a:lnTo>
                    <a:lnTo>
                      <a:pt x="14288" y="17145"/>
                    </a:lnTo>
                    <a:lnTo>
                      <a:pt x="24765" y="1038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0" name="Freeform: Shape 469">
                <a:extLst>
                  <a:ext uri="{FF2B5EF4-FFF2-40B4-BE49-F238E27FC236}">
                    <a16:creationId xmlns:a16="http://schemas.microsoft.com/office/drawing/2014/main" id="{768453A1-F3A7-30D8-C7D1-5EB06AD01254}"/>
                  </a:ext>
                </a:extLst>
              </p:cNvPr>
              <p:cNvSpPr/>
              <p:nvPr/>
            </p:nvSpPr>
            <p:spPr>
              <a:xfrm>
                <a:off x="6454178" y="5162803"/>
                <a:ext cx="450055" cy="377227"/>
              </a:xfrm>
              <a:custGeom>
                <a:avLst/>
                <a:gdLst>
                  <a:gd name="connsiteX0" fmla="*/ 429578 w 459105"/>
                  <a:gd name="connsiteY0" fmla="*/ 120015 h 384809"/>
                  <a:gd name="connsiteX1" fmla="*/ 429578 w 459105"/>
                  <a:gd name="connsiteY1" fmla="*/ 56197 h 384809"/>
                  <a:gd name="connsiteX2" fmla="*/ 415290 w 459105"/>
                  <a:gd name="connsiteY2" fmla="*/ 14288 h 384809"/>
                  <a:gd name="connsiteX3" fmla="*/ 401003 w 459105"/>
                  <a:gd name="connsiteY3" fmla="*/ 3810 h 384809"/>
                  <a:gd name="connsiteX4" fmla="*/ 348615 w 459105"/>
                  <a:gd name="connsiteY4" fmla="*/ 0 h 384809"/>
                  <a:gd name="connsiteX5" fmla="*/ 344805 w 459105"/>
                  <a:gd name="connsiteY5" fmla="*/ 10478 h 384809"/>
                  <a:gd name="connsiteX6" fmla="*/ 327660 w 459105"/>
                  <a:gd name="connsiteY6" fmla="*/ 10478 h 384809"/>
                  <a:gd name="connsiteX7" fmla="*/ 260985 w 459105"/>
                  <a:gd name="connsiteY7" fmla="*/ 80963 h 384809"/>
                  <a:gd name="connsiteX8" fmla="*/ 246698 w 459105"/>
                  <a:gd name="connsiteY8" fmla="*/ 105728 h 384809"/>
                  <a:gd name="connsiteX9" fmla="*/ 211455 w 459105"/>
                  <a:gd name="connsiteY9" fmla="*/ 109538 h 384809"/>
                  <a:gd name="connsiteX10" fmla="*/ 194310 w 459105"/>
                  <a:gd name="connsiteY10" fmla="*/ 95250 h 384809"/>
                  <a:gd name="connsiteX11" fmla="*/ 177165 w 459105"/>
                  <a:gd name="connsiteY11" fmla="*/ 95250 h 384809"/>
                  <a:gd name="connsiteX12" fmla="*/ 170498 w 459105"/>
                  <a:gd name="connsiteY12" fmla="*/ 116205 h 384809"/>
                  <a:gd name="connsiteX13" fmla="*/ 145733 w 459105"/>
                  <a:gd name="connsiteY13" fmla="*/ 137160 h 384809"/>
                  <a:gd name="connsiteX14" fmla="*/ 117158 w 459105"/>
                  <a:gd name="connsiteY14" fmla="*/ 137160 h 384809"/>
                  <a:gd name="connsiteX15" fmla="*/ 117158 w 459105"/>
                  <a:gd name="connsiteY15" fmla="*/ 101918 h 384809"/>
                  <a:gd name="connsiteX16" fmla="*/ 96203 w 459105"/>
                  <a:gd name="connsiteY16" fmla="*/ 80963 h 384809"/>
                  <a:gd name="connsiteX17" fmla="*/ 96203 w 459105"/>
                  <a:gd name="connsiteY17" fmla="*/ 182880 h 384809"/>
                  <a:gd name="connsiteX18" fmla="*/ 67628 w 459105"/>
                  <a:gd name="connsiteY18" fmla="*/ 200978 h 384809"/>
                  <a:gd name="connsiteX19" fmla="*/ 39053 w 459105"/>
                  <a:gd name="connsiteY19" fmla="*/ 200978 h 384809"/>
                  <a:gd name="connsiteX20" fmla="*/ 24765 w 459105"/>
                  <a:gd name="connsiteY20" fmla="*/ 194310 h 384809"/>
                  <a:gd name="connsiteX21" fmla="*/ 14288 w 459105"/>
                  <a:gd name="connsiteY21" fmla="*/ 180022 h 384809"/>
                  <a:gd name="connsiteX22" fmla="*/ 10478 w 459105"/>
                  <a:gd name="connsiteY22" fmla="*/ 180022 h 384809"/>
                  <a:gd name="connsiteX23" fmla="*/ 3810 w 459105"/>
                  <a:gd name="connsiteY23" fmla="*/ 183833 h 384809"/>
                  <a:gd name="connsiteX24" fmla="*/ 0 w 459105"/>
                  <a:gd name="connsiteY24" fmla="*/ 190500 h 384809"/>
                  <a:gd name="connsiteX25" fmla="*/ 10478 w 459105"/>
                  <a:gd name="connsiteY25" fmla="*/ 215265 h 384809"/>
                  <a:gd name="connsiteX26" fmla="*/ 20955 w 459105"/>
                  <a:gd name="connsiteY26" fmla="*/ 254318 h 384809"/>
                  <a:gd name="connsiteX27" fmla="*/ 38100 w 459105"/>
                  <a:gd name="connsiteY27" fmla="*/ 279083 h 384809"/>
                  <a:gd name="connsiteX28" fmla="*/ 52388 w 459105"/>
                  <a:gd name="connsiteY28" fmla="*/ 303847 h 384809"/>
                  <a:gd name="connsiteX29" fmla="*/ 35243 w 459105"/>
                  <a:gd name="connsiteY29" fmla="*/ 324803 h 384809"/>
                  <a:gd name="connsiteX30" fmla="*/ 49530 w 459105"/>
                  <a:gd name="connsiteY30" fmla="*/ 349568 h 384809"/>
                  <a:gd name="connsiteX31" fmla="*/ 60008 w 459105"/>
                  <a:gd name="connsiteY31" fmla="*/ 370522 h 384809"/>
                  <a:gd name="connsiteX32" fmla="*/ 88583 w 459105"/>
                  <a:gd name="connsiteY32" fmla="*/ 384810 h 384809"/>
                  <a:gd name="connsiteX33" fmla="*/ 123825 w 459105"/>
                  <a:gd name="connsiteY33" fmla="*/ 374333 h 384809"/>
                  <a:gd name="connsiteX34" fmla="*/ 155258 w 459105"/>
                  <a:gd name="connsiteY34" fmla="*/ 363855 h 384809"/>
                  <a:gd name="connsiteX35" fmla="*/ 194310 w 459105"/>
                  <a:gd name="connsiteY35" fmla="*/ 363855 h 384809"/>
                  <a:gd name="connsiteX36" fmla="*/ 225743 w 459105"/>
                  <a:gd name="connsiteY36" fmla="*/ 367665 h 384809"/>
                  <a:gd name="connsiteX37" fmla="*/ 250508 w 459105"/>
                  <a:gd name="connsiteY37" fmla="*/ 357188 h 384809"/>
                  <a:gd name="connsiteX38" fmla="*/ 289560 w 459105"/>
                  <a:gd name="connsiteY38" fmla="*/ 350520 h 384809"/>
                  <a:gd name="connsiteX39" fmla="*/ 331470 w 459105"/>
                  <a:gd name="connsiteY39" fmla="*/ 311468 h 384809"/>
                  <a:gd name="connsiteX40" fmla="*/ 370523 w 459105"/>
                  <a:gd name="connsiteY40" fmla="*/ 282893 h 384809"/>
                  <a:gd name="connsiteX41" fmla="*/ 395288 w 459105"/>
                  <a:gd name="connsiteY41" fmla="*/ 251460 h 384809"/>
                  <a:gd name="connsiteX42" fmla="*/ 405765 w 459105"/>
                  <a:gd name="connsiteY42" fmla="*/ 230505 h 384809"/>
                  <a:gd name="connsiteX43" fmla="*/ 434340 w 459105"/>
                  <a:gd name="connsiteY43" fmla="*/ 195263 h 384809"/>
                  <a:gd name="connsiteX44" fmla="*/ 448628 w 459105"/>
                  <a:gd name="connsiteY44" fmla="*/ 184785 h 384809"/>
                  <a:gd name="connsiteX45" fmla="*/ 448628 w 459105"/>
                  <a:gd name="connsiteY45" fmla="*/ 160020 h 384809"/>
                  <a:gd name="connsiteX46" fmla="*/ 459105 w 459105"/>
                  <a:gd name="connsiteY46" fmla="*/ 141922 h 384809"/>
                  <a:gd name="connsiteX47" fmla="*/ 430530 w 459105"/>
                  <a:gd name="connsiteY47" fmla="*/ 138113 h 384809"/>
                  <a:gd name="connsiteX48" fmla="*/ 429578 w 459105"/>
                  <a:gd name="connsiteY48" fmla="*/ 120015 h 384809"/>
                  <a:gd name="connsiteX49" fmla="*/ 429578 w 459105"/>
                  <a:gd name="connsiteY49" fmla="*/ 120015 h 384809"/>
                  <a:gd name="connsiteX50" fmla="*/ 360998 w 459105"/>
                  <a:gd name="connsiteY50" fmla="*/ 227647 h 384809"/>
                  <a:gd name="connsiteX51" fmla="*/ 353378 w 459105"/>
                  <a:gd name="connsiteY51" fmla="*/ 231458 h 384809"/>
                  <a:gd name="connsiteX52" fmla="*/ 344805 w 459105"/>
                  <a:gd name="connsiteY52" fmla="*/ 240983 h 384809"/>
                  <a:gd name="connsiteX53" fmla="*/ 331470 w 459105"/>
                  <a:gd name="connsiteY53" fmla="*/ 222885 h 384809"/>
                  <a:gd name="connsiteX54" fmla="*/ 342900 w 459105"/>
                  <a:gd name="connsiteY54" fmla="*/ 206693 h 384809"/>
                  <a:gd name="connsiteX55" fmla="*/ 359093 w 459105"/>
                  <a:gd name="connsiteY55" fmla="*/ 204788 h 384809"/>
                  <a:gd name="connsiteX56" fmla="*/ 366713 w 459105"/>
                  <a:gd name="connsiteY56" fmla="*/ 220980 h 384809"/>
                  <a:gd name="connsiteX57" fmla="*/ 360998 w 459105"/>
                  <a:gd name="connsiteY57" fmla="*/ 227647 h 384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459105" h="384809">
                    <a:moveTo>
                      <a:pt x="429578" y="120015"/>
                    </a:moveTo>
                    <a:lnTo>
                      <a:pt x="429578" y="56197"/>
                    </a:lnTo>
                    <a:lnTo>
                      <a:pt x="415290" y="14288"/>
                    </a:lnTo>
                    <a:lnTo>
                      <a:pt x="401003" y="3810"/>
                    </a:lnTo>
                    <a:lnTo>
                      <a:pt x="348615" y="0"/>
                    </a:lnTo>
                    <a:lnTo>
                      <a:pt x="344805" y="10478"/>
                    </a:lnTo>
                    <a:lnTo>
                      <a:pt x="327660" y="10478"/>
                    </a:lnTo>
                    <a:lnTo>
                      <a:pt x="260985" y="80963"/>
                    </a:lnTo>
                    <a:lnTo>
                      <a:pt x="246698" y="105728"/>
                    </a:lnTo>
                    <a:lnTo>
                      <a:pt x="211455" y="109538"/>
                    </a:lnTo>
                    <a:lnTo>
                      <a:pt x="194310" y="95250"/>
                    </a:lnTo>
                    <a:lnTo>
                      <a:pt x="177165" y="95250"/>
                    </a:lnTo>
                    <a:lnTo>
                      <a:pt x="170498" y="116205"/>
                    </a:lnTo>
                    <a:lnTo>
                      <a:pt x="145733" y="137160"/>
                    </a:lnTo>
                    <a:lnTo>
                      <a:pt x="117158" y="137160"/>
                    </a:lnTo>
                    <a:lnTo>
                      <a:pt x="117158" y="101918"/>
                    </a:lnTo>
                    <a:lnTo>
                      <a:pt x="96203" y="80963"/>
                    </a:lnTo>
                    <a:lnTo>
                      <a:pt x="96203" y="182880"/>
                    </a:lnTo>
                    <a:lnTo>
                      <a:pt x="67628" y="200978"/>
                    </a:lnTo>
                    <a:lnTo>
                      <a:pt x="39053" y="200978"/>
                    </a:lnTo>
                    <a:lnTo>
                      <a:pt x="24765" y="194310"/>
                    </a:lnTo>
                    <a:lnTo>
                      <a:pt x="14288" y="180022"/>
                    </a:lnTo>
                    <a:lnTo>
                      <a:pt x="10478" y="180022"/>
                    </a:lnTo>
                    <a:lnTo>
                      <a:pt x="3810" y="183833"/>
                    </a:lnTo>
                    <a:lnTo>
                      <a:pt x="0" y="190500"/>
                    </a:lnTo>
                    <a:lnTo>
                      <a:pt x="10478" y="215265"/>
                    </a:lnTo>
                    <a:lnTo>
                      <a:pt x="20955" y="254318"/>
                    </a:lnTo>
                    <a:lnTo>
                      <a:pt x="38100" y="279083"/>
                    </a:lnTo>
                    <a:lnTo>
                      <a:pt x="52388" y="303847"/>
                    </a:lnTo>
                    <a:lnTo>
                      <a:pt x="35243" y="324803"/>
                    </a:lnTo>
                    <a:lnTo>
                      <a:pt x="49530" y="349568"/>
                    </a:lnTo>
                    <a:lnTo>
                      <a:pt x="60008" y="370522"/>
                    </a:lnTo>
                    <a:lnTo>
                      <a:pt x="88583" y="384810"/>
                    </a:lnTo>
                    <a:lnTo>
                      <a:pt x="123825" y="374333"/>
                    </a:lnTo>
                    <a:lnTo>
                      <a:pt x="155258" y="363855"/>
                    </a:lnTo>
                    <a:lnTo>
                      <a:pt x="194310" y="363855"/>
                    </a:lnTo>
                    <a:lnTo>
                      <a:pt x="225743" y="367665"/>
                    </a:lnTo>
                    <a:lnTo>
                      <a:pt x="250508" y="357188"/>
                    </a:lnTo>
                    <a:lnTo>
                      <a:pt x="289560" y="350520"/>
                    </a:lnTo>
                    <a:lnTo>
                      <a:pt x="331470" y="311468"/>
                    </a:lnTo>
                    <a:lnTo>
                      <a:pt x="370523" y="282893"/>
                    </a:lnTo>
                    <a:lnTo>
                      <a:pt x="395288" y="251460"/>
                    </a:lnTo>
                    <a:lnTo>
                      <a:pt x="405765" y="230505"/>
                    </a:lnTo>
                    <a:lnTo>
                      <a:pt x="434340" y="195263"/>
                    </a:lnTo>
                    <a:lnTo>
                      <a:pt x="448628" y="184785"/>
                    </a:lnTo>
                    <a:lnTo>
                      <a:pt x="448628" y="160020"/>
                    </a:lnTo>
                    <a:lnTo>
                      <a:pt x="459105" y="141922"/>
                    </a:lnTo>
                    <a:lnTo>
                      <a:pt x="430530" y="138113"/>
                    </a:lnTo>
                    <a:lnTo>
                      <a:pt x="429578" y="120015"/>
                    </a:lnTo>
                    <a:lnTo>
                      <a:pt x="429578" y="120015"/>
                    </a:lnTo>
                    <a:close/>
                    <a:moveTo>
                      <a:pt x="360998" y="227647"/>
                    </a:moveTo>
                    <a:lnTo>
                      <a:pt x="353378" y="231458"/>
                    </a:lnTo>
                    <a:lnTo>
                      <a:pt x="344805" y="240983"/>
                    </a:lnTo>
                    <a:lnTo>
                      <a:pt x="331470" y="222885"/>
                    </a:lnTo>
                    <a:lnTo>
                      <a:pt x="342900" y="206693"/>
                    </a:lnTo>
                    <a:lnTo>
                      <a:pt x="359093" y="204788"/>
                    </a:lnTo>
                    <a:lnTo>
                      <a:pt x="366713" y="220980"/>
                    </a:lnTo>
                    <a:lnTo>
                      <a:pt x="360998" y="22764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1" name="Freeform: Shape 470">
                <a:extLst>
                  <a:ext uri="{FF2B5EF4-FFF2-40B4-BE49-F238E27FC236}">
                    <a16:creationId xmlns:a16="http://schemas.microsoft.com/office/drawing/2014/main" id="{8B1255CD-4C6C-F8F3-8F66-920515862EC9}"/>
                  </a:ext>
                </a:extLst>
              </p:cNvPr>
              <p:cNvSpPr/>
              <p:nvPr/>
            </p:nvSpPr>
            <p:spPr>
              <a:xfrm>
                <a:off x="8707255" y="3901330"/>
                <a:ext cx="18674" cy="9337"/>
              </a:xfrm>
              <a:custGeom>
                <a:avLst/>
                <a:gdLst>
                  <a:gd name="connsiteX0" fmla="*/ 0 w 19050"/>
                  <a:gd name="connsiteY0" fmla="*/ 0 h 9525"/>
                  <a:gd name="connsiteX1" fmla="*/ 19050 w 19050"/>
                  <a:gd name="connsiteY1" fmla="*/ 0 h 9525"/>
                  <a:gd name="connsiteX2" fmla="*/ 19050 w 19050"/>
                  <a:gd name="connsiteY2" fmla="*/ 0 h 9525"/>
                  <a:gd name="connsiteX3" fmla="*/ 0 w 19050"/>
                  <a:gd name="connsiteY3" fmla="*/ 0 h 9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95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2" name="Freeform: Shape 471">
                <a:extLst>
                  <a:ext uri="{FF2B5EF4-FFF2-40B4-BE49-F238E27FC236}">
                    <a16:creationId xmlns:a16="http://schemas.microsoft.com/office/drawing/2014/main" id="{006A207F-0B58-6864-193F-4E736A42A65D}"/>
                  </a:ext>
                </a:extLst>
              </p:cNvPr>
              <p:cNvSpPr/>
              <p:nvPr/>
            </p:nvSpPr>
            <p:spPr>
              <a:xfrm>
                <a:off x="8942554" y="4616569"/>
                <a:ext cx="28012" cy="24277"/>
              </a:xfrm>
              <a:custGeom>
                <a:avLst/>
                <a:gdLst>
                  <a:gd name="connsiteX0" fmla="*/ 28575 w 28575"/>
                  <a:gd name="connsiteY0" fmla="*/ 7525 h 24765"/>
                  <a:gd name="connsiteX1" fmla="*/ 11430 w 28575"/>
                  <a:gd name="connsiteY1" fmla="*/ 0 h 24765"/>
                  <a:gd name="connsiteX2" fmla="*/ 0 w 28575"/>
                  <a:gd name="connsiteY2" fmla="*/ 10478 h 24765"/>
                  <a:gd name="connsiteX3" fmla="*/ 11430 w 28575"/>
                  <a:gd name="connsiteY3" fmla="*/ 24765 h 24765"/>
                  <a:gd name="connsiteX4" fmla="*/ 24765 w 28575"/>
                  <a:gd name="connsiteY4" fmla="*/ 21812 h 24765"/>
                  <a:gd name="connsiteX5" fmla="*/ 28575 w 28575"/>
                  <a:gd name="connsiteY5" fmla="*/ 7525 h 247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8575" h="24765">
                    <a:moveTo>
                      <a:pt x="28575" y="7525"/>
                    </a:moveTo>
                    <a:lnTo>
                      <a:pt x="11430" y="0"/>
                    </a:lnTo>
                    <a:lnTo>
                      <a:pt x="0" y="10478"/>
                    </a:lnTo>
                    <a:lnTo>
                      <a:pt x="11430" y="24765"/>
                    </a:lnTo>
                    <a:lnTo>
                      <a:pt x="24765" y="21812"/>
                    </a:lnTo>
                    <a:lnTo>
                      <a:pt x="28575" y="752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3" name="Freeform: Shape 472">
                <a:extLst>
                  <a:ext uri="{FF2B5EF4-FFF2-40B4-BE49-F238E27FC236}">
                    <a16:creationId xmlns:a16="http://schemas.microsoft.com/office/drawing/2014/main" id="{A518C212-348E-13FF-4BF9-DC97170A59A7}"/>
                  </a:ext>
                </a:extLst>
              </p:cNvPr>
              <p:cNvSpPr/>
              <p:nvPr/>
            </p:nvSpPr>
            <p:spPr>
              <a:xfrm>
                <a:off x="8884663" y="4589491"/>
                <a:ext cx="44818" cy="48460"/>
              </a:xfrm>
              <a:custGeom>
                <a:avLst/>
                <a:gdLst>
                  <a:gd name="connsiteX0" fmla="*/ 24765 w 45719"/>
                  <a:gd name="connsiteY0" fmla="*/ 41910 h 49434"/>
                  <a:gd name="connsiteX1" fmla="*/ 35242 w 45719"/>
                  <a:gd name="connsiteY1" fmla="*/ 49435 h 49434"/>
                  <a:gd name="connsiteX2" fmla="*/ 45720 w 45719"/>
                  <a:gd name="connsiteY2" fmla="*/ 45720 h 49434"/>
                  <a:gd name="connsiteX3" fmla="*/ 41910 w 45719"/>
                  <a:gd name="connsiteY3" fmla="*/ 31432 h 49434"/>
                  <a:gd name="connsiteX4" fmla="*/ 31432 w 45719"/>
                  <a:gd name="connsiteY4" fmla="*/ 27622 h 49434"/>
                  <a:gd name="connsiteX5" fmla="*/ 24765 w 45719"/>
                  <a:gd name="connsiteY5" fmla="*/ 17145 h 49434"/>
                  <a:gd name="connsiteX6" fmla="*/ 20955 w 45719"/>
                  <a:gd name="connsiteY6" fmla="*/ 0 h 49434"/>
                  <a:gd name="connsiteX7" fmla="*/ 0 w 45719"/>
                  <a:gd name="connsiteY7" fmla="*/ 0 h 49434"/>
                  <a:gd name="connsiteX8" fmla="*/ 0 w 45719"/>
                  <a:gd name="connsiteY8" fmla="*/ 14288 h 49434"/>
                  <a:gd name="connsiteX9" fmla="*/ 10477 w 45719"/>
                  <a:gd name="connsiteY9" fmla="*/ 17145 h 49434"/>
                  <a:gd name="connsiteX10" fmla="*/ 20955 w 45719"/>
                  <a:gd name="connsiteY10" fmla="*/ 27622 h 49434"/>
                  <a:gd name="connsiteX11" fmla="*/ 24765 w 45719"/>
                  <a:gd name="connsiteY11" fmla="*/ 41910 h 49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45719" h="49434">
                    <a:moveTo>
                      <a:pt x="24765" y="41910"/>
                    </a:moveTo>
                    <a:lnTo>
                      <a:pt x="35242" y="49435"/>
                    </a:lnTo>
                    <a:lnTo>
                      <a:pt x="45720" y="45720"/>
                    </a:lnTo>
                    <a:lnTo>
                      <a:pt x="41910" y="31432"/>
                    </a:lnTo>
                    <a:lnTo>
                      <a:pt x="31432" y="27622"/>
                    </a:lnTo>
                    <a:lnTo>
                      <a:pt x="24765" y="17145"/>
                    </a:lnTo>
                    <a:lnTo>
                      <a:pt x="20955" y="0"/>
                    </a:lnTo>
                    <a:lnTo>
                      <a:pt x="0" y="0"/>
                    </a:lnTo>
                    <a:lnTo>
                      <a:pt x="0" y="14288"/>
                    </a:lnTo>
                    <a:lnTo>
                      <a:pt x="10477" y="17145"/>
                    </a:lnTo>
                    <a:lnTo>
                      <a:pt x="20955" y="27622"/>
                    </a:lnTo>
                    <a:lnTo>
                      <a:pt x="24765" y="4191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4" name="Freeform: Shape 473">
                <a:extLst>
                  <a:ext uri="{FF2B5EF4-FFF2-40B4-BE49-F238E27FC236}">
                    <a16:creationId xmlns:a16="http://schemas.microsoft.com/office/drawing/2014/main" id="{0CEA2F5E-5270-80EA-6570-B8A0C5CFF5B0}"/>
                  </a:ext>
                </a:extLst>
              </p:cNvPr>
              <p:cNvSpPr/>
              <p:nvPr/>
            </p:nvSpPr>
            <p:spPr>
              <a:xfrm>
                <a:off x="5868733" y="3009617"/>
                <a:ext cx="352014" cy="296927"/>
              </a:xfrm>
              <a:custGeom>
                <a:avLst/>
                <a:gdLst>
                  <a:gd name="connsiteX0" fmla="*/ 327660 w 359092"/>
                  <a:gd name="connsiteY0" fmla="*/ 246602 h 302895"/>
                  <a:gd name="connsiteX1" fmla="*/ 323850 w 359092"/>
                  <a:gd name="connsiteY1" fmla="*/ 218027 h 302895"/>
                  <a:gd name="connsiteX2" fmla="*/ 330517 w 359092"/>
                  <a:gd name="connsiteY2" fmla="*/ 204788 h 302895"/>
                  <a:gd name="connsiteX3" fmla="*/ 327660 w 359092"/>
                  <a:gd name="connsiteY3" fmla="*/ 197072 h 302895"/>
                  <a:gd name="connsiteX4" fmla="*/ 327660 w 359092"/>
                  <a:gd name="connsiteY4" fmla="*/ 186690 h 302895"/>
                  <a:gd name="connsiteX5" fmla="*/ 327660 w 359092"/>
                  <a:gd name="connsiteY5" fmla="*/ 169545 h 302895"/>
                  <a:gd name="connsiteX6" fmla="*/ 299085 w 359092"/>
                  <a:gd name="connsiteY6" fmla="*/ 169545 h 302895"/>
                  <a:gd name="connsiteX7" fmla="*/ 313372 w 359092"/>
                  <a:gd name="connsiteY7" fmla="*/ 147638 h 302895"/>
                  <a:gd name="connsiteX8" fmla="*/ 330517 w 359092"/>
                  <a:gd name="connsiteY8" fmla="*/ 130397 h 302895"/>
                  <a:gd name="connsiteX9" fmla="*/ 338138 w 359092"/>
                  <a:gd name="connsiteY9" fmla="*/ 130397 h 302895"/>
                  <a:gd name="connsiteX10" fmla="*/ 341947 w 359092"/>
                  <a:gd name="connsiteY10" fmla="*/ 122777 h 302895"/>
                  <a:gd name="connsiteX11" fmla="*/ 341947 w 359092"/>
                  <a:gd name="connsiteY11" fmla="*/ 112395 h 302895"/>
                  <a:gd name="connsiteX12" fmla="*/ 348615 w 359092"/>
                  <a:gd name="connsiteY12" fmla="*/ 98108 h 302895"/>
                  <a:gd name="connsiteX13" fmla="*/ 359092 w 359092"/>
                  <a:gd name="connsiteY13" fmla="*/ 77152 h 302895"/>
                  <a:gd name="connsiteX14" fmla="*/ 355283 w 359092"/>
                  <a:gd name="connsiteY14" fmla="*/ 70390 h 302895"/>
                  <a:gd name="connsiteX15" fmla="*/ 323850 w 359092"/>
                  <a:gd name="connsiteY15" fmla="*/ 70390 h 302895"/>
                  <a:gd name="connsiteX16" fmla="*/ 317183 w 359092"/>
                  <a:gd name="connsiteY16" fmla="*/ 62865 h 302895"/>
                  <a:gd name="connsiteX17" fmla="*/ 306705 w 359092"/>
                  <a:gd name="connsiteY17" fmla="*/ 56102 h 302895"/>
                  <a:gd name="connsiteX18" fmla="*/ 296228 w 359092"/>
                  <a:gd name="connsiteY18" fmla="*/ 56102 h 302895"/>
                  <a:gd name="connsiteX19" fmla="*/ 284797 w 359092"/>
                  <a:gd name="connsiteY19" fmla="*/ 56102 h 302895"/>
                  <a:gd name="connsiteX20" fmla="*/ 271463 w 359092"/>
                  <a:gd name="connsiteY20" fmla="*/ 49435 h 302895"/>
                  <a:gd name="connsiteX21" fmla="*/ 267653 w 359092"/>
                  <a:gd name="connsiteY21" fmla="*/ 41815 h 302895"/>
                  <a:gd name="connsiteX22" fmla="*/ 246697 w 359092"/>
                  <a:gd name="connsiteY22" fmla="*/ 35147 h 302895"/>
                  <a:gd name="connsiteX23" fmla="*/ 221933 w 359092"/>
                  <a:gd name="connsiteY23" fmla="*/ 14288 h 302895"/>
                  <a:gd name="connsiteX24" fmla="*/ 203835 w 359092"/>
                  <a:gd name="connsiteY24" fmla="*/ 0 h 302895"/>
                  <a:gd name="connsiteX25" fmla="*/ 186690 w 359092"/>
                  <a:gd name="connsiteY25" fmla="*/ 6572 h 302895"/>
                  <a:gd name="connsiteX26" fmla="*/ 186690 w 359092"/>
                  <a:gd name="connsiteY26" fmla="*/ 31433 h 302895"/>
                  <a:gd name="connsiteX27" fmla="*/ 168593 w 359092"/>
                  <a:gd name="connsiteY27" fmla="*/ 39052 h 302895"/>
                  <a:gd name="connsiteX28" fmla="*/ 147638 w 359092"/>
                  <a:gd name="connsiteY28" fmla="*/ 49435 h 302895"/>
                  <a:gd name="connsiteX29" fmla="*/ 133350 w 359092"/>
                  <a:gd name="connsiteY29" fmla="*/ 60008 h 302895"/>
                  <a:gd name="connsiteX30" fmla="*/ 109538 w 359092"/>
                  <a:gd name="connsiteY30" fmla="*/ 62865 h 302895"/>
                  <a:gd name="connsiteX31" fmla="*/ 95250 w 359092"/>
                  <a:gd name="connsiteY31" fmla="*/ 52388 h 302895"/>
                  <a:gd name="connsiteX32" fmla="*/ 84772 w 359092"/>
                  <a:gd name="connsiteY32" fmla="*/ 52388 h 302895"/>
                  <a:gd name="connsiteX33" fmla="*/ 87630 w 359092"/>
                  <a:gd name="connsiteY33" fmla="*/ 62865 h 302895"/>
                  <a:gd name="connsiteX34" fmla="*/ 95250 w 359092"/>
                  <a:gd name="connsiteY34" fmla="*/ 80963 h 302895"/>
                  <a:gd name="connsiteX35" fmla="*/ 84772 w 359092"/>
                  <a:gd name="connsiteY35" fmla="*/ 91440 h 302895"/>
                  <a:gd name="connsiteX36" fmla="*/ 70485 w 359092"/>
                  <a:gd name="connsiteY36" fmla="*/ 87535 h 302895"/>
                  <a:gd name="connsiteX37" fmla="*/ 56197 w 359092"/>
                  <a:gd name="connsiteY37" fmla="*/ 95250 h 302895"/>
                  <a:gd name="connsiteX38" fmla="*/ 45720 w 359092"/>
                  <a:gd name="connsiteY38" fmla="*/ 84677 h 302895"/>
                  <a:gd name="connsiteX39" fmla="*/ 31433 w 359092"/>
                  <a:gd name="connsiteY39" fmla="*/ 84677 h 302895"/>
                  <a:gd name="connsiteX40" fmla="*/ 14288 w 359092"/>
                  <a:gd name="connsiteY40" fmla="*/ 87535 h 302895"/>
                  <a:gd name="connsiteX41" fmla="*/ 3810 w 359092"/>
                  <a:gd name="connsiteY41" fmla="*/ 91440 h 302895"/>
                  <a:gd name="connsiteX42" fmla="*/ 0 w 359092"/>
                  <a:gd name="connsiteY42" fmla="*/ 105727 h 302895"/>
                  <a:gd name="connsiteX43" fmla="*/ 10478 w 359092"/>
                  <a:gd name="connsiteY43" fmla="*/ 116110 h 302895"/>
                  <a:gd name="connsiteX44" fmla="*/ 31433 w 359092"/>
                  <a:gd name="connsiteY44" fmla="*/ 116110 h 302895"/>
                  <a:gd name="connsiteX45" fmla="*/ 45720 w 359092"/>
                  <a:gd name="connsiteY45" fmla="*/ 122777 h 302895"/>
                  <a:gd name="connsiteX46" fmla="*/ 62865 w 359092"/>
                  <a:gd name="connsiteY46" fmla="*/ 134302 h 302895"/>
                  <a:gd name="connsiteX47" fmla="*/ 74295 w 359092"/>
                  <a:gd name="connsiteY47" fmla="*/ 144685 h 302895"/>
                  <a:gd name="connsiteX48" fmla="*/ 77153 w 359092"/>
                  <a:gd name="connsiteY48" fmla="*/ 158115 h 302895"/>
                  <a:gd name="connsiteX49" fmla="*/ 98108 w 359092"/>
                  <a:gd name="connsiteY49" fmla="*/ 172402 h 302895"/>
                  <a:gd name="connsiteX50" fmla="*/ 112395 w 359092"/>
                  <a:gd name="connsiteY50" fmla="*/ 204788 h 302895"/>
                  <a:gd name="connsiteX51" fmla="*/ 98108 w 359092"/>
                  <a:gd name="connsiteY51" fmla="*/ 204788 h 302895"/>
                  <a:gd name="connsiteX52" fmla="*/ 98108 w 359092"/>
                  <a:gd name="connsiteY52" fmla="*/ 225647 h 302895"/>
                  <a:gd name="connsiteX53" fmla="*/ 87630 w 359092"/>
                  <a:gd name="connsiteY53" fmla="*/ 253365 h 302895"/>
                  <a:gd name="connsiteX54" fmla="*/ 87630 w 359092"/>
                  <a:gd name="connsiteY54" fmla="*/ 275177 h 302895"/>
                  <a:gd name="connsiteX55" fmla="*/ 112395 w 359092"/>
                  <a:gd name="connsiteY55" fmla="*/ 285750 h 302895"/>
                  <a:gd name="connsiteX56" fmla="*/ 140970 w 359092"/>
                  <a:gd name="connsiteY56" fmla="*/ 296227 h 302895"/>
                  <a:gd name="connsiteX57" fmla="*/ 161925 w 359092"/>
                  <a:gd name="connsiteY57" fmla="*/ 292322 h 302895"/>
                  <a:gd name="connsiteX58" fmla="*/ 186690 w 359092"/>
                  <a:gd name="connsiteY58" fmla="*/ 302895 h 302895"/>
                  <a:gd name="connsiteX59" fmla="*/ 214313 w 359092"/>
                  <a:gd name="connsiteY59" fmla="*/ 302895 h 302895"/>
                  <a:gd name="connsiteX60" fmla="*/ 214313 w 359092"/>
                  <a:gd name="connsiteY60" fmla="*/ 285750 h 302895"/>
                  <a:gd name="connsiteX61" fmla="*/ 225743 w 359092"/>
                  <a:gd name="connsiteY61" fmla="*/ 275177 h 302895"/>
                  <a:gd name="connsiteX62" fmla="*/ 242888 w 359092"/>
                  <a:gd name="connsiteY62" fmla="*/ 267652 h 302895"/>
                  <a:gd name="connsiteX63" fmla="*/ 263843 w 359092"/>
                  <a:gd name="connsiteY63" fmla="*/ 271463 h 302895"/>
                  <a:gd name="connsiteX64" fmla="*/ 281940 w 359092"/>
                  <a:gd name="connsiteY64" fmla="*/ 275177 h 302895"/>
                  <a:gd name="connsiteX65" fmla="*/ 302895 w 359092"/>
                  <a:gd name="connsiteY65" fmla="*/ 285750 h 302895"/>
                  <a:gd name="connsiteX66" fmla="*/ 320040 w 359092"/>
                  <a:gd name="connsiteY66" fmla="*/ 278035 h 302895"/>
                  <a:gd name="connsiteX67" fmla="*/ 327660 w 359092"/>
                  <a:gd name="connsiteY67" fmla="*/ 263747 h 302895"/>
                  <a:gd name="connsiteX68" fmla="*/ 341947 w 359092"/>
                  <a:gd name="connsiteY68" fmla="*/ 260890 h 302895"/>
                  <a:gd name="connsiteX69" fmla="*/ 341947 w 359092"/>
                  <a:gd name="connsiteY69" fmla="*/ 246602 h 302895"/>
                  <a:gd name="connsiteX70" fmla="*/ 327660 w 359092"/>
                  <a:gd name="connsiteY70" fmla="*/ 246602 h 302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359092" h="302895">
                    <a:moveTo>
                      <a:pt x="327660" y="246602"/>
                    </a:moveTo>
                    <a:lnTo>
                      <a:pt x="323850" y="218027"/>
                    </a:lnTo>
                    <a:lnTo>
                      <a:pt x="330517" y="204788"/>
                    </a:lnTo>
                    <a:lnTo>
                      <a:pt x="327660" y="197072"/>
                    </a:lnTo>
                    <a:lnTo>
                      <a:pt x="327660" y="186690"/>
                    </a:lnTo>
                    <a:lnTo>
                      <a:pt x="327660" y="169545"/>
                    </a:lnTo>
                    <a:lnTo>
                      <a:pt x="299085" y="169545"/>
                    </a:lnTo>
                    <a:lnTo>
                      <a:pt x="313372" y="147638"/>
                    </a:lnTo>
                    <a:lnTo>
                      <a:pt x="330517" y="130397"/>
                    </a:lnTo>
                    <a:lnTo>
                      <a:pt x="338138" y="130397"/>
                    </a:lnTo>
                    <a:lnTo>
                      <a:pt x="341947" y="122777"/>
                    </a:lnTo>
                    <a:lnTo>
                      <a:pt x="341947" y="112395"/>
                    </a:lnTo>
                    <a:lnTo>
                      <a:pt x="348615" y="98108"/>
                    </a:lnTo>
                    <a:lnTo>
                      <a:pt x="359092" y="77152"/>
                    </a:lnTo>
                    <a:lnTo>
                      <a:pt x="355283" y="70390"/>
                    </a:lnTo>
                    <a:lnTo>
                      <a:pt x="323850" y="70390"/>
                    </a:lnTo>
                    <a:lnTo>
                      <a:pt x="317183" y="62865"/>
                    </a:lnTo>
                    <a:lnTo>
                      <a:pt x="306705" y="56102"/>
                    </a:lnTo>
                    <a:lnTo>
                      <a:pt x="296228" y="56102"/>
                    </a:lnTo>
                    <a:lnTo>
                      <a:pt x="284797" y="56102"/>
                    </a:lnTo>
                    <a:lnTo>
                      <a:pt x="271463" y="49435"/>
                    </a:lnTo>
                    <a:lnTo>
                      <a:pt x="267653" y="41815"/>
                    </a:lnTo>
                    <a:lnTo>
                      <a:pt x="246697" y="35147"/>
                    </a:lnTo>
                    <a:lnTo>
                      <a:pt x="221933" y="14288"/>
                    </a:lnTo>
                    <a:lnTo>
                      <a:pt x="203835" y="0"/>
                    </a:lnTo>
                    <a:lnTo>
                      <a:pt x="186690" y="6572"/>
                    </a:lnTo>
                    <a:lnTo>
                      <a:pt x="186690" y="31433"/>
                    </a:lnTo>
                    <a:lnTo>
                      <a:pt x="168593" y="39052"/>
                    </a:lnTo>
                    <a:lnTo>
                      <a:pt x="147638" y="49435"/>
                    </a:lnTo>
                    <a:lnTo>
                      <a:pt x="133350" y="60008"/>
                    </a:lnTo>
                    <a:lnTo>
                      <a:pt x="109538" y="62865"/>
                    </a:lnTo>
                    <a:lnTo>
                      <a:pt x="95250" y="52388"/>
                    </a:lnTo>
                    <a:lnTo>
                      <a:pt x="84772" y="52388"/>
                    </a:lnTo>
                    <a:lnTo>
                      <a:pt x="87630" y="62865"/>
                    </a:lnTo>
                    <a:lnTo>
                      <a:pt x="95250" y="80963"/>
                    </a:lnTo>
                    <a:lnTo>
                      <a:pt x="84772" y="91440"/>
                    </a:lnTo>
                    <a:lnTo>
                      <a:pt x="70485" y="87535"/>
                    </a:lnTo>
                    <a:lnTo>
                      <a:pt x="56197" y="95250"/>
                    </a:lnTo>
                    <a:lnTo>
                      <a:pt x="45720" y="84677"/>
                    </a:lnTo>
                    <a:lnTo>
                      <a:pt x="31433" y="84677"/>
                    </a:lnTo>
                    <a:lnTo>
                      <a:pt x="14288" y="87535"/>
                    </a:lnTo>
                    <a:lnTo>
                      <a:pt x="3810" y="91440"/>
                    </a:lnTo>
                    <a:lnTo>
                      <a:pt x="0" y="105727"/>
                    </a:lnTo>
                    <a:lnTo>
                      <a:pt x="10478" y="116110"/>
                    </a:lnTo>
                    <a:lnTo>
                      <a:pt x="31433" y="116110"/>
                    </a:lnTo>
                    <a:lnTo>
                      <a:pt x="45720" y="122777"/>
                    </a:lnTo>
                    <a:lnTo>
                      <a:pt x="62865" y="134302"/>
                    </a:lnTo>
                    <a:lnTo>
                      <a:pt x="74295" y="144685"/>
                    </a:lnTo>
                    <a:lnTo>
                      <a:pt x="77153" y="158115"/>
                    </a:lnTo>
                    <a:lnTo>
                      <a:pt x="98108" y="172402"/>
                    </a:lnTo>
                    <a:lnTo>
                      <a:pt x="112395" y="204788"/>
                    </a:lnTo>
                    <a:lnTo>
                      <a:pt x="98108" y="204788"/>
                    </a:lnTo>
                    <a:lnTo>
                      <a:pt x="98108" y="225647"/>
                    </a:lnTo>
                    <a:lnTo>
                      <a:pt x="87630" y="253365"/>
                    </a:lnTo>
                    <a:lnTo>
                      <a:pt x="87630" y="275177"/>
                    </a:lnTo>
                    <a:lnTo>
                      <a:pt x="112395" y="285750"/>
                    </a:lnTo>
                    <a:lnTo>
                      <a:pt x="140970" y="296227"/>
                    </a:lnTo>
                    <a:lnTo>
                      <a:pt x="161925" y="292322"/>
                    </a:lnTo>
                    <a:lnTo>
                      <a:pt x="186690" y="302895"/>
                    </a:lnTo>
                    <a:lnTo>
                      <a:pt x="214313" y="302895"/>
                    </a:lnTo>
                    <a:lnTo>
                      <a:pt x="214313" y="285750"/>
                    </a:lnTo>
                    <a:lnTo>
                      <a:pt x="225743" y="275177"/>
                    </a:lnTo>
                    <a:lnTo>
                      <a:pt x="242888" y="267652"/>
                    </a:lnTo>
                    <a:lnTo>
                      <a:pt x="263843" y="271463"/>
                    </a:lnTo>
                    <a:lnTo>
                      <a:pt x="281940" y="275177"/>
                    </a:lnTo>
                    <a:lnTo>
                      <a:pt x="302895" y="285750"/>
                    </a:lnTo>
                    <a:lnTo>
                      <a:pt x="320040" y="278035"/>
                    </a:lnTo>
                    <a:lnTo>
                      <a:pt x="327660" y="263747"/>
                    </a:lnTo>
                    <a:lnTo>
                      <a:pt x="341947" y="260890"/>
                    </a:lnTo>
                    <a:lnTo>
                      <a:pt x="341947" y="246602"/>
                    </a:lnTo>
                    <a:lnTo>
                      <a:pt x="327660" y="24660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5" name="Freeform: Shape 474">
                <a:extLst>
                  <a:ext uri="{FF2B5EF4-FFF2-40B4-BE49-F238E27FC236}">
                    <a16:creationId xmlns:a16="http://schemas.microsoft.com/office/drawing/2014/main" id="{AAD61D2E-5CD7-F8B1-8B20-12C5C3454B15}"/>
                  </a:ext>
                </a:extLst>
              </p:cNvPr>
              <p:cNvSpPr/>
              <p:nvPr/>
            </p:nvSpPr>
            <p:spPr>
              <a:xfrm>
                <a:off x="5744548" y="3265366"/>
                <a:ext cx="338007" cy="245571"/>
              </a:xfrm>
              <a:custGeom>
                <a:avLst/>
                <a:gdLst>
                  <a:gd name="connsiteX0" fmla="*/ 288607 w 344804"/>
                  <a:gd name="connsiteY0" fmla="*/ 31433 h 250507"/>
                  <a:gd name="connsiteX1" fmla="*/ 267653 w 344804"/>
                  <a:gd name="connsiteY1" fmla="*/ 35338 h 250507"/>
                  <a:gd name="connsiteX2" fmla="*/ 239078 w 344804"/>
                  <a:gd name="connsiteY2" fmla="*/ 24860 h 250507"/>
                  <a:gd name="connsiteX3" fmla="*/ 214313 w 344804"/>
                  <a:gd name="connsiteY3" fmla="*/ 14288 h 250507"/>
                  <a:gd name="connsiteX4" fmla="*/ 200978 w 344804"/>
                  <a:gd name="connsiteY4" fmla="*/ 14288 h 250507"/>
                  <a:gd name="connsiteX5" fmla="*/ 168592 w 344804"/>
                  <a:gd name="connsiteY5" fmla="*/ 10573 h 250507"/>
                  <a:gd name="connsiteX6" fmla="*/ 137160 w 344804"/>
                  <a:gd name="connsiteY6" fmla="*/ 14288 h 250507"/>
                  <a:gd name="connsiteX7" fmla="*/ 116205 w 344804"/>
                  <a:gd name="connsiteY7" fmla="*/ 6763 h 250507"/>
                  <a:gd name="connsiteX8" fmla="*/ 80963 w 344804"/>
                  <a:gd name="connsiteY8" fmla="*/ 2858 h 250507"/>
                  <a:gd name="connsiteX9" fmla="*/ 41910 w 344804"/>
                  <a:gd name="connsiteY9" fmla="*/ 0 h 250507"/>
                  <a:gd name="connsiteX10" fmla="*/ 27622 w 344804"/>
                  <a:gd name="connsiteY10" fmla="*/ 6763 h 250507"/>
                  <a:gd name="connsiteX11" fmla="*/ 6667 w 344804"/>
                  <a:gd name="connsiteY11" fmla="*/ 14288 h 250507"/>
                  <a:gd name="connsiteX12" fmla="*/ 0 w 344804"/>
                  <a:gd name="connsiteY12" fmla="*/ 21050 h 250507"/>
                  <a:gd name="connsiteX13" fmla="*/ 10478 w 344804"/>
                  <a:gd name="connsiteY13" fmla="*/ 39148 h 250507"/>
                  <a:gd name="connsiteX14" fmla="*/ 17145 w 344804"/>
                  <a:gd name="connsiteY14" fmla="*/ 49625 h 250507"/>
                  <a:gd name="connsiteX15" fmla="*/ 27622 w 344804"/>
                  <a:gd name="connsiteY15" fmla="*/ 52388 h 250507"/>
                  <a:gd name="connsiteX16" fmla="*/ 39053 w 344804"/>
                  <a:gd name="connsiteY16" fmla="*/ 62960 h 250507"/>
                  <a:gd name="connsiteX17" fmla="*/ 77153 w 344804"/>
                  <a:gd name="connsiteY17" fmla="*/ 60008 h 250507"/>
                  <a:gd name="connsiteX18" fmla="*/ 87630 w 344804"/>
                  <a:gd name="connsiteY18" fmla="*/ 74295 h 250507"/>
                  <a:gd name="connsiteX19" fmla="*/ 84772 w 344804"/>
                  <a:gd name="connsiteY19" fmla="*/ 84868 h 250507"/>
                  <a:gd name="connsiteX20" fmla="*/ 66675 w 344804"/>
                  <a:gd name="connsiteY20" fmla="*/ 87725 h 250507"/>
                  <a:gd name="connsiteX21" fmla="*/ 66675 w 344804"/>
                  <a:gd name="connsiteY21" fmla="*/ 130588 h 250507"/>
                  <a:gd name="connsiteX22" fmla="*/ 62865 w 344804"/>
                  <a:gd name="connsiteY22" fmla="*/ 137255 h 250507"/>
                  <a:gd name="connsiteX23" fmla="*/ 52388 w 344804"/>
                  <a:gd name="connsiteY23" fmla="*/ 144875 h 250507"/>
                  <a:gd name="connsiteX24" fmla="*/ 52388 w 344804"/>
                  <a:gd name="connsiteY24" fmla="*/ 151543 h 250507"/>
                  <a:gd name="connsiteX25" fmla="*/ 62865 w 344804"/>
                  <a:gd name="connsiteY25" fmla="*/ 165830 h 250507"/>
                  <a:gd name="connsiteX26" fmla="*/ 52388 w 344804"/>
                  <a:gd name="connsiteY26" fmla="*/ 172498 h 250507"/>
                  <a:gd name="connsiteX27" fmla="*/ 60007 w 344804"/>
                  <a:gd name="connsiteY27" fmla="*/ 193358 h 250507"/>
                  <a:gd name="connsiteX28" fmla="*/ 49530 w 344804"/>
                  <a:gd name="connsiteY28" fmla="*/ 201073 h 250507"/>
                  <a:gd name="connsiteX29" fmla="*/ 56197 w 344804"/>
                  <a:gd name="connsiteY29" fmla="*/ 218218 h 250507"/>
                  <a:gd name="connsiteX30" fmla="*/ 66675 w 344804"/>
                  <a:gd name="connsiteY30" fmla="*/ 218218 h 250507"/>
                  <a:gd name="connsiteX31" fmla="*/ 77153 w 344804"/>
                  <a:gd name="connsiteY31" fmla="*/ 225838 h 250507"/>
                  <a:gd name="connsiteX32" fmla="*/ 80963 w 344804"/>
                  <a:gd name="connsiteY32" fmla="*/ 240125 h 250507"/>
                  <a:gd name="connsiteX33" fmla="*/ 98107 w 344804"/>
                  <a:gd name="connsiteY33" fmla="*/ 250508 h 250507"/>
                  <a:gd name="connsiteX34" fmla="*/ 108585 w 344804"/>
                  <a:gd name="connsiteY34" fmla="*/ 246793 h 250507"/>
                  <a:gd name="connsiteX35" fmla="*/ 130492 w 344804"/>
                  <a:gd name="connsiteY35" fmla="*/ 236220 h 250507"/>
                  <a:gd name="connsiteX36" fmla="*/ 151447 w 344804"/>
                  <a:gd name="connsiteY36" fmla="*/ 232505 h 250507"/>
                  <a:gd name="connsiteX37" fmla="*/ 179070 w 344804"/>
                  <a:gd name="connsiteY37" fmla="*/ 232505 h 250507"/>
                  <a:gd name="connsiteX38" fmla="*/ 203835 w 344804"/>
                  <a:gd name="connsiteY38" fmla="*/ 221933 h 250507"/>
                  <a:gd name="connsiteX39" fmla="*/ 214313 w 344804"/>
                  <a:gd name="connsiteY39" fmla="*/ 204788 h 250507"/>
                  <a:gd name="connsiteX40" fmla="*/ 232410 w 344804"/>
                  <a:gd name="connsiteY40" fmla="*/ 201073 h 250507"/>
                  <a:gd name="connsiteX41" fmla="*/ 246697 w 344804"/>
                  <a:gd name="connsiteY41" fmla="*/ 180118 h 250507"/>
                  <a:gd name="connsiteX42" fmla="*/ 257175 w 344804"/>
                  <a:gd name="connsiteY42" fmla="*/ 168688 h 250507"/>
                  <a:gd name="connsiteX43" fmla="*/ 249555 w 344804"/>
                  <a:gd name="connsiteY43" fmla="*/ 151543 h 250507"/>
                  <a:gd name="connsiteX44" fmla="*/ 253365 w 344804"/>
                  <a:gd name="connsiteY44" fmla="*/ 133350 h 250507"/>
                  <a:gd name="connsiteX45" fmla="*/ 263842 w 344804"/>
                  <a:gd name="connsiteY45" fmla="*/ 120110 h 250507"/>
                  <a:gd name="connsiteX46" fmla="*/ 281940 w 344804"/>
                  <a:gd name="connsiteY46" fmla="*/ 102013 h 250507"/>
                  <a:gd name="connsiteX47" fmla="*/ 292417 w 344804"/>
                  <a:gd name="connsiteY47" fmla="*/ 84868 h 250507"/>
                  <a:gd name="connsiteX48" fmla="*/ 313372 w 344804"/>
                  <a:gd name="connsiteY48" fmla="*/ 84868 h 250507"/>
                  <a:gd name="connsiteX49" fmla="*/ 330517 w 344804"/>
                  <a:gd name="connsiteY49" fmla="*/ 74295 h 250507"/>
                  <a:gd name="connsiteX50" fmla="*/ 340995 w 344804"/>
                  <a:gd name="connsiteY50" fmla="*/ 66675 h 250507"/>
                  <a:gd name="connsiteX51" fmla="*/ 344805 w 344804"/>
                  <a:gd name="connsiteY51" fmla="*/ 49625 h 250507"/>
                  <a:gd name="connsiteX52" fmla="*/ 340995 w 344804"/>
                  <a:gd name="connsiteY52" fmla="*/ 42005 h 250507"/>
                  <a:gd name="connsiteX53" fmla="*/ 313372 w 344804"/>
                  <a:gd name="connsiteY53" fmla="*/ 42005 h 250507"/>
                  <a:gd name="connsiteX54" fmla="*/ 288607 w 344804"/>
                  <a:gd name="connsiteY54" fmla="*/ 31433 h 2505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</a:cxnLst>
                <a:rect l="l" t="t" r="r" b="b"/>
                <a:pathLst>
                  <a:path w="344804" h="250507">
                    <a:moveTo>
                      <a:pt x="288607" y="31433"/>
                    </a:moveTo>
                    <a:lnTo>
                      <a:pt x="267653" y="35338"/>
                    </a:lnTo>
                    <a:lnTo>
                      <a:pt x="239078" y="24860"/>
                    </a:lnTo>
                    <a:lnTo>
                      <a:pt x="214313" y="14288"/>
                    </a:lnTo>
                    <a:lnTo>
                      <a:pt x="200978" y="14288"/>
                    </a:lnTo>
                    <a:lnTo>
                      <a:pt x="168592" y="10573"/>
                    </a:lnTo>
                    <a:lnTo>
                      <a:pt x="137160" y="14288"/>
                    </a:lnTo>
                    <a:lnTo>
                      <a:pt x="116205" y="6763"/>
                    </a:lnTo>
                    <a:lnTo>
                      <a:pt x="80963" y="2858"/>
                    </a:lnTo>
                    <a:lnTo>
                      <a:pt x="41910" y="0"/>
                    </a:lnTo>
                    <a:lnTo>
                      <a:pt x="27622" y="6763"/>
                    </a:lnTo>
                    <a:lnTo>
                      <a:pt x="6667" y="14288"/>
                    </a:lnTo>
                    <a:lnTo>
                      <a:pt x="0" y="21050"/>
                    </a:lnTo>
                    <a:lnTo>
                      <a:pt x="10478" y="39148"/>
                    </a:lnTo>
                    <a:lnTo>
                      <a:pt x="17145" y="49625"/>
                    </a:lnTo>
                    <a:lnTo>
                      <a:pt x="27622" y="52388"/>
                    </a:lnTo>
                    <a:lnTo>
                      <a:pt x="39053" y="62960"/>
                    </a:lnTo>
                    <a:lnTo>
                      <a:pt x="77153" y="60008"/>
                    </a:lnTo>
                    <a:lnTo>
                      <a:pt x="87630" y="74295"/>
                    </a:lnTo>
                    <a:lnTo>
                      <a:pt x="84772" y="84868"/>
                    </a:lnTo>
                    <a:lnTo>
                      <a:pt x="66675" y="87725"/>
                    </a:lnTo>
                    <a:lnTo>
                      <a:pt x="66675" y="130588"/>
                    </a:lnTo>
                    <a:lnTo>
                      <a:pt x="62865" y="137255"/>
                    </a:lnTo>
                    <a:lnTo>
                      <a:pt x="52388" y="144875"/>
                    </a:lnTo>
                    <a:lnTo>
                      <a:pt x="52388" y="151543"/>
                    </a:lnTo>
                    <a:lnTo>
                      <a:pt x="62865" y="165830"/>
                    </a:lnTo>
                    <a:lnTo>
                      <a:pt x="52388" y="172498"/>
                    </a:lnTo>
                    <a:lnTo>
                      <a:pt x="60007" y="193358"/>
                    </a:lnTo>
                    <a:lnTo>
                      <a:pt x="49530" y="201073"/>
                    </a:lnTo>
                    <a:lnTo>
                      <a:pt x="56197" y="218218"/>
                    </a:lnTo>
                    <a:lnTo>
                      <a:pt x="66675" y="218218"/>
                    </a:lnTo>
                    <a:lnTo>
                      <a:pt x="77153" y="225838"/>
                    </a:lnTo>
                    <a:lnTo>
                      <a:pt x="80963" y="240125"/>
                    </a:lnTo>
                    <a:lnTo>
                      <a:pt x="98107" y="250508"/>
                    </a:lnTo>
                    <a:lnTo>
                      <a:pt x="108585" y="246793"/>
                    </a:lnTo>
                    <a:lnTo>
                      <a:pt x="130492" y="236220"/>
                    </a:lnTo>
                    <a:lnTo>
                      <a:pt x="151447" y="232505"/>
                    </a:lnTo>
                    <a:lnTo>
                      <a:pt x="179070" y="232505"/>
                    </a:lnTo>
                    <a:lnTo>
                      <a:pt x="203835" y="221933"/>
                    </a:lnTo>
                    <a:lnTo>
                      <a:pt x="214313" y="204788"/>
                    </a:lnTo>
                    <a:lnTo>
                      <a:pt x="232410" y="201073"/>
                    </a:lnTo>
                    <a:lnTo>
                      <a:pt x="246697" y="180118"/>
                    </a:lnTo>
                    <a:lnTo>
                      <a:pt x="257175" y="168688"/>
                    </a:lnTo>
                    <a:lnTo>
                      <a:pt x="249555" y="151543"/>
                    </a:lnTo>
                    <a:lnTo>
                      <a:pt x="253365" y="133350"/>
                    </a:lnTo>
                    <a:lnTo>
                      <a:pt x="263842" y="120110"/>
                    </a:lnTo>
                    <a:lnTo>
                      <a:pt x="281940" y="102013"/>
                    </a:lnTo>
                    <a:lnTo>
                      <a:pt x="292417" y="84868"/>
                    </a:lnTo>
                    <a:lnTo>
                      <a:pt x="313372" y="84868"/>
                    </a:lnTo>
                    <a:lnTo>
                      <a:pt x="330517" y="74295"/>
                    </a:lnTo>
                    <a:lnTo>
                      <a:pt x="340995" y="66675"/>
                    </a:lnTo>
                    <a:lnTo>
                      <a:pt x="344805" y="49625"/>
                    </a:lnTo>
                    <a:lnTo>
                      <a:pt x="340995" y="42005"/>
                    </a:lnTo>
                    <a:lnTo>
                      <a:pt x="313372" y="42005"/>
                    </a:lnTo>
                    <a:lnTo>
                      <a:pt x="288607" y="3143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6" name="Freeform: Shape 475">
                <a:extLst>
                  <a:ext uri="{FF2B5EF4-FFF2-40B4-BE49-F238E27FC236}">
                    <a16:creationId xmlns:a16="http://schemas.microsoft.com/office/drawing/2014/main" id="{9C70235F-2EF8-B136-C5C1-F8AD60366840}"/>
                  </a:ext>
                </a:extLst>
              </p:cNvPr>
              <p:cNvSpPr/>
              <p:nvPr/>
            </p:nvSpPr>
            <p:spPr>
              <a:xfrm>
                <a:off x="6068550" y="2999252"/>
                <a:ext cx="103643" cy="65361"/>
              </a:xfrm>
              <a:custGeom>
                <a:avLst/>
                <a:gdLst>
                  <a:gd name="connsiteX0" fmla="*/ 42863 w 105727"/>
                  <a:gd name="connsiteY0" fmla="*/ 45720 h 66675"/>
                  <a:gd name="connsiteX1" fmla="*/ 63818 w 105727"/>
                  <a:gd name="connsiteY1" fmla="*/ 52388 h 66675"/>
                  <a:gd name="connsiteX2" fmla="*/ 67628 w 105727"/>
                  <a:gd name="connsiteY2" fmla="*/ 60008 h 66675"/>
                  <a:gd name="connsiteX3" fmla="*/ 80963 w 105727"/>
                  <a:gd name="connsiteY3" fmla="*/ 66675 h 66675"/>
                  <a:gd name="connsiteX4" fmla="*/ 92393 w 105727"/>
                  <a:gd name="connsiteY4" fmla="*/ 66675 h 66675"/>
                  <a:gd name="connsiteX5" fmla="*/ 92393 w 105727"/>
                  <a:gd name="connsiteY5" fmla="*/ 45720 h 66675"/>
                  <a:gd name="connsiteX6" fmla="*/ 102870 w 105727"/>
                  <a:gd name="connsiteY6" fmla="*/ 45720 h 66675"/>
                  <a:gd name="connsiteX7" fmla="*/ 105728 w 105727"/>
                  <a:gd name="connsiteY7" fmla="*/ 35338 h 66675"/>
                  <a:gd name="connsiteX8" fmla="*/ 99060 w 105727"/>
                  <a:gd name="connsiteY8" fmla="*/ 21050 h 66675"/>
                  <a:gd name="connsiteX9" fmla="*/ 88583 w 105727"/>
                  <a:gd name="connsiteY9" fmla="*/ 6763 h 66675"/>
                  <a:gd name="connsiteX10" fmla="*/ 88583 w 105727"/>
                  <a:gd name="connsiteY10" fmla="*/ 6763 h 66675"/>
                  <a:gd name="connsiteX11" fmla="*/ 67628 w 105727"/>
                  <a:gd name="connsiteY11" fmla="*/ 0 h 66675"/>
                  <a:gd name="connsiteX12" fmla="*/ 45720 w 105727"/>
                  <a:gd name="connsiteY12" fmla="*/ 2858 h 66675"/>
                  <a:gd name="connsiteX13" fmla="*/ 21908 w 105727"/>
                  <a:gd name="connsiteY13" fmla="*/ 2858 h 66675"/>
                  <a:gd name="connsiteX14" fmla="*/ 0 w 105727"/>
                  <a:gd name="connsiteY14" fmla="*/ 10573 h 66675"/>
                  <a:gd name="connsiteX15" fmla="*/ 18098 w 105727"/>
                  <a:gd name="connsiteY15" fmla="*/ 24860 h 66675"/>
                  <a:gd name="connsiteX16" fmla="*/ 42863 w 105727"/>
                  <a:gd name="connsiteY16" fmla="*/ 4572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05727" h="66675">
                    <a:moveTo>
                      <a:pt x="42863" y="45720"/>
                    </a:moveTo>
                    <a:lnTo>
                      <a:pt x="63818" y="52388"/>
                    </a:lnTo>
                    <a:lnTo>
                      <a:pt x="67628" y="60008"/>
                    </a:lnTo>
                    <a:lnTo>
                      <a:pt x="80963" y="66675"/>
                    </a:lnTo>
                    <a:lnTo>
                      <a:pt x="92393" y="66675"/>
                    </a:lnTo>
                    <a:lnTo>
                      <a:pt x="92393" y="45720"/>
                    </a:lnTo>
                    <a:lnTo>
                      <a:pt x="102870" y="45720"/>
                    </a:lnTo>
                    <a:lnTo>
                      <a:pt x="105728" y="35338"/>
                    </a:lnTo>
                    <a:lnTo>
                      <a:pt x="99060" y="21050"/>
                    </a:lnTo>
                    <a:lnTo>
                      <a:pt x="88583" y="6763"/>
                    </a:lnTo>
                    <a:lnTo>
                      <a:pt x="88583" y="6763"/>
                    </a:lnTo>
                    <a:lnTo>
                      <a:pt x="67628" y="0"/>
                    </a:lnTo>
                    <a:lnTo>
                      <a:pt x="45720" y="2858"/>
                    </a:lnTo>
                    <a:lnTo>
                      <a:pt x="21908" y="2858"/>
                    </a:lnTo>
                    <a:lnTo>
                      <a:pt x="0" y="10573"/>
                    </a:lnTo>
                    <a:lnTo>
                      <a:pt x="18098" y="24860"/>
                    </a:lnTo>
                    <a:lnTo>
                      <a:pt x="42863" y="4572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7" name="Freeform: Shape 476">
                <a:extLst>
                  <a:ext uri="{FF2B5EF4-FFF2-40B4-BE49-F238E27FC236}">
                    <a16:creationId xmlns:a16="http://schemas.microsoft.com/office/drawing/2014/main" id="{0188C908-F149-F2B8-E5CD-2549DB95F990}"/>
                  </a:ext>
                </a:extLst>
              </p:cNvPr>
              <p:cNvSpPr/>
              <p:nvPr/>
            </p:nvSpPr>
            <p:spPr>
              <a:xfrm>
                <a:off x="6090026" y="2919885"/>
                <a:ext cx="102709" cy="96174"/>
              </a:xfrm>
              <a:custGeom>
                <a:avLst/>
                <a:gdLst>
                  <a:gd name="connsiteX0" fmla="*/ 45720 w 104774"/>
                  <a:gd name="connsiteY0" fmla="*/ 80963 h 98107"/>
                  <a:gd name="connsiteX1" fmla="*/ 59055 w 104774"/>
                  <a:gd name="connsiteY1" fmla="*/ 83820 h 98107"/>
                  <a:gd name="connsiteX2" fmla="*/ 66675 w 104774"/>
                  <a:gd name="connsiteY2" fmla="*/ 87725 h 98107"/>
                  <a:gd name="connsiteX3" fmla="*/ 66675 w 104774"/>
                  <a:gd name="connsiteY3" fmla="*/ 87725 h 98107"/>
                  <a:gd name="connsiteX4" fmla="*/ 77153 w 104774"/>
                  <a:gd name="connsiteY4" fmla="*/ 98108 h 98107"/>
                  <a:gd name="connsiteX5" fmla="*/ 77153 w 104774"/>
                  <a:gd name="connsiteY5" fmla="*/ 80963 h 98107"/>
                  <a:gd name="connsiteX6" fmla="*/ 77153 w 104774"/>
                  <a:gd name="connsiteY6" fmla="*/ 66675 h 98107"/>
                  <a:gd name="connsiteX7" fmla="*/ 87630 w 104774"/>
                  <a:gd name="connsiteY7" fmla="*/ 60008 h 98107"/>
                  <a:gd name="connsiteX8" fmla="*/ 98107 w 104774"/>
                  <a:gd name="connsiteY8" fmla="*/ 52388 h 98107"/>
                  <a:gd name="connsiteX9" fmla="*/ 98107 w 104774"/>
                  <a:gd name="connsiteY9" fmla="*/ 35338 h 98107"/>
                  <a:gd name="connsiteX10" fmla="*/ 104775 w 104774"/>
                  <a:gd name="connsiteY10" fmla="*/ 23813 h 98107"/>
                  <a:gd name="connsiteX11" fmla="*/ 94297 w 104774"/>
                  <a:gd name="connsiteY11" fmla="*/ 0 h 98107"/>
                  <a:gd name="connsiteX12" fmla="*/ 73342 w 104774"/>
                  <a:gd name="connsiteY12" fmla="*/ 2858 h 98107"/>
                  <a:gd name="connsiteX13" fmla="*/ 59055 w 104774"/>
                  <a:gd name="connsiteY13" fmla="*/ 13430 h 98107"/>
                  <a:gd name="connsiteX14" fmla="*/ 66675 w 104774"/>
                  <a:gd name="connsiteY14" fmla="*/ 35338 h 98107"/>
                  <a:gd name="connsiteX15" fmla="*/ 56197 w 104774"/>
                  <a:gd name="connsiteY15" fmla="*/ 42005 h 98107"/>
                  <a:gd name="connsiteX16" fmla="*/ 52388 w 104774"/>
                  <a:gd name="connsiteY16" fmla="*/ 31433 h 98107"/>
                  <a:gd name="connsiteX17" fmla="*/ 45720 w 104774"/>
                  <a:gd name="connsiteY17" fmla="*/ 21050 h 98107"/>
                  <a:gd name="connsiteX18" fmla="*/ 31432 w 104774"/>
                  <a:gd name="connsiteY18" fmla="*/ 27718 h 98107"/>
                  <a:gd name="connsiteX19" fmla="*/ 27622 w 104774"/>
                  <a:gd name="connsiteY19" fmla="*/ 38100 h 98107"/>
                  <a:gd name="connsiteX20" fmla="*/ 27622 w 104774"/>
                  <a:gd name="connsiteY20" fmla="*/ 56293 h 98107"/>
                  <a:gd name="connsiteX21" fmla="*/ 17145 w 104774"/>
                  <a:gd name="connsiteY21" fmla="*/ 70580 h 98107"/>
                  <a:gd name="connsiteX22" fmla="*/ 0 w 104774"/>
                  <a:gd name="connsiteY22" fmla="*/ 83820 h 98107"/>
                  <a:gd name="connsiteX23" fmla="*/ 23813 w 104774"/>
                  <a:gd name="connsiteY23" fmla="*/ 83820 h 98107"/>
                  <a:gd name="connsiteX24" fmla="*/ 45720 w 104774"/>
                  <a:gd name="connsiteY24" fmla="*/ 80963 h 981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104774" h="98107">
                    <a:moveTo>
                      <a:pt x="45720" y="80963"/>
                    </a:moveTo>
                    <a:lnTo>
                      <a:pt x="59055" y="83820"/>
                    </a:lnTo>
                    <a:lnTo>
                      <a:pt x="66675" y="87725"/>
                    </a:lnTo>
                    <a:lnTo>
                      <a:pt x="66675" y="87725"/>
                    </a:lnTo>
                    <a:lnTo>
                      <a:pt x="77153" y="98108"/>
                    </a:lnTo>
                    <a:lnTo>
                      <a:pt x="77153" y="80963"/>
                    </a:lnTo>
                    <a:lnTo>
                      <a:pt x="77153" y="66675"/>
                    </a:lnTo>
                    <a:lnTo>
                      <a:pt x="87630" y="60008"/>
                    </a:lnTo>
                    <a:lnTo>
                      <a:pt x="98107" y="52388"/>
                    </a:lnTo>
                    <a:lnTo>
                      <a:pt x="98107" y="35338"/>
                    </a:lnTo>
                    <a:lnTo>
                      <a:pt x="104775" y="23813"/>
                    </a:lnTo>
                    <a:lnTo>
                      <a:pt x="94297" y="0"/>
                    </a:lnTo>
                    <a:lnTo>
                      <a:pt x="73342" y="2858"/>
                    </a:lnTo>
                    <a:lnTo>
                      <a:pt x="59055" y="13430"/>
                    </a:lnTo>
                    <a:lnTo>
                      <a:pt x="66675" y="35338"/>
                    </a:lnTo>
                    <a:lnTo>
                      <a:pt x="56197" y="42005"/>
                    </a:lnTo>
                    <a:lnTo>
                      <a:pt x="52388" y="31433"/>
                    </a:lnTo>
                    <a:lnTo>
                      <a:pt x="45720" y="21050"/>
                    </a:lnTo>
                    <a:lnTo>
                      <a:pt x="31432" y="27718"/>
                    </a:lnTo>
                    <a:lnTo>
                      <a:pt x="27622" y="38100"/>
                    </a:lnTo>
                    <a:lnTo>
                      <a:pt x="27622" y="56293"/>
                    </a:lnTo>
                    <a:lnTo>
                      <a:pt x="17145" y="70580"/>
                    </a:lnTo>
                    <a:lnTo>
                      <a:pt x="0" y="83820"/>
                    </a:lnTo>
                    <a:lnTo>
                      <a:pt x="23813" y="83820"/>
                    </a:lnTo>
                    <a:lnTo>
                      <a:pt x="45720" y="809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8" name="Freeform: Shape 477">
                <a:extLst>
                  <a:ext uri="{FF2B5EF4-FFF2-40B4-BE49-F238E27FC236}">
                    <a16:creationId xmlns:a16="http://schemas.microsoft.com/office/drawing/2014/main" id="{FD457D42-A681-30B8-92A2-58B7D62BA7C7}"/>
                  </a:ext>
                </a:extLst>
              </p:cNvPr>
              <p:cNvSpPr/>
              <p:nvPr/>
            </p:nvSpPr>
            <p:spPr>
              <a:xfrm>
                <a:off x="6134844" y="2999252"/>
                <a:ext cx="20542" cy="6629"/>
              </a:xfrm>
              <a:custGeom>
                <a:avLst/>
                <a:gdLst>
                  <a:gd name="connsiteX0" fmla="*/ 0 w 20955"/>
                  <a:gd name="connsiteY0" fmla="*/ 0 h 6762"/>
                  <a:gd name="connsiteX1" fmla="*/ 20955 w 20955"/>
                  <a:gd name="connsiteY1" fmla="*/ 6763 h 6762"/>
                  <a:gd name="connsiteX2" fmla="*/ 13335 w 20955"/>
                  <a:gd name="connsiteY2" fmla="*/ 2858 h 6762"/>
                  <a:gd name="connsiteX3" fmla="*/ 0 w 20955"/>
                  <a:gd name="connsiteY3" fmla="*/ 0 h 6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" h="6762">
                    <a:moveTo>
                      <a:pt x="0" y="0"/>
                    </a:moveTo>
                    <a:lnTo>
                      <a:pt x="20955" y="6763"/>
                    </a:lnTo>
                    <a:lnTo>
                      <a:pt x="13335" y="285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79" name="Freeform: Shape 478">
                <a:extLst>
                  <a:ext uri="{FF2B5EF4-FFF2-40B4-BE49-F238E27FC236}">
                    <a16:creationId xmlns:a16="http://schemas.microsoft.com/office/drawing/2014/main" id="{3F853543-7827-FBF4-5AF7-0266E738B774}"/>
                  </a:ext>
                </a:extLst>
              </p:cNvPr>
              <p:cNvSpPr/>
              <p:nvPr/>
            </p:nvSpPr>
            <p:spPr>
              <a:xfrm>
                <a:off x="6186199" y="3151451"/>
                <a:ext cx="323069" cy="303462"/>
              </a:xfrm>
              <a:custGeom>
                <a:avLst/>
                <a:gdLst>
                  <a:gd name="connsiteX0" fmla="*/ 280035 w 329565"/>
                  <a:gd name="connsiteY0" fmla="*/ 278130 h 309562"/>
                  <a:gd name="connsiteX1" fmla="*/ 294322 w 329565"/>
                  <a:gd name="connsiteY1" fmla="*/ 274415 h 309562"/>
                  <a:gd name="connsiteX2" fmla="*/ 290513 w 329565"/>
                  <a:gd name="connsiteY2" fmla="*/ 267748 h 309562"/>
                  <a:gd name="connsiteX3" fmla="*/ 283845 w 329565"/>
                  <a:gd name="connsiteY3" fmla="*/ 261080 h 309562"/>
                  <a:gd name="connsiteX4" fmla="*/ 273367 w 329565"/>
                  <a:gd name="connsiteY4" fmla="*/ 246793 h 309562"/>
                  <a:gd name="connsiteX5" fmla="*/ 280035 w 329565"/>
                  <a:gd name="connsiteY5" fmla="*/ 232505 h 309562"/>
                  <a:gd name="connsiteX6" fmla="*/ 294322 w 329565"/>
                  <a:gd name="connsiteY6" fmla="*/ 228600 h 309562"/>
                  <a:gd name="connsiteX7" fmla="*/ 308610 w 329565"/>
                  <a:gd name="connsiteY7" fmla="*/ 239173 h 309562"/>
                  <a:gd name="connsiteX8" fmla="*/ 319088 w 329565"/>
                  <a:gd name="connsiteY8" fmla="*/ 249555 h 309562"/>
                  <a:gd name="connsiteX9" fmla="*/ 329565 w 329565"/>
                  <a:gd name="connsiteY9" fmla="*/ 242888 h 309562"/>
                  <a:gd name="connsiteX10" fmla="*/ 321945 w 329565"/>
                  <a:gd name="connsiteY10" fmla="*/ 232505 h 309562"/>
                  <a:gd name="connsiteX11" fmla="*/ 308610 w 329565"/>
                  <a:gd name="connsiteY11" fmla="*/ 218218 h 309562"/>
                  <a:gd name="connsiteX12" fmla="*/ 283845 w 329565"/>
                  <a:gd name="connsiteY12" fmla="*/ 207740 h 309562"/>
                  <a:gd name="connsiteX13" fmla="*/ 265747 w 329565"/>
                  <a:gd name="connsiteY13" fmla="*/ 201073 h 309562"/>
                  <a:gd name="connsiteX14" fmla="*/ 255270 w 329565"/>
                  <a:gd name="connsiteY14" fmla="*/ 190500 h 309562"/>
                  <a:gd name="connsiteX15" fmla="*/ 262890 w 329565"/>
                  <a:gd name="connsiteY15" fmla="*/ 186785 h 309562"/>
                  <a:gd name="connsiteX16" fmla="*/ 255270 w 329565"/>
                  <a:gd name="connsiteY16" fmla="*/ 179165 h 309562"/>
                  <a:gd name="connsiteX17" fmla="*/ 227647 w 329565"/>
                  <a:gd name="connsiteY17" fmla="*/ 179165 h 309562"/>
                  <a:gd name="connsiteX18" fmla="*/ 209550 w 329565"/>
                  <a:gd name="connsiteY18" fmla="*/ 165830 h 309562"/>
                  <a:gd name="connsiteX19" fmla="*/ 199072 w 329565"/>
                  <a:gd name="connsiteY19" fmla="*/ 147638 h 309562"/>
                  <a:gd name="connsiteX20" fmla="*/ 195263 w 329565"/>
                  <a:gd name="connsiteY20" fmla="*/ 126778 h 309562"/>
                  <a:gd name="connsiteX21" fmla="*/ 178117 w 329565"/>
                  <a:gd name="connsiteY21" fmla="*/ 116205 h 309562"/>
                  <a:gd name="connsiteX22" fmla="*/ 160020 w 329565"/>
                  <a:gd name="connsiteY22" fmla="*/ 105823 h 309562"/>
                  <a:gd name="connsiteX23" fmla="*/ 146685 w 329565"/>
                  <a:gd name="connsiteY23" fmla="*/ 91535 h 309562"/>
                  <a:gd name="connsiteX24" fmla="*/ 146685 w 329565"/>
                  <a:gd name="connsiteY24" fmla="*/ 73342 h 309562"/>
                  <a:gd name="connsiteX25" fmla="*/ 146685 w 329565"/>
                  <a:gd name="connsiteY25" fmla="*/ 56293 h 309562"/>
                  <a:gd name="connsiteX26" fmla="*/ 167640 w 329565"/>
                  <a:gd name="connsiteY26" fmla="*/ 45815 h 309562"/>
                  <a:gd name="connsiteX27" fmla="*/ 178117 w 329565"/>
                  <a:gd name="connsiteY27" fmla="*/ 42005 h 309562"/>
                  <a:gd name="connsiteX28" fmla="*/ 181928 w 329565"/>
                  <a:gd name="connsiteY28" fmla="*/ 27718 h 309562"/>
                  <a:gd name="connsiteX29" fmla="*/ 192405 w 329565"/>
                  <a:gd name="connsiteY29" fmla="*/ 13430 h 309562"/>
                  <a:gd name="connsiteX30" fmla="*/ 163830 w 329565"/>
                  <a:gd name="connsiteY30" fmla="*/ 17240 h 309562"/>
                  <a:gd name="connsiteX31" fmla="*/ 146685 w 329565"/>
                  <a:gd name="connsiteY31" fmla="*/ 10573 h 309562"/>
                  <a:gd name="connsiteX32" fmla="*/ 146685 w 329565"/>
                  <a:gd name="connsiteY32" fmla="*/ 0 h 309562"/>
                  <a:gd name="connsiteX33" fmla="*/ 120015 w 329565"/>
                  <a:gd name="connsiteY33" fmla="*/ 0 h 309562"/>
                  <a:gd name="connsiteX34" fmla="*/ 116205 w 329565"/>
                  <a:gd name="connsiteY34" fmla="*/ 10573 h 309562"/>
                  <a:gd name="connsiteX35" fmla="*/ 99060 w 329565"/>
                  <a:gd name="connsiteY35" fmla="*/ 10573 h 309562"/>
                  <a:gd name="connsiteX36" fmla="*/ 91440 w 329565"/>
                  <a:gd name="connsiteY36" fmla="*/ 24860 h 309562"/>
                  <a:gd name="connsiteX37" fmla="*/ 74295 w 329565"/>
                  <a:gd name="connsiteY37" fmla="*/ 27718 h 309562"/>
                  <a:gd name="connsiteX38" fmla="*/ 63817 w 329565"/>
                  <a:gd name="connsiteY38" fmla="*/ 17240 h 309562"/>
                  <a:gd name="connsiteX39" fmla="*/ 63817 w 329565"/>
                  <a:gd name="connsiteY39" fmla="*/ 35242 h 309562"/>
                  <a:gd name="connsiteX40" fmla="*/ 56197 w 329565"/>
                  <a:gd name="connsiteY40" fmla="*/ 38100 h 309562"/>
                  <a:gd name="connsiteX41" fmla="*/ 56197 w 329565"/>
                  <a:gd name="connsiteY41" fmla="*/ 38100 h 309562"/>
                  <a:gd name="connsiteX42" fmla="*/ 56197 w 329565"/>
                  <a:gd name="connsiteY42" fmla="*/ 38100 h 309562"/>
                  <a:gd name="connsiteX43" fmla="*/ 45720 w 329565"/>
                  <a:gd name="connsiteY43" fmla="*/ 35242 h 309562"/>
                  <a:gd name="connsiteX44" fmla="*/ 35242 w 329565"/>
                  <a:gd name="connsiteY44" fmla="*/ 27718 h 309562"/>
                  <a:gd name="connsiteX45" fmla="*/ 28575 w 329565"/>
                  <a:gd name="connsiteY45" fmla="*/ 31528 h 309562"/>
                  <a:gd name="connsiteX46" fmla="*/ 28575 w 329565"/>
                  <a:gd name="connsiteY46" fmla="*/ 38100 h 309562"/>
                  <a:gd name="connsiteX47" fmla="*/ 3810 w 329565"/>
                  <a:gd name="connsiteY47" fmla="*/ 42005 h 309562"/>
                  <a:gd name="connsiteX48" fmla="*/ 3810 w 329565"/>
                  <a:gd name="connsiteY48" fmla="*/ 52388 h 309562"/>
                  <a:gd name="connsiteX49" fmla="*/ 6667 w 329565"/>
                  <a:gd name="connsiteY49" fmla="*/ 60103 h 309562"/>
                  <a:gd name="connsiteX50" fmla="*/ 0 w 329565"/>
                  <a:gd name="connsiteY50" fmla="*/ 73342 h 309562"/>
                  <a:gd name="connsiteX51" fmla="*/ 3810 w 329565"/>
                  <a:gd name="connsiteY51" fmla="*/ 101917 h 309562"/>
                  <a:gd name="connsiteX52" fmla="*/ 18097 w 329565"/>
                  <a:gd name="connsiteY52" fmla="*/ 101917 h 309562"/>
                  <a:gd name="connsiteX53" fmla="*/ 18097 w 329565"/>
                  <a:gd name="connsiteY53" fmla="*/ 116205 h 309562"/>
                  <a:gd name="connsiteX54" fmla="*/ 31433 w 329565"/>
                  <a:gd name="connsiteY54" fmla="*/ 112490 h 309562"/>
                  <a:gd name="connsiteX55" fmla="*/ 35242 w 329565"/>
                  <a:gd name="connsiteY55" fmla="*/ 101917 h 309562"/>
                  <a:gd name="connsiteX56" fmla="*/ 45720 w 329565"/>
                  <a:gd name="connsiteY56" fmla="*/ 91535 h 309562"/>
                  <a:gd name="connsiteX57" fmla="*/ 70485 w 329565"/>
                  <a:gd name="connsiteY57" fmla="*/ 98203 h 309562"/>
                  <a:gd name="connsiteX58" fmla="*/ 91440 w 329565"/>
                  <a:gd name="connsiteY58" fmla="*/ 105823 h 309562"/>
                  <a:gd name="connsiteX59" fmla="*/ 95250 w 329565"/>
                  <a:gd name="connsiteY59" fmla="*/ 119063 h 309562"/>
                  <a:gd name="connsiteX60" fmla="*/ 99060 w 329565"/>
                  <a:gd name="connsiteY60" fmla="*/ 147638 h 309562"/>
                  <a:gd name="connsiteX61" fmla="*/ 132397 w 329565"/>
                  <a:gd name="connsiteY61" fmla="*/ 161925 h 309562"/>
                  <a:gd name="connsiteX62" fmla="*/ 146685 w 329565"/>
                  <a:gd name="connsiteY62" fmla="*/ 168592 h 309562"/>
                  <a:gd name="connsiteX63" fmla="*/ 167640 w 329565"/>
                  <a:gd name="connsiteY63" fmla="*/ 197167 h 309562"/>
                  <a:gd name="connsiteX64" fmla="*/ 192405 w 329565"/>
                  <a:gd name="connsiteY64" fmla="*/ 197167 h 309562"/>
                  <a:gd name="connsiteX65" fmla="*/ 209550 w 329565"/>
                  <a:gd name="connsiteY65" fmla="*/ 222028 h 309562"/>
                  <a:gd name="connsiteX66" fmla="*/ 227647 w 329565"/>
                  <a:gd name="connsiteY66" fmla="*/ 222028 h 309562"/>
                  <a:gd name="connsiteX67" fmla="*/ 230505 w 329565"/>
                  <a:gd name="connsiteY67" fmla="*/ 232505 h 309562"/>
                  <a:gd name="connsiteX68" fmla="*/ 251460 w 329565"/>
                  <a:gd name="connsiteY68" fmla="*/ 239173 h 309562"/>
                  <a:gd name="connsiteX69" fmla="*/ 259080 w 329565"/>
                  <a:gd name="connsiteY69" fmla="*/ 261080 h 309562"/>
                  <a:gd name="connsiteX70" fmla="*/ 251460 w 329565"/>
                  <a:gd name="connsiteY70" fmla="*/ 284893 h 309562"/>
                  <a:gd name="connsiteX71" fmla="*/ 248603 w 329565"/>
                  <a:gd name="connsiteY71" fmla="*/ 299180 h 309562"/>
                  <a:gd name="connsiteX72" fmla="*/ 255270 w 329565"/>
                  <a:gd name="connsiteY72" fmla="*/ 309563 h 309562"/>
                  <a:gd name="connsiteX73" fmla="*/ 265747 w 329565"/>
                  <a:gd name="connsiteY73" fmla="*/ 302990 h 309562"/>
                  <a:gd name="connsiteX74" fmla="*/ 276225 w 329565"/>
                  <a:gd name="connsiteY74" fmla="*/ 288703 h 309562"/>
                  <a:gd name="connsiteX75" fmla="*/ 280035 w 329565"/>
                  <a:gd name="connsiteY75" fmla="*/ 278130 h 309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</a:cxnLst>
                <a:rect l="l" t="t" r="r" b="b"/>
                <a:pathLst>
                  <a:path w="329565" h="309562">
                    <a:moveTo>
                      <a:pt x="280035" y="278130"/>
                    </a:moveTo>
                    <a:lnTo>
                      <a:pt x="294322" y="274415"/>
                    </a:lnTo>
                    <a:lnTo>
                      <a:pt x="290513" y="267748"/>
                    </a:lnTo>
                    <a:lnTo>
                      <a:pt x="283845" y="261080"/>
                    </a:lnTo>
                    <a:lnTo>
                      <a:pt x="273367" y="246793"/>
                    </a:lnTo>
                    <a:lnTo>
                      <a:pt x="280035" y="232505"/>
                    </a:lnTo>
                    <a:lnTo>
                      <a:pt x="294322" y="228600"/>
                    </a:lnTo>
                    <a:lnTo>
                      <a:pt x="308610" y="239173"/>
                    </a:lnTo>
                    <a:lnTo>
                      <a:pt x="319088" y="249555"/>
                    </a:lnTo>
                    <a:lnTo>
                      <a:pt x="329565" y="242888"/>
                    </a:lnTo>
                    <a:lnTo>
                      <a:pt x="321945" y="232505"/>
                    </a:lnTo>
                    <a:lnTo>
                      <a:pt x="308610" y="218218"/>
                    </a:lnTo>
                    <a:lnTo>
                      <a:pt x="283845" y="207740"/>
                    </a:lnTo>
                    <a:lnTo>
                      <a:pt x="265747" y="201073"/>
                    </a:lnTo>
                    <a:lnTo>
                      <a:pt x="255270" y="190500"/>
                    </a:lnTo>
                    <a:lnTo>
                      <a:pt x="262890" y="186785"/>
                    </a:lnTo>
                    <a:lnTo>
                      <a:pt x="255270" y="179165"/>
                    </a:lnTo>
                    <a:lnTo>
                      <a:pt x="227647" y="179165"/>
                    </a:lnTo>
                    <a:lnTo>
                      <a:pt x="209550" y="165830"/>
                    </a:lnTo>
                    <a:lnTo>
                      <a:pt x="199072" y="147638"/>
                    </a:lnTo>
                    <a:lnTo>
                      <a:pt x="195263" y="126778"/>
                    </a:lnTo>
                    <a:lnTo>
                      <a:pt x="178117" y="116205"/>
                    </a:lnTo>
                    <a:lnTo>
                      <a:pt x="160020" y="105823"/>
                    </a:lnTo>
                    <a:lnTo>
                      <a:pt x="146685" y="91535"/>
                    </a:lnTo>
                    <a:lnTo>
                      <a:pt x="146685" y="73342"/>
                    </a:lnTo>
                    <a:lnTo>
                      <a:pt x="146685" y="56293"/>
                    </a:lnTo>
                    <a:lnTo>
                      <a:pt x="167640" y="45815"/>
                    </a:lnTo>
                    <a:lnTo>
                      <a:pt x="178117" y="42005"/>
                    </a:lnTo>
                    <a:lnTo>
                      <a:pt x="181928" y="27718"/>
                    </a:lnTo>
                    <a:lnTo>
                      <a:pt x="192405" y="13430"/>
                    </a:lnTo>
                    <a:lnTo>
                      <a:pt x="163830" y="17240"/>
                    </a:lnTo>
                    <a:lnTo>
                      <a:pt x="146685" y="10573"/>
                    </a:lnTo>
                    <a:lnTo>
                      <a:pt x="146685" y="0"/>
                    </a:lnTo>
                    <a:lnTo>
                      <a:pt x="120015" y="0"/>
                    </a:lnTo>
                    <a:lnTo>
                      <a:pt x="116205" y="10573"/>
                    </a:lnTo>
                    <a:lnTo>
                      <a:pt x="99060" y="10573"/>
                    </a:lnTo>
                    <a:lnTo>
                      <a:pt x="91440" y="24860"/>
                    </a:lnTo>
                    <a:lnTo>
                      <a:pt x="74295" y="27718"/>
                    </a:lnTo>
                    <a:lnTo>
                      <a:pt x="63817" y="17240"/>
                    </a:lnTo>
                    <a:lnTo>
                      <a:pt x="63817" y="35242"/>
                    </a:lnTo>
                    <a:lnTo>
                      <a:pt x="56197" y="38100"/>
                    </a:lnTo>
                    <a:lnTo>
                      <a:pt x="56197" y="38100"/>
                    </a:lnTo>
                    <a:lnTo>
                      <a:pt x="56197" y="38100"/>
                    </a:lnTo>
                    <a:lnTo>
                      <a:pt x="45720" y="35242"/>
                    </a:lnTo>
                    <a:lnTo>
                      <a:pt x="35242" y="27718"/>
                    </a:lnTo>
                    <a:lnTo>
                      <a:pt x="28575" y="31528"/>
                    </a:lnTo>
                    <a:lnTo>
                      <a:pt x="28575" y="38100"/>
                    </a:lnTo>
                    <a:lnTo>
                      <a:pt x="3810" y="42005"/>
                    </a:lnTo>
                    <a:lnTo>
                      <a:pt x="3810" y="52388"/>
                    </a:lnTo>
                    <a:lnTo>
                      <a:pt x="6667" y="60103"/>
                    </a:lnTo>
                    <a:lnTo>
                      <a:pt x="0" y="73342"/>
                    </a:lnTo>
                    <a:lnTo>
                      <a:pt x="3810" y="101917"/>
                    </a:lnTo>
                    <a:lnTo>
                      <a:pt x="18097" y="101917"/>
                    </a:lnTo>
                    <a:lnTo>
                      <a:pt x="18097" y="116205"/>
                    </a:lnTo>
                    <a:lnTo>
                      <a:pt x="31433" y="112490"/>
                    </a:lnTo>
                    <a:lnTo>
                      <a:pt x="35242" y="101917"/>
                    </a:lnTo>
                    <a:lnTo>
                      <a:pt x="45720" y="91535"/>
                    </a:lnTo>
                    <a:lnTo>
                      <a:pt x="70485" y="98203"/>
                    </a:lnTo>
                    <a:lnTo>
                      <a:pt x="91440" y="105823"/>
                    </a:lnTo>
                    <a:lnTo>
                      <a:pt x="95250" y="119063"/>
                    </a:lnTo>
                    <a:lnTo>
                      <a:pt x="99060" y="147638"/>
                    </a:lnTo>
                    <a:lnTo>
                      <a:pt x="132397" y="161925"/>
                    </a:lnTo>
                    <a:lnTo>
                      <a:pt x="146685" y="168592"/>
                    </a:lnTo>
                    <a:lnTo>
                      <a:pt x="167640" y="197167"/>
                    </a:lnTo>
                    <a:lnTo>
                      <a:pt x="192405" y="197167"/>
                    </a:lnTo>
                    <a:lnTo>
                      <a:pt x="209550" y="222028"/>
                    </a:lnTo>
                    <a:lnTo>
                      <a:pt x="227647" y="222028"/>
                    </a:lnTo>
                    <a:lnTo>
                      <a:pt x="230505" y="232505"/>
                    </a:lnTo>
                    <a:lnTo>
                      <a:pt x="251460" y="239173"/>
                    </a:lnTo>
                    <a:lnTo>
                      <a:pt x="259080" y="261080"/>
                    </a:lnTo>
                    <a:lnTo>
                      <a:pt x="251460" y="284893"/>
                    </a:lnTo>
                    <a:lnTo>
                      <a:pt x="248603" y="299180"/>
                    </a:lnTo>
                    <a:lnTo>
                      <a:pt x="255270" y="309563"/>
                    </a:lnTo>
                    <a:lnTo>
                      <a:pt x="265747" y="302990"/>
                    </a:lnTo>
                    <a:lnTo>
                      <a:pt x="276225" y="288703"/>
                    </a:lnTo>
                    <a:lnTo>
                      <a:pt x="280035" y="27813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0" name="Freeform: Shape 479">
                <a:extLst>
                  <a:ext uri="{FF2B5EF4-FFF2-40B4-BE49-F238E27FC236}">
                    <a16:creationId xmlns:a16="http://schemas.microsoft.com/office/drawing/2014/main" id="{752CAA8F-D5A8-D9C8-AE15-0F5FEB1F369A}"/>
                  </a:ext>
                </a:extLst>
              </p:cNvPr>
              <p:cNvSpPr/>
              <p:nvPr/>
            </p:nvSpPr>
            <p:spPr>
              <a:xfrm>
                <a:off x="6231018" y="3185998"/>
                <a:ext cx="10270" cy="2801"/>
              </a:xfrm>
              <a:custGeom>
                <a:avLst/>
                <a:gdLst>
                  <a:gd name="connsiteX0" fmla="*/ 10477 w 10477"/>
                  <a:gd name="connsiteY0" fmla="*/ 2858 h 2857"/>
                  <a:gd name="connsiteX1" fmla="*/ 10477 w 10477"/>
                  <a:gd name="connsiteY1" fmla="*/ 2858 h 2857"/>
                  <a:gd name="connsiteX2" fmla="*/ 0 w 10477"/>
                  <a:gd name="connsiteY2" fmla="*/ 0 h 2857"/>
                  <a:gd name="connsiteX3" fmla="*/ 10477 w 10477"/>
                  <a:gd name="connsiteY3" fmla="*/ 2858 h 28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" h="2857">
                    <a:moveTo>
                      <a:pt x="10477" y="2858"/>
                    </a:moveTo>
                    <a:lnTo>
                      <a:pt x="10477" y="2858"/>
                    </a:lnTo>
                    <a:lnTo>
                      <a:pt x="0" y="0"/>
                    </a:lnTo>
                    <a:lnTo>
                      <a:pt x="10477" y="285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1" name="Freeform: Shape 480">
                <a:extLst>
                  <a:ext uri="{FF2B5EF4-FFF2-40B4-BE49-F238E27FC236}">
                    <a16:creationId xmlns:a16="http://schemas.microsoft.com/office/drawing/2014/main" id="{406AFF55-7E51-E307-D93E-A61EB69F3DA9}"/>
                  </a:ext>
                </a:extLst>
              </p:cNvPr>
              <p:cNvSpPr/>
              <p:nvPr/>
            </p:nvSpPr>
            <p:spPr>
              <a:xfrm>
                <a:off x="9122763" y="5159908"/>
                <a:ext cx="10270" cy="10271"/>
              </a:xfrm>
              <a:custGeom>
                <a:avLst/>
                <a:gdLst>
                  <a:gd name="connsiteX0" fmla="*/ 0 w 10477"/>
                  <a:gd name="connsiteY0" fmla="*/ 0 h 10477"/>
                  <a:gd name="connsiteX1" fmla="*/ 0 w 10477"/>
                  <a:gd name="connsiteY1" fmla="*/ 0 h 10477"/>
                  <a:gd name="connsiteX2" fmla="*/ 10477 w 10477"/>
                  <a:gd name="connsiteY2" fmla="*/ 10478 h 10477"/>
                  <a:gd name="connsiteX3" fmla="*/ 0 w 10477"/>
                  <a:gd name="connsiteY3" fmla="*/ 0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77" h="10477">
                    <a:moveTo>
                      <a:pt x="0" y="0"/>
                    </a:moveTo>
                    <a:lnTo>
                      <a:pt x="0" y="0"/>
                    </a:lnTo>
                    <a:lnTo>
                      <a:pt x="10477" y="1047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2" name="Freeform: Shape 481">
                <a:extLst>
                  <a:ext uri="{FF2B5EF4-FFF2-40B4-BE49-F238E27FC236}">
                    <a16:creationId xmlns:a16="http://schemas.microsoft.com/office/drawing/2014/main" id="{9523240B-F05F-608A-8F91-A76D5B8A0CBB}"/>
                  </a:ext>
                </a:extLst>
              </p:cNvPr>
              <p:cNvSpPr/>
              <p:nvPr/>
            </p:nvSpPr>
            <p:spPr>
              <a:xfrm>
                <a:off x="9478511" y="4931143"/>
                <a:ext cx="16806" cy="10271"/>
              </a:xfrm>
              <a:custGeom>
                <a:avLst/>
                <a:gdLst>
                  <a:gd name="connsiteX0" fmla="*/ 0 w 17144"/>
                  <a:gd name="connsiteY0" fmla="*/ 0 h 10477"/>
                  <a:gd name="connsiteX1" fmla="*/ 0 w 17144"/>
                  <a:gd name="connsiteY1" fmla="*/ 0 h 10477"/>
                  <a:gd name="connsiteX2" fmla="*/ 17145 w 17144"/>
                  <a:gd name="connsiteY2" fmla="*/ 10478 h 10477"/>
                  <a:gd name="connsiteX3" fmla="*/ 0 w 17144"/>
                  <a:gd name="connsiteY3" fmla="*/ 0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4" h="10477">
                    <a:moveTo>
                      <a:pt x="0" y="0"/>
                    </a:moveTo>
                    <a:lnTo>
                      <a:pt x="0" y="0"/>
                    </a:lnTo>
                    <a:lnTo>
                      <a:pt x="17145" y="1047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3" name="Freeform: Shape 482">
                <a:extLst>
                  <a:ext uri="{FF2B5EF4-FFF2-40B4-BE49-F238E27FC236}">
                    <a16:creationId xmlns:a16="http://schemas.microsoft.com/office/drawing/2014/main" id="{FF55528F-7864-6F51-5773-31FB3955C992}"/>
                  </a:ext>
                </a:extLst>
              </p:cNvPr>
              <p:cNvSpPr/>
              <p:nvPr/>
            </p:nvSpPr>
            <p:spPr>
              <a:xfrm>
                <a:off x="9785707" y="5529666"/>
                <a:ext cx="13071" cy="24370"/>
              </a:xfrm>
              <a:custGeom>
                <a:avLst/>
                <a:gdLst>
                  <a:gd name="connsiteX0" fmla="*/ 0 w 13334"/>
                  <a:gd name="connsiteY0" fmla="*/ 0 h 24860"/>
                  <a:gd name="connsiteX1" fmla="*/ 13335 w 13334"/>
                  <a:gd name="connsiteY1" fmla="*/ 6763 h 24860"/>
                  <a:gd name="connsiteX2" fmla="*/ 2857 w 13334"/>
                  <a:gd name="connsiteY2" fmla="*/ 24860 h 24860"/>
                  <a:gd name="connsiteX3" fmla="*/ 13335 w 13334"/>
                  <a:gd name="connsiteY3" fmla="*/ 6763 h 24860"/>
                  <a:gd name="connsiteX4" fmla="*/ 0 w 13334"/>
                  <a:gd name="connsiteY4" fmla="*/ 0 h 2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334" h="24860">
                    <a:moveTo>
                      <a:pt x="0" y="0"/>
                    </a:moveTo>
                    <a:lnTo>
                      <a:pt x="13335" y="6763"/>
                    </a:lnTo>
                    <a:lnTo>
                      <a:pt x="2857" y="24860"/>
                    </a:lnTo>
                    <a:lnTo>
                      <a:pt x="13335" y="676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4" name="Freeform: Shape 483">
                <a:extLst>
                  <a:ext uri="{FF2B5EF4-FFF2-40B4-BE49-F238E27FC236}">
                    <a16:creationId xmlns:a16="http://schemas.microsoft.com/office/drawing/2014/main" id="{A2FBD2A1-EE09-4199-8E3A-9F8BA11DF7C4}"/>
                  </a:ext>
                </a:extLst>
              </p:cNvPr>
              <p:cNvSpPr/>
              <p:nvPr/>
            </p:nvSpPr>
            <p:spPr>
              <a:xfrm>
                <a:off x="10006065" y="5664123"/>
                <a:ext cx="14005" cy="6629"/>
              </a:xfrm>
              <a:custGeom>
                <a:avLst/>
                <a:gdLst>
                  <a:gd name="connsiteX0" fmla="*/ 0 w 14287"/>
                  <a:gd name="connsiteY0" fmla="*/ 6763 h 6762"/>
                  <a:gd name="connsiteX1" fmla="*/ 10477 w 14287"/>
                  <a:gd name="connsiteY1" fmla="*/ 3905 h 6762"/>
                  <a:gd name="connsiteX2" fmla="*/ 14288 w 14287"/>
                  <a:gd name="connsiteY2" fmla="*/ 0 h 6762"/>
                  <a:gd name="connsiteX3" fmla="*/ 10477 w 14287"/>
                  <a:gd name="connsiteY3" fmla="*/ 3905 h 6762"/>
                  <a:gd name="connsiteX4" fmla="*/ 0 w 14287"/>
                  <a:gd name="connsiteY4" fmla="*/ 6763 h 67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287" h="6762">
                    <a:moveTo>
                      <a:pt x="0" y="6763"/>
                    </a:moveTo>
                    <a:lnTo>
                      <a:pt x="10477" y="3905"/>
                    </a:lnTo>
                    <a:lnTo>
                      <a:pt x="14288" y="0"/>
                    </a:lnTo>
                    <a:lnTo>
                      <a:pt x="10477" y="3905"/>
                    </a:lnTo>
                    <a:lnTo>
                      <a:pt x="0" y="67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5" name="Freeform: Shape 484">
                <a:extLst>
                  <a:ext uri="{FF2B5EF4-FFF2-40B4-BE49-F238E27FC236}">
                    <a16:creationId xmlns:a16="http://schemas.microsoft.com/office/drawing/2014/main" id="{BB6634E1-C1D7-F6FD-A323-D843AA9FCCF0}"/>
                  </a:ext>
                </a:extLst>
              </p:cNvPr>
              <p:cNvSpPr/>
              <p:nvPr/>
            </p:nvSpPr>
            <p:spPr>
              <a:xfrm>
                <a:off x="10006065" y="5062800"/>
                <a:ext cx="31747" cy="24370"/>
              </a:xfrm>
              <a:custGeom>
                <a:avLst/>
                <a:gdLst>
                  <a:gd name="connsiteX0" fmla="*/ 32385 w 32385"/>
                  <a:gd name="connsiteY0" fmla="*/ 24860 h 24860"/>
                  <a:gd name="connsiteX1" fmla="*/ 10477 w 32385"/>
                  <a:gd name="connsiteY1" fmla="*/ 17240 h 24860"/>
                  <a:gd name="connsiteX2" fmla="*/ 0 w 32385"/>
                  <a:gd name="connsiteY2" fmla="*/ 0 h 24860"/>
                  <a:gd name="connsiteX3" fmla="*/ 10477 w 32385"/>
                  <a:gd name="connsiteY3" fmla="*/ 17240 h 24860"/>
                  <a:gd name="connsiteX4" fmla="*/ 32385 w 32385"/>
                  <a:gd name="connsiteY4" fmla="*/ 24860 h 24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2385" h="24860">
                    <a:moveTo>
                      <a:pt x="32385" y="24860"/>
                    </a:moveTo>
                    <a:lnTo>
                      <a:pt x="10477" y="17240"/>
                    </a:lnTo>
                    <a:lnTo>
                      <a:pt x="0" y="0"/>
                    </a:lnTo>
                    <a:lnTo>
                      <a:pt x="10477" y="17240"/>
                    </a:lnTo>
                    <a:lnTo>
                      <a:pt x="32385" y="2486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6" name="Freeform: Shape 485">
                <a:extLst>
                  <a:ext uri="{FF2B5EF4-FFF2-40B4-BE49-F238E27FC236}">
                    <a16:creationId xmlns:a16="http://schemas.microsoft.com/office/drawing/2014/main" id="{5B13BE66-8A68-0303-92C8-AB9F1BCF5AC9}"/>
                  </a:ext>
                </a:extLst>
              </p:cNvPr>
              <p:cNvSpPr/>
              <p:nvPr/>
            </p:nvSpPr>
            <p:spPr>
              <a:xfrm>
                <a:off x="10192810" y="5335542"/>
                <a:ext cx="10270" cy="69095"/>
              </a:xfrm>
              <a:custGeom>
                <a:avLst/>
                <a:gdLst>
                  <a:gd name="connsiteX0" fmla="*/ 10477 w 10477"/>
                  <a:gd name="connsiteY0" fmla="*/ 32385 h 70484"/>
                  <a:gd name="connsiteX1" fmla="*/ 0 w 10477"/>
                  <a:gd name="connsiteY1" fmla="*/ 70485 h 70484"/>
                  <a:gd name="connsiteX2" fmla="*/ 10477 w 10477"/>
                  <a:gd name="connsiteY2" fmla="*/ 32385 h 70484"/>
                  <a:gd name="connsiteX3" fmla="*/ 6668 w 10477"/>
                  <a:gd name="connsiteY3" fmla="*/ 0 h 70484"/>
                  <a:gd name="connsiteX4" fmla="*/ 10477 w 10477"/>
                  <a:gd name="connsiteY4" fmla="*/ 32385 h 704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" h="70484">
                    <a:moveTo>
                      <a:pt x="10477" y="32385"/>
                    </a:moveTo>
                    <a:lnTo>
                      <a:pt x="0" y="70485"/>
                    </a:lnTo>
                    <a:lnTo>
                      <a:pt x="10477" y="32385"/>
                    </a:lnTo>
                    <a:lnTo>
                      <a:pt x="6668" y="0"/>
                    </a:lnTo>
                    <a:lnTo>
                      <a:pt x="10477" y="3238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7" name="Freeform: Shape 486">
                <a:extLst>
                  <a:ext uri="{FF2B5EF4-FFF2-40B4-BE49-F238E27FC236}">
                    <a16:creationId xmlns:a16="http://schemas.microsoft.com/office/drawing/2014/main" id="{ED808F93-E545-F78C-B86E-A29081ACD03A}"/>
                  </a:ext>
                </a:extLst>
              </p:cNvPr>
              <p:cNvSpPr/>
              <p:nvPr/>
            </p:nvSpPr>
            <p:spPr>
              <a:xfrm>
                <a:off x="9592426" y="4882683"/>
                <a:ext cx="16806" cy="3734"/>
              </a:xfrm>
              <a:custGeom>
                <a:avLst/>
                <a:gdLst>
                  <a:gd name="connsiteX0" fmla="*/ 0 w 17144"/>
                  <a:gd name="connsiteY0" fmla="*/ 0 h 3809"/>
                  <a:gd name="connsiteX1" fmla="*/ 0 w 17144"/>
                  <a:gd name="connsiteY1" fmla="*/ 0 h 3809"/>
                  <a:gd name="connsiteX2" fmla="*/ 17145 w 17144"/>
                  <a:gd name="connsiteY2" fmla="*/ 3810 h 3809"/>
                  <a:gd name="connsiteX3" fmla="*/ 0 w 17144"/>
                  <a:gd name="connsiteY3" fmla="*/ 0 h 38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7144" h="3809">
                    <a:moveTo>
                      <a:pt x="0" y="0"/>
                    </a:moveTo>
                    <a:lnTo>
                      <a:pt x="0" y="0"/>
                    </a:lnTo>
                    <a:lnTo>
                      <a:pt x="17145" y="38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8" name="Freeform: Shape 487">
                <a:extLst>
                  <a:ext uri="{FF2B5EF4-FFF2-40B4-BE49-F238E27FC236}">
                    <a16:creationId xmlns:a16="http://schemas.microsoft.com/office/drawing/2014/main" id="{80A7EDFC-95B3-0FB5-C821-40FAB85C4000}"/>
                  </a:ext>
                </a:extLst>
              </p:cNvPr>
              <p:cNvSpPr/>
              <p:nvPr/>
            </p:nvSpPr>
            <p:spPr>
              <a:xfrm>
                <a:off x="9381404" y="5484940"/>
                <a:ext cx="34547" cy="30720"/>
              </a:xfrm>
              <a:custGeom>
                <a:avLst/>
                <a:gdLst>
                  <a:gd name="connsiteX0" fmla="*/ 10478 w 35242"/>
                  <a:gd name="connsiteY0" fmla="*/ 20860 h 31337"/>
                  <a:gd name="connsiteX1" fmla="*/ 0 w 35242"/>
                  <a:gd name="connsiteY1" fmla="*/ 31337 h 31337"/>
                  <a:gd name="connsiteX2" fmla="*/ 10478 w 35242"/>
                  <a:gd name="connsiteY2" fmla="*/ 20860 h 31337"/>
                  <a:gd name="connsiteX3" fmla="*/ 14288 w 35242"/>
                  <a:gd name="connsiteY3" fmla="*/ 6572 h 31337"/>
                  <a:gd name="connsiteX4" fmla="*/ 35243 w 35242"/>
                  <a:gd name="connsiteY4" fmla="*/ 0 h 31337"/>
                  <a:gd name="connsiteX5" fmla="*/ 14288 w 35242"/>
                  <a:gd name="connsiteY5" fmla="*/ 6572 h 31337"/>
                  <a:gd name="connsiteX6" fmla="*/ 10478 w 35242"/>
                  <a:gd name="connsiteY6" fmla="*/ 20860 h 313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5242" h="31337">
                    <a:moveTo>
                      <a:pt x="10478" y="20860"/>
                    </a:moveTo>
                    <a:lnTo>
                      <a:pt x="0" y="31337"/>
                    </a:lnTo>
                    <a:lnTo>
                      <a:pt x="10478" y="20860"/>
                    </a:lnTo>
                    <a:lnTo>
                      <a:pt x="14288" y="6572"/>
                    </a:lnTo>
                    <a:lnTo>
                      <a:pt x="35243" y="0"/>
                    </a:lnTo>
                    <a:lnTo>
                      <a:pt x="14288" y="6572"/>
                    </a:lnTo>
                    <a:lnTo>
                      <a:pt x="10478" y="2086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89" name="Freeform: Shape 488">
                <a:extLst>
                  <a:ext uri="{FF2B5EF4-FFF2-40B4-BE49-F238E27FC236}">
                    <a16:creationId xmlns:a16="http://schemas.microsoft.com/office/drawing/2014/main" id="{DE27AFB4-0C65-9B49-AAF4-27D48BC9B3CD}"/>
                  </a:ext>
                </a:extLst>
              </p:cNvPr>
              <p:cNvSpPr/>
              <p:nvPr/>
            </p:nvSpPr>
            <p:spPr>
              <a:xfrm>
                <a:off x="9505590" y="4951779"/>
                <a:ext cx="10270" cy="11205"/>
              </a:xfrm>
              <a:custGeom>
                <a:avLst/>
                <a:gdLst>
                  <a:gd name="connsiteX0" fmla="*/ 10477 w 10477"/>
                  <a:gd name="connsiteY0" fmla="*/ 11430 h 11430"/>
                  <a:gd name="connsiteX1" fmla="*/ 0 w 10477"/>
                  <a:gd name="connsiteY1" fmla="*/ 0 h 11430"/>
                  <a:gd name="connsiteX2" fmla="*/ 10477 w 10477"/>
                  <a:gd name="connsiteY2" fmla="*/ 11430 h 114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" h="11430">
                    <a:moveTo>
                      <a:pt x="10477" y="11430"/>
                    </a:moveTo>
                    <a:lnTo>
                      <a:pt x="0" y="0"/>
                    </a:lnTo>
                    <a:lnTo>
                      <a:pt x="10477" y="1143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0" name="Freeform: Shape 489">
                <a:extLst>
                  <a:ext uri="{FF2B5EF4-FFF2-40B4-BE49-F238E27FC236}">
                    <a16:creationId xmlns:a16="http://schemas.microsoft.com/office/drawing/2014/main" id="{C6745BDB-6E26-61BB-1AD0-B2D69E5F8EE0}"/>
                  </a:ext>
                </a:extLst>
              </p:cNvPr>
              <p:cNvSpPr/>
              <p:nvPr/>
            </p:nvSpPr>
            <p:spPr>
              <a:xfrm>
                <a:off x="9147039" y="4419552"/>
                <a:ext cx="27078" cy="26050"/>
              </a:xfrm>
              <a:custGeom>
                <a:avLst/>
                <a:gdLst>
                  <a:gd name="connsiteX0" fmla="*/ 10477 w 27622"/>
                  <a:gd name="connsiteY0" fmla="*/ 0 h 26574"/>
                  <a:gd name="connsiteX1" fmla="*/ 2857 w 27622"/>
                  <a:gd name="connsiteY1" fmla="*/ 3715 h 26574"/>
                  <a:gd name="connsiteX2" fmla="*/ 0 w 27622"/>
                  <a:gd name="connsiteY2" fmla="*/ 18002 h 26574"/>
                  <a:gd name="connsiteX3" fmla="*/ 20955 w 27622"/>
                  <a:gd name="connsiteY3" fmla="*/ 26575 h 26574"/>
                  <a:gd name="connsiteX4" fmla="*/ 27623 w 27622"/>
                  <a:gd name="connsiteY4" fmla="*/ 3715 h 26574"/>
                  <a:gd name="connsiteX5" fmla="*/ 10477 w 27622"/>
                  <a:gd name="connsiteY5" fmla="*/ 0 h 26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7622" h="26574">
                    <a:moveTo>
                      <a:pt x="10477" y="0"/>
                    </a:moveTo>
                    <a:lnTo>
                      <a:pt x="2857" y="3715"/>
                    </a:lnTo>
                    <a:lnTo>
                      <a:pt x="0" y="18002"/>
                    </a:lnTo>
                    <a:lnTo>
                      <a:pt x="20955" y="26575"/>
                    </a:lnTo>
                    <a:lnTo>
                      <a:pt x="27623" y="3715"/>
                    </a:lnTo>
                    <a:lnTo>
                      <a:pt x="10477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1" name="Freeform: Shape 490">
                <a:extLst>
                  <a:ext uri="{FF2B5EF4-FFF2-40B4-BE49-F238E27FC236}">
                    <a16:creationId xmlns:a16="http://schemas.microsoft.com/office/drawing/2014/main" id="{DED35E1A-9062-5D61-FAEF-A6FE0B496E9A}"/>
                  </a:ext>
                </a:extLst>
              </p:cNvPr>
              <p:cNvSpPr/>
              <p:nvPr/>
            </p:nvSpPr>
            <p:spPr>
              <a:xfrm>
                <a:off x="9005113" y="4357832"/>
                <a:ext cx="266111" cy="162468"/>
              </a:xfrm>
              <a:custGeom>
                <a:avLst/>
                <a:gdLst>
                  <a:gd name="connsiteX0" fmla="*/ 144780 w 271462"/>
                  <a:gd name="connsiteY0" fmla="*/ 80963 h 165734"/>
                  <a:gd name="connsiteX1" fmla="*/ 134303 w 271462"/>
                  <a:gd name="connsiteY1" fmla="*/ 80963 h 165734"/>
                  <a:gd name="connsiteX2" fmla="*/ 120015 w 271462"/>
                  <a:gd name="connsiteY2" fmla="*/ 70485 h 165734"/>
                  <a:gd name="connsiteX3" fmla="*/ 105728 w 271462"/>
                  <a:gd name="connsiteY3" fmla="*/ 95250 h 165734"/>
                  <a:gd name="connsiteX4" fmla="*/ 91440 w 271462"/>
                  <a:gd name="connsiteY4" fmla="*/ 112490 h 165734"/>
                  <a:gd name="connsiteX5" fmla="*/ 70485 w 271462"/>
                  <a:gd name="connsiteY5" fmla="*/ 108585 h 165734"/>
                  <a:gd name="connsiteX6" fmla="*/ 49530 w 271462"/>
                  <a:gd name="connsiteY6" fmla="*/ 116300 h 165734"/>
                  <a:gd name="connsiteX7" fmla="*/ 39053 w 271462"/>
                  <a:gd name="connsiteY7" fmla="*/ 137160 h 165734"/>
                  <a:gd name="connsiteX8" fmla="*/ 45720 w 271462"/>
                  <a:gd name="connsiteY8" fmla="*/ 147638 h 165734"/>
                  <a:gd name="connsiteX9" fmla="*/ 49530 w 271462"/>
                  <a:gd name="connsiteY9" fmla="*/ 155353 h 165734"/>
                  <a:gd name="connsiteX10" fmla="*/ 35243 w 271462"/>
                  <a:gd name="connsiteY10" fmla="*/ 161925 h 165734"/>
                  <a:gd name="connsiteX11" fmla="*/ 24765 w 271462"/>
                  <a:gd name="connsiteY11" fmla="*/ 147638 h 165734"/>
                  <a:gd name="connsiteX12" fmla="*/ 18098 w 271462"/>
                  <a:gd name="connsiteY12" fmla="*/ 141065 h 165734"/>
                  <a:gd name="connsiteX13" fmla="*/ 0 w 271462"/>
                  <a:gd name="connsiteY13" fmla="*/ 147638 h 165734"/>
                  <a:gd name="connsiteX14" fmla="*/ 18098 w 271462"/>
                  <a:gd name="connsiteY14" fmla="*/ 165735 h 165734"/>
                  <a:gd name="connsiteX15" fmla="*/ 39053 w 271462"/>
                  <a:gd name="connsiteY15" fmla="*/ 165735 h 165734"/>
                  <a:gd name="connsiteX16" fmla="*/ 53340 w 271462"/>
                  <a:gd name="connsiteY16" fmla="*/ 161925 h 165734"/>
                  <a:gd name="connsiteX17" fmla="*/ 77153 w 271462"/>
                  <a:gd name="connsiteY17" fmla="*/ 151447 h 165734"/>
                  <a:gd name="connsiteX18" fmla="*/ 91440 w 271462"/>
                  <a:gd name="connsiteY18" fmla="*/ 147638 h 165734"/>
                  <a:gd name="connsiteX19" fmla="*/ 105728 w 271462"/>
                  <a:gd name="connsiteY19" fmla="*/ 161925 h 165734"/>
                  <a:gd name="connsiteX20" fmla="*/ 126682 w 271462"/>
                  <a:gd name="connsiteY20" fmla="*/ 151447 h 165734"/>
                  <a:gd name="connsiteX21" fmla="*/ 147638 w 271462"/>
                  <a:gd name="connsiteY21" fmla="*/ 130588 h 165734"/>
                  <a:gd name="connsiteX22" fmla="*/ 167640 w 271462"/>
                  <a:gd name="connsiteY22" fmla="*/ 105823 h 165734"/>
                  <a:gd name="connsiteX23" fmla="*/ 179070 w 271462"/>
                  <a:gd name="connsiteY23" fmla="*/ 89535 h 165734"/>
                  <a:gd name="connsiteX24" fmla="*/ 183832 w 271462"/>
                  <a:gd name="connsiteY24" fmla="*/ 70485 h 165734"/>
                  <a:gd name="connsiteX25" fmla="*/ 207645 w 271462"/>
                  <a:gd name="connsiteY25" fmla="*/ 66675 h 165734"/>
                  <a:gd name="connsiteX26" fmla="*/ 221932 w 271462"/>
                  <a:gd name="connsiteY26" fmla="*/ 77248 h 165734"/>
                  <a:gd name="connsiteX27" fmla="*/ 242888 w 271462"/>
                  <a:gd name="connsiteY27" fmla="*/ 77248 h 165734"/>
                  <a:gd name="connsiteX28" fmla="*/ 250507 w 271462"/>
                  <a:gd name="connsiteY28" fmla="*/ 70485 h 165734"/>
                  <a:gd name="connsiteX29" fmla="*/ 236220 w 271462"/>
                  <a:gd name="connsiteY29" fmla="*/ 60103 h 165734"/>
                  <a:gd name="connsiteX30" fmla="*/ 246698 w 271462"/>
                  <a:gd name="connsiteY30" fmla="*/ 52388 h 165734"/>
                  <a:gd name="connsiteX31" fmla="*/ 260985 w 271462"/>
                  <a:gd name="connsiteY31" fmla="*/ 52388 h 165734"/>
                  <a:gd name="connsiteX32" fmla="*/ 271463 w 271462"/>
                  <a:gd name="connsiteY32" fmla="*/ 49625 h 165734"/>
                  <a:gd name="connsiteX33" fmla="*/ 246698 w 271462"/>
                  <a:gd name="connsiteY33" fmla="*/ 35338 h 165734"/>
                  <a:gd name="connsiteX34" fmla="*/ 232410 w 271462"/>
                  <a:gd name="connsiteY34" fmla="*/ 27622 h 165734"/>
                  <a:gd name="connsiteX35" fmla="*/ 218123 w 271462"/>
                  <a:gd name="connsiteY35" fmla="*/ 13335 h 165734"/>
                  <a:gd name="connsiteX36" fmla="*/ 211455 w 271462"/>
                  <a:gd name="connsiteY36" fmla="*/ 2953 h 165734"/>
                  <a:gd name="connsiteX37" fmla="*/ 193357 w 271462"/>
                  <a:gd name="connsiteY37" fmla="*/ 0 h 165734"/>
                  <a:gd name="connsiteX38" fmla="*/ 180023 w 271462"/>
                  <a:gd name="connsiteY38" fmla="*/ 17240 h 165734"/>
                  <a:gd name="connsiteX39" fmla="*/ 169545 w 271462"/>
                  <a:gd name="connsiteY39" fmla="*/ 31528 h 165734"/>
                  <a:gd name="connsiteX40" fmla="*/ 161925 w 271462"/>
                  <a:gd name="connsiteY40" fmla="*/ 38100 h 165734"/>
                  <a:gd name="connsiteX41" fmla="*/ 155257 w 271462"/>
                  <a:gd name="connsiteY41" fmla="*/ 49625 h 165734"/>
                  <a:gd name="connsiteX42" fmla="*/ 172403 w 271462"/>
                  <a:gd name="connsiteY42" fmla="*/ 62960 h 165734"/>
                  <a:gd name="connsiteX43" fmla="*/ 169545 w 271462"/>
                  <a:gd name="connsiteY43" fmla="*/ 77248 h 165734"/>
                  <a:gd name="connsiteX44" fmla="*/ 165735 w 271462"/>
                  <a:gd name="connsiteY44" fmla="*/ 89535 h 165734"/>
                  <a:gd name="connsiteX45" fmla="*/ 144780 w 271462"/>
                  <a:gd name="connsiteY45" fmla="*/ 80963 h 165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271462" h="165734">
                    <a:moveTo>
                      <a:pt x="144780" y="80963"/>
                    </a:moveTo>
                    <a:lnTo>
                      <a:pt x="134303" y="80963"/>
                    </a:lnTo>
                    <a:lnTo>
                      <a:pt x="120015" y="70485"/>
                    </a:lnTo>
                    <a:lnTo>
                      <a:pt x="105728" y="95250"/>
                    </a:lnTo>
                    <a:lnTo>
                      <a:pt x="91440" y="112490"/>
                    </a:lnTo>
                    <a:lnTo>
                      <a:pt x="70485" y="108585"/>
                    </a:lnTo>
                    <a:lnTo>
                      <a:pt x="49530" y="116300"/>
                    </a:lnTo>
                    <a:lnTo>
                      <a:pt x="39053" y="137160"/>
                    </a:lnTo>
                    <a:lnTo>
                      <a:pt x="45720" y="147638"/>
                    </a:lnTo>
                    <a:lnTo>
                      <a:pt x="49530" y="155353"/>
                    </a:lnTo>
                    <a:lnTo>
                      <a:pt x="35243" y="161925"/>
                    </a:lnTo>
                    <a:lnTo>
                      <a:pt x="24765" y="147638"/>
                    </a:lnTo>
                    <a:lnTo>
                      <a:pt x="18098" y="141065"/>
                    </a:lnTo>
                    <a:lnTo>
                      <a:pt x="0" y="147638"/>
                    </a:lnTo>
                    <a:lnTo>
                      <a:pt x="18098" y="165735"/>
                    </a:lnTo>
                    <a:lnTo>
                      <a:pt x="39053" y="165735"/>
                    </a:lnTo>
                    <a:lnTo>
                      <a:pt x="53340" y="161925"/>
                    </a:lnTo>
                    <a:lnTo>
                      <a:pt x="77153" y="151447"/>
                    </a:lnTo>
                    <a:lnTo>
                      <a:pt x="91440" y="147638"/>
                    </a:lnTo>
                    <a:lnTo>
                      <a:pt x="105728" y="161925"/>
                    </a:lnTo>
                    <a:lnTo>
                      <a:pt x="126682" y="151447"/>
                    </a:lnTo>
                    <a:lnTo>
                      <a:pt x="147638" y="130588"/>
                    </a:lnTo>
                    <a:lnTo>
                      <a:pt x="167640" y="105823"/>
                    </a:lnTo>
                    <a:lnTo>
                      <a:pt x="179070" y="89535"/>
                    </a:lnTo>
                    <a:lnTo>
                      <a:pt x="183832" y="70485"/>
                    </a:lnTo>
                    <a:lnTo>
                      <a:pt x="207645" y="66675"/>
                    </a:lnTo>
                    <a:lnTo>
                      <a:pt x="221932" y="77248"/>
                    </a:lnTo>
                    <a:lnTo>
                      <a:pt x="242888" y="77248"/>
                    </a:lnTo>
                    <a:lnTo>
                      <a:pt x="250507" y="70485"/>
                    </a:lnTo>
                    <a:lnTo>
                      <a:pt x="236220" y="60103"/>
                    </a:lnTo>
                    <a:lnTo>
                      <a:pt x="246698" y="52388"/>
                    </a:lnTo>
                    <a:lnTo>
                      <a:pt x="260985" y="52388"/>
                    </a:lnTo>
                    <a:lnTo>
                      <a:pt x="271463" y="49625"/>
                    </a:lnTo>
                    <a:lnTo>
                      <a:pt x="246698" y="35338"/>
                    </a:lnTo>
                    <a:lnTo>
                      <a:pt x="232410" y="27622"/>
                    </a:lnTo>
                    <a:lnTo>
                      <a:pt x="218123" y="13335"/>
                    </a:lnTo>
                    <a:lnTo>
                      <a:pt x="211455" y="2953"/>
                    </a:lnTo>
                    <a:lnTo>
                      <a:pt x="193357" y="0"/>
                    </a:lnTo>
                    <a:lnTo>
                      <a:pt x="180023" y="17240"/>
                    </a:lnTo>
                    <a:lnTo>
                      <a:pt x="169545" y="31528"/>
                    </a:lnTo>
                    <a:lnTo>
                      <a:pt x="161925" y="38100"/>
                    </a:lnTo>
                    <a:lnTo>
                      <a:pt x="155257" y="49625"/>
                    </a:lnTo>
                    <a:lnTo>
                      <a:pt x="172403" y="62960"/>
                    </a:lnTo>
                    <a:lnTo>
                      <a:pt x="169545" y="77248"/>
                    </a:lnTo>
                    <a:lnTo>
                      <a:pt x="165735" y="89535"/>
                    </a:lnTo>
                    <a:lnTo>
                      <a:pt x="144780" y="8096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2" name="Freeform: Shape 491">
                <a:extLst>
                  <a:ext uri="{FF2B5EF4-FFF2-40B4-BE49-F238E27FC236}">
                    <a16:creationId xmlns:a16="http://schemas.microsoft.com/office/drawing/2014/main" id="{46ED192E-6E24-5C21-F2BA-C3B684FCE74D}"/>
                  </a:ext>
                </a:extLst>
              </p:cNvPr>
              <p:cNvSpPr/>
              <p:nvPr/>
            </p:nvSpPr>
            <p:spPr>
              <a:xfrm>
                <a:off x="6643724" y="2684585"/>
                <a:ext cx="120450" cy="75725"/>
              </a:xfrm>
              <a:custGeom>
                <a:avLst/>
                <a:gdLst>
                  <a:gd name="connsiteX0" fmla="*/ 122872 w 122872"/>
                  <a:gd name="connsiteY0" fmla="*/ 6667 h 77247"/>
                  <a:gd name="connsiteX1" fmla="*/ 95250 w 122872"/>
                  <a:gd name="connsiteY1" fmla="*/ 10573 h 77247"/>
                  <a:gd name="connsiteX2" fmla="*/ 70485 w 122872"/>
                  <a:gd name="connsiteY2" fmla="*/ 0 h 77247"/>
                  <a:gd name="connsiteX3" fmla="*/ 31432 w 122872"/>
                  <a:gd name="connsiteY3" fmla="*/ 6667 h 77247"/>
                  <a:gd name="connsiteX4" fmla="*/ 3810 w 122872"/>
                  <a:gd name="connsiteY4" fmla="*/ 14288 h 77247"/>
                  <a:gd name="connsiteX5" fmla="*/ 0 w 122872"/>
                  <a:gd name="connsiteY5" fmla="*/ 35242 h 77247"/>
                  <a:gd name="connsiteX6" fmla="*/ 10477 w 122872"/>
                  <a:gd name="connsiteY6" fmla="*/ 52388 h 77247"/>
                  <a:gd name="connsiteX7" fmla="*/ 24765 w 122872"/>
                  <a:gd name="connsiteY7" fmla="*/ 52388 h 77247"/>
                  <a:gd name="connsiteX8" fmla="*/ 28575 w 122872"/>
                  <a:gd name="connsiteY8" fmla="*/ 62960 h 77247"/>
                  <a:gd name="connsiteX9" fmla="*/ 49530 w 122872"/>
                  <a:gd name="connsiteY9" fmla="*/ 62960 h 77247"/>
                  <a:gd name="connsiteX10" fmla="*/ 70485 w 122872"/>
                  <a:gd name="connsiteY10" fmla="*/ 70580 h 77247"/>
                  <a:gd name="connsiteX11" fmla="*/ 91440 w 122872"/>
                  <a:gd name="connsiteY11" fmla="*/ 77248 h 77247"/>
                  <a:gd name="connsiteX12" fmla="*/ 109538 w 122872"/>
                  <a:gd name="connsiteY12" fmla="*/ 77248 h 77247"/>
                  <a:gd name="connsiteX13" fmla="*/ 112395 w 122872"/>
                  <a:gd name="connsiteY13" fmla="*/ 56293 h 77247"/>
                  <a:gd name="connsiteX14" fmla="*/ 112395 w 122872"/>
                  <a:gd name="connsiteY14" fmla="*/ 27718 h 77247"/>
                  <a:gd name="connsiteX15" fmla="*/ 122872 w 122872"/>
                  <a:gd name="connsiteY15" fmla="*/ 6667 h 77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872" h="77247">
                    <a:moveTo>
                      <a:pt x="122872" y="6667"/>
                    </a:moveTo>
                    <a:lnTo>
                      <a:pt x="95250" y="10573"/>
                    </a:lnTo>
                    <a:lnTo>
                      <a:pt x="70485" y="0"/>
                    </a:lnTo>
                    <a:lnTo>
                      <a:pt x="31432" y="6667"/>
                    </a:lnTo>
                    <a:lnTo>
                      <a:pt x="3810" y="14288"/>
                    </a:lnTo>
                    <a:lnTo>
                      <a:pt x="0" y="35242"/>
                    </a:lnTo>
                    <a:lnTo>
                      <a:pt x="10477" y="52388"/>
                    </a:lnTo>
                    <a:lnTo>
                      <a:pt x="24765" y="52388"/>
                    </a:lnTo>
                    <a:lnTo>
                      <a:pt x="28575" y="62960"/>
                    </a:lnTo>
                    <a:lnTo>
                      <a:pt x="49530" y="62960"/>
                    </a:lnTo>
                    <a:lnTo>
                      <a:pt x="70485" y="70580"/>
                    </a:lnTo>
                    <a:lnTo>
                      <a:pt x="91440" y="77248"/>
                    </a:lnTo>
                    <a:lnTo>
                      <a:pt x="109538" y="77248"/>
                    </a:lnTo>
                    <a:lnTo>
                      <a:pt x="112395" y="56293"/>
                    </a:lnTo>
                    <a:lnTo>
                      <a:pt x="112395" y="27718"/>
                    </a:lnTo>
                    <a:lnTo>
                      <a:pt x="122872" y="6667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3" name="Freeform: Shape 492">
                <a:extLst>
                  <a:ext uri="{FF2B5EF4-FFF2-40B4-BE49-F238E27FC236}">
                    <a16:creationId xmlns:a16="http://schemas.microsoft.com/office/drawing/2014/main" id="{9A51586E-208C-BFBF-1480-04C549350343}"/>
                  </a:ext>
                </a:extLst>
              </p:cNvPr>
              <p:cNvSpPr/>
              <p:nvPr/>
            </p:nvSpPr>
            <p:spPr>
              <a:xfrm>
                <a:off x="8742737" y="4364461"/>
                <a:ext cx="110178" cy="141833"/>
              </a:xfrm>
              <a:custGeom>
                <a:avLst/>
                <a:gdLst>
                  <a:gd name="connsiteX0" fmla="*/ 18097 w 112394"/>
                  <a:gd name="connsiteY0" fmla="*/ 3810 h 144684"/>
                  <a:gd name="connsiteX1" fmla="*/ 0 w 112394"/>
                  <a:gd name="connsiteY1" fmla="*/ 0 h 144684"/>
                  <a:gd name="connsiteX2" fmla="*/ 6668 w 112394"/>
                  <a:gd name="connsiteY2" fmla="*/ 18097 h 144684"/>
                  <a:gd name="connsiteX3" fmla="*/ 6668 w 112394"/>
                  <a:gd name="connsiteY3" fmla="*/ 45625 h 144684"/>
                  <a:gd name="connsiteX4" fmla="*/ 18097 w 112394"/>
                  <a:gd name="connsiteY4" fmla="*/ 74200 h 144684"/>
                  <a:gd name="connsiteX5" fmla="*/ 31432 w 112394"/>
                  <a:gd name="connsiteY5" fmla="*/ 91440 h 144684"/>
                  <a:gd name="connsiteX6" fmla="*/ 28575 w 112394"/>
                  <a:gd name="connsiteY6" fmla="*/ 105728 h 144684"/>
                  <a:gd name="connsiteX7" fmla="*/ 63818 w 112394"/>
                  <a:gd name="connsiteY7" fmla="*/ 126587 h 144684"/>
                  <a:gd name="connsiteX8" fmla="*/ 95250 w 112394"/>
                  <a:gd name="connsiteY8" fmla="*/ 144685 h 144684"/>
                  <a:gd name="connsiteX9" fmla="*/ 112395 w 112394"/>
                  <a:gd name="connsiteY9" fmla="*/ 144685 h 144684"/>
                  <a:gd name="connsiteX10" fmla="*/ 112395 w 112394"/>
                  <a:gd name="connsiteY10" fmla="*/ 137160 h 144684"/>
                  <a:gd name="connsiteX11" fmla="*/ 105727 w 112394"/>
                  <a:gd name="connsiteY11" fmla="*/ 123825 h 144684"/>
                  <a:gd name="connsiteX12" fmla="*/ 95250 w 112394"/>
                  <a:gd name="connsiteY12" fmla="*/ 109538 h 144684"/>
                  <a:gd name="connsiteX13" fmla="*/ 91440 w 112394"/>
                  <a:gd name="connsiteY13" fmla="*/ 70485 h 144684"/>
                  <a:gd name="connsiteX14" fmla="*/ 91440 w 112394"/>
                  <a:gd name="connsiteY14" fmla="*/ 53340 h 144684"/>
                  <a:gd name="connsiteX15" fmla="*/ 70485 w 112394"/>
                  <a:gd name="connsiteY15" fmla="*/ 24765 h 144684"/>
                  <a:gd name="connsiteX16" fmla="*/ 53340 w 112394"/>
                  <a:gd name="connsiteY16" fmla="*/ 10478 h 144684"/>
                  <a:gd name="connsiteX17" fmla="*/ 45720 w 112394"/>
                  <a:gd name="connsiteY17" fmla="*/ 18097 h 144684"/>
                  <a:gd name="connsiteX18" fmla="*/ 41910 w 112394"/>
                  <a:gd name="connsiteY18" fmla="*/ 28575 h 144684"/>
                  <a:gd name="connsiteX19" fmla="*/ 24765 w 112394"/>
                  <a:gd name="connsiteY19" fmla="*/ 24765 h 144684"/>
                  <a:gd name="connsiteX20" fmla="*/ 28575 w 112394"/>
                  <a:gd name="connsiteY20" fmla="*/ 10478 h 144684"/>
                  <a:gd name="connsiteX21" fmla="*/ 18097 w 112394"/>
                  <a:gd name="connsiteY21" fmla="*/ 3810 h 144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2394" h="144684">
                    <a:moveTo>
                      <a:pt x="18097" y="3810"/>
                    </a:moveTo>
                    <a:lnTo>
                      <a:pt x="0" y="0"/>
                    </a:lnTo>
                    <a:lnTo>
                      <a:pt x="6668" y="18097"/>
                    </a:lnTo>
                    <a:lnTo>
                      <a:pt x="6668" y="45625"/>
                    </a:lnTo>
                    <a:lnTo>
                      <a:pt x="18097" y="74200"/>
                    </a:lnTo>
                    <a:lnTo>
                      <a:pt x="31432" y="91440"/>
                    </a:lnTo>
                    <a:lnTo>
                      <a:pt x="28575" y="105728"/>
                    </a:lnTo>
                    <a:lnTo>
                      <a:pt x="63818" y="126587"/>
                    </a:lnTo>
                    <a:lnTo>
                      <a:pt x="95250" y="144685"/>
                    </a:lnTo>
                    <a:lnTo>
                      <a:pt x="112395" y="144685"/>
                    </a:lnTo>
                    <a:lnTo>
                      <a:pt x="112395" y="137160"/>
                    </a:lnTo>
                    <a:lnTo>
                      <a:pt x="105727" y="123825"/>
                    </a:lnTo>
                    <a:lnTo>
                      <a:pt x="95250" y="109538"/>
                    </a:lnTo>
                    <a:lnTo>
                      <a:pt x="91440" y="70485"/>
                    </a:lnTo>
                    <a:lnTo>
                      <a:pt x="91440" y="53340"/>
                    </a:lnTo>
                    <a:lnTo>
                      <a:pt x="70485" y="24765"/>
                    </a:lnTo>
                    <a:lnTo>
                      <a:pt x="53340" y="10478"/>
                    </a:lnTo>
                    <a:lnTo>
                      <a:pt x="45720" y="18097"/>
                    </a:lnTo>
                    <a:lnTo>
                      <a:pt x="41910" y="28575"/>
                    </a:lnTo>
                    <a:lnTo>
                      <a:pt x="24765" y="24765"/>
                    </a:lnTo>
                    <a:lnTo>
                      <a:pt x="28575" y="10478"/>
                    </a:lnTo>
                    <a:lnTo>
                      <a:pt x="18097" y="381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4" name="Freeform: Shape 493">
                <a:extLst>
                  <a:ext uri="{FF2B5EF4-FFF2-40B4-BE49-F238E27FC236}">
                    <a16:creationId xmlns:a16="http://schemas.microsoft.com/office/drawing/2014/main" id="{8FB0B0A0-8CDD-B818-BEEE-38BF10425816}"/>
                  </a:ext>
                </a:extLst>
              </p:cNvPr>
              <p:cNvSpPr/>
              <p:nvPr/>
            </p:nvSpPr>
            <p:spPr>
              <a:xfrm>
                <a:off x="3134788" y="1872238"/>
                <a:ext cx="13071" cy="27078"/>
              </a:xfrm>
              <a:custGeom>
                <a:avLst/>
                <a:gdLst>
                  <a:gd name="connsiteX0" fmla="*/ 0 w 13334"/>
                  <a:gd name="connsiteY0" fmla="*/ 0 h 27622"/>
                  <a:gd name="connsiteX1" fmla="*/ 13335 w 13334"/>
                  <a:gd name="connsiteY1" fmla="*/ 27622 h 27622"/>
                  <a:gd name="connsiteX2" fmla="*/ 0 w 13334"/>
                  <a:gd name="connsiteY2" fmla="*/ 0 h 276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34" h="27622">
                    <a:moveTo>
                      <a:pt x="0" y="0"/>
                    </a:moveTo>
                    <a:lnTo>
                      <a:pt x="13335" y="2762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5" name="Freeform: Shape 494">
                <a:extLst>
                  <a:ext uri="{FF2B5EF4-FFF2-40B4-BE49-F238E27FC236}">
                    <a16:creationId xmlns:a16="http://schemas.microsoft.com/office/drawing/2014/main" id="{86547EA4-DA97-5D23-65F8-39C92DECDFFB}"/>
                  </a:ext>
                </a:extLst>
              </p:cNvPr>
              <p:cNvSpPr/>
              <p:nvPr/>
            </p:nvSpPr>
            <p:spPr>
              <a:xfrm>
                <a:off x="3244967" y="1864861"/>
                <a:ext cx="34547" cy="14005"/>
              </a:xfrm>
              <a:custGeom>
                <a:avLst/>
                <a:gdLst>
                  <a:gd name="connsiteX0" fmla="*/ 35242 w 35242"/>
                  <a:gd name="connsiteY0" fmla="*/ 14288 h 14287"/>
                  <a:gd name="connsiteX1" fmla="*/ 24765 w 35242"/>
                  <a:gd name="connsiteY1" fmla="*/ 3810 h 14287"/>
                  <a:gd name="connsiteX2" fmla="*/ 0 w 35242"/>
                  <a:gd name="connsiteY2" fmla="*/ 0 h 14287"/>
                  <a:gd name="connsiteX3" fmla="*/ 24765 w 35242"/>
                  <a:gd name="connsiteY3" fmla="*/ 3810 h 14287"/>
                  <a:gd name="connsiteX4" fmla="*/ 35242 w 35242"/>
                  <a:gd name="connsiteY4" fmla="*/ 1428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5242" h="14287">
                    <a:moveTo>
                      <a:pt x="35242" y="14288"/>
                    </a:moveTo>
                    <a:lnTo>
                      <a:pt x="24765" y="3810"/>
                    </a:lnTo>
                    <a:lnTo>
                      <a:pt x="0" y="0"/>
                    </a:lnTo>
                    <a:lnTo>
                      <a:pt x="24765" y="3810"/>
                    </a:lnTo>
                    <a:lnTo>
                      <a:pt x="35242" y="1428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6" name="Freeform: Shape 495">
                <a:extLst>
                  <a:ext uri="{FF2B5EF4-FFF2-40B4-BE49-F238E27FC236}">
                    <a16:creationId xmlns:a16="http://schemas.microsoft.com/office/drawing/2014/main" id="{55919396-F7E5-3565-BD26-9B79143CF191}"/>
                  </a:ext>
                </a:extLst>
              </p:cNvPr>
              <p:cNvSpPr/>
              <p:nvPr/>
            </p:nvSpPr>
            <p:spPr>
              <a:xfrm>
                <a:off x="3241233" y="1872238"/>
                <a:ext cx="10270" cy="14005"/>
              </a:xfrm>
              <a:custGeom>
                <a:avLst/>
                <a:gdLst>
                  <a:gd name="connsiteX0" fmla="*/ 0 w 10477"/>
                  <a:gd name="connsiteY0" fmla="*/ 0 h 14287"/>
                  <a:gd name="connsiteX1" fmla="*/ 10478 w 10477"/>
                  <a:gd name="connsiteY1" fmla="*/ 14288 h 14287"/>
                  <a:gd name="connsiteX2" fmla="*/ 0 w 10477"/>
                  <a:gd name="connsiteY2" fmla="*/ 0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77" h="14287">
                    <a:moveTo>
                      <a:pt x="0" y="0"/>
                    </a:moveTo>
                    <a:lnTo>
                      <a:pt x="10478" y="1428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7" name="Freeform: Shape 496">
                <a:extLst>
                  <a:ext uri="{FF2B5EF4-FFF2-40B4-BE49-F238E27FC236}">
                    <a16:creationId xmlns:a16="http://schemas.microsoft.com/office/drawing/2014/main" id="{F5EB7B61-4EC9-751C-5C43-E9EEA7D52DE1}"/>
                  </a:ext>
                </a:extLst>
              </p:cNvPr>
              <p:cNvSpPr/>
              <p:nvPr/>
            </p:nvSpPr>
            <p:spPr>
              <a:xfrm>
                <a:off x="3134788" y="1864861"/>
                <a:ext cx="193280" cy="97108"/>
              </a:xfrm>
              <a:custGeom>
                <a:avLst/>
                <a:gdLst>
                  <a:gd name="connsiteX0" fmla="*/ 161925 w 197167"/>
                  <a:gd name="connsiteY0" fmla="*/ 7525 h 99060"/>
                  <a:gd name="connsiteX1" fmla="*/ 147638 w 197167"/>
                  <a:gd name="connsiteY1" fmla="*/ 14288 h 99060"/>
                  <a:gd name="connsiteX2" fmla="*/ 137160 w 197167"/>
                  <a:gd name="connsiteY2" fmla="*/ 3810 h 99060"/>
                  <a:gd name="connsiteX3" fmla="*/ 112395 w 197167"/>
                  <a:gd name="connsiteY3" fmla="*/ 0 h 99060"/>
                  <a:gd name="connsiteX4" fmla="*/ 108585 w 197167"/>
                  <a:gd name="connsiteY4" fmla="*/ 7525 h 99060"/>
                  <a:gd name="connsiteX5" fmla="*/ 119063 w 197167"/>
                  <a:gd name="connsiteY5" fmla="*/ 21812 h 99060"/>
                  <a:gd name="connsiteX6" fmla="*/ 129540 w 197167"/>
                  <a:gd name="connsiteY6" fmla="*/ 35147 h 99060"/>
                  <a:gd name="connsiteX7" fmla="*/ 122872 w 197167"/>
                  <a:gd name="connsiteY7" fmla="*/ 46673 h 99060"/>
                  <a:gd name="connsiteX8" fmla="*/ 101917 w 197167"/>
                  <a:gd name="connsiteY8" fmla="*/ 28575 h 99060"/>
                  <a:gd name="connsiteX9" fmla="*/ 83820 w 197167"/>
                  <a:gd name="connsiteY9" fmla="*/ 14288 h 99060"/>
                  <a:gd name="connsiteX10" fmla="*/ 70485 w 197167"/>
                  <a:gd name="connsiteY10" fmla="*/ 18098 h 99060"/>
                  <a:gd name="connsiteX11" fmla="*/ 70485 w 197167"/>
                  <a:gd name="connsiteY11" fmla="*/ 28575 h 99060"/>
                  <a:gd name="connsiteX12" fmla="*/ 83820 w 197167"/>
                  <a:gd name="connsiteY12" fmla="*/ 42863 h 99060"/>
                  <a:gd name="connsiteX13" fmla="*/ 70485 w 197167"/>
                  <a:gd name="connsiteY13" fmla="*/ 46673 h 99060"/>
                  <a:gd name="connsiteX14" fmla="*/ 45720 w 197167"/>
                  <a:gd name="connsiteY14" fmla="*/ 24765 h 99060"/>
                  <a:gd name="connsiteX15" fmla="*/ 31433 w 197167"/>
                  <a:gd name="connsiteY15" fmla="*/ 11335 h 99060"/>
                  <a:gd name="connsiteX16" fmla="*/ 13335 w 197167"/>
                  <a:gd name="connsiteY16" fmla="*/ 0 h 99060"/>
                  <a:gd name="connsiteX17" fmla="*/ 0 w 197167"/>
                  <a:gd name="connsiteY17" fmla="*/ 7525 h 99060"/>
                  <a:gd name="connsiteX18" fmla="*/ 13335 w 197167"/>
                  <a:gd name="connsiteY18" fmla="*/ 35147 h 99060"/>
                  <a:gd name="connsiteX19" fmla="*/ 45720 w 197167"/>
                  <a:gd name="connsiteY19" fmla="*/ 59912 h 99060"/>
                  <a:gd name="connsiteX20" fmla="*/ 62865 w 197167"/>
                  <a:gd name="connsiteY20" fmla="*/ 67628 h 99060"/>
                  <a:gd name="connsiteX21" fmla="*/ 83820 w 197167"/>
                  <a:gd name="connsiteY21" fmla="*/ 59912 h 99060"/>
                  <a:gd name="connsiteX22" fmla="*/ 101917 w 197167"/>
                  <a:gd name="connsiteY22" fmla="*/ 59912 h 99060"/>
                  <a:gd name="connsiteX23" fmla="*/ 119063 w 197167"/>
                  <a:gd name="connsiteY23" fmla="*/ 63722 h 99060"/>
                  <a:gd name="connsiteX24" fmla="*/ 129540 w 197167"/>
                  <a:gd name="connsiteY24" fmla="*/ 63722 h 99060"/>
                  <a:gd name="connsiteX25" fmla="*/ 116205 w 197167"/>
                  <a:gd name="connsiteY25" fmla="*/ 78010 h 99060"/>
                  <a:gd name="connsiteX26" fmla="*/ 122872 w 197167"/>
                  <a:gd name="connsiteY26" fmla="*/ 99060 h 99060"/>
                  <a:gd name="connsiteX27" fmla="*/ 161925 w 197167"/>
                  <a:gd name="connsiteY27" fmla="*/ 95250 h 99060"/>
                  <a:gd name="connsiteX28" fmla="*/ 182880 w 197167"/>
                  <a:gd name="connsiteY28" fmla="*/ 92297 h 99060"/>
                  <a:gd name="connsiteX29" fmla="*/ 182880 w 197167"/>
                  <a:gd name="connsiteY29" fmla="*/ 70485 h 99060"/>
                  <a:gd name="connsiteX30" fmla="*/ 197167 w 197167"/>
                  <a:gd name="connsiteY30" fmla="*/ 63722 h 99060"/>
                  <a:gd name="connsiteX31" fmla="*/ 193358 w 197167"/>
                  <a:gd name="connsiteY31" fmla="*/ 49435 h 99060"/>
                  <a:gd name="connsiteX32" fmla="*/ 189547 w 197167"/>
                  <a:gd name="connsiteY32" fmla="*/ 18098 h 99060"/>
                  <a:gd name="connsiteX33" fmla="*/ 182880 w 197167"/>
                  <a:gd name="connsiteY33" fmla="*/ 7525 h 99060"/>
                  <a:gd name="connsiteX34" fmla="*/ 161925 w 197167"/>
                  <a:gd name="connsiteY34" fmla="*/ 7525 h 99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</a:cxnLst>
                <a:rect l="l" t="t" r="r" b="b"/>
                <a:pathLst>
                  <a:path w="197167" h="99060">
                    <a:moveTo>
                      <a:pt x="161925" y="7525"/>
                    </a:moveTo>
                    <a:lnTo>
                      <a:pt x="147638" y="14288"/>
                    </a:lnTo>
                    <a:lnTo>
                      <a:pt x="137160" y="3810"/>
                    </a:lnTo>
                    <a:lnTo>
                      <a:pt x="112395" y="0"/>
                    </a:lnTo>
                    <a:lnTo>
                      <a:pt x="108585" y="7525"/>
                    </a:lnTo>
                    <a:lnTo>
                      <a:pt x="119063" y="21812"/>
                    </a:lnTo>
                    <a:lnTo>
                      <a:pt x="129540" y="35147"/>
                    </a:lnTo>
                    <a:lnTo>
                      <a:pt x="122872" y="46673"/>
                    </a:lnTo>
                    <a:lnTo>
                      <a:pt x="101917" y="28575"/>
                    </a:lnTo>
                    <a:lnTo>
                      <a:pt x="83820" y="14288"/>
                    </a:lnTo>
                    <a:lnTo>
                      <a:pt x="70485" y="18098"/>
                    </a:lnTo>
                    <a:lnTo>
                      <a:pt x="70485" y="28575"/>
                    </a:lnTo>
                    <a:lnTo>
                      <a:pt x="83820" y="42863"/>
                    </a:lnTo>
                    <a:lnTo>
                      <a:pt x="70485" y="46673"/>
                    </a:lnTo>
                    <a:lnTo>
                      <a:pt x="45720" y="24765"/>
                    </a:lnTo>
                    <a:lnTo>
                      <a:pt x="31433" y="11335"/>
                    </a:lnTo>
                    <a:lnTo>
                      <a:pt x="13335" y="0"/>
                    </a:lnTo>
                    <a:lnTo>
                      <a:pt x="0" y="7525"/>
                    </a:lnTo>
                    <a:lnTo>
                      <a:pt x="13335" y="35147"/>
                    </a:lnTo>
                    <a:lnTo>
                      <a:pt x="45720" y="59912"/>
                    </a:lnTo>
                    <a:lnTo>
                      <a:pt x="62865" y="67628"/>
                    </a:lnTo>
                    <a:lnTo>
                      <a:pt x="83820" y="59912"/>
                    </a:lnTo>
                    <a:lnTo>
                      <a:pt x="101917" y="59912"/>
                    </a:lnTo>
                    <a:lnTo>
                      <a:pt x="119063" y="63722"/>
                    </a:lnTo>
                    <a:lnTo>
                      <a:pt x="129540" y="63722"/>
                    </a:lnTo>
                    <a:lnTo>
                      <a:pt x="116205" y="78010"/>
                    </a:lnTo>
                    <a:lnTo>
                      <a:pt x="122872" y="99060"/>
                    </a:lnTo>
                    <a:lnTo>
                      <a:pt x="161925" y="95250"/>
                    </a:lnTo>
                    <a:lnTo>
                      <a:pt x="182880" y="92297"/>
                    </a:lnTo>
                    <a:lnTo>
                      <a:pt x="182880" y="70485"/>
                    </a:lnTo>
                    <a:lnTo>
                      <a:pt x="197167" y="63722"/>
                    </a:lnTo>
                    <a:lnTo>
                      <a:pt x="193358" y="49435"/>
                    </a:lnTo>
                    <a:lnTo>
                      <a:pt x="189547" y="18098"/>
                    </a:lnTo>
                    <a:lnTo>
                      <a:pt x="182880" y="7525"/>
                    </a:lnTo>
                    <a:lnTo>
                      <a:pt x="161925" y="752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8" name="Freeform: Shape 497">
                <a:extLst>
                  <a:ext uri="{FF2B5EF4-FFF2-40B4-BE49-F238E27FC236}">
                    <a16:creationId xmlns:a16="http://schemas.microsoft.com/office/drawing/2014/main" id="{01CD6A6B-0F28-799E-0A11-52BA546D4337}"/>
                  </a:ext>
                </a:extLst>
              </p:cNvPr>
              <p:cNvSpPr/>
              <p:nvPr/>
            </p:nvSpPr>
            <p:spPr>
              <a:xfrm>
                <a:off x="4363569" y="2995610"/>
                <a:ext cx="189546" cy="172740"/>
              </a:xfrm>
              <a:custGeom>
                <a:avLst/>
                <a:gdLst>
                  <a:gd name="connsiteX0" fmla="*/ 116205 w 193357"/>
                  <a:gd name="connsiteY0" fmla="*/ 0 h 176212"/>
                  <a:gd name="connsiteX1" fmla="*/ 95250 w 193357"/>
                  <a:gd name="connsiteY1" fmla="*/ 10477 h 176212"/>
                  <a:gd name="connsiteX2" fmla="*/ 70485 w 193357"/>
                  <a:gd name="connsiteY2" fmla="*/ 35147 h 176212"/>
                  <a:gd name="connsiteX3" fmla="*/ 52388 w 193357"/>
                  <a:gd name="connsiteY3" fmla="*/ 63722 h 176212"/>
                  <a:gd name="connsiteX4" fmla="*/ 39052 w 193357"/>
                  <a:gd name="connsiteY4" fmla="*/ 77152 h 176212"/>
                  <a:gd name="connsiteX5" fmla="*/ 27622 w 193357"/>
                  <a:gd name="connsiteY5" fmla="*/ 91440 h 176212"/>
                  <a:gd name="connsiteX6" fmla="*/ 3810 w 193357"/>
                  <a:gd name="connsiteY6" fmla="*/ 116110 h 176212"/>
                  <a:gd name="connsiteX7" fmla="*/ 0 w 193357"/>
                  <a:gd name="connsiteY7" fmla="*/ 140970 h 176212"/>
                  <a:gd name="connsiteX8" fmla="*/ 52388 w 193357"/>
                  <a:gd name="connsiteY8" fmla="*/ 144685 h 176212"/>
                  <a:gd name="connsiteX9" fmla="*/ 101917 w 193357"/>
                  <a:gd name="connsiteY9" fmla="*/ 137065 h 176212"/>
                  <a:gd name="connsiteX10" fmla="*/ 105727 w 193357"/>
                  <a:gd name="connsiteY10" fmla="*/ 158972 h 176212"/>
                  <a:gd name="connsiteX11" fmla="*/ 122872 w 193357"/>
                  <a:gd name="connsiteY11" fmla="*/ 165640 h 176212"/>
                  <a:gd name="connsiteX12" fmla="*/ 126682 w 193357"/>
                  <a:gd name="connsiteY12" fmla="*/ 155258 h 176212"/>
                  <a:gd name="connsiteX13" fmla="*/ 137160 w 193357"/>
                  <a:gd name="connsiteY13" fmla="*/ 144685 h 176212"/>
                  <a:gd name="connsiteX14" fmla="*/ 151447 w 193357"/>
                  <a:gd name="connsiteY14" fmla="*/ 158972 h 176212"/>
                  <a:gd name="connsiteX15" fmla="*/ 161925 w 193357"/>
                  <a:gd name="connsiteY15" fmla="*/ 176213 h 176212"/>
                  <a:gd name="connsiteX16" fmla="*/ 186690 w 193357"/>
                  <a:gd name="connsiteY16" fmla="*/ 169545 h 176212"/>
                  <a:gd name="connsiteX17" fmla="*/ 193357 w 193357"/>
                  <a:gd name="connsiteY17" fmla="*/ 151352 h 176212"/>
                  <a:gd name="connsiteX18" fmla="*/ 190500 w 193357"/>
                  <a:gd name="connsiteY18" fmla="*/ 130397 h 176212"/>
                  <a:gd name="connsiteX19" fmla="*/ 186690 w 193357"/>
                  <a:gd name="connsiteY19" fmla="*/ 116110 h 176212"/>
                  <a:gd name="connsiteX20" fmla="*/ 176213 w 193357"/>
                  <a:gd name="connsiteY20" fmla="*/ 112395 h 176212"/>
                  <a:gd name="connsiteX21" fmla="*/ 158115 w 193357"/>
                  <a:gd name="connsiteY21" fmla="*/ 95250 h 176212"/>
                  <a:gd name="connsiteX22" fmla="*/ 165735 w 193357"/>
                  <a:gd name="connsiteY22" fmla="*/ 80963 h 176212"/>
                  <a:gd name="connsiteX23" fmla="*/ 151447 w 193357"/>
                  <a:gd name="connsiteY23" fmla="*/ 77152 h 176212"/>
                  <a:gd name="connsiteX24" fmla="*/ 143827 w 193357"/>
                  <a:gd name="connsiteY24" fmla="*/ 66675 h 176212"/>
                  <a:gd name="connsiteX25" fmla="*/ 126682 w 193357"/>
                  <a:gd name="connsiteY25" fmla="*/ 77152 h 176212"/>
                  <a:gd name="connsiteX26" fmla="*/ 108585 w 193357"/>
                  <a:gd name="connsiteY26" fmla="*/ 60008 h 176212"/>
                  <a:gd name="connsiteX27" fmla="*/ 101917 w 193357"/>
                  <a:gd name="connsiteY27" fmla="*/ 35147 h 176212"/>
                  <a:gd name="connsiteX28" fmla="*/ 108585 w 193357"/>
                  <a:gd name="connsiteY28" fmla="*/ 14288 h 176212"/>
                  <a:gd name="connsiteX29" fmla="*/ 116205 w 193357"/>
                  <a:gd name="connsiteY29" fmla="*/ 0 h 1762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93357" h="176212">
                    <a:moveTo>
                      <a:pt x="116205" y="0"/>
                    </a:moveTo>
                    <a:lnTo>
                      <a:pt x="95250" y="10477"/>
                    </a:lnTo>
                    <a:lnTo>
                      <a:pt x="70485" y="35147"/>
                    </a:lnTo>
                    <a:lnTo>
                      <a:pt x="52388" y="63722"/>
                    </a:lnTo>
                    <a:lnTo>
                      <a:pt x="39052" y="77152"/>
                    </a:lnTo>
                    <a:lnTo>
                      <a:pt x="27622" y="91440"/>
                    </a:lnTo>
                    <a:lnTo>
                      <a:pt x="3810" y="116110"/>
                    </a:lnTo>
                    <a:lnTo>
                      <a:pt x="0" y="140970"/>
                    </a:lnTo>
                    <a:lnTo>
                      <a:pt x="52388" y="144685"/>
                    </a:lnTo>
                    <a:lnTo>
                      <a:pt x="101917" y="137065"/>
                    </a:lnTo>
                    <a:lnTo>
                      <a:pt x="105727" y="158972"/>
                    </a:lnTo>
                    <a:lnTo>
                      <a:pt x="122872" y="165640"/>
                    </a:lnTo>
                    <a:lnTo>
                      <a:pt x="126682" y="155258"/>
                    </a:lnTo>
                    <a:lnTo>
                      <a:pt x="137160" y="144685"/>
                    </a:lnTo>
                    <a:lnTo>
                      <a:pt x="151447" y="158972"/>
                    </a:lnTo>
                    <a:lnTo>
                      <a:pt x="161925" y="176213"/>
                    </a:lnTo>
                    <a:lnTo>
                      <a:pt x="186690" y="169545"/>
                    </a:lnTo>
                    <a:lnTo>
                      <a:pt x="193357" y="151352"/>
                    </a:lnTo>
                    <a:lnTo>
                      <a:pt x="190500" y="130397"/>
                    </a:lnTo>
                    <a:lnTo>
                      <a:pt x="186690" y="116110"/>
                    </a:lnTo>
                    <a:lnTo>
                      <a:pt x="176213" y="112395"/>
                    </a:lnTo>
                    <a:lnTo>
                      <a:pt x="158115" y="95250"/>
                    </a:lnTo>
                    <a:lnTo>
                      <a:pt x="165735" y="80963"/>
                    </a:lnTo>
                    <a:lnTo>
                      <a:pt x="151447" y="77152"/>
                    </a:lnTo>
                    <a:lnTo>
                      <a:pt x="143827" y="66675"/>
                    </a:lnTo>
                    <a:lnTo>
                      <a:pt x="126682" y="77152"/>
                    </a:lnTo>
                    <a:lnTo>
                      <a:pt x="108585" y="60008"/>
                    </a:lnTo>
                    <a:lnTo>
                      <a:pt x="101917" y="35147"/>
                    </a:lnTo>
                    <a:lnTo>
                      <a:pt x="108585" y="14288"/>
                    </a:lnTo>
                    <a:lnTo>
                      <a:pt x="11620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499" name="Freeform: Shape 498">
                <a:extLst>
                  <a:ext uri="{FF2B5EF4-FFF2-40B4-BE49-F238E27FC236}">
                    <a16:creationId xmlns:a16="http://schemas.microsoft.com/office/drawing/2014/main" id="{B86564EB-1AC3-51BA-7978-37539186DECB}"/>
                  </a:ext>
                </a:extLst>
              </p:cNvPr>
              <p:cNvSpPr/>
              <p:nvPr/>
            </p:nvSpPr>
            <p:spPr>
              <a:xfrm>
                <a:off x="3068493" y="2027331"/>
                <a:ext cx="66294" cy="48554"/>
              </a:xfrm>
              <a:custGeom>
                <a:avLst/>
                <a:gdLst>
                  <a:gd name="connsiteX0" fmla="*/ 24765 w 67627"/>
                  <a:gd name="connsiteY0" fmla="*/ 24765 h 49530"/>
                  <a:gd name="connsiteX1" fmla="*/ 39053 w 67627"/>
                  <a:gd name="connsiteY1" fmla="*/ 42863 h 49530"/>
                  <a:gd name="connsiteX2" fmla="*/ 49530 w 67627"/>
                  <a:gd name="connsiteY2" fmla="*/ 49530 h 49530"/>
                  <a:gd name="connsiteX3" fmla="*/ 60008 w 67627"/>
                  <a:gd name="connsiteY3" fmla="*/ 35243 h 49530"/>
                  <a:gd name="connsiteX4" fmla="*/ 67628 w 67627"/>
                  <a:gd name="connsiteY4" fmla="*/ 14288 h 49530"/>
                  <a:gd name="connsiteX5" fmla="*/ 63817 w 67627"/>
                  <a:gd name="connsiteY5" fmla="*/ 0 h 49530"/>
                  <a:gd name="connsiteX6" fmla="*/ 39053 w 67627"/>
                  <a:gd name="connsiteY6" fmla="*/ 0 h 49530"/>
                  <a:gd name="connsiteX7" fmla="*/ 10478 w 67627"/>
                  <a:gd name="connsiteY7" fmla="*/ 0 h 49530"/>
                  <a:gd name="connsiteX8" fmla="*/ 0 w 67627"/>
                  <a:gd name="connsiteY8" fmla="*/ 7525 h 49530"/>
                  <a:gd name="connsiteX9" fmla="*/ 10478 w 67627"/>
                  <a:gd name="connsiteY9" fmla="*/ 18002 h 49530"/>
                  <a:gd name="connsiteX10" fmla="*/ 24765 w 67627"/>
                  <a:gd name="connsiteY10" fmla="*/ 24765 h 4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7627" h="49530">
                    <a:moveTo>
                      <a:pt x="24765" y="24765"/>
                    </a:moveTo>
                    <a:lnTo>
                      <a:pt x="39053" y="42863"/>
                    </a:lnTo>
                    <a:lnTo>
                      <a:pt x="49530" y="49530"/>
                    </a:lnTo>
                    <a:lnTo>
                      <a:pt x="60008" y="35243"/>
                    </a:lnTo>
                    <a:lnTo>
                      <a:pt x="67628" y="14288"/>
                    </a:lnTo>
                    <a:lnTo>
                      <a:pt x="63817" y="0"/>
                    </a:lnTo>
                    <a:lnTo>
                      <a:pt x="39053" y="0"/>
                    </a:lnTo>
                    <a:lnTo>
                      <a:pt x="10478" y="0"/>
                    </a:lnTo>
                    <a:lnTo>
                      <a:pt x="0" y="7525"/>
                    </a:lnTo>
                    <a:lnTo>
                      <a:pt x="10478" y="18002"/>
                    </a:lnTo>
                    <a:lnTo>
                      <a:pt x="24765" y="2476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0" name="Freeform: Shape 499">
                <a:extLst>
                  <a:ext uri="{FF2B5EF4-FFF2-40B4-BE49-F238E27FC236}">
                    <a16:creationId xmlns:a16="http://schemas.microsoft.com/office/drawing/2014/main" id="{740CAD71-50FD-3A30-BD94-9EF45AFC10E1}"/>
                  </a:ext>
                </a:extLst>
              </p:cNvPr>
              <p:cNvSpPr/>
              <p:nvPr/>
            </p:nvSpPr>
            <p:spPr>
              <a:xfrm>
                <a:off x="2737021" y="1899316"/>
                <a:ext cx="24277" cy="14005"/>
              </a:xfrm>
              <a:custGeom>
                <a:avLst/>
                <a:gdLst>
                  <a:gd name="connsiteX0" fmla="*/ 18098 w 24765"/>
                  <a:gd name="connsiteY0" fmla="*/ 3905 h 14287"/>
                  <a:gd name="connsiteX1" fmla="*/ 0 w 24765"/>
                  <a:gd name="connsiteY1" fmla="*/ 14288 h 14287"/>
                  <a:gd name="connsiteX2" fmla="*/ 24765 w 24765"/>
                  <a:gd name="connsiteY2" fmla="*/ 0 h 14287"/>
                  <a:gd name="connsiteX3" fmla="*/ 18098 w 24765"/>
                  <a:gd name="connsiteY3" fmla="*/ 3905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765" h="14287">
                    <a:moveTo>
                      <a:pt x="18098" y="3905"/>
                    </a:moveTo>
                    <a:lnTo>
                      <a:pt x="0" y="14288"/>
                    </a:lnTo>
                    <a:lnTo>
                      <a:pt x="24765" y="0"/>
                    </a:lnTo>
                    <a:lnTo>
                      <a:pt x="18098" y="390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1" name="Freeform: Shape 500">
                <a:extLst>
                  <a:ext uri="{FF2B5EF4-FFF2-40B4-BE49-F238E27FC236}">
                    <a16:creationId xmlns:a16="http://schemas.microsoft.com/office/drawing/2014/main" id="{EE6F07E4-AF37-B9B3-E4F2-4E2764AEB378}"/>
                  </a:ext>
                </a:extLst>
              </p:cNvPr>
              <p:cNvSpPr/>
              <p:nvPr/>
            </p:nvSpPr>
            <p:spPr>
              <a:xfrm>
                <a:off x="3389695" y="1764858"/>
                <a:ext cx="10270" cy="28012"/>
              </a:xfrm>
              <a:custGeom>
                <a:avLst/>
                <a:gdLst>
                  <a:gd name="connsiteX0" fmla="*/ 0 w 10477"/>
                  <a:gd name="connsiteY0" fmla="*/ 28575 h 28575"/>
                  <a:gd name="connsiteX1" fmla="*/ 10477 w 10477"/>
                  <a:gd name="connsiteY1" fmla="*/ 10573 h 28575"/>
                  <a:gd name="connsiteX2" fmla="*/ 0 w 10477"/>
                  <a:gd name="connsiteY2" fmla="*/ 0 h 28575"/>
                  <a:gd name="connsiteX3" fmla="*/ 10477 w 10477"/>
                  <a:gd name="connsiteY3" fmla="*/ 10573 h 28575"/>
                  <a:gd name="connsiteX4" fmla="*/ 0 w 10477"/>
                  <a:gd name="connsiteY4" fmla="*/ 28575 h 28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477" h="28575">
                    <a:moveTo>
                      <a:pt x="0" y="28575"/>
                    </a:moveTo>
                    <a:lnTo>
                      <a:pt x="10477" y="10573"/>
                    </a:lnTo>
                    <a:lnTo>
                      <a:pt x="0" y="0"/>
                    </a:lnTo>
                    <a:lnTo>
                      <a:pt x="10477" y="10573"/>
                    </a:lnTo>
                    <a:lnTo>
                      <a:pt x="0" y="2857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2" name="Freeform: Shape 501">
                <a:extLst>
                  <a:ext uri="{FF2B5EF4-FFF2-40B4-BE49-F238E27FC236}">
                    <a16:creationId xmlns:a16="http://schemas.microsoft.com/office/drawing/2014/main" id="{F7F9FDD8-5DF1-474F-7B98-C7A0F9E161BB}"/>
                  </a:ext>
                </a:extLst>
              </p:cNvPr>
              <p:cNvSpPr/>
              <p:nvPr/>
            </p:nvSpPr>
            <p:spPr>
              <a:xfrm>
                <a:off x="3306593" y="1740581"/>
                <a:ext cx="93372" cy="55183"/>
              </a:xfrm>
              <a:custGeom>
                <a:avLst/>
                <a:gdLst>
                  <a:gd name="connsiteX0" fmla="*/ 28575 w 95250"/>
                  <a:gd name="connsiteY0" fmla="*/ 39053 h 56292"/>
                  <a:gd name="connsiteX1" fmla="*/ 35242 w 95250"/>
                  <a:gd name="connsiteY1" fmla="*/ 56293 h 56292"/>
                  <a:gd name="connsiteX2" fmla="*/ 63817 w 95250"/>
                  <a:gd name="connsiteY2" fmla="*/ 56293 h 56292"/>
                  <a:gd name="connsiteX3" fmla="*/ 84773 w 95250"/>
                  <a:gd name="connsiteY3" fmla="*/ 53340 h 56292"/>
                  <a:gd name="connsiteX4" fmla="*/ 95250 w 95250"/>
                  <a:gd name="connsiteY4" fmla="*/ 35338 h 56292"/>
                  <a:gd name="connsiteX5" fmla="*/ 84773 w 95250"/>
                  <a:gd name="connsiteY5" fmla="*/ 24765 h 56292"/>
                  <a:gd name="connsiteX6" fmla="*/ 63817 w 95250"/>
                  <a:gd name="connsiteY6" fmla="*/ 18193 h 56292"/>
                  <a:gd name="connsiteX7" fmla="*/ 39053 w 95250"/>
                  <a:gd name="connsiteY7" fmla="*/ 7715 h 56292"/>
                  <a:gd name="connsiteX8" fmla="*/ 7620 w 95250"/>
                  <a:gd name="connsiteY8" fmla="*/ 0 h 56292"/>
                  <a:gd name="connsiteX9" fmla="*/ 0 w 95250"/>
                  <a:gd name="connsiteY9" fmla="*/ 7715 h 56292"/>
                  <a:gd name="connsiteX10" fmla="*/ 0 w 95250"/>
                  <a:gd name="connsiteY10" fmla="*/ 21050 h 56292"/>
                  <a:gd name="connsiteX11" fmla="*/ 11430 w 95250"/>
                  <a:gd name="connsiteY11" fmla="*/ 31528 h 56292"/>
                  <a:gd name="connsiteX12" fmla="*/ 28575 w 95250"/>
                  <a:gd name="connsiteY12" fmla="*/ 39053 h 562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95250" h="56292">
                    <a:moveTo>
                      <a:pt x="28575" y="39053"/>
                    </a:moveTo>
                    <a:lnTo>
                      <a:pt x="35242" y="56293"/>
                    </a:lnTo>
                    <a:lnTo>
                      <a:pt x="63817" y="56293"/>
                    </a:lnTo>
                    <a:lnTo>
                      <a:pt x="84773" y="53340"/>
                    </a:lnTo>
                    <a:lnTo>
                      <a:pt x="95250" y="35338"/>
                    </a:lnTo>
                    <a:lnTo>
                      <a:pt x="84773" y="24765"/>
                    </a:lnTo>
                    <a:lnTo>
                      <a:pt x="63817" y="18193"/>
                    </a:lnTo>
                    <a:lnTo>
                      <a:pt x="39053" y="7715"/>
                    </a:lnTo>
                    <a:lnTo>
                      <a:pt x="7620" y="0"/>
                    </a:lnTo>
                    <a:lnTo>
                      <a:pt x="0" y="7715"/>
                    </a:lnTo>
                    <a:lnTo>
                      <a:pt x="0" y="21050"/>
                    </a:lnTo>
                    <a:lnTo>
                      <a:pt x="11430" y="31528"/>
                    </a:lnTo>
                    <a:lnTo>
                      <a:pt x="28575" y="3905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3" name="Freeform: Shape 502">
                <a:extLst>
                  <a:ext uri="{FF2B5EF4-FFF2-40B4-BE49-F238E27FC236}">
                    <a16:creationId xmlns:a16="http://schemas.microsoft.com/office/drawing/2014/main" id="{B77BEC86-5389-D409-68A2-165381524458}"/>
                  </a:ext>
                </a:extLst>
              </p:cNvPr>
              <p:cNvSpPr/>
              <p:nvPr/>
            </p:nvSpPr>
            <p:spPr>
              <a:xfrm>
                <a:off x="3810804" y="2570763"/>
                <a:ext cx="17740" cy="34454"/>
              </a:xfrm>
              <a:custGeom>
                <a:avLst/>
                <a:gdLst>
                  <a:gd name="connsiteX0" fmla="*/ 18097 w 18097"/>
                  <a:gd name="connsiteY0" fmla="*/ 13240 h 35147"/>
                  <a:gd name="connsiteX1" fmla="*/ 14288 w 18097"/>
                  <a:gd name="connsiteY1" fmla="*/ 0 h 35147"/>
                  <a:gd name="connsiteX2" fmla="*/ 0 w 18097"/>
                  <a:gd name="connsiteY2" fmla="*/ 35147 h 35147"/>
                  <a:gd name="connsiteX3" fmla="*/ 18097 w 18097"/>
                  <a:gd name="connsiteY3" fmla="*/ 13240 h 351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8097" h="35147">
                    <a:moveTo>
                      <a:pt x="18097" y="13240"/>
                    </a:moveTo>
                    <a:lnTo>
                      <a:pt x="14288" y="0"/>
                    </a:lnTo>
                    <a:lnTo>
                      <a:pt x="0" y="35147"/>
                    </a:lnTo>
                    <a:lnTo>
                      <a:pt x="18097" y="1324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4" name="Freeform: Shape 503">
                <a:extLst>
                  <a:ext uri="{FF2B5EF4-FFF2-40B4-BE49-F238E27FC236}">
                    <a16:creationId xmlns:a16="http://schemas.microsoft.com/office/drawing/2014/main" id="{C6C8B00D-7C10-E280-3C43-BF9E6C4B7C25}"/>
                  </a:ext>
                </a:extLst>
              </p:cNvPr>
              <p:cNvSpPr/>
              <p:nvPr/>
            </p:nvSpPr>
            <p:spPr>
              <a:xfrm>
                <a:off x="2864941" y="1799500"/>
                <a:ext cx="20542" cy="10271"/>
              </a:xfrm>
              <a:custGeom>
                <a:avLst/>
                <a:gdLst>
                  <a:gd name="connsiteX0" fmla="*/ 18098 w 20955"/>
                  <a:gd name="connsiteY0" fmla="*/ 6572 h 10477"/>
                  <a:gd name="connsiteX1" fmla="*/ 20955 w 20955"/>
                  <a:gd name="connsiteY1" fmla="*/ 0 h 10477"/>
                  <a:gd name="connsiteX2" fmla="*/ 0 w 20955"/>
                  <a:gd name="connsiteY2" fmla="*/ 10478 h 10477"/>
                  <a:gd name="connsiteX3" fmla="*/ 18098 w 20955"/>
                  <a:gd name="connsiteY3" fmla="*/ 6572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" h="10477">
                    <a:moveTo>
                      <a:pt x="18098" y="6572"/>
                    </a:moveTo>
                    <a:lnTo>
                      <a:pt x="20955" y="0"/>
                    </a:lnTo>
                    <a:lnTo>
                      <a:pt x="0" y="10478"/>
                    </a:lnTo>
                    <a:lnTo>
                      <a:pt x="18098" y="657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5" name="Freeform: Shape 504">
                <a:extLst>
                  <a:ext uri="{FF2B5EF4-FFF2-40B4-BE49-F238E27FC236}">
                    <a16:creationId xmlns:a16="http://schemas.microsoft.com/office/drawing/2014/main" id="{77CF7912-2E55-CE56-2CC6-2AE622549ADA}"/>
                  </a:ext>
                </a:extLst>
              </p:cNvPr>
              <p:cNvSpPr/>
              <p:nvPr/>
            </p:nvSpPr>
            <p:spPr>
              <a:xfrm>
                <a:off x="2785575" y="3617476"/>
                <a:ext cx="831948" cy="529332"/>
              </a:xfrm>
              <a:custGeom>
                <a:avLst/>
                <a:gdLst>
                  <a:gd name="connsiteX0" fmla="*/ 510540 w 848677"/>
                  <a:gd name="connsiteY0" fmla="*/ 190500 h 539972"/>
                  <a:gd name="connsiteX1" fmla="*/ 496253 w 848677"/>
                  <a:gd name="connsiteY1" fmla="*/ 169450 h 539972"/>
                  <a:gd name="connsiteX2" fmla="*/ 482918 w 848677"/>
                  <a:gd name="connsiteY2" fmla="*/ 148590 h 539972"/>
                  <a:gd name="connsiteX3" fmla="*/ 464820 w 848677"/>
                  <a:gd name="connsiteY3" fmla="*/ 127635 h 539972"/>
                  <a:gd name="connsiteX4" fmla="*/ 454343 w 848677"/>
                  <a:gd name="connsiteY4" fmla="*/ 102775 h 539972"/>
                  <a:gd name="connsiteX5" fmla="*/ 429578 w 848677"/>
                  <a:gd name="connsiteY5" fmla="*/ 92297 h 539972"/>
                  <a:gd name="connsiteX6" fmla="*/ 415290 w 848677"/>
                  <a:gd name="connsiteY6" fmla="*/ 84773 h 539972"/>
                  <a:gd name="connsiteX7" fmla="*/ 401955 w 848677"/>
                  <a:gd name="connsiteY7" fmla="*/ 92297 h 539972"/>
                  <a:gd name="connsiteX8" fmla="*/ 398145 w 848677"/>
                  <a:gd name="connsiteY8" fmla="*/ 109538 h 539972"/>
                  <a:gd name="connsiteX9" fmla="*/ 377190 w 848677"/>
                  <a:gd name="connsiteY9" fmla="*/ 113348 h 539972"/>
                  <a:gd name="connsiteX10" fmla="*/ 348615 w 848677"/>
                  <a:gd name="connsiteY10" fmla="*/ 95250 h 539972"/>
                  <a:gd name="connsiteX11" fmla="*/ 344805 w 848677"/>
                  <a:gd name="connsiteY11" fmla="*/ 67628 h 539972"/>
                  <a:gd name="connsiteX12" fmla="*/ 327660 w 848677"/>
                  <a:gd name="connsiteY12" fmla="*/ 53340 h 539972"/>
                  <a:gd name="connsiteX13" fmla="*/ 292418 w 848677"/>
                  <a:gd name="connsiteY13" fmla="*/ 24765 h 539972"/>
                  <a:gd name="connsiteX14" fmla="*/ 257175 w 848677"/>
                  <a:gd name="connsiteY14" fmla="*/ 32385 h 539972"/>
                  <a:gd name="connsiteX15" fmla="*/ 242888 w 848677"/>
                  <a:gd name="connsiteY15" fmla="*/ 42863 h 539972"/>
                  <a:gd name="connsiteX16" fmla="*/ 161925 w 848677"/>
                  <a:gd name="connsiteY16" fmla="*/ 42863 h 539972"/>
                  <a:gd name="connsiteX17" fmla="*/ 134303 w 848677"/>
                  <a:gd name="connsiteY17" fmla="*/ 32385 h 539972"/>
                  <a:gd name="connsiteX18" fmla="*/ 88583 w 848677"/>
                  <a:gd name="connsiteY18" fmla="*/ 11335 h 539972"/>
                  <a:gd name="connsiteX19" fmla="*/ 56198 w 848677"/>
                  <a:gd name="connsiteY19" fmla="*/ 0 h 539972"/>
                  <a:gd name="connsiteX20" fmla="*/ 0 w 848677"/>
                  <a:gd name="connsiteY20" fmla="*/ 3810 h 539972"/>
                  <a:gd name="connsiteX21" fmla="*/ 14288 w 848677"/>
                  <a:gd name="connsiteY21" fmla="*/ 24765 h 539972"/>
                  <a:gd name="connsiteX22" fmla="*/ 20955 w 848677"/>
                  <a:gd name="connsiteY22" fmla="*/ 42863 h 539972"/>
                  <a:gd name="connsiteX23" fmla="*/ 28575 w 848677"/>
                  <a:gd name="connsiteY23" fmla="*/ 57150 h 539972"/>
                  <a:gd name="connsiteX24" fmla="*/ 39053 w 848677"/>
                  <a:gd name="connsiteY24" fmla="*/ 81915 h 539972"/>
                  <a:gd name="connsiteX25" fmla="*/ 53340 w 848677"/>
                  <a:gd name="connsiteY25" fmla="*/ 99060 h 539972"/>
                  <a:gd name="connsiteX26" fmla="*/ 66675 w 848677"/>
                  <a:gd name="connsiteY26" fmla="*/ 105728 h 539972"/>
                  <a:gd name="connsiteX27" fmla="*/ 74295 w 848677"/>
                  <a:gd name="connsiteY27" fmla="*/ 113348 h 539972"/>
                  <a:gd name="connsiteX28" fmla="*/ 80963 w 848677"/>
                  <a:gd name="connsiteY28" fmla="*/ 130397 h 539972"/>
                  <a:gd name="connsiteX29" fmla="*/ 84773 w 848677"/>
                  <a:gd name="connsiteY29" fmla="*/ 140875 h 539972"/>
                  <a:gd name="connsiteX30" fmla="*/ 80963 w 848677"/>
                  <a:gd name="connsiteY30" fmla="*/ 148590 h 539972"/>
                  <a:gd name="connsiteX31" fmla="*/ 74295 w 848677"/>
                  <a:gd name="connsiteY31" fmla="*/ 148590 h 539972"/>
                  <a:gd name="connsiteX32" fmla="*/ 66675 w 848677"/>
                  <a:gd name="connsiteY32" fmla="*/ 152400 h 539972"/>
                  <a:gd name="connsiteX33" fmla="*/ 70485 w 848677"/>
                  <a:gd name="connsiteY33" fmla="*/ 158972 h 539972"/>
                  <a:gd name="connsiteX34" fmla="*/ 84773 w 848677"/>
                  <a:gd name="connsiteY34" fmla="*/ 173260 h 539972"/>
                  <a:gd name="connsiteX35" fmla="*/ 99060 w 848677"/>
                  <a:gd name="connsiteY35" fmla="*/ 180023 h 539972"/>
                  <a:gd name="connsiteX36" fmla="*/ 116205 w 848677"/>
                  <a:gd name="connsiteY36" fmla="*/ 183737 h 539972"/>
                  <a:gd name="connsiteX37" fmla="*/ 126683 w 848677"/>
                  <a:gd name="connsiteY37" fmla="*/ 190500 h 539972"/>
                  <a:gd name="connsiteX38" fmla="*/ 140970 w 848677"/>
                  <a:gd name="connsiteY38" fmla="*/ 204788 h 539972"/>
                  <a:gd name="connsiteX39" fmla="*/ 144780 w 848677"/>
                  <a:gd name="connsiteY39" fmla="*/ 222885 h 539972"/>
                  <a:gd name="connsiteX40" fmla="*/ 147638 w 848677"/>
                  <a:gd name="connsiteY40" fmla="*/ 236125 h 539972"/>
                  <a:gd name="connsiteX41" fmla="*/ 161925 w 848677"/>
                  <a:gd name="connsiteY41" fmla="*/ 254222 h 539972"/>
                  <a:gd name="connsiteX42" fmla="*/ 176213 w 848677"/>
                  <a:gd name="connsiteY42" fmla="*/ 268510 h 539972"/>
                  <a:gd name="connsiteX43" fmla="*/ 190500 w 848677"/>
                  <a:gd name="connsiteY43" fmla="*/ 278987 h 539972"/>
                  <a:gd name="connsiteX44" fmla="*/ 200978 w 848677"/>
                  <a:gd name="connsiteY44" fmla="*/ 300038 h 539972"/>
                  <a:gd name="connsiteX45" fmla="*/ 215265 w 848677"/>
                  <a:gd name="connsiteY45" fmla="*/ 293275 h 539972"/>
                  <a:gd name="connsiteX46" fmla="*/ 211455 w 848677"/>
                  <a:gd name="connsiteY46" fmla="*/ 275272 h 539972"/>
                  <a:gd name="connsiteX47" fmla="*/ 207645 w 848677"/>
                  <a:gd name="connsiteY47" fmla="*/ 268510 h 539972"/>
                  <a:gd name="connsiteX48" fmla="*/ 200978 w 848677"/>
                  <a:gd name="connsiteY48" fmla="*/ 258128 h 539972"/>
                  <a:gd name="connsiteX49" fmla="*/ 186690 w 848677"/>
                  <a:gd name="connsiteY49" fmla="*/ 258128 h 539972"/>
                  <a:gd name="connsiteX50" fmla="*/ 182880 w 848677"/>
                  <a:gd name="connsiteY50" fmla="*/ 239935 h 539972"/>
                  <a:gd name="connsiteX51" fmla="*/ 172403 w 848677"/>
                  <a:gd name="connsiteY51" fmla="*/ 219075 h 539972"/>
                  <a:gd name="connsiteX52" fmla="*/ 159068 w 848677"/>
                  <a:gd name="connsiteY52" fmla="*/ 190500 h 539972"/>
                  <a:gd name="connsiteX53" fmla="*/ 140970 w 848677"/>
                  <a:gd name="connsiteY53" fmla="*/ 169450 h 539972"/>
                  <a:gd name="connsiteX54" fmla="*/ 126683 w 848677"/>
                  <a:gd name="connsiteY54" fmla="*/ 152400 h 539972"/>
                  <a:gd name="connsiteX55" fmla="*/ 112395 w 848677"/>
                  <a:gd name="connsiteY55" fmla="*/ 134303 h 539972"/>
                  <a:gd name="connsiteX56" fmla="*/ 99060 w 848677"/>
                  <a:gd name="connsiteY56" fmla="*/ 109538 h 539972"/>
                  <a:gd name="connsiteX57" fmla="*/ 80963 w 848677"/>
                  <a:gd name="connsiteY57" fmla="*/ 92297 h 539972"/>
                  <a:gd name="connsiteX58" fmla="*/ 70485 w 848677"/>
                  <a:gd name="connsiteY58" fmla="*/ 67628 h 539972"/>
                  <a:gd name="connsiteX59" fmla="*/ 63818 w 848677"/>
                  <a:gd name="connsiteY59" fmla="*/ 46673 h 539972"/>
                  <a:gd name="connsiteX60" fmla="*/ 66675 w 848677"/>
                  <a:gd name="connsiteY60" fmla="*/ 35147 h 539972"/>
                  <a:gd name="connsiteX61" fmla="*/ 88583 w 848677"/>
                  <a:gd name="connsiteY61" fmla="*/ 35147 h 539972"/>
                  <a:gd name="connsiteX62" fmla="*/ 112395 w 848677"/>
                  <a:gd name="connsiteY62" fmla="*/ 49435 h 539972"/>
                  <a:gd name="connsiteX63" fmla="*/ 116205 w 848677"/>
                  <a:gd name="connsiteY63" fmla="*/ 59912 h 539972"/>
                  <a:gd name="connsiteX64" fmla="*/ 126683 w 848677"/>
                  <a:gd name="connsiteY64" fmla="*/ 84773 h 539972"/>
                  <a:gd name="connsiteX65" fmla="*/ 137160 w 848677"/>
                  <a:gd name="connsiteY65" fmla="*/ 105728 h 539972"/>
                  <a:gd name="connsiteX66" fmla="*/ 155258 w 848677"/>
                  <a:gd name="connsiteY66" fmla="*/ 123825 h 539972"/>
                  <a:gd name="connsiteX67" fmla="*/ 176213 w 848677"/>
                  <a:gd name="connsiteY67" fmla="*/ 152400 h 539972"/>
                  <a:gd name="connsiteX68" fmla="*/ 194310 w 848677"/>
                  <a:gd name="connsiteY68" fmla="*/ 169450 h 539972"/>
                  <a:gd name="connsiteX69" fmla="*/ 221933 w 848677"/>
                  <a:gd name="connsiteY69" fmla="*/ 187547 h 539972"/>
                  <a:gd name="connsiteX70" fmla="*/ 221933 w 848677"/>
                  <a:gd name="connsiteY70" fmla="*/ 212312 h 539972"/>
                  <a:gd name="connsiteX71" fmla="*/ 236220 w 848677"/>
                  <a:gd name="connsiteY71" fmla="*/ 222885 h 539972"/>
                  <a:gd name="connsiteX72" fmla="*/ 257175 w 848677"/>
                  <a:gd name="connsiteY72" fmla="*/ 236125 h 539972"/>
                  <a:gd name="connsiteX73" fmla="*/ 275273 w 848677"/>
                  <a:gd name="connsiteY73" fmla="*/ 258128 h 539972"/>
                  <a:gd name="connsiteX74" fmla="*/ 296228 w 848677"/>
                  <a:gd name="connsiteY74" fmla="*/ 275272 h 539972"/>
                  <a:gd name="connsiteX75" fmla="*/ 313373 w 848677"/>
                  <a:gd name="connsiteY75" fmla="*/ 296228 h 539972"/>
                  <a:gd name="connsiteX76" fmla="*/ 338138 w 848677"/>
                  <a:gd name="connsiteY76" fmla="*/ 328613 h 539972"/>
                  <a:gd name="connsiteX77" fmla="*/ 338138 w 848677"/>
                  <a:gd name="connsiteY77" fmla="*/ 345662 h 539972"/>
                  <a:gd name="connsiteX78" fmla="*/ 327660 w 848677"/>
                  <a:gd name="connsiteY78" fmla="*/ 356235 h 539972"/>
                  <a:gd name="connsiteX79" fmla="*/ 327660 w 848677"/>
                  <a:gd name="connsiteY79" fmla="*/ 374237 h 539972"/>
                  <a:gd name="connsiteX80" fmla="*/ 338138 w 848677"/>
                  <a:gd name="connsiteY80" fmla="*/ 391478 h 539972"/>
                  <a:gd name="connsiteX81" fmla="*/ 359093 w 848677"/>
                  <a:gd name="connsiteY81" fmla="*/ 409575 h 539972"/>
                  <a:gd name="connsiteX82" fmla="*/ 383858 w 848677"/>
                  <a:gd name="connsiteY82" fmla="*/ 423863 h 539972"/>
                  <a:gd name="connsiteX83" fmla="*/ 408623 w 848677"/>
                  <a:gd name="connsiteY83" fmla="*/ 437197 h 539972"/>
                  <a:gd name="connsiteX84" fmla="*/ 433388 w 848677"/>
                  <a:gd name="connsiteY84" fmla="*/ 437197 h 539972"/>
                  <a:gd name="connsiteX85" fmla="*/ 447675 w 848677"/>
                  <a:gd name="connsiteY85" fmla="*/ 459010 h 539972"/>
                  <a:gd name="connsiteX86" fmla="*/ 464820 w 848677"/>
                  <a:gd name="connsiteY86" fmla="*/ 465772 h 539972"/>
                  <a:gd name="connsiteX87" fmla="*/ 496253 w 848677"/>
                  <a:gd name="connsiteY87" fmla="*/ 476250 h 539972"/>
                  <a:gd name="connsiteX88" fmla="*/ 524828 w 848677"/>
                  <a:gd name="connsiteY88" fmla="*/ 486728 h 539972"/>
                  <a:gd name="connsiteX89" fmla="*/ 549593 w 848677"/>
                  <a:gd name="connsiteY89" fmla="*/ 497110 h 539972"/>
                  <a:gd name="connsiteX90" fmla="*/ 578168 w 848677"/>
                  <a:gd name="connsiteY90" fmla="*/ 504825 h 539972"/>
                  <a:gd name="connsiteX91" fmla="*/ 595313 w 848677"/>
                  <a:gd name="connsiteY91" fmla="*/ 501015 h 539972"/>
                  <a:gd name="connsiteX92" fmla="*/ 609600 w 848677"/>
                  <a:gd name="connsiteY92" fmla="*/ 494347 h 539972"/>
                  <a:gd name="connsiteX93" fmla="*/ 626745 w 848677"/>
                  <a:gd name="connsiteY93" fmla="*/ 490538 h 539972"/>
                  <a:gd name="connsiteX94" fmla="*/ 641033 w 848677"/>
                  <a:gd name="connsiteY94" fmla="*/ 494347 h 539972"/>
                  <a:gd name="connsiteX95" fmla="*/ 655320 w 848677"/>
                  <a:gd name="connsiteY95" fmla="*/ 501015 h 539972"/>
                  <a:gd name="connsiteX96" fmla="*/ 672465 w 848677"/>
                  <a:gd name="connsiteY96" fmla="*/ 511397 h 539972"/>
                  <a:gd name="connsiteX97" fmla="*/ 690563 w 848677"/>
                  <a:gd name="connsiteY97" fmla="*/ 529590 h 539972"/>
                  <a:gd name="connsiteX98" fmla="*/ 701040 w 848677"/>
                  <a:gd name="connsiteY98" fmla="*/ 539972 h 539972"/>
                  <a:gd name="connsiteX99" fmla="*/ 704850 w 848677"/>
                  <a:gd name="connsiteY99" fmla="*/ 519113 h 539972"/>
                  <a:gd name="connsiteX100" fmla="*/ 707708 w 848677"/>
                  <a:gd name="connsiteY100" fmla="*/ 508635 h 539972"/>
                  <a:gd name="connsiteX101" fmla="*/ 715328 w 848677"/>
                  <a:gd name="connsiteY101" fmla="*/ 501015 h 539972"/>
                  <a:gd name="connsiteX102" fmla="*/ 718185 w 848677"/>
                  <a:gd name="connsiteY102" fmla="*/ 494347 h 539972"/>
                  <a:gd name="connsiteX103" fmla="*/ 725805 w 848677"/>
                  <a:gd name="connsiteY103" fmla="*/ 497110 h 539972"/>
                  <a:gd name="connsiteX104" fmla="*/ 746760 w 848677"/>
                  <a:gd name="connsiteY104" fmla="*/ 494347 h 539972"/>
                  <a:gd name="connsiteX105" fmla="*/ 753428 w 848677"/>
                  <a:gd name="connsiteY105" fmla="*/ 490538 h 539972"/>
                  <a:gd name="connsiteX106" fmla="*/ 746760 w 848677"/>
                  <a:gd name="connsiteY106" fmla="*/ 480060 h 539972"/>
                  <a:gd name="connsiteX107" fmla="*/ 732473 w 848677"/>
                  <a:gd name="connsiteY107" fmla="*/ 469487 h 539972"/>
                  <a:gd name="connsiteX108" fmla="*/ 729615 w 848677"/>
                  <a:gd name="connsiteY108" fmla="*/ 455200 h 539972"/>
                  <a:gd name="connsiteX109" fmla="*/ 732473 w 848677"/>
                  <a:gd name="connsiteY109" fmla="*/ 448628 h 539972"/>
                  <a:gd name="connsiteX110" fmla="*/ 763905 w 848677"/>
                  <a:gd name="connsiteY110" fmla="*/ 444722 h 539972"/>
                  <a:gd name="connsiteX111" fmla="*/ 785813 w 848677"/>
                  <a:gd name="connsiteY111" fmla="*/ 444722 h 539972"/>
                  <a:gd name="connsiteX112" fmla="*/ 796290 w 848677"/>
                  <a:gd name="connsiteY112" fmla="*/ 434340 h 539972"/>
                  <a:gd name="connsiteX113" fmla="*/ 802958 w 848677"/>
                  <a:gd name="connsiteY113" fmla="*/ 426625 h 539972"/>
                  <a:gd name="connsiteX114" fmla="*/ 810578 w 848677"/>
                  <a:gd name="connsiteY114" fmla="*/ 423863 h 539972"/>
                  <a:gd name="connsiteX115" fmla="*/ 817245 w 848677"/>
                  <a:gd name="connsiteY115" fmla="*/ 434340 h 539972"/>
                  <a:gd name="connsiteX116" fmla="*/ 823913 w 848677"/>
                  <a:gd name="connsiteY116" fmla="*/ 430435 h 539972"/>
                  <a:gd name="connsiteX117" fmla="*/ 823913 w 848677"/>
                  <a:gd name="connsiteY117" fmla="*/ 409575 h 539972"/>
                  <a:gd name="connsiteX118" fmla="*/ 827723 w 848677"/>
                  <a:gd name="connsiteY118" fmla="*/ 388525 h 539972"/>
                  <a:gd name="connsiteX119" fmla="*/ 831533 w 848677"/>
                  <a:gd name="connsiteY119" fmla="*/ 378047 h 539972"/>
                  <a:gd name="connsiteX120" fmla="*/ 842010 w 848677"/>
                  <a:gd name="connsiteY120" fmla="*/ 363760 h 539972"/>
                  <a:gd name="connsiteX121" fmla="*/ 848678 w 848677"/>
                  <a:gd name="connsiteY121" fmla="*/ 342900 h 539972"/>
                  <a:gd name="connsiteX122" fmla="*/ 827723 w 848677"/>
                  <a:gd name="connsiteY122" fmla="*/ 339090 h 539972"/>
                  <a:gd name="connsiteX123" fmla="*/ 796290 w 848677"/>
                  <a:gd name="connsiteY123" fmla="*/ 339090 h 539972"/>
                  <a:gd name="connsiteX124" fmla="*/ 778193 w 848677"/>
                  <a:gd name="connsiteY124" fmla="*/ 339090 h 539972"/>
                  <a:gd name="connsiteX125" fmla="*/ 753428 w 848677"/>
                  <a:gd name="connsiteY125" fmla="*/ 353378 h 539972"/>
                  <a:gd name="connsiteX126" fmla="*/ 746760 w 848677"/>
                  <a:gd name="connsiteY126" fmla="*/ 370522 h 539972"/>
                  <a:gd name="connsiteX127" fmla="*/ 746760 w 848677"/>
                  <a:gd name="connsiteY127" fmla="*/ 388525 h 539972"/>
                  <a:gd name="connsiteX128" fmla="*/ 732473 w 848677"/>
                  <a:gd name="connsiteY128" fmla="*/ 416147 h 539972"/>
                  <a:gd name="connsiteX129" fmla="*/ 697230 w 848677"/>
                  <a:gd name="connsiteY129" fmla="*/ 423863 h 539972"/>
                  <a:gd name="connsiteX130" fmla="*/ 661988 w 848677"/>
                  <a:gd name="connsiteY130" fmla="*/ 430435 h 539972"/>
                  <a:gd name="connsiteX131" fmla="*/ 634365 w 848677"/>
                  <a:gd name="connsiteY131" fmla="*/ 430435 h 539972"/>
                  <a:gd name="connsiteX132" fmla="*/ 612458 w 848677"/>
                  <a:gd name="connsiteY132" fmla="*/ 423863 h 539972"/>
                  <a:gd name="connsiteX133" fmla="*/ 595313 w 848677"/>
                  <a:gd name="connsiteY133" fmla="*/ 413385 h 539972"/>
                  <a:gd name="connsiteX134" fmla="*/ 581025 w 848677"/>
                  <a:gd name="connsiteY134" fmla="*/ 391478 h 539972"/>
                  <a:gd name="connsiteX135" fmla="*/ 566738 w 848677"/>
                  <a:gd name="connsiteY135" fmla="*/ 370522 h 539972"/>
                  <a:gd name="connsiteX136" fmla="*/ 549593 w 848677"/>
                  <a:gd name="connsiteY136" fmla="*/ 339090 h 539972"/>
                  <a:gd name="connsiteX137" fmla="*/ 542925 w 848677"/>
                  <a:gd name="connsiteY137" fmla="*/ 306610 h 539972"/>
                  <a:gd name="connsiteX138" fmla="*/ 542925 w 848677"/>
                  <a:gd name="connsiteY138" fmla="*/ 285750 h 539972"/>
                  <a:gd name="connsiteX139" fmla="*/ 542925 w 848677"/>
                  <a:gd name="connsiteY139" fmla="*/ 268510 h 539972"/>
                  <a:gd name="connsiteX140" fmla="*/ 545783 w 848677"/>
                  <a:gd name="connsiteY140" fmla="*/ 239935 h 539972"/>
                  <a:gd name="connsiteX141" fmla="*/ 553403 w 848677"/>
                  <a:gd name="connsiteY141" fmla="*/ 219075 h 539972"/>
                  <a:gd name="connsiteX142" fmla="*/ 560070 w 848677"/>
                  <a:gd name="connsiteY142" fmla="*/ 204788 h 539972"/>
                  <a:gd name="connsiteX143" fmla="*/ 539115 w 848677"/>
                  <a:gd name="connsiteY143" fmla="*/ 200978 h 539972"/>
                  <a:gd name="connsiteX144" fmla="*/ 510540 w 848677"/>
                  <a:gd name="connsiteY144" fmla="*/ 190500 h 5399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848677" h="539972">
                    <a:moveTo>
                      <a:pt x="510540" y="190500"/>
                    </a:moveTo>
                    <a:lnTo>
                      <a:pt x="496253" y="169450"/>
                    </a:lnTo>
                    <a:lnTo>
                      <a:pt x="482918" y="148590"/>
                    </a:lnTo>
                    <a:lnTo>
                      <a:pt x="464820" y="127635"/>
                    </a:lnTo>
                    <a:lnTo>
                      <a:pt x="454343" y="102775"/>
                    </a:lnTo>
                    <a:lnTo>
                      <a:pt x="429578" y="92297"/>
                    </a:lnTo>
                    <a:lnTo>
                      <a:pt x="415290" y="84773"/>
                    </a:lnTo>
                    <a:lnTo>
                      <a:pt x="401955" y="92297"/>
                    </a:lnTo>
                    <a:lnTo>
                      <a:pt x="398145" y="109538"/>
                    </a:lnTo>
                    <a:lnTo>
                      <a:pt x="377190" y="113348"/>
                    </a:lnTo>
                    <a:lnTo>
                      <a:pt x="348615" y="95250"/>
                    </a:lnTo>
                    <a:lnTo>
                      <a:pt x="344805" y="67628"/>
                    </a:lnTo>
                    <a:lnTo>
                      <a:pt x="327660" y="53340"/>
                    </a:lnTo>
                    <a:lnTo>
                      <a:pt x="292418" y="24765"/>
                    </a:lnTo>
                    <a:lnTo>
                      <a:pt x="257175" y="32385"/>
                    </a:lnTo>
                    <a:lnTo>
                      <a:pt x="242888" y="42863"/>
                    </a:lnTo>
                    <a:lnTo>
                      <a:pt x="161925" y="42863"/>
                    </a:lnTo>
                    <a:lnTo>
                      <a:pt x="134303" y="32385"/>
                    </a:lnTo>
                    <a:lnTo>
                      <a:pt x="88583" y="11335"/>
                    </a:lnTo>
                    <a:lnTo>
                      <a:pt x="56198" y="0"/>
                    </a:lnTo>
                    <a:lnTo>
                      <a:pt x="0" y="3810"/>
                    </a:lnTo>
                    <a:lnTo>
                      <a:pt x="14288" y="24765"/>
                    </a:lnTo>
                    <a:lnTo>
                      <a:pt x="20955" y="42863"/>
                    </a:lnTo>
                    <a:lnTo>
                      <a:pt x="28575" y="57150"/>
                    </a:lnTo>
                    <a:lnTo>
                      <a:pt x="39053" y="81915"/>
                    </a:lnTo>
                    <a:lnTo>
                      <a:pt x="53340" y="99060"/>
                    </a:lnTo>
                    <a:lnTo>
                      <a:pt x="66675" y="105728"/>
                    </a:lnTo>
                    <a:lnTo>
                      <a:pt x="74295" y="113348"/>
                    </a:lnTo>
                    <a:lnTo>
                      <a:pt x="80963" y="130397"/>
                    </a:lnTo>
                    <a:lnTo>
                      <a:pt x="84773" y="140875"/>
                    </a:lnTo>
                    <a:lnTo>
                      <a:pt x="80963" y="148590"/>
                    </a:lnTo>
                    <a:lnTo>
                      <a:pt x="74295" y="148590"/>
                    </a:lnTo>
                    <a:lnTo>
                      <a:pt x="66675" y="152400"/>
                    </a:lnTo>
                    <a:lnTo>
                      <a:pt x="70485" y="158972"/>
                    </a:lnTo>
                    <a:lnTo>
                      <a:pt x="84773" y="173260"/>
                    </a:lnTo>
                    <a:lnTo>
                      <a:pt x="99060" y="180023"/>
                    </a:lnTo>
                    <a:lnTo>
                      <a:pt x="116205" y="183737"/>
                    </a:lnTo>
                    <a:lnTo>
                      <a:pt x="126683" y="190500"/>
                    </a:lnTo>
                    <a:lnTo>
                      <a:pt x="140970" y="204788"/>
                    </a:lnTo>
                    <a:lnTo>
                      <a:pt x="144780" y="222885"/>
                    </a:lnTo>
                    <a:lnTo>
                      <a:pt x="147638" y="236125"/>
                    </a:lnTo>
                    <a:lnTo>
                      <a:pt x="161925" y="254222"/>
                    </a:lnTo>
                    <a:lnTo>
                      <a:pt x="176213" y="268510"/>
                    </a:lnTo>
                    <a:lnTo>
                      <a:pt x="190500" y="278987"/>
                    </a:lnTo>
                    <a:lnTo>
                      <a:pt x="200978" y="300038"/>
                    </a:lnTo>
                    <a:lnTo>
                      <a:pt x="215265" y="293275"/>
                    </a:lnTo>
                    <a:lnTo>
                      <a:pt x="211455" y="275272"/>
                    </a:lnTo>
                    <a:lnTo>
                      <a:pt x="207645" y="268510"/>
                    </a:lnTo>
                    <a:lnTo>
                      <a:pt x="200978" y="258128"/>
                    </a:lnTo>
                    <a:lnTo>
                      <a:pt x="186690" y="258128"/>
                    </a:lnTo>
                    <a:lnTo>
                      <a:pt x="182880" y="239935"/>
                    </a:lnTo>
                    <a:lnTo>
                      <a:pt x="172403" y="219075"/>
                    </a:lnTo>
                    <a:lnTo>
                      <a:pt x="159068" y="190500"/>
                    </a:lnTo>
                    <a:lnTo>
                      <a:pt x="140970" y="169450"/>
                    </a:lnTo>
                    <a:lnTo>
                      <a:pt x="126683" y="152400"/>
                    </a:lnTo>
                    <a:lnTo>
                      <a:pt x="112395" y="134303"/>
                    </a:lnTo>
                    <a:lnTo>
                      <a:pt x="99060" y="109538"/>
                    </a:lnTo>
                    <a:lnTo>
                      <a:pt x="80963" y="92297"/>
                    </a:lnTo>
                    <a:lnTo>
                      <a:pt x="70485" y="67628"/>
                    </a:lnTo>
                    <a:lnTo>
                      <a:pt x="63818" y="46673"/>
                    </a:lnTo>
                    <a:lnTo>
                      <a:pt x="66675" y="35147"/>
                    </a:lnTo>
                    <a:lnTo>
                      <a:pt x="88583" y="35147"/>
                    </a:lnTo>
                    <a:lnTo>
                      <a:pt x="112395" y="49435"/>
                    </a:lnTo>
                    <a:lnTo>
                      <a:pt x="116205" y="59912"/>
                    </a:lnTo>
                    <a:lnTo>
                      <a:pt x="126683" y="84773"/>
                    </a:lnTo>
                    <a:lnTo>
                      <a:pt x="137160" y="105728"/>
                    </a:lnTo>
                    <a:lnTo>
                      <a:pt x="155258" y="123825"/>
                    </a:lnTo>
                    <a:lnTo>
                      <a:pt x="176213" y="152400"/>
                    </a:lnTo>
                    <a:lnTo>
                      <a:pt x="194310" y="169450"/>
                    </a:lnTo>
                    <a:lnTo>
                      <a:pt x="221933" y="187547"/>
                    </a:lnTo>
                    <a:lnTo>
                      <a:pt x="221933" y="212312"/>
                    </a:lnTo>
                    <a:lnTo>
                      <a:pt x="236220" y="222885"/>
                    </a:lnTo>
                    <a:lnTo>
                      <a:pt x="257175" y="236125"/>
                    </a:lnTo>
                    <a:lnTo>
                      <a:pt x="275273" y="258128"/>
                    </a:lnTo>
                    <a:lnTo>
                      <a:pt x="296228" y="275272"/>
                    </a:lnTo>
                    <a:lnTo>
                      <a:pt x="313373" y="296228"/>
                    </a:lnTo>
                    <a:lnTo>
                      <a:pt x="338138" y="328613"/>
                    </a:lnTo>
                    <a:lnTo>
                      <a:pt x="338138" y="345662"/>
                    </a:lnTo>
                    <a:lnTo>
                      <a:pt x="327660" y="356235"/>
                    </a:lnTo>
                    <a:lnTo>
                      <a:pt x="327660" y="374237"/>
                    </a:lnTo>
                    <a:lnTo>
                      <a:pt x="338138" y="391478"/>
                    </a:lnTo>
                    <a:lnTo>
                      <a:pt x="359093" y="409575"/>
                    </a:lnTo>
                    <a:lnTo>
                      <a:pt x="383858" y="423863"/>
                    </a:lnTo>
                    <a:lnTo>
                      <a:pt x="408623" y="437197"/>
                    </a:lnTo>
                    <a:lnTo>
                      <a:pt x="433388" y="437197"/>
                    </a:lnTo>
                    <a:lnTo>
                      <a:pt x="447675" y="459010"/>
                    </a:lnTo>
                    <a:lnTo>
                      <a:pt x="464820" y="465772"/>
                    </a:lnTo>
                    <a:lnTo>
                      <a:pt x="496253" y="476250"/>
                    </a:lnTo>
                    <a:lnTo>
                      <a:pt x="524828" y="486728"/>
                    </a:lnTo>
                    <a:lnTo>
                      <a:pt x="549593" y="497110"/>
                    </a:lnTo>
                    <a:lnTo>
                      <a:pt x="578168" y="504825"/>
                    </a:lnTo>
                    <a:lnTo>
                      <a:pt x="595313" y="501015"/>
                    </a:lnTo>
                    <a:lnTo>
                      <a:pt x="609600" y="494347"/>
                    </a:lnTo>
                    <a:lnTo>
                      <a:pt x="626745" y="490538"/>
                    </a:lnTo>
                    <a:lnTo>
                      <a:pt x="641033" y="494347"/>
                    </a:lnTo>
                    <a:lnTo>
                      <a:pt x="655320" y="501015"/>
                    </a:lnTo>
                    <a:lnTo>
                      <a:pt x="672465" y="511397"/>
                    </a:lnTo>
                    <a:lnTo>
                      <a:pt x="690563" y="529590"/>
                    </a:lnTo>
                    <a:lnTo>
                      <a:pt x="701040" y="539972"/>
                    </a:lnTo>
                    <a:lnTo>
                      <a:pt x="704850" y="519113"/>
                    </a:lnTo>
                    <a:lnTo>
                      <a:pt x="707708" y="508635"/>
                    </a:lnTo>
                    <a:lnTo>
                      <a:pt x="715328" y="501015"/>
                    </a:lnTo>
                    <a:lnTo>
                      <a:pt x="718185" y="494347"/>
                    </a:lnTo>
                    <a:lnTo>
                      <a:pt x="725805" y="497110"/>
                    </a:lnTo>
                    <a:lnTo>
                      <a:pt x="746760" y="494347"/>
                    </a:lnTo>
                    <a:lnTo>
                      <a:pt x="753428" y="490538"/>
                    </a:lnTo>
                    <a:lnTo>
                      <a:pt x="746760" y="480060"/>
                    </a:lnTo>
                    <a:lnTo>
                      <a:pt x="732473" y="469487"/>
                    </a:lnTo>
                    <a:lnTo>
                      <a:pt x="729615" y="455200"/>
                    </a:lnTo>
                    <a:lnTo>
                      <a:pt x="732473" y="448628"/>
                    </a:lnTo>
                    <a:lnTo>
                      <a:pt x="763905" y="444722"/>
                    </a:lnTo>
                    <a:lnTo>
                      <a:pt x="785813" y="444722"/>
                    </a:lnTo>
                    <a:lnTo>
                      <a:pt x="796290" y="434340"/>
                    </a:lnTo>
                    <a:lnTo>
                      <a:pt x="802958" y="426625"/>
                    </a:lnTo>
                    <a:lnTo>
                      <a:pt x="810578" y="423863"/>
                    </a:lnTo>
                    <a:lnTo>
                      <a:pt x="817245" y="434340"/>
                    </a:lnTo>
                    <a:lnTo>
                      <a:pt x="823913" y="430435"/>
                    </a:lnTo>
                    <a:lnTo>
                      <a:pt x="823913" y="409575"/>
                    </a:lnTo>
                    <a:lnTo>
                      <a:pt x="827723" y="388525"/>
                    </a:lnTo>
                    <a:lnTo>
                      <a:pt x="831533" y="378047"/>
                    </a:lnTo>
                    <a:lnTo>
                      <a:pt x="842010" y="363760"/>
                    </a:lnTo>
                    <a:lnTo>
                      <a:pt x="848678" y="342900"/>
                    </a:lnTo>
                    <a:lnTo>
                      <a:pt x="827723" y="339090"/>
                    </a:lnTo>
                    <a:lnTo>
                      <a:pt x="796290" y="339090"/>
                    </a:lnTo>
                    <a:lnTo>
                      <a:pt x="778193" y="339090"/>
                    </a:lnTo>
                    <a:lnTo>
                      <a:pt x="753428" y="353378"/>
                    </a:lnTo>
                    <a:lnTo>
                      <a:pt x="746760" y="370522"/>
                    </a:lnTo>
                    <a:lnTo>
                      <a:pt x="746760" y="388525"/>
                    </a:lnTo>
                    <a:lnTo>
                      <a:pt x="732473" y="416147"/>
                    </a:lnTo>
                    <a:lnTo>
                      <a:pt x="697230" y="423863"/>
                    </a:lnTo>
                    <a:lnTo>
                      <a:pt x="661988" y="430435"/>
                    </a:lnTo>
                    <a:lnTo>
                      <a:pt x="634365" y="430435"/>
                    </a:lnTo>
                    <a:lnTo>
                      <a:pt x="612458" y="423863"/>
                    </a:lnTo>
                    <a:lnTo>
                      <a:pt x="595313" y="413385"/>
                    </a:lnTo>
                    <a:lnTo>
                      <a:pt x="581025" y="391478"/>
                    </a:lnTo>
                    <a:lnTo>
                      <a:pt x="566738" y="370522"/>
                    </a:lnTo>
                    <a:lnTo>
                      <a:pt x="549593" y="339090"/>
                    </a:lnTo>
                    <a:lnTo>
                      <a:pt x="542925" y="306610"/>
                    </a:lnTo>
                    <a:lnTo>
                      <a:pt x="542925" y="285750"/>
                    </a:lnTo>
                    <a:lnTo>
                      <a:pt x="542925" y="268510"/>
                    </a:lnTo>
                    <a:lnTo>
                      <a:pt x="545783" y="239935"/>
                    </a:lnTo>
                    <a:lnTo>
                      <a:pt x="553403" y="219075"/>
                    </a:lnTo>
                    <a:lnTo>
                      <a:pt x="560070" y="204788"/>
                    </a:lnTo>
                    <a:lnTo>
                      <a:pt x="539115" y="200978"/>
                    </a:lnTo>
                    <a:lnTo>
                      <a:pt x="510540" y="19050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6" name="Freeform: Shape 505">
                <a:extLst>
                  <a:ext uri="{FF2B5EF4-FFF2-40B4-BE49-F238E27FC236}">
                    <a16:creationId xmlns:a16="http://schemas.microsoft.com/office/drawing/2014/main" id="{CD048694-0890-4A05-4789-3F1924ED2FCA}"/>
                  </a:ext>
                </a:extLst>
              </p:cNvPr>
              <p:cNvSpPr/>
              <p:nvPr/>
            </p:nvSpPr>
            <p:spPr>
              <a:xfrm>
                <a:off x="3192679" y="3700578"/>
                <a:ext cx="48553" cy="42017"/>
              </a:xfrm>
              <a:custGeom>
                <a:avLst/>
                <a:gdLst>
                  <a:gd name="connsiteX0" fmla="*/ 39053 w 49529"/>
                  <a:gd name="connsiteY0" fmla="*/ 18002 h 42862"/>
                  <a:gd name="connsiteX1" fmla="*/ 49530 w 49529"/>
                  <a:gd name="connsiteY1" fmla="*/ 42863 h 42862"/>
                  <a:gd name="connsiteX2" fmla="*/ 39053 w 49529"/>
                  <a:gd name="connsiteY2" fmla="*/ 18002 h 42862"/>
                  <a:gd name="connsiteX3" fmla="*/ 0 w 49529"/>
                  <a:gd name="connsiteY3" fmla="*/ 0 h 42862"/>
                  <a:gd name="connsiteX4" fmla="*/ 0 w 49529"/>
                  <a:gd name="connsiteY4" fmla="*/ 0 h 42862"/>
                  <a:gd name="connsiteX5" fmla="*/ 14288 w 49529"/>
                  <a:gd name="connsiteY5" fmla="*/ 7525 h 42862"/>
                  <a:gd name="connsiteX6" fmla="*/ 39053 w 49529"/>
                  <a:gd name="connsiteY6" fmla="*/ 18002 h 428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9529" h="42862">
                    <a:moveTo>
                      <a:pt x="39053" y="18002"/>
                    </a:moveTo>
                    <a:lnTo>
                      <a:pt x="49530" y="42863"/>
                    </a:lnTo>
                    <a:lnTo>
                      <a:pt x="39053" y="1800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4288" y="7525"/>
                    </a:lnTo>
                    <a:lnTo>
                      <a:pt x="39053" y="1800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7" name="Freeform: Shape 506">
                <a:extLst>
                  <a:ext uri="{FF2B5EF4-FFF2-40B4-BE49-F238E27FC236}">
                    <a16:creationId xmlns:a16="http://schemas.microsoft.com/office/drawing/2014/main" id="{A26153A7-D348-ED70-AF02-22773D05FD7A}"/>
                  </a:ext>
                </a:extLst>
              </p:cNvPr>
              <p:cNvSpPr/>
              <p:nvPr/>
            </p:nvSpPr>
            <p:spPr>
              <a:xfrm>
                <a:off x="1412066" y="2155251"/>
                <a:ext cx="1025228" cy="716079"/>
              </a:xfrm>
              <a:custGeom>
                <a:avLst/>
                <a:gdLst>
                  <a:gd name="connsiteX0" fmla="*/ 1017270 w 1045844"/>
                  <a:gd name="connsiteY0" fmla="*/ 666750 h 730472"/>
                  <a:gd name="connsiteX1" fmla="*/ 996315 w 1045844"/>
                  <a:gd name="connsiteY1" fmla="*/ 652463 h 730472"/>
                  <a:gd name="connsiteX2" fmla="*/ 978218 w 1045844"/>
                  <a:gd name="connsiteY2" fmla="*/ 631508 h 730472"/>
                  <a:gd name="connsiteX3" fmla="*/ 961073 w 1045844"/>
                  <a:gd name="connsiteY3" fmla="*/ 600075 h 730472"/>
                  <a:gd name="connsiteX4" fmla="*/ 946785 w 1045844"/>
                  <a:gd name="connsiteY4" fmla="*/ 585788 h 730472"/>
                  <a:gd name="connsiteX5" fmla="*/ 915353 w 1045844"/>
                  <a:gd name="connsiteY5" fmla="*/ 550545 h 730472"/>
                  <a:gd name="connsiteX6" fmla="*/ 894398 w 1045844"/>
                  <a:gd name="connsiteY6" fmla="*/ 529590 h 730472"/>
                  <a:gd name="connsiteX7" fmla="*/ 862013 w 1045844"/>
                  <a:gd name="connsiteY7" fmla="*/ 543877 h 730472"/>
                  <a:gd name="connsiteX8" fmla="*/ 859155 w 1045844"/>
                  <a:gd name="connsiteY8" fmla="*/ 554260 h 730472"/>
                  <a:gd name="connsiteX9" fmla="*/ 841058 w 1045844"/>
                  <a:gd name="connsiteY9" fmla="*/ 557213 h 730472"/>
                  <a:gd name="connsiteX10" fmla="*/ 820103 w 1045844"/>
                  <a:gd name="connsiteY10" fmla="*/ 539972 h 730472"/>
                  <a:gd name="connsiteX11" fmla="*/ 799148 w 1045844"/>
                  <a:gd name="connsiteY11" fmla="*/ 521970 h 730472"/>
                  <a:gd name="connsiteX12" fmla="*/ 784860 w 1045844"/>
                  <a:gd name="connsiteY12" fmla="*/ 504825 h 730472"/>
                  <a:gd name="connsiteX13" fmla="*/ 757238 w 1045844"/>
                  <a:gd name="connsiteY13" fmla="*/ 515302 h 730472"/>
                  <a:gd name="connsiteX14" fmla="*/ 739140 w 1045844"/>
                  <a:gd name="connsiteY14" fmla="*/ 508540 h 730472"/>
                  <a:gd name="connsiteX15" fmla="*/ 739140 w 1045844"/>
                  <a:gd name="connsiteY15" fmla="*/ 84773 h 730472"/>
                  <a:gd name="connsiteX16" fmla="*/ 703898 w 1045844"/>
                  <a:gd name="connsiteY16" fmla="*/ 70485 h 730472"/>
                  <a:gd name="connsiteX17" fmla="*/ 693420 w 1045844"/>
                  <a:gd name="connsiteY17" fmla="*/ 63722 h 730472"/>
                  <a:gd name="connsiteX18" fmla="*/ 641033 w 1045844"/>
                  <a:gd name="connsiteY18" fmla="*/ 70485 h 730472"/>
                  <a:gd name="connsiteX19" fmla="*/ 605790 w 1045844"/>
                  <a:gd name="connsiteY19" fmla="*/ 63722 h 730472"/>
                  <a:gd name="connsiteX20" fmla="*/ 559118 w 1045844"/>
                  <a:gd name="connsiteY20" fmla="*/ 53245 h 730472"/>
                  <a:gd name="connsiteX21" fmla="*/ 521018 w 1045844"/>
                  <a:gd name="connsiteY21" fmla="*/ 42863 h 730472"/>
                  <a:gd name="connsiteX22" fmla="*/ 471488 w 1045844"/>
                  <a:gd name="connsiteY22" fmla="*/ 42863 h 730472"/>
                  <a:gd name="connsiteX23" fmla="*/ 429577 w 1045844"/>
                  <a:gd name="connsiteY23" fmla="*/ 38957 h 730472"/>
                  <a:gd name="connsiteX24" fmla="*/ 429577 w 1045844"/>
                  <a:gd name="connsiteY24" fmla="*/ 28575 h 730472"/>
                  <a:gd name="connsiteX25" fmla="*/ 372427 w 1045844"/>
                  <a:gd name="connsiteY25" fmla="*/ 21907 h 730472"/>
                  <a:gd name="connsiteX26" fmla="*/ 359093 w 1045844"/>
                  <a:gd name="connsiteY26" fmla="*/ 14288 h 730472"/>
                  <a:gd name="connsiteX27" fmla="*/ 334327 w 1045844"/>
                  <a:gd name="connsiteY27" fmla="*/ 24670 h 730472"/>
                  <a:gd name="connsiteX28" fmla="*/ 326708 w 1045844"/>
                  <a:gd name="connsiteY28" fmla="*/ 14288 h 730472"/>
                  <a:gd name="connsiteX29" fmla="*/ 334327 w 1045844"/>
                  <a:gd name="connsiteY29" fmla="*/ 3810 h 730472"/>
                  <a:gd name="connsiteX30" fmla="*/ 309563 w 1045844"/>
                  <a:gd name="connsiteY30" fmla="*/ 0 h 730472"/>
                  <a:gd name="connsiteX31" fmla="*/ 278130 w 1045844"/>
                  <a:gd name="connsiteY31" fmla="*/ 18098 h 730472"/>
                  <a:gd name="connsiteX32" fmla="*/ 232410 w 1045844"/>
                  <a:gd name="connsiteY32" fmla="*/ 21907 h 730472"/>
                  <a:gd name="connsiteX33" fmla="*/ 224790 w 1045844"/>
                  <a:gd name="connsiteY33" fmla="*/ 35147 h 730472"/>
                  <a:gd name="connsiteX34" fmla="*/ 210503 w 1045844"/>
                  <a:gd name="connsiteY34" fmla="*/ 35147 h 730472"/>
                  <a:gd name="connsiteX35" fmla="*/ 182880 w 1045844"/>
                  <a:gd name="connsiteY35" fmla="*/ 49435 h 730472"/>
                  <a:gd name="connsiteX36" fmla="*/ 154305 w 1045844"/>
                  <a:gd name="connsiteY36" fmla="*/ 49435 h 730472"/>
                  <a:gd name="connsiteX37" fmla="*/ 129540 w 1045844"/>
                  <a:gd name="connsiteY37" fmla="*/ 74295 h 730472"/>
                  <a:gd name="connsiteX38" fmla="*/ 122873 w 1045844"/>
                  <a:gd name="connsiteY38" fmla="*/ 95250 h 730472"/>
                  <a:gd name="connsiteX39" fmla="*/ 101918 w 1045844"/>
                  <a:gd name="connsiteY39" fmla="*/ 113348 h 730472"/>
                  <a:gd name="connsiteX40" fmla="*/ 38100 w 1045844"/>
                  <a:gd name="connsiteY40" fmla="*/ 119920 h 730472"/>
                  <a:gd name="connsiteX41" fmla="*/ 35243 w 1045844"/>
                  <a:gd name="connsiteY41" fmla="*/ 144685 h 730472"/>
                  <a:gd name="connsiteX42" fmla="*/ 45720 w 1045844"/>
                  <a:gd name="connsiteY42" fmla="*/ 158972 h 730472"/>
                  <a:gd name="connsiteX43" fmla="*/ 66675 w 1045844"/>
                  <a:gd name="connsiteY43" fmla="*/ 158972 h 730472"/>
                  <a:gd name="connsiteX44" fmla="*/ 77153 w 1045844"/>
                  <a:gd name="connsiteY44" fmla="*/ 165735 h 730472"/>
                  <a:gd name="connsiteX45" fmla="*/ 87630 w 1045844"/>
                  <a:gd name="connsiteY45" fmla="*/ 177070 h 730472"/>
                  <a:gd name="connsiteX46" fmla="*/ 104775 w 1045844"/>
                  <a:gd name="connsiteY46" fmla="*/ 190500 h 730472"/>
                  <a:gd name="connsiteX47" fmla="*/ 116205 w 1045844"/>
                  <a:gd name="connsiteY47" fmla="*/ 212407 h 730472"/>
                  <a:gd name="connsiteX48" fmla="*/ 147638 w 1045844"/>
                  <a:gd name="connsiteY48" fmla="*/ 204788 h 730472"/>
                  <a:gd name="connsiteX49" fmla="*/ 161925 w 1045844"/>
                  <a:gd name="connsiteY49" fmla="*/ 208502 h 730472"/>
                  <a:gd name="connsiteX50" fmla="*/ 154305 w 1045844"/>
                  <a:gd name="connsiteY50" fmla="*/ 215265 h 730472"/>
                  <a:gd name="connsiteX51" fmla="*/ 154305 w 1045844"/>
                  <a:gd name="connsiteY51" fmla="*/ 229552 h 730472"/>
                  <a:gd name="connsiteX52" fmla="*/ 179070 w 1045844"/>
                  <a:gd name="connsiteY52" fmla="*/ 233363 h 730472"/>
                  <a:gd name="connsiteX53" fmla="*/ 189548 w 1045844"/>
                  <a:gd name="connsiteY53" fmla="*/ 225647 h 730472"/>
                  <a:gd name="connsiteX54" fmla="*/ 207645 w 1045844"/>
                  <a:gd name="connsiteY54" fmla="*/ 229552 h 730472"/>
                  <a:gd name="connsiteX55" fmla="*/ 200025 w 1045844"/>
                  <a:gd name="connsiteY55" fmla="*/ 239935 h 730472"/>
                  <a:gd name="connsiteX56" fmla="*/ 175260 w 1045844"/>
                  <a:gd name="connsiteY56" fmla="*/ 250507 h 730472"/>
                  <a:gd name="connsiteX57" fmla="*/ 154305 w 1045844"/>
                  <a:gd name="connsiteY57" fmla="*/ 254222 h 730472"/>
                  <a:gd name="connsiteX58" fmla="*/ 126683 w 1045844"/>
                  <a:gd name="connsiteY58" fmla="*/ 258127 h 730472"/>
                  <a:gd name="connsiteX59" fmla="*/ 108585 w 1045844"/>
                  <a:gd name="connsiteY59" fmla="*/ 247650 h 730472"/>
                  <a:gd name="connsiteX60" fmla="*/ 104775 w 1045844"/>
                  <a:gd name="connsiteY60" fmla="*/ 233363 h 730472"/>
                  <a:gd name="connsiteX61" fmla="*/ 91440 w 1045844"/>
                  <a:gd name="connsiteY61" fmla="*/ 229552 h 730472"/>
                  <a:gd name="connsiteX62" fmla="*/ 62865 w 1045844"/>
                  <a:gd name="connsiteY62" fmla="*/ 239935 h 730472"/>
                  <a:gd name="connsiteX63" fmla="*/ 38100 w 1045844"/>
                  <a:gd name="connsiteY63" fmla="*/ 247650 h 730472"/>
                  <a:gd name="connsiteX64" fmla="*/ 17145 w 1045844"/>
                  <a:gd name="connsiteY64" fmla="*/ 264795 h 730472"/>
                  <a:gd name="connsiteX65" fmla="*/ 0 w 1045844"/>
                  <a:gd name="connsiteY65" fmla="*/ 275177 h 730472"/>
                  <a:gd name="connsiteX66" fmla="*/ 6668 w 1045844"/>
                  <a:gd name="connsiteY66" fmla="*/ 289465 h 730472"/>
                  <a:gd name="connsiteX67" fmla="*/ 35243 w 1045844"/>
                  <a:gd name="connsiteY67" fmla="*/ 289465 h 730472"/>
                  <a:gd name="connsiteX68" fmla="*/ 35243 w 1045844"/>
                  <a:gd name="connsiteY68" fmla="*/ 296228 h 730472"/>
                  <a:gd name="connsiteX69" fmla="*/ 23813 w 1045844"/>
                  <a:gd name="connsiteY69" fmla="*/ 310515 h 730472"/>
                  <a:gd name="connsiteX70" fmla="*/ 38100 w 1045844"/>
                  <a:gd name="connsiteY70" fmla="*/ 324803 h 730472"/>
                  <a:gd name="connsiteX71" fmla="*/ 133350 w 1045844"/>
                  <a:gd name="connsiteY71" fmla="*/ 328613 h 730472"/>
                  <a:gd name="connsiteX72" fmla="*/ 151448 w 1045844"/>
                  <a:gd name="connsiteY72" fmla="*/ 318040 h 730472"/>
                  <a:gd name="connsiteX73" fmla="*/ 164782 w 1045844"/>
                  <a:gd name="connsiteY73" fmla="*/ 306610 h 730472"/>
                  <a:gd name="connsiteX74" fmla="*/ 182880 w 1045844"/>
                  <a:gd name="connsiteY74" fmla="*/ 306610 h 730472"/>
                  <a:gd name="connsiteX75" fmla="*/ 189548 w 1045844"/>
                  <a:gd name="connsiteY75" fmla="*/ 314325 h 730472"/>
                  <a:gd name="connsiteX76" fmla="*/ 179070 w 1045844"/>
                  <a:gd name="connsiteY76" fmla="*/ 324803 h 730472"/>
                  <a:gd name="connsiteX77" fmla="*/ 189548 w 1045844"/>
                  <a:gd name="connsiteY77" fmla="*/ 342900 h 730472"/>
                  <a:gd name="connsiteX78" fmla="*/ 193357 w 1045844"/>
                  <a:gd name="connsiteY78" fmla="*/ 366713 h 730472"/>
                  <a:gd name="connsiteX79" fmla="*/ 154305 w 1045844"/>
                  <a:gd name="connsiteY79" fmla="*/ 370427 h 730472"/>
                  <a:gd name="connsiteX80" fmla="*/ 140018 w 1045844"/>
                  <a:gd name="connsiteY80" fmla="*/ 378047 h 730472"/>
                  <a:gd name="connsiteX81" fmla="*/ 126683 w 1045844"/>
                  <a:gd name="connsiteY81" fmla="*/ 391478 h 730472"/>
                  <a:gd name="connsiteX82" fmla="*/ 101918 w 1045844"/>
                  <a:gd name="connsiteY82" fmla="*/ 388620 h 730472"/>
                  <a:gd name="connsiteX83" fmla="*/ 87630 w 1045844"/>
                  <a:gd name="connsiteY83" fmla="*/ 388620 h 730472"/>
                  <a:gd name="connsiteX84" fmla="*/ 80963 w 1045844"/>
                  <a:gd name="connsiteY84" fmla="*/ 399002 h 730472"/>
                  <a:gd name="connsiteX85" fmla="*/ 80963 w 1045844"/>
                  <a:gd name="connsiteY85" fmla="*/ 413290 h 730472"/>
                  <a:gd name="connsiteX86" fmla="*/ 59055 w 1045844"/>
                  <a:gd name="connsiteY86" fmla="*/ 426720 h 730472"/>
                  <a:gd name="connsiteX87" fmla="*/ 52388 w 1045844"/>
                  <a:gd name="connsiteY87" fmla="*/ 434340 h 730472"/>
                  <a:gd name="connsiteX88" fmla="*/ 41910 w 1045844"/>
                  <a:gd name="connsiteY88" fmla="*/ 455295 h 730472"/>
                  <a:gd name="connsiteX89" fmla="*/ 62865 w 1045844"/>
                  <a:gd name="connsiteY89" fmla="*/ 472440 h 730472"/>
                  <a:gd name="connsiteX90" fmla="*/ 70485 w 1045844"/>
                  <a:gd name="connsiteY90" fmla="*/ 459010 h 730472"/>
                  <a:gd name="connsiteX91" fmla="*/ 70485 w 1045844"/>
                  <a:gd name="connsiteY91" fmla="*/ 472440 h 730472"/>
                  <a:gd name="connsiteX92" fmla="*/ 83820 w 1045844"/>
                  <a:gd name="connsiteY92" fmla="*/ 483870 h 730472"/>
                  <a:gd name="connsiteX93" fmla="*/ 73343 w 1045844"/>
                  <a:gd name="connsiteY93" fmla="*/ 483870 h 730472"/>
                  <a:gd name="connsiteX94" fmla="*/ 70485 w 1045844"/>
                  <a:gd name="connsiteY94" fmla="*/ 494252 h 730472"/>
                  <a:gd name="connsiteX95" fmla="*/ 83820 w 1045844"/>
                  <a:gd name="connsiteY95" fmla="*/ 515302 h 730472"/>
                  <a:gd name="connsiteX96" fmla="*/ 98108 w 1045844"/>
                  <a:gd name="connsiteY96" fmla="*/ 529590 h 730472"/>
                  <a:gd name="connsiteX97" fmla="*/ 129540 w 1045844"/>
                  <a:gd name="connsiteY97" fmla="*/ 529590 h 730472"/>
                  <a:gd name="connsiteX98" fmla="*/ 137160 w 1045844"/>
                  <a:gd name="connsiteY98" fmla="*/ 521970 h 730472"/>
                  <a:gd name="connsiteX99" fmla="*/ 140018 w 1045844"/>
                  <a:gd name="connsiteY99" fmla="*/ 504825 h 730472"/>
                  <a:gd name="connsiteX100" fmla="*/ 151448 w 1045844"/>
                  <a:gd name="connsiteY100" fmla="*/ 504825 h 730472"/>
                  <a:gd name="connsiteX101" fmla="*/ 151448 w 1045844"/>
                  <a:gd name="connsiteY101" fmla="*/ 521970 h 730472"/>
                  <a:gd name="connsiteX102" fmla="*/ 154305 w 1045844"/>
                  <a:gd name="connsiteY102" fmla="*/ 536258 h 730472"/>
                  <a:gd name="connsiteX103" fmla="*/ 158115 w 1045844"/>
                  <a:gd name="connsiteY103" fmla="*/ 581977 h 730472"/>
                  <a:gd name="connsiteX104" fmla="*/ 175260 w 1045844"/>
                  <a:gd name="connsiteY104" fmla="*/ 579120 h 730472"/>
                  <a:gd name="connsiteX105" fmla="*/ 193357 w 1045844"/>
                  <a:gd name="connsiteY105" fmla="*/ 564833 h 730472"/>
                  <a:gd name="connsiteX106" fmla="*/ 221932 w 1045844"/>
                  <a:gd name="connsiteY106" fmla="*/ 567690 h 730472"/>
                  <a:gd name="connsiteX107" fmla="*/ 235268 w 1045844"/>
                  <a:gd name="connsiteY107" fmla="*/ 581977 h 730472"/>
                  <a:gd name="connsiteX108" fmla="*/ 242888 w 1045844"/>
                  <a:gd name="connsiteY108" fmla="*/ 579120 h 730472"/>
                  <a:gd name="connsiteX109" fmla="*/ 249555 w 1045844"/>
                  <a:gd name="connsiteY109" fmla="*/ 567690 h 730472"/>
                  <a:gd name="connsiteX110" fmla="*/ 260032 w 1045844"/>
                  <a:gd name="connsiteY110" fmla="*/ 579120 h 730472"/>
                  <a:gd name="connsiteX111" fmla="*/ 280988 w 1045844"/>
                  <a:gd name="connsiteY111" fmla="*/ 567690 h 730472"/>
                  <a:gd name="connsiteX112" fmla="*/ 299085 w 1045844"/>
                  <a:gd name="connsiteY112" fmla="*/ 564833 h 730472"/>
                  <a:gd name="connsiteX113" fmla="*/ 295275 w 1045844"/>
                  <a:gd name="connsiteY113" fmla="*/ 579120 h 730472"/>
                  <a:gd name="connsiteX114" fmla="*/ 280988 w 1045844"/>
                  <a:gd name="connsiteY114" fmla="*/ 585788 h 730472"/>
                  <a:gd name="connsiteX115" fmla="*/ 280988 w 1045844"/>
                  <a:gd name="connsiteY115" fmla="*/ 602933 h 730472"/>
                  <a:gd name="connsiteX116" fmla="*/ 274320 w 1045844"/>
                  <a:gd name="connsiteY116" fmla="*/ 624840 h 730472"/>
                  <a:gd name="connsiteX117" fmla="*/ 263843 w 1045844"/>
                  <a:gd name="connsiteY117" fmla="*/ 627602 h 730472"/>
                  <a:gd name="connsiteX118" fmla="*/ 245745 w 1045844"/>
                  <a:gd name="connsiteY118" fmla="*/ 645795 h 730472"/>
                  <a:gd name="connsiteX119" fmla="*/ 218123 w 1045844"/>
                  <a:gd name="connsiteY119" fmla="*/ 666750 h 730472"/>
                  <a:gd name="connsiteX120" fmla="*/ 200025 w 1045844"/>
                  <a:gd name="connsiteY120" fmla="*/ 674370 h 730472"/>
                  <a:gd name="connsiteX121" fmla="*/ 193357 w 1045844"/>
                  <a:gd name="connsiteY121" fmla="*/ 684752 h 730472"/>
                  <a:gd name="connsiteX122" fmla="*/ 175260 w 1045844"/>
                  <a:gd name="connsiteY122" fmla="*/ 684752 h 730472"/>
                  <a:gd name="connsiteX123" fmla="*/ 158115 w 1045844"/>
                  <a:gd name="connsiteY123" fmla="*/ 687610 h 730472"/>
                  <a:gd name="connsiteX124" fmla="*/ 147638 w 1045844"/>
                  <a:gd name="connsiteY124" fmla="*/ 695325 h 730472"/>
                  <a:gd name="connsiteX125" fmla="*/ 137160 w 1045844"/>
                  <a:gd name="connsiteY125" fmla="*/ 709613 h 730472"/>
                  <a:gd name="connsiteX126" fmla="*/ 133350 w 1045844"/>
                  <a:gd name="connsiteY126" fmla="*/ 722852 h 730472"/>
                  <a:gd name="connsiteX127" fmla="*/ 147638 w 1045844"/>
                  <a:gd name="connsiteY127" fmla="*/ 726758 h 730472"/>
                  <a:gd name="connsiteX128" fmla="*/ 158115 w 1045844"/>
                  <a:gd name="connsiteY128" fmla="*/ 720090 h 730472"/>
                  <a:gd name="connsiteX129" fmla="*/ 164782 w 1045844"/>
                  <a:gd name="connsiteY129" fmla="*/ 705802 h 730472"/>
                  <a:gd name="connsiteX130" fmla="*/ 172403 w 1045844"/>
                  <a:gd name="connsiteY130" fmla="*/ 701897 h 730472"/>
                  <a:gd name="connsiteX131" fmla="*/ 182880 w 1045844"/>
                  <a:gd name="connsiteY131" fmla="*/ 709613 h 730472"/>
                  <a:gd name="connsiteX132" fmla="*/ 197168 w 1045844"/>
                  <a:gd name="connsiteY132" fmla="*/ 701897 h 730472"/>
                  <a:gd name="connsiteX133" fmla="*/ 203835 w 1045844"/>
                  <a:gd name="connsiteY133" fmla="*/ 695325 h 730472"/>
                  <a:gd name="connsiteX134" fmla="*/ 228600 w 1045844"/>
                  <a:gd name="connsiteY134" fmla="*/ 695325 h 730472"/>
                  <a:gd name="connsiteX135" fmla="*/ 235268 w 1045844"/>
                  <a:gd name="connsiteY135" fmla="*/ 687610 h 730472"/>
                  <a:gd name="connsiteX136" fmla="*/ 256223 w 1045844"/>
                  <a:gd name="connsiteY136" fmla="*/ 677227 h 730472"/>
                  <a:gd name="connsiteX137" fmla="*/ 260032 w 1045844"/>
                  <a:gd name="connsiteY137" fmla="*/ 666750 h 730472"/>
                  <a:gd name="connsiteX138" fmla="*/ 270510 w 1045844"/>
                  <a:gd name="connsiteY138" fmla="*/ 656177 h 730472"/>
                  <a:gd name="connsiteX139" fmla="*/ 309563 w 1045844"/>
                  <a:gd name="connsiteY139" fmla="*/ 635222 h 730472"/>
                  <a:gd name="connsiteX140" fmla="*/ 344805 w 1045844"/>
                  <a:gd name="connsiteY140" fmla="*/ 614363 h 730472"/>
                  <a:gd name="connsiteX141" fmla="*/ 365760 w 1045844"/>
                  <a:gd name="connsiteY141" fmla="*/ 600075 h 730472"/>
                  <a:gd name="connsiteX142" fmla="*/ 383858 w 1045844"/>
                  <a:gd name="connsiteY142" fmla="*/ 585788 h 730472"/>
                  <a:gd name="connsiteX143" fmla="*/ 394335 w 1045844"/>
                  <a:gd name="connsiteY143" fmla="*/ 575215 h 730472"/>
                  <a:gd name="connsiteX144" fmla="*/ 390525 w 1045844"/>
                  <a:gd name="connsiteY144" fmla="*/ 567690 h 730472"/>
                  <a:gd name="connsiteX145" fmla="*/ 380048 w 1045844"/>
                  <a:gd name="connsiteY145" fmla="*/ 554260 h 730472"/>
                  <a:gd name="connsiteX146" fmla="*/ 386715 w 1045844"/>
                  <a:gd name="connsiteY146" fmla="*/ 539972 h 730472"/>
                  <a:gd name="connsiteX147" fmla="*/ 404813 w 1045844"/>
                  <a:gd name="connsiteY147" fmla="*/ 536258 h 730472"/>
                  <a:gd name="connsiteX148" fmla="*/ 415290 w 1045844"/>
                  <a:gd name="connsiteY148" fmla="*/ 525685 h 730472"/>
                  <a:gd name="connsiteX149" fmla="*/ 415290 w 1045844"/>
                  <a:gd name="connsiteY149" fmla="*/ 511397 h 730472"/>
                  <a:gd name="connsiteX150" fmla="*/ 429577 w 1045844"/>
                  <a:gd name="connsiteY150" fmla="*/ 497110 h 730472"/>
                  <a:gd name="connsiteX151" fmla="*/ 464820 w 1045844"/>
                  <a:gd name="connsiteY151" fmla="*/ 472440 h 730472"/>
                  <a:gd name="connsiteX152" fmla="*/ 481965 w 1045844"/>
                  <a:gd name="connsiteY152" fmla="*/ 469582 h 730472"/>
                  <a:gd name="connsiteX153" fmla="*/ 502920 w 1045844"/>
                  <a:gd name="connsiteY153" fmla="*/ 459010 h 730472"/>
                  <a:gd name="connsiteX154" fmla="*/ 500063 w 1045844"/>
                  <a:gd name="connsiteY154" fmla="*/ 465677 h 730472"/>
                  <a:gd name="connsiteX155" fmla="*/ 492443 w 1045844"/>
                  <a:gd name="connsiteY155" fmla="*/ 479965 h 730472"/>
                  <a:gd name="connsiteX156" fmla="*/ 475298 w 1045844"/>
                  <a:gd name="connsiteY156" fmla="*/ 483870 h 730472"/>
                  <a:gd name="connsiteX157" fmla="*/ 461010 w 1045844"/>
                  <a:gd name="connsiteY157" fmla="*/ 486727 h 730472"/>
                  <a:gd name="connsiteX158" fmla="*/ 454343 w 1045844"/>
                  <a:gd name="connsiteY158" fmla="*/ 494252 h 730472"/>
                  <a:gd name="connsiteX159" fmla="*/ 450533 w 1045844"/>
                  <a:gd name="connsiteY159" fmla="*/ 511397 h 730472"/>
                  <a:gd name="connsiteX160" fmla="*/ 442913 w 1045844"/>
                  <a:gd name="connsiteY160" fmla="*/ 525685 h 730472"/>
                  <a:gd name="connsiteX161" fmla="*/ 440055 w 1045844"/>
                  <a:gd name="connsiteY161" fmla="*/ 543877 h 730472"/>
                  <a:gd name="connsiteX162" fmla="*/ 450533 w 1045844"/>
                  <a:gd name="connsiteY162" fmla="*/ 557213 h 730472"/>
                  <a:gd name="connsiteX163" fmla="*/ 471488 w 1045844"/>
                  <a:gd name="connsiteY163" fmla="*/ 550545 h 730472"/>
                  <a:gd name="connsiteX164" fmla="*/ 489585 w 1045844"/>
                  <a:gd name="connsiteY164" fmla="*/ 536258 h 730472"/>
                  <a:gd name="connsiteX165" fmla="*/ 502920 w 1045844"/>
                  <a:gd name="connsiteY165" fmla="*/ 525685 h 730472"/>
                  <a:gd name="connsiteX166" fmla="*/ 517208 w 1045844"/>
                  <a:gd name="connsiteY166" fmla="*/ 521970 h 730472"/>
                  <a:gd name="connsiteX167" fmla="*/ 545783 w 1045844"/>
                  <a:gd name="connsiteY167" fmla="*/ 521970 h 730472"/>
                  <a:gd name="connsiteX168" fmla="*/ 552450 w 1045844"/>
                  <a:gd name="connsiteY168" fmla="*/ 519113 h 730472"/>
                  <a:gd name="connsiteX169" fmla="*/ 545783 w 1045844"/>
                  <a:gd name="connsiteY169" fmla="*/ 504825 h 730472"/>
                  <a:gd name="connsiteX170" fmla="*/ 538163 w 1045844"/>
                  <a:gd name="connsiteY170" fmla="*/ 494252 h 730472"/>
                  <a:gd name="connsiteX171" fmla="*/ 538163 w 1045844"/>
                  <a:gd name="connsiteY171" fmla="*/ 479965 h 730472"/>
                  <a:gd name="connsiteX172" fmla="*/ 559118 w 1045844"/>
                  <a:gd name="connsiteY172" fmla="*/ 479965 h 730472"/>
                  <a:gd name="connsiteX173" fmla="*/ 583883 w 1045844"/>
                  <a:gd name="connsiteY173" fmla="*/ 483870 h 730472"/>
                  <a:gd name="connsiteX174" fmla="*/ 605790 w 1045844"/>
                  <a:gd name="connsiteY174" fmla="*/ 494252 h 730472"/>
                  <a:gd name="connsiteX175" fmla="*/ 612458 w 1045844"/>
                  <a:gd name="connsiteY175" fmla="*/ 504825 h 730472"/>
                  <a:gd name="connsiteX176" fmla="*/ 637223 w 1045844"/>
                  <a:gd name="connsiteY176" fmla="*/ 508540 h 730472"/>
                  <a:gd name="connsiteX177" fmla="*/ 647700 w 1045844"/>
                  <a:gd name="connsiteY177" fmla="*/ 521970 h 730472"/>
                  <a:gd name="connsiteX178" fmla="*/ 664845 w 1045844"/>
                  <a:gd name="connsiteY178" fmla="*/ 521970 h 730472"/>
                  <a:gd name="connsiteX179" fmla="*/ 703898 w 1045844"/>
                  <a:gd name="connsiteY179" fmla="*/ 521970 h 730472"/>
                  <a:gd name="connsiteX180" fmla="*/ 728663 w 1045844"/>
                  <a:gd name="connsiteY180" fmla="*/ 525685 h 730472"/>
                  <a:gd name="connsiteX181" fmla="*/ 749618 w 1045844"/>
                  <a:gd name="connsiteY181" fmla="*/ 536258 h 730472"/>
                  <a:gd name="connsiteX182" fmla="*/ 770573 w 1045844"/>
                  <a:gd name="connsiteY182" fmla="*/ 532352 h 730472"/>
                  <a:gd name="connsiteX183" fmla="*/ 774383 w 1045844"/>
                  <a:gd name="connsiteY183" fmla="*/ 546640 h 730472"/>
                  <a:gd name="connsiteX184" fmla="*/ 816293 w 1045844"/>
                  <a:gd name="connsiteY184" fmla="*/ 571500 h 730472"/>
                  <a:gd name="connsiteX185" fmla="*/ 844868 w 1045844"/>
                  <a:gd name="connsiteY185" fmla="*/ 585788 h 730472"/>
                  <a:gd name="connsiteX186" fmla="*/ 865823 w 1045844"/>
                  <a:gd name="connsiteY186" fmla="*/ 592360 h 730472"/>
                  <a:gd name="connsiteX187" fmla="*/ 873443 w 1045844"/>
                  <a:gd name="connsiteY187" fmla="*/ 579120 h 730472"/>
                  <a:gd name="connsiteX188" fmla="*/ 880110 w 1045844"/>
                  <a:gd name="connsiteY188" fmla="*/ 585788 h 730472"/>
                  <a:gd name="connsiteX189" fmla="*/ 890588 w 1045844"/>
                  <a:gd name="connsiteY189" fmla="*/ 596265 h 730472"/>
                  <a:gd name="connsiteX190" fmla="*/ 897255 w 1045844"/>
                  <a:gd name="connsiteY190" fmla="*/ 589502 h 730472"/>
                  <a:gd name="connsiteX191" fmla="*/ 890588 w 1045844"/>
                  <a:gd name="connsiteY191" fmla="*/ 567690 h 730472"/>
                  <a:gd name="connsiteX192" fmla="*/ 897255 w 1045844"/>
                  <a:gd name="connsiteY192" fmla="*/ 560927 h 730472"/>
                  <a:gd name="connsiteX193" fmla="*/ 911543 w 1045844"/>
                  <a:gd name="connsiteY193" fmla="*/ 581977 h 730472"/>
                  <a:gd name="connsiteX194" fmla="*/ 919163 w 1045844"/>
                  <a:gd name="connsiteY194" fmla="*/ 592360 h 730472"/>
                  <a:gd name="connsiteX195" fmla="*/ 932498 w 1045844"/>
                  <a:gd name="connsiteY195" fmla="*/ 602933 h 730472"/>
                  <a:gd name="connsiteX196" fmla="*/ 950595 w 1045844"/>
                  <a:gd name="connsiteY196" fmla="*/ 624840 h 730472"/>
                  <a:gd name="connsiteX197" fmla="*/ 954405 w 1045844"/>
                  <a:gd name="connsiteY197" fmla="*/ 638175 h 730472"/>
                  <a:gd name="connsiteX198" fmla="*/ 971550 w 1045844"/>
                  <a:gd name="connsiteY198" fmla="*/ 652463 h 730472"/>
                  <a:gd name="connsiteX199" fmla="*/ 1000125 w 1045844"/>
                  <a:gd name="connsiteY199" fmla="*/ 677227 h 730472"/>
                  <a:gd name="connsiteX200" fmla="*/ 1002983 w 1045844"/>
                  <a:gd name="connsiteY200" fmla="*/ 681038 h 730472"/>
                  <a:gd name="connsiteX201" fmla="*/ 1013460 w 1045844"/>
                  <a:gd name="connsiteY201" fmla="*/ 691515 h 730472"/>
                  <a:gd name="connsiteX202" fmla="*/ 1024890 w 1045844"/>
                  <a:gd name="connsiteY202" fmla="*/ 695325 h 730472"/>
                  <a:gd name="connsiteX203" fmla="*/ 1021080 w 1045844"/>
                  <a:gd name="connsiteY203" fmla="*/ 712470 h 730472"/>
                  <a:gd name="connsiteX204" fmla="*/ 1013460 w 1045844"/>
                  <a:gd name="connsiteY204" fmla="*/ 730472 h 730472"/>
                  <a:gd name="connsiteX205" fmla="*/ 1038225 w 1045844"/>
                  <a:gd name="connsiteY205" fmla="*/ 722852 h 730472"/>
                  <a:gd name="connsiteX206" fmla="*/ 1045845 w 1045844"/>
                  <a:gd name="connsiteY206" fmla="*/ 695325 h 730472"/>
                  <a:gd name="connsiteX207" fmla="*/ 1042035 w 1045844"/>
                  <a:gd name="connsiteY207" fmla="*/ 681038 h 730472"/>
                  <a:gd name="connsiteX208" fmla="*/ 1017270 w 1045844"/>
                  <a:gd name="connsiteY208" fmla="*/ 666750 h 730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</a:cxnLst>
                <a:rect l="l" t="t" r="r" b="b"/>
                <a:pathLst>
                  <a:path w="1045844" h="730472">
                    <a:moveTo>
                      <a:pt x="1017270" y="666750"/>
                    </a:moveTo>
                    <a:lnTo>
                      <a:pt x="996315" y="652463"/>
                    </a:lnTo>
                    <a:lnTo>
                      <a:pt x="978218" y="631508"/>
                    </a:lnTo>
                    <a:lnTo>
                      <a:pt x="961073" y="600075"/>
                    </a:lnTo>
                    <a:lnTo>
                      <a:pt x="946785" y="585788"/>
                    </a:lnTo>
                    <a:lnTo>
                      <a:pt x="915353" y="550545"/>
                    </a:lnTo>
                    <a:lnTo>
                      <a:pt x="894398" y="529590"/>
                    </a:lnTo>
                    <a:lnTo>
                      <a:pt x="862013" y="543877"/>
                    </a:lnTo>
                    <a:lnTo>
                      <a:pt x="859155" y="554260"/>
                    </a:lnTo>
                    <a:lnTo>
                      <a:pt x="841058" y="557213"/>
                    </a:lnTo>
                    <a:lnTo>
                      <a:pt x="820103" y="539972"/>
                    </a:lnTo>
                    <a:lnTo>
                      <a:pt x="799148" y="521970"/>
                    </a:lnTo>
                    <a:lnTo>
                      <a:pt x="784860" y="504825"/>
                    </a:lnTo>
                    <a:lnTo>
                      <a:pt x="757238" y="515302"/>
                    </a:lnTo>
                    <a:lnTo>
                      <a:pt x="739140" y="508540"/>
                    </a:lnTo>
                    <a:lnTo>
                      <a:pt x="739140" y="84773"/>
                    </a:lnTo>
                    <a:lnTo>
                      <a:pt x="703898" y="70485"/>
                    </a:lnTo>
                    <a:lnTo>
                      <a:pt x="693420" y="63722"/>
                    </a:lnTo>
                    <a:lnTo>
                      <a:pt x="641033" y="70485"/>
                    </a:lnTo>
                    <a:lnTo>
                      <a:pt x="605790" y="63722"/>
                    </a:lnTo>
                    <a:lnTo>
                      <a:pt x="559118" y="53245"/>
                    </a:lnTo>
                    <a:lnTo>
                      <a:pt x="521018" y="42863"/>
                    </a:lnTo>
                    <a:lnTo>
                      <a:pt x="471488" y="42863"/>
                    </a:lnTo>
                    <a:lnTo>
                      <a:pt x="429577" y="38957"/>
                    </a:lnTo>
                    <a:lnTo>
                      <a:pt x="429577" y="28575"/>
                    </a:lnTo>
                    <a:lnTo>
                      <a:pt x="372427" y="21907"/>
                    </a:lnTo>
                    <a:lnTo>
                      <a:pt x="359093" y="14288"/>
                    </a:lnTo>
                    <a:lnTo>
                      <a:pt x="334327" y="24670"/>
                    </a:lnTo>
                    <a:lnTo>
                      <a:pt x="326708" y="14288"/>
                    </a:lnTo>
                    <a:lnTo>
                      <a:pt x="334327" y="3810"/>
                    </a:lnTo>
                    <a:lnTo>
                      <a:pt x="309563" y="0"/>
                    </a:lnTo>
                    <a:lnTo>
                      <a:pt x="278130" y="18098"/>
                    </a:lnTo>
                    <a:lnTo>
                      <a:pt x="232410" y="21907"/>
                    </a:lnTo>
                    <a:lnTo>
                      <a:pt x="224790" y="35147"/>
                    </a:lnTo>
                    <a:lnTo>
                      <a:pt x="210503" y="35147"/>
                    </a:lnTo>
                    <a:lnTo>
                      <a:pt x="182880" y="49435"/>
                    </a:lnTo>
                    <a:lnTo>
                      <a:pt x="154305" y="49435"/>
                    </a:lnTo>
                    <a:lnTo>
                      <a:pt x="129540" y="74295"/>
                    </a:lnTo>
                    <a:lnTo>
                      <a:pt x="122873" y="95250"/>
                    </a:lnTo>
                    <a:lnTo>
                      <a:pt x="101918" y="113348"/>
                    </a:lnTo>
                    <a:lnTo>
                      <a:pt x="38100" y="119920"/>
                    </a:lnTo>
                    <a:lnTo>
                      <a:pt x="35243" y="144685"/>
                    </a:lnTo>
                    <a:lnTo>
                      <a:pt x="45720" y="158972"/>
                    </a:lnTo>
                    <a:lnTo>
                      <a:pt x="66675" y="158972"/>
                    </a:lnTo>
                    <a:lnTo>
                      <a:pt x="77153" y="165735"/>
                    </a:lnTo>
                    <a:lnTo>
                      <a:pt x="87630" y="177070"/>
                    </a:lnTo>
                    <a:lnTo>
                      <a:pt x="104775" y="190500"/>
                    </a:lnTo>
                    <a:lnTo>
                      <a:pt x="116205" y="212407"/>
                    </a:lnTo>
                    <a:lnTo>
                      <a:pt x="147638" y="204788"/>
                    </a:lnTo>
                    <a:lnTo>
                      <a:pt x="161925" y="208502"/>
                    </a:lnTo>
                    <a:lnTo>
                      <a:pt x="154305" y="215265"/>
                    </a:lnTo>
                    <a:lnTo>
                      <a:pt x="154305" y="229552"/>
                    </a:lnTo>
                    <a:lnTo>
                      <a:pt x="179070" y="233363"/>
                    </a:lnTo>
                    <a:lnTo>
                      <a:pt x="189548" y="225647"/>
                    </a:lnTo>
                    <a:lnTo>
                      <a:pt x="207645" y="229552"/>
                    </a:lnTo>
                    <a:lnTo>
                      <a:pt x="200025" y="239935"/>
                    </a:lnTo>
                    <a:lnTo>
                      <a:pt x="175260" y="250507"/>
                    </a:lnTo>
                    <a:lnTo>
                      <a:pt x="154305" y="254222"/>
                    </a:lnTo>
                    <a:lnTo>
                      <a:pt x="126683" y="258127"/>
                    </a:lnTo>
                    <a:lnTo>
                      <a:pt x="108585" y="247650"/>
                    </a:lnTo>
                    <a:lnTo>
                      <a:pt x="104775" y="233363"/>
                    </a:lnTo>
                    <a:lnTo>
                      <a:pt x="91440" y="229552"/>
                    </a:lnTo>
                    <a:lnTo>
                      <a:pt x="62865" y="239935"/>
                    </a:lnTo>
                    <a:lnTo>
                      <a:pt x="38100" y="247650"/>
                    </a:lnTo>
                    <a:lnTo>
                      <a:pt x="17145" y="264795"/>
                    </a:lnTo>
                    <a:lnTo>
                      <a:pt x="0" y="275177"/>
                    </a:lnTo>
                    <a:lnTo>
                      <a:pt x="6668" y="289465"/>
                    </a:lnTo>
                    <a:lnTo>
                      <a:pt x="35243" y="289465"/>
                    </a:lnTo>
                    <a:lnTo>
                      <a:pt x="35243" y="296228"/>
                    </a:lnTo>
                    <a:lnTo>
                      <a:pt x="23813" y="310515"/>
                    </a:lnTo>
                    <a:lnTo>
                      <a:pt x="38100" y="324803"/>
                    </a:lnTo>
                    <a:lnTo>
                      <a:pt x="133350" y="328613"/>
                    </a:lnTo>
                    <a:lnTo>
                      <a:pt x="151448" y="318040"/>
                    </a:lnTo>
                    <a:lnTo>
                      <a:pt x="164782" y="306610"/>
                    </a:lnTo>
                    <a:lnTo>
                      <a:pt x="182880" y="306610"/>
                    </a:lnTo>
                    <a:lnTo>
                      <a:pt x="189548" y="314325"/>
                    </a:lnTo>
                    <a:lnTo>
                      <a:pt x="179070" y="324803"/>
                    </a:lnTo>
                    <a:lnTo>
                      <a:pt x="189548" y="342900"/>
                    </a:lnTo>
                    <a:lnTo>
                      <a:pt x="193357" y="366713"/>
                    </a:lnTo>
                    <a:lnTo>
                      <a:pt x="154305" y="370427"/>
                    </a:lnTo>
                    <a:lnTo>
                      <a:pt x="140018" y="378047"/>
                    </a:lnTo>
                    <a:lnTo>
                      <a:pt x="126683" y="391478"/>
                    </a:lnTo>
                    <a:lnTo>
                      <a:pt x="101918" y="388620"/>
                    </a:lnTo>
                    <a:lnTo>
                      <a:pt x="87630" y="388620"/>
                    </a:lnTo>
                    <a:lnTo>
                      <a:pt x="80963" y="399002"/>
                    </a:lnTo>
                    <a:lnTo>
                      <a:pt x="80963" y="413290"/>
                    </a:lnTo>
                    <a:lnTo>
                      <a:pt x="59055" y="426720"/>
                    </a:lnTo>
                    <a:lnTo>
                      <a:pt x="52388" y="434340"/>
                    </a:lnTo>
                    <a:lnTo>
                      <a:pt x="41910" y="455295"/>
                    </a:lnTo>
                    <a:lnTo>
                      <a:pt x="62865" y="472440"/>
                    </a:lnTo>
                    <a:lnTo>
                      <a:pt x="70485" y="459010"/>
                    </a:lnTo>
                    <a:lnTo>
                      <a:pt x="70485" y="472440"/>
                    </a:lnTo>
                    <a:lnTo>
                      <a:pt x="83820" y="483870"/>
                    </a:lnTo>
                    <a:lnTo>
                      <a:pt x="73343" y="483870"/>
                    </a:lnTo>
                    <a:lnTo>
                      <a:pt x="70485" y="494252"/>
                    </a:lnTo>
                    <a:lnTo>
                      <a:pt x="83820" y="515302"/>
                    </a:lnTo>
                    <a:lnTo>
                      <a:pt x="98108" y="529590"/>
                    </a:lnTo>
                    <a:lnTo>
                      <a:pt x="129540" y="529590"/>
                    </a:lnTo>
                    <a:lnTo>
                      <a:pt x="137160" y="521970"/>
                    </a:lnTo>
                    <a:lnTo>
                      <a:pt x="140018" y="504825"/>
                    </a:lnTo>
                    <a:lnTo>
                      <a:pt x="151448" y="504825"/>
                    </a:lnTo>
                    <a:lnTo>
                      <a:pt x="151448" y="521970"/>
                    </a:lnTo>
                    <a:lnTo>
                      <a:pt x="154305" y="536258"/>
                    </a:lnTo>
                    <a:lnTo>
                      <a:pt x="158115" y="581977"/>
                    </a:lnTo>
                    <a:lnTo>
                      <a:pt x="175260" y="579120"/>
                    </a:lnTo>
                    <a:lnTo>
                      <a:pt x="193357" y="564833"/>
                    </a:lnTo>
                    <a:lnTo>
                      <a:pt x="221932" y="567690"/>
                    </a:lnTo>
                    <a:lnTo>
                      <a:pt x="235268" y="581977"/>
                    </a:lnTo>
                    <a:lnTo>
                      <a:pt x="242888" y="579120"/>
                    </a:lnTo>
                    <a:lnTo>
                      <a:pt x="249555" y="567690"/>
                    </a:lnTo>
                    <a:lnTo>
                      <a:pt x="260032" y="579120"/>
                    </a:lnTo>
                    <a:lnTo>
                      <a:pt x="280988" y="567690"/>
                    </a:lnTo>
                    <a:lnTo>
                      <a:pt x="299085" y="564833"/>
                    </a:lnTo>
                    <a:lnTo>
                      <a:pt x="295275" y="579120"/>
                    </a:lnTo>
                    <a:lnTo>
                      <a:pt x="280988" y="585788"/>
                    </a:lnTo>
                    <a:lnTo>
                      <a:pt x="280988" y="602933"/>
                    </a:lnTo>
                    <a:lnTo>
                      <a:pt x="274320" y="624840"/>
                    </a:lnTo>
                    <a:lnTo>
                      <a:pt x="263843" y="627602"/>
                    </a:lnTo>
                    <a:lnTo>
                      <a:pt x="245745" y="645795"/>
                    </a:lnTo>
                    <a:lnTo>
                      <a:pt x="218123" y="666750"/>
                    </a:lnTo>
                    <a:lnTo>
                      <a:pt x="200025" y="674370"/>
                    </a:lnTo>
                    <a:lnTo>
                      <a:pt x="193357" y="684752"/>
                    </a:lnTo>
                    <a:lnTo>
                      <a:pt x="175260" y="684752"/>
                    </a:lnTo>
                    <a:lnTo>
                      <a:pt x="158115" y="687610"/>
                    </a:lnTo>
                    <a:lnTo>
                      <a:pt x="147638" y="695325"/>
                    </a:lnTo>
                    <a:lnTo>
                      <a:pt x="137160" y="709613"/>
                    </a:lnTo>
                    <a:lnTo>
                      <a:pt x="133350" y="722852"/>
                    </a:lnTo>
                    <a:lnTo>
                      <a:pt x="147638" y="726758"/>
                    </a:lnTo>
                    <a:lnTo>
                      <a:pt x="158115" y="720090"/>
                    </a:lnTo>
                    <a:lnTo>
                      <a:pt x="164782" y="705802"/>
                    </a:lnTo>
                    <a:lnTo>
                      <a:pt x="172403" y="701897"/>
                    </a:lnTo>
                    <a:lnTo>
                      <a:pt x="182880" y="709613"/>
                    </a:lnTo>
                    <a:lnTo>
                      <a:pt x="197168" y="701897"/>
                    </a:lnTo>
                    <a:lnTo>
                      <a:pt x="203835" y="695325"/>
                    </a:lnTo>
                    <a:lnTo>
                      <a:pt x="228600" y="695325"/>
                    </a:lnTo>
                    <a:lnTo>
                      <a:pt x="235268" y="687610"/>
                    </a:lnTo>
                    <a:lnTo>
                      <a:pt x="256223" y="677227"/>
                    </a:lnTo>
                    <a:lnTo>
                      <a:pt x="260032" y="666750"/>
                    </a:lnTo>
                    <a:lnTo>
                      <a:pt x="270510" y="656177"/>
                    </a:lnTo>
                    <a:lnTo>
                      <a:pt x="309563" y="635222"/>
                    </a:lnTo>
                    <a:lnTo>
                      <a:pt x="344805" y="614363"/>
                    </a:lnTo>
                    <a:lnTo>
                      <a:pt x="365760" y="600075"/>
                    </a:lnTo>
                    <a:lnTo>
                      <a:pt x="383858" y="585788"/>
                    </a:lnTo>
                    <a:lnTo>
                      <a:pt x="394335" y="575215"/>
                    </a:lnTo>
                    <a:lnTo>
                      <a:pt x="390525" y="567690"/>
                    </a:lnTo>
                    <a:lnTo>
                      <a:pt x="380048" y="554260"/>
                    </a:lnTo>
                    <a:lnTo>
                      <a:pt x="386715" y="539972"/>
                    </a:lnTo>
                    <a:lnTo>
                      <a:pt x="404813" y="536258"/>
                    </a:lnTo>
                    <a:lnTo>
                      <a:pt x="415290" y="525685"/>
                    </a:lnTo>
                    <a:lnTo>
                      <a:pt x="415290" y="511397"/>
                    </a:lnTo>
                    <a:lnTo>
                      <a:pt x="429577" y="497110"/>
                    </a:lnTo>
                    <a:lnTo>
                      <a:pt x="464820" y="472440"/>
                    </a:lnTo>
                    <a:lnTo>
                      <a:pt x="481965" y="469582"/>
                    </a:lnTo>
                    <a:lnTo>
                      <a:pt x="502920" y="459010"/>
                    </a:lnTo>
                    <a:lnTo>
                      <a:pt x="500063" y="465677"/>
                    </a:lnTo>
                    <a:lnTo>
                      <a:pt x="492443" y="479965"/>
                    </a:lnTo>
                    <a:lnTo>
                      <a:pt x="475298" y="483870"/>
                    </a:lnTo>
                    <a:lnTo>
                      <a:pt x="461010" y="486727"/>
                    </a:lnTo>
                    <a:lnTo>
                      <a:pt x="454343" y="494252"/>
                    </a:lnTo>
                    <a:lnTo>
                      <a:pt x="450533" y="511397"/>
                    </a:lnTo>
                    <a:lnTo>
                      <a:pt x="442913" y="525685"/>
                    </a:lnTo>
                    <a:lnTo>
                      <a:pt x="440055" y="543877"/>
                    </a:lnTo>
                    <a:lnTo>
                      <a:pt x="450533" y="557213"/>
                    </a:lnTo>
                    <a:lnTo>
                      <a:pt x="471488" y="550545"/>
                    </a:lnTo>
                    <a:lnTo>
                      <a:pt x="489585" y="536258"/>
                    </a:lnTo>
                    <a:lnTo>
                      <a:pt x="502920" y="525685"/>
                    </a:lnTo>
                    <a:lnTo>
                      <a:pt x="517208" y="521970"/>
                    </a:lnTo>
                    <a:lnTo>
                      <a:pt x="545783" y="521970"/>
                    </a:lnTo>
                    <a:lnTo>
                      <a:pt x="552450" y="519113"/>
                    </a:lnTo>
                    <a:lnTo>
                      <a:pt x="545783" y="504825"/>
                    </a:lnTo>
                    <a:lnTo>
                      <a:pt x="538163" y="494252"/>
                    </a:lnTo>
                    <a:lnTo>
                      <a:pt x="538163" y="479965"/>
                    </a:lnTo>
                    <a:lnTo>
                      <a:pt x="559118" y="479965"/>
                    </a:lnTo>
                    <a:lnTo>
                      <a:pt x="583883" y="483870"/>
                    </a:lnTo>
                    <a:lnTo>
                      <a:pt x="605790" y="494252"/>
                    </a:lnTo>
                    <a:lnTo>
                      <a:pt x="612458" y="504825"/>
                    </a:lnTo>
                    <a:lnTo>
                      <a:pt x="637223" y="508540"/>
                    </a:lnTo>
                    <a:lnTo>
                      <a:pt x="647700" y="521970"/>
                    </a:lnTo>
                    <a:lnTo>
                      <a:pt x="664845" y="521970"/>
                    </a:lnTo>
                    <a:lnTo>
                      <a:pt x="703898" y="521970"/>
                    </a:lnTo>
                    <a:lnTo>
                      <a:pt x="728663" y="525685"/>
                    </a:lnTo>
                    <a:lnTo>
                      <a:pt x="749618" y="536258"/>
                    </a:lnTo>
                    <a:lnTo>
                      <a:pt x="770573" y="532352"/>
                    </a:lnTo>
                    <a:lnTo>
                      <a:pt x="774383" y="546640"/>
                    </a:lnTo>
                    <a:lnTo>
                      <a:pt x="816293" y="571500"/>
                    </a:lnTo>
                    <a:lnTo>
                      <a:pt x="844868" y="585788"/>
                    </a:lnTo>
                    <a:lnTo>
                      <a:pt x="865823" y="592360"/>
                    </a:lnTo>
                    <a:lnTo>
                      <a:pt x="873443" y="579120"/>
                    </a:lnTo>
                    <a:lnTo>
                      <a:pt x="880110" y="585788"/>
                    </a:lnTo>
                    <a:lnTo>
                      <a:pt x="890588" y="596265"/>
                    </a:lnTo>
                    <a:lnTo>
                      <a:pt x="897255" y="589502"/>
                    </a:lnTo>
                    <a:lnTo>
                      <a:pt x="890588" y="567690"/>
                    </a:lnTo>
                    <a:lnTo>
                      <a:pt x="897255" y="560927"/>
                    </a:lnTo>
                    <a:lnTo>
                      <a:pt x="911543" y="581977"/>
                    </a:lnTo>
                    <a:lnTo>
                      <a:pt x="919163" y="592360"/>
                    </a:lnTo>
                    <a:lnTo>
                      <a:pt x="932498" y="602933"/>
                    </a:lnTo>
                    <a:lnTo>
                      <a:pt x="950595" y="624840"/>
                    </a:lnTo>
                    <a:lnTo>
                      <a:pt x="954405" y="638175"/>
                    </a:lnTo>
                    <a:lnTo>
                      <a:pt x="971550" y="652463"/>
                    </a:lnTo>
                    <a:lnTo>
                      <a:pt x="1000125" y="677227"/>
                    </a:lnTo>
                    <a:lnTo>
                      <a:pt x="1002983" y="681038"/>
                    </a:lnTo>
                    <a:lnTo>
                      <a:pt x="1013460" y="691515"/>
                    </a:lnTo>
                    <a:lnTo>
                      <a:pt x="1024890" y="695325"/>
                    </a:lnTo>
                    <a:lnTo>
                      <a:pt x="1021080" y="712470"/>
                    </a:lnTo>
                    <a:lnTo>
                      <a:pt x="1013460" y="730472"/>
                    </a:lnTo>
                    <a:lnTo>
                      <a:pt x="1038225" y="722852"/>
                    </a:lnTo>
                    <a:lnTo>
                      <a:pt x="1045845" y="695325"/>
                    </a:lnTo>
                    <a:lnTo>
                      <a:pt x="1042035" y="681038"/>
                    </a:lnTo>
                    <a:lnTo>
                      <a:pt x="1017270" y="6667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8" name="Freeform: Shape 507">
                <a:extLst>
                  <a:ext uri="{FF2B5EF4-FFF2-40B4-BE49-F238E27FC236}">
                    <a16:creationId xmlns:a16="http://schemas.microsoft.com/office/drawing/2014/main" id="{D3FE6679-6F4F-FEA0-ABBB-42005810B420}"/>
                  </a:ext>
                </a:extLst>
              </p:cNvPr>
              <p:cNvSpPr/>
              <p:nvPr/>
            </p:nvSpPr>
            <p:spPr>
              <a:xfrm>
                <a:off x="2257087" y="2674406"/>
                <a:ext cx="31746" cy="14005"/>
              </a:xfrm>
              <a:custGeom>
                <a:avLst/>
                <a:gdLst>
                  <a:gd name="connsiteX0" fmla="*/ 14288 w 32384"/>
                  <a:gd name="connsiteY0" fmla="*/ 6668 h 14287"/>
                  <a:gd name="connsiteX1" fmla="*/ 0 w 32384"/>
                  <a:gd name="connsiteY1" fmla="*/ 14288 h 14287"/>
                  <a:gd name="connsiteX2" fmla="*/ 32385 w 32384"/>
                  <a:gd name="connsiteY2" fmla="*/ 0 h 14287"/>
                  <a:gd name="connsiteX3" fmla="*/ 14288 w 32384"/>
                  <a:gd name="connsiteY3" fmla="*/ 6668 h 142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2384" h="14287">
                    <a:moveTo>
                      <a:pt x="14288" y="6668"/>
                    </a:moveTo>
                    <a:lnTo>
                      <a:pt x="0" y="14288"/>
                    </a:lnTo>
                    <a:lnTo>
                      <a:pt x="32385" y="0"/>
                    </a:lnTo>
                    <a:lnTo>
                      <a:pt x="14288" y="666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09" name="Freeform: Shape 508">
                <a:extLst>
                  <a:ext uri="{FF2B5EF4-FFF2-40B4-BE49-F238E27FC236}">
                    <a16:creationId xmlns:a16="http://schemas.microsoft.com/office/drawing/2014/main" id="{14404668-F5FC-9926-60D1-F19B756F4F0F}"/>
                  </a:ext>
                </a:extLst>
              </p:cNvPr>
              <p:cNvSpPr/>
              <p:nvPr/>
            </p:nvSpPr>
            <p:spPr>
              <a:xfrm>
                <a:off x="2195461" y="2666936"/>
                <a:ext cx="41084" cy="34548"/>
              </a:xfrm>
              <a:custGeom>
                <a:avLst/>
                <a:gdLst>
                  <a:gd name="connsiteX0" fmla="*/ 41910 w 41910"/>
                  <a:gd name="connsiteY0" fmla="*/ 35242 h 35242"/>
                  <a:gd name="connsiteX1" fmla="*/ 27623 w 41910"/>
                  <a:gd name="connsiteY1" fmla="*/ 21907 h 35242"/>
                  <a:gd name="connsiteX2" fmla="*/ 0 w 41910"/>
                  <a:gd name="connsiteY2" fmla="*/ 0 h 35242"/>
                  <a:gd name="connsiteX3" fmla="*/ 20955 w 41910"/>
                  <a:gd name="connsiteY3" fmla="*/ 18002 h 35242"/>
                  <a:gd name="connsiteX4" fmla="*/ 41910 w 41910"/>
                  <a:gd name="connsiteY4" fmla="*/ 35242 h 352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910" h="35242">
                    <a:moveTo>
                      <a:pt x="41910" y="35242"/>
                    </a:moveTo>
                    <a:lnTo>
                      <a:pt x="27623" y="21907"/>
                    </a:lnTo>
                    <a:lnTo>
                      <a:pt x="0" y="0"/>
                    </a:lnTo>
                    <a:lnTo>
                      <a:pt x="20955" y="18002"/>
                    </a:lnTo>
                    <a:lnTo>
                      <a:pt x="41910" y="35242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0" name="Freeform: Shape 509">
                <a:extLst>
                  <a:ext uri="{FF2B5EF4-FFF2-40B4-BE49-F238E27FC236}">
                    <a16:creationId xmlns:a16="http://schemas.microsoft.com/office/drawing/2014/main" id="{C3D9881D-24FD-60C1-D1F1-B47D9F848A9B}"/>
                  </a:ext>
                </a:extLst>
              </p:cNvPr>
              <p:cNvSpPr/>
              <p:nvPr/>
            </p:nvSpPr>
            <p:spPr>
              <a:xfrm>
                <a:off x="2154377" y="2650129"/>
                <a:ext cx="27078" cy="10271"/>
              </a:xfrm>
              <a:custGeom>
                <a:avLst/>
                <a:gdLst>
                  <a:gd name="connsiteX0" fmla="*/ 13335 w 27622"/>
                  <a:gd name="connsiteY0" fmla="*/ 3715 h 10477"/>
                  <a:gd name="connsiteX1" fmla="*/ 0 w 27622"/>
                  <a:gd name="connsiteY1" fmla="*/ 10477 h 10477"/>
                  <a:gd name="connsiteX2" fmla="*/ 27622 w 27622"/>
                  <a:gd name="connsiteY2" fmla="*/ 0 h 10477"/>
                  <a:gd name="connsiteX3" fmla="*/ 13335 w 27622"/>
                  <a:gd name="connsiteY3" fmla="*/ 3715 h 10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7622" h="10477">
                    <a:moveTo>
                      <a:pt x="13335" y="3715"/>
                    </a:moveTo>
                    <a:lnTo>
                      <a:pt x="0" y="10477"/>
                    </a:lnTo>
                    <a:lnTo>
                      <a:pt x="27622" y="0"/>
                    </a:lnTo>
                    <a:lnTo>
                      <a:pt x="13335" y="3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1" name="Freeform: Shape 510">
                <a:extLst>
                  <a:ext uri="{FF2B5EF4-FFF2-40B4-BE49-F238E27FC236}">
                    <a16:creationId xmlns:a16="http://schemas.microsoft.com/office/drawing/2014/main" id="{28FED5C0-25E0-B796-64AC-65DB29BFF941}"/>
                  </a:ext>
                </a:extLst>
              </p:cNvPr>
              <p:cNvSpPr/>
              <p:nvPr/>
            </p:nvSpPr>
            <p:spPr>
              <a:xfrm>
                <a:off x="2309376" y="2694948"/>
                <a:ext cx="61625" cy="79367"/>
              </a:xfrm>
              <a:custGeom>
                <a:avLst/>
                <a:gdLst>
                  <a:gd name="connsiteX0" fmla="*/ 45720 w 62864"/>
                  <a:gd name="connsiteY0" fmla="*/ 49530 h 80962"/>
                  <a:gd name="connsiteX1" fmla="*/ 62865 w 62864"/>
                  <a:gd name="connsiteY1" fmla="*/ 80963 h 80962"/>
                  <a:gd name="connsiteX2" fmla="*/ 45720 w 62864"/>
                  <a:gd name="connsiteY2" fmla="*/ 45720 h 80962"/>
                  <a:gd name="connsiteX3" fmla="*/ 17145 w 62864"/>
                  <a:gd name="connsiteY3" fmla="*/ 17145 h 80962"/>
                  <a:gd name="connsiteX4" fmla="*/ 0 w 62864"/>
                  <a:gd name="connsiteY4" fmla="*/ 0 h 80962"/>
                  <a:gd name="connsiteX5" fmla="*/ 31432 w 62864"/>
                  <a:gd name="connsiteY5" fmla="*/ 35242 h 80962"/>
                  <a:gd name="connsiteX6" fmla="*/ 45720 w 62864"/>
                  <a:gd name="connsiteY6" fmla="*/ 49530 h 80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864" h="80962">
                    <a:moveTo>
                      <a:pt x="45720" y="49530"/>
                    </a:moveTo>
                    <a:lnTo>
                      <a:pt x="62865" y="80963"/>
                    </a:lnTo>
                    <a:lnTo>
                      <a:pt x="45720" y="45720"/>
                    </a:lnTo>
                    <a:lnTo>
                      <a:pt x="17145" y="17145"/>
                    </a:lnTo>
                    <a:lnTo>
                      <a:pt x="0" y="0"/>
                    </a:lnTo>
                    <a:lnTo>
                      <a:pt x="31432" y="35242"/>
                    </a:lnTo>
                    <a:lnTo>
                      <a:pt x="45720" y="4953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2" name="Freeform: Shape 511">
                <a:extLst>
                  <a:ext uri="{FF2B5EF4-FFF2-40B4-BE49-F238E27FC236}">
                    <a16:creationId xmlns:a16="http://schemas.microsoft.com/office/drawing/2014/main" id="{7DA9ABBD-00FA-1681-CC86-3C424C98B053}"/>
                  </a:ext>
                </a:extLst>
              </p:cNvPr>
              <p:cNvSpPr/>
              <p:nvPr/>
            </p:nvSpPr>
            <p:spPr>
              <a:xfrm>
                <a:off x="9515860" y="4959155"/>
                <a:ext cx="20542" cy="3828"/>
              </a:xfrm>
              <a:custGeom>
                <a:avLst/>
                <a:gdLst>
                  <a:gd name="connsiteX0" fmla="*/ 20955 w 20955"/>
                  <a:gd name="connsiteY0" fmla="*/ 0 h 3905"/>
                  <a:gd name="connsiteX1" fmla="*/ 0 w 20955"/>
                  <a:gd name="connsiteY1" fmla="*/ 3905 h 3905"/>
                  <a:gd name="connsiteX2" fmla="*/ 0 w 20955"/>
                  <a:gd name="connsiteY2" fmla="*/ 3905 h 3905"/>
                  <a:gd name="connsiteX3" fmla="*/ 20955 w 20955"/>
                  <a:gd name="connsiteY3" fmla="*/ 0 h 39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" h="3905">
                    <a:moveTo>
                      <a:pt x="20955" y="0"/>
                    </a:moveTo>
                    <a:lnTo>
                      <a:pt x="0" y="3905"/>
                    </a:lnTo>
                    <a:lnTo>
                      <a:pt x="0" y="3905"/>
                    </a:lnTo>
                    <a:lnTo>
                      <a:pt x="2095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3" name="Freeform: Shape 512">
                <a:extLst>
                  <a:ext uri="{FF2B5EF4-FFF2-40B4-BE49-F238E27FC236}">
                    <a16:creationId xmlns:a16="http://schemas.microsoft.com/office/drawing/2014/main" id="{DCE4C0EE-E52D-2A6D-60B5-35B9A676E31B}"/>
                  </a:ext>
                </a:extLst>
              </p:cNvPr>
              <p:cNvSpPr/>
              <p:nvPr/>
            </p:nvSpPr>
            <p:spPr>
              <a:xfrm>
                <a:off x="9844531" y="4993797"/>
                <a:ext cx="30812" cy="48554"/>
              </a:xfrm>
              <a:custGeom>
                <a:avLst/>
                <a:gdLst>
                  <a:gd name="connsiteX0" fmla="*/ 31432 w 31432"/>
                  <a:gd name="connsiteY0" fmla="*/ 0 h 49530"/>
                  <a:gd name="connsiteX1" fmla="*/ 17145 w 31432"/>
                  <a:gd name="connsiteY1" fmla="*/ 27527 h 49530"/>
                  <a:gd name="connsiteX2" fmla="*/ 0 w 31432"/>
                  <a:gd name="connsiteY2" fmla="*/ 49530 h 49530"/>
                  <a:gd name="connsiteX3" fmla="*/ 17145 w 31432"/>
                  <a:gd name="connsiteY3" fmla="*/ 27527 h 49530"/>
                  <a:gd name="connsiteX4" fmla="*/ 31432 w 31432"/>
                  <a:gd name="connsiteY4" fmla="*/ 0 h 4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432" h="49530">
                    <a:moveTo>
                      <a:pt x="31432" y="0"/>
                    </a:moveTo>
                    <a:lnTo>
                      <a:pt x="17145" y="27527"/>
                    </a:lnTo>
                    <a:lnTo>
                      <a:pt x="0" y="49530"/>
                    </a:lnTo>
                    <a:lnTo>
                      <a:pt x="17145" y="27527"/>
                    </a:lnTo>
                    <a:lnTo>
                      <a:pt x="31432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4" name="Freeform: Shape 513">
                <a:extLst>
                  <a:ext uri="{FF2B5EF4-FFF2-40B4-BE49-F238E27FC236}">
                    <a16:creationId xmlns:a16="http://schemas.microsoft.com/office/drawing/2014/main" id="{FF8C465A-4100-E900-DC53-A2CDC3E8EE04}"/>
                  </a:ext>
                </a:extLst>
              </p:cNvPr>
              <p:cNvSpPr/>
              <p:nvPr/>
            </p:nvSpPr>
            <p:spPr>
              <a:xfrm>
                <a:off x="9450500" y="4931143"/>
                <a:ext cx="28012" cy="20542"/>
              </a:xfrm>
              <a:custGeom>
                <a:avLst/>
                <a:gdLst>
                  <a:gd name="connsiteX0" fmla="*/ 28575 w 28575"/>
                  <a:gd name="connsiteY0" fmla="*/ 0 h 20955"/>
                  <a:gd name="connsiteX1" fmla="*/ 0 w 28575"/>
                  <a:gd name="connsiteY1" fmla="*/ 20955 h 20955"/>
                  <a:gd name="connsiteX2" fmla="*/ 28575 w 28575"/>
                  <a:gd name="connsiteY2" fmla="*/ 0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575" h="20955">
                    <a:moveTo>
                      <a:pt x="28575" y="0"/>
                    </a:moveTo>
                    <a:lnTo>
                      <a:pt x="0" y="20955"/>
                    </a:lnTo>
                    <a:lnTo>
                      <a:pt x="2857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5" name="Freeform: Shape 514">
                <a:extLst>
                  <a:ext uri="{FF2B5EF4-FFF2-40B4-BE49-F238E27FC236}">
                    <a16:creationId xmlns:a16="http://schemas.microsoft.com/office/drawing/2014/main" id="{256C1AC7-85B6-11A0-FBB6-C00F734CCD94}"/>
                  </a:ext>
                </a:extLst>
              </p:cNvPr>
              <p:cNvSpPr/>
              <p:nvPr/>
            </p:nvSpPr>
            <p:spPr>
              <a:xfrm>
                <a:off x="9584956" y="4882683"/>
                <a:ext cx="7469" cy="7470"/>
              </a:xfrm>
              <a:custGeom>
                <a:avLst/>
                <a:gdLst>
                  <a:gd name="connsiteX0" fmla="*/ 7620 w 7619"/>
                  <a:gd name="connsiteY0" fmla="*/ 0 h 7620"/>
                  <a:gd name="connsiteX1" fmla="*/ 0 w 7619"/>
                  <a:gd name="connsiteY1" fmla="*/ 7620 h 7620"/>
                  <a:gd name="connsiteX2" fmla="*/ 7620 w 7619"/>
                  <a:gd name="connsiteY2" fmla="*/ 0 h 76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19" h="7620">
                    <a:moveTo>
                      <a:pt x="7620" y="0"/>
                    </a:moveTo>
                    <a:lnTo>
                      <a:pt x="0" y="7620"/>
                    </a:lnTo>
                    <a:lnTo>
                      <a:pt x="762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6" name="Freeform: Shape 515">
                <a:extLst>
                  <a:ext uri="{FF2B5EF4-FFF2-40B4-BE49-F238E27FC236}">
                    <a16:creationId xmlns:a16="http://schemas.microsoft.com/office/drawing/2014/main" id="{8A3B6796-58D4-DC5A-CB89-5B0C9AE2D482}"/>
                  </a:ext>
                </a:extLst>
              </p:cNvPr>
              <p:cNvSpPr/>
              <p:nvPr/>
            </p:nvSpPr>
            <p:spPr>
              <a:xfrm>
                <a:off x="9119027" y="5159908"/>
                <a:ext cx="3735" cy="13071"/>
              </a:xfrm>
              <a:custGeom>
                <a:avLst/>
                <a:gdLst>
                  <a:gd name="connsiteX0" fmla="*/ 3810 w 3810"/>
                  <a:gd name="connsiteY0" fmla="*/ 0 h 13334"/>
                  <a:gd name="connsiteX1" fmla="*/ 0 w 3810"/>
                  <a:gd name="connsiteY1" fmla="*/ 13335 h 13334"/>
                  <a:gd name="connsiteX2" fmla="*/ 3810 w 3810"/>
                  <a:gd name="connsiteY2" fmla="*/ 0 h 133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810" h="13334">
                    <a:moveTo>
                      <a:pt x="3810" y="0"/>
                    </a:moveTo>
                    <a:lnTo>
                      <a:pt x="0" y="13335"/>
                    </a:lnTo>
                    <a:lnTo>
                      <a:pt x="381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7" name="Freeform: Shape 516">
                <a:extLst>
                  <a:ext uri="{FF2B5EF4-FFF2-40B4-BE49-F238E27FC236}">
                    <a16:creationId xmlns:a16="http://schemas.microsoft.com/office/drawing/2014/main" id="{9BDB13F8-A151-6C1E-BA33-69FD142EAFFF}"/>
                  </a:ext>
                </a:extLst>
              </p:cNvPr>
              <p:cNvSpPr/>
              <p:nvPr/>
            </p:nvSpPr>
            <p:spPr>
              <a:xfrm>
                <a:off x="9612968" y="5453193"/>
                <a:ext cx="71896" cy="38189"/>
              </a:xfrm>
              <a:custGeom>
                <a:avLst/>
                <a:gdLst>
                  <a:gd name="connsiteX0" fmla="*/ 52388 w 73342"/>
                  <a:gd name="connsiteY0" fmla="*/ 14288 h 38957"/>
                  <a:gd name="connsiteX1" fmla="*/ 0 w 73342"/>
                  <a:gd name="connsiteY1" fmla="*/ 0 h 38957"/>
                  <a:gd name="connsiteX2" fmla="*/ 52388 w 73342"/>
                  <a:gd name="connsiteY2" fmla="*/ 14288 h 38957"/>
                  <a:gd name="connsiteX3" fmla="*/ 62865 w 73342"/>
                  <a:gd name="connsiteY3" fmla="*/ 24670 h 38957"/>
                  <a:gd name="connsiteX4" fmla="*/ 73342 w 73342"/>
                  <a:gd name="connsiteY4" fmla="*/ 38957 h 38957"/>
                  <a:gd name="connsiteX5" fmla="*/ 62865 w 73342"/>
                  <a:gd name="connsiteY5" fmla="*/ 24670 h 38957"/>
                  <a:gd name="connsiteX6" fmla="*/ 52388 w 73342"/>
                  <a:gd name="connsiteY6" fmla="*/ 14288 h 38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342" h="38957">
                    <a:moveTo>
                      <a:pt x="52388" y="14288"/>
                    </a:moveTo>
                    <a:lnTo>
                      <a:pt x="0" y="0"/>
                    </a:lnTo>
                    <a:lnTo>
                      <a:pt x="52388" y="14288"/>
                    </a:lnTo>
                    <a:lnTo>
                      <a:pt x="62865" y="24670"/>
                    </a:lnTo>
                    <a:lnTo>
                      <a:pt x="73342" y="38957"/>
                    </a:lnTo>
                    <a:lnTo>
                      <a:pt x="62865" y="24670"/>
                    </a:lnTo>
                    <a:lnTo>
                      <a:pt x="52388" y="1428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8" name="Freeform: Shape 517">
                <a:extLst>
                  <a:ext uri="{FF2B5EF4-FFF2-40B4-BE49-F238E27FC236}">
                    <a16:creationId xmlns:a16="http://schemas.microsoft.com/office/drawing/2014/main" id="{10010A8B-EEAE-DAF7-D977-92C84B844CFD}"/>
                  </a:ext>
                </a:extLst>
              </p:cNvPr>
              <p:cNvSpPr/>
              <p:nvPr/>
            </p:nvSpPr>
            <p:spPr>
              <a:xfrm>
                <a:off x="9204931" y="5101176"/>
                <a:ext cx="83101" cy="20542"/>
              </a:xfrm>
              <a:custGeom>
                <a:avLst/>
                <a:gdLst>
                  <a:gd name="connsiteX0" fmla="*/ 84772 w 84772"/>
                  <a:gd name="connsiteY0" fmla="*/ 0 h 20955"/>
                  <a:gd name="connsiteX1" fmla="*/ 42863 w 84772"/>
                  <a:gd name="connsiteY1" fmla="*/ 13240 h 20955"/>
                  <a:gd name="connsiteX2" fmla="*/ 0 w 84772"/>
                  <a:gd name="connsiteY2" fmla="*/ 20955 h 20955"/>
                  <a:gd name="connsiteX3" fmla="*/ 42863 w 84772"/>
                  <a:gd name="connsiteY3" fmla="*/ 13240 h 20955"/>
                  <a:gd name="connsiteX4" fmla="*/ 84772 w 84772"/>
                  <a:gd name="connsiteY4" fmla="*/ 0 h 209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772" h="20955">
                    <a:moveTo>
                      <a:pt x="84772" y="0"/>
                    </a:moveTo>
                    <a:lnTo>
                      <a:pt x="42863" y="13240"/>
                    </a:lnTo>
                    <a:lnTo>
                      <a:pt x="0" y="20955"/>
                    </a:lnTo>
                    <a:lnTo>
                      <a:pt x="42863" y="13240"/>
                    </a:lnTo>
                    <a:lnTo>
                      <a:pt x="84772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19" name="Freeform: Shape 518">
                <a:extLst>
                  <a:ext uri="{FF2B5EF4-FFF2-40B4-BE49-F238E27FC236}">
                    <a16:creationId xmlns:a16="http://schemas.microsoft.com/office/drawing/2014/main" id="{C33703E3-A9BA-6237-1E23-ABF152E1EB69}"/>
                  </a:ext>
                </a:extLst>
              </p:cNvPr>
              <p:cNvSpPr/>
              <p:nvPr/>
            </p:nvSpPr>
            <p:spPr>
              <a:xfrm>
                <a:off x="9098485" y="4848041"/>
                <a:ext cx="1104595" cy="822711"/>
              </a:xfrm>
              <a:custGeom>
                <a:avLst/>
                <a:gdLst>
                  <a:gd name="connsiteX0" fmla="*/ 1122998 w 1126807"/>
                  <a:gd name="connsiteY0" fmla="*/ 497300 h 839247"/>
                  <a:gd name="connsiteX1" fmla="*/ 1120140 w 1126807"/>
                  <a:gd name="connsiteY1" fmla="*/ 476250 h 839247"/>
                  <a:gd name="connsiteX2" fmla="*/ 1116330 w 1126807"/>
                  <a:gd name="connsiteY2" fmla="*/ 448723 h 839247"/>
                  <a:gd name="connsiteX3" fmla="*/ 1109663 w 1126807"/>
                  <a:gd name="connsiteY3" fmla="*/ 426815 h 839247"/>
                  <a:gd name="connsiteX4" fmla="*/ 1098232 w 1126807"/>
                  <a:gd name="connsiteY4" fmla="*/ 402050 h 839247"/>
                  <a:gd name="connsiteX5" fmla="*/ 1077278 w 1126807"/>
                  <a:gd name="connsiteY5" fmla="*/ 378238 h 839247"/>
                  <a:gd name="connsiteX6" fmla="*/ 1052513 w 1126807"/>
                  <a:gd name="connsiteY6" fmla="*/ 360140 h 839247"/>
                  <a:gd name="connsiteX7" fmla="*/ 1045845 w 1126807"/>
                  <a:gd name="connsiteY7" fmla="*/ 331565 h 839247"/>
                  <a:gd name="connsiteX8" fmla="*/ 1024890 w 1126807"/>
                  <a:gd name="connsiteY8" fmla="*/ 331565 h 839247"/>
                  <a:gd name="connsiteX9" fmla="*/ 1017270 w 1126807"/>
                  <a:gd name="connsiteY9" fmla="*/ 321088 h 839247"/>
                  <a:gd name="connsiteX10" fmla="*/ 1017270 w 1126807"/>
                  <a:gd name="connsiteY10" fmla="*/ 303847 h 839247"/>
                  <a:gd name="connsiteX11" fmla="*/ 1000125 w 1126807"/>
                  <a:gd name="connsiteY11" fmla="*/ 285750 h 839247"/>
                  <a:gd name="connsiteX12" fmla="*/ 982028 w 1126807"/>
                  <a:gd name="connsiteY12" fmla="*/ 260985 h 839247"/>
                  <a:gd name="connsiteX13" fmla="*/ 958215 w 1126807"/>
                  <a:gd name="connsiteY13" fmla="*/ 243935 h 839247"/>
                  <a:gd name="connsiteX14" fmla="*/ 936307 w 1126807"/>
                  <a:gd name="connsiteY14" fmla="*/ 236315 h 839247"/>
                  <a:gd name="connsiteX15" fmla="*/ 925830 w 1126807"/>
                  <a:gd name="connsiteY15" fmla="*/ 219075 h 839247"/>
                  <a:gd name="connsiteX16" fmla="*/ 925830 w 1126807"/>
                  <a:gd name="connsiteY16" fmla="*/ 198215 h 839247"/>
                  <a:gd name="connsiteX17" fmla="*/ 919163 w 1126807"/>
                  <a:gd name="connsiteY17" fmla="*/ 180022 h 839247"/>
                  <a:gd name="connsiteX18" fmla="*/ 901065 w 1126807"/>
                  <a:gd name="connsiteY18" fmla="*/ 169640 h 839247"/>
                  <a:gd name="connsiteX19" fmla="*/ 901065 w 1126807"/>
                  <a:gd name="connsiteY19" fmla="*/ 144875 h 839247"/>
                  <a:gd name="connsiteX20" fmla="*/ 898207 w 1126807"/>
                  <a:gd name="connsiteY20" fmla="*/ 127635 h 839247"/>
                  <a:gd name="connsiteX21" fmla="*/ 890588 w 1126807"/>
                  <a:gd name="connsiteY21" fmla="*/ 109538 h 839247"/>
                  <a:gd name="connsiteX22" fmla="*/ 869632 w 1126807"/>
                  <a:gd name="connsiteY22" fmla="*/ 102965 h 839247"/>
                  <a:gd name="connsiteX23" fmla="*/ 852488 w 1126807"/>
                  <a:gd name="connsiteY23" fmla="*/ 95250 h 839247"/>
                  <a:gd name="connsiteX24" fmla="*/ 848678 w 1126807"/>
                  <a:gd name="connsiteY24" fmla="*/ 57150 h 839247"/>
                  <a:gd name="connsiteX25" fmla="*/ 842010 w 1126807"/>
                  <a:gd name="connsiteY25" fmla="*/ 35338 h 839247"/>
                  <a:gd name="connsiteX26" fmla="*/ 827723 w 1126807"/>
                  <a:gd name="connsiteY26" fmla="*/ 10573 h 839247"/>
                  <a:gd name="connsiteX27" fmla="*/ 817245 w 1126807"/>
                  <a:gd name="connsiteY27" fmla="*/ 0 h 839247"/>
                  <a:gd name="connsiteX28" fmla="*/ 809625 w 1126807"/>
                  <a:gd name="connsiteY28" fmla="*/ 18097 h 839247"/>
                  <a:gd name="connsiteX29" fmla="*/ 802957 w 1126807"/>
                  <a:gd name="connsiteY29" fmla="*/ 39148 h 839247"/>
                  <a:gd name="connsiteX30" fmla="*/ 792480 w 1126807"/>
                  <a:gd name="connsiteY30" fmla="*/ 70485 h 839247"/>
                  <a:gd name="connsiteX31" fmla="*/ 795338 w 1126807"/>
                  <a:gd name="connsiteY31" fmla="*/ 117253 h 839247"/>
                  <a:gd name="connsiteX32" fmla="*/ 792480 w 1126807"/>
                  <a:gd name="connsiteY32" fmla="*/ 148685 h 839247"/>
                  <a:gd name="connsiteX33" fmla="*/ 778193 w 1126807"/>
                  <a:gd name="connsiteY33" fmla="*/ 176213 h 839247"/>
                  <a:gd name="connsiteX34" fmla="*/ 761048 w 1126807"/>
                  <a:gd name="connsiteY34" fmla="*/ 198215 h 839247"/>
                  <a:gd name="connsiteX35" fmla="*/ 732473 w 1126807"/>
                  <a:gd name="connsiteY35" fmla="*/ 180022 h 839247"/>
                  <a:gd name="connsiteX36" fmla="*/ 711518 w 1126807"/>
                  <a:gd name="connsiteY36" fmla="*/ 169640 h 839247"/>
                  <a:gd name="connsiteX37" fmla="*/ 682943 w 1126807"/>
                  <a:gd name="connsiteY37" fmla="*/ 148685 h 839247"/>
                  <a:gd name="connsiteX38" fmla="*/ 655320 w 1126807"/>
                  <a:gd name="connsiteY38" fmla="*/ 138113 h 839247"/>
                  <a:gd name="connsiteX39" fmla="*/ 630555 w 1126807"/>
                  <a:gd name="connsiteY39" fmla="*/ 120110 h 839247"/>
                  <a:gd name="connsiteX40" fmla="*/ 620078 w 1126807"/>
                  <a:gd name="connsiteY40" fmla="*/ 109538 h 839247"/>
                  <a:gd name="connsiteX41" fmla="*/ 620078 w 1126807"/>
                  <a:gd name="connsiteY41" fmla="*/ 95250 h 839247"/>
                  <a:gd name="connsiteX42" fmla="*/ 633413 w 1126807"/>
                  <a:gd name="connsiteY42" fmla="*/ 84772 h 839247"/>
                  <a:gd name="connsiteX43" fmla="*/ 643890 w 1126807"/>
                  <a:gd name="connsiteY43" fmla="*/ 70485 h 839247"/>
                  <a:gd name="connsiteX44" fmla="*/ 655320 w 1126807"/>
                  <a:gd name="connsiteY44" fmla="*/ 53435 h 839247"/>
                  <a:gd name="connsiteX45" fmla="*/ 668655 w 1126807"/>
                  <a:gd name="connsiteY45" fmla="*/ 39148 h 839247"/>
                  <a:gd name="connsiteX46" fmla="*/ 655320 w 1126807"/>
                  <a:gd name="connsiteY46" fmla="*/ 32385 h 839247"/>
                  <a:gd name="connsiteX47" fmla="*/ 637223 w 1126807"/>
                  <a:gd name="connsiteY47" fmla="*/ 39148 h 839247"/>
                  <a:gd name="connsiteX48" fmla="*/ 622935 w 1126807"/>
                  <a:gd name="connsiteY48" fmla="*/ 39148 h 839247"/>
                  <a:gd name="connsiteX49" fmla="*/ 612457 w 1126807"/>
                  <a:gd name="connsiteY49" fmla="*/ 35338 h 839247"/>
                  <a:gd name="connsiteX50" fmla="*/ 598170 w 1126807"/>
                  <a:gd name="connsiteY50" fmla="*/ 32385 h 839247"/>
                  <a:gd name="connsiteX51" fmla="*/ 581025 w 1126807"/>
                  <a:gd name="connsiteY51" fmla="*/ 24860 h 839247"/>
                  <a:gd name="connsiteX52" fmla="*/ 566738 w 1126807"/>
                  <a:gd name="connsiteY52" fmla="*/ 18097 h 839247"/>
                  <a:gd name="connsiteX53" fmla="*/ 541973 w 1126807"/>
                  <a:gd name="connsiteY53" fmla="*/ 7715 h 839247"/>
                  <a:gd name="connsiteX54" fmla="*/ 531495 w 1126807"/>
                  <a:gd name="connsiteY54" fmla="*/ 10573 h 839247"/>
                  <a:gd name="connsiteX55" fmla="*/ 545782 w 1126807"/>
                  <a:gd name="connsiteY55" fmla="*/ 22003 h 839247"/>
                  <a:gd name="connsiteX56" fmla="*/ 541973 w 1126807"/>
                  <a:gd name="connsiteY56" fmla="*/ 32385 h 839247"/>
                  <a:gd name="connsiteX57" fmla="*/ 521018 w 1126807"/>
                  <a:gd name="connsiteY57" fmla="*/ 39148 h 839247"/>
                  <a:gd name="connsiteX58" fmla="*/ 503873 w 1126807"/>
                  <a:gd name="connsiteY58" fmla="*/ 35338 h 839247"/>
                  <a:gd name="connsiteX59" fmla="*/ 496253 w 1126807"/>
                  <a:gd name="connsiteY59" fmla="*/ 42863 h 839247"/>
                  <a:gd name="connsiteX60" fmla="*/ 481965 w 1126807"/>
                  <a:gd name="connsiteY60" fmla="*/ 49625 h 839247"/>
                  <a:gd name="connsiteX61" fmla="*/ 471488 w 1126807"/>
                  <a:gd name="connsiteY61" fmla="*/ 70485 h 839247"/>
                  <a:gd name="connsiteX62" fmla="*/ 450532 w 1126807"/>
                  <a:gd name="connsiteY62" fmla="*/ 92488 h 839247"/>
                  <a:gd name="connsiteX63" fmla="*/ 461010 w 1126807"/>
                  <a:gd name="connsiteY63" fmla="*/ 109538 h 839247"/>
                  <a:gd name="connsiteX64" fmla="*/ 446723 w 1126807"/>
                  <a:gd name="connsiteY64" fmla="*/ 113347 h 839247"/>
                  <a:gd name="connsiteX65" fmla="*/ 425768 w 1126807"/>
                  <a:gd name="connsiteY65" fmla="*/ 117253 h 839247"/>
                  <a:gd name="connsiteX66" fmla="*/ 425768 w 1126807"/>
                  <a:gd name="connsiteY66" fmla="*/ 117253 h 839247"/>
                  <a:gd name="connsiteX67" fmla="*/ 425768 w 1126807"/>
                  <a:gd name="connsiteY67" fmla="*/ 117253 h 839247"/>
                  <a:gd name="connsiteX68" fmla="*/ 415290 w 1126807"/>
                  <a:gd name="connsiteY68" fmla="*/ 105823 h 839247"/>
                  <a:gd name="connsiteX69" fmla="*/ 404813 w 1126807"/>
                  <a:gd name="connsiteY69" fmla="*/ 95250 h 839247"/>
                  <a:gd name="connsiteX70" fmla="*/ 387668 w 1126807"/>
                  <a:gd name="connsiteY70" fmla="*/ 84772 h 839247"/>
                  <a:gd name="connsiteX71" fmla="*/ 359093 w 1126807"/>
                  <a:gd name="connsiteY71" fmla="*/ 105823 h 839247"/>
                  <a:gd name="connsiteX72" fmla="*/ 348615 w 1126807"/>
                  <a:gd name="connsiteY72" fmla="*/ 105823 h 839247"/>
                  <a:gd name="connsiteX73" fmla="*/ 338138 w 1126807"/>
                  <a:gd name="connsiteY73" fmla="*/ 117253 h 839247"/>
                  <a:gd name="connsiteX74" fmla="*/ 320040 w 1126807"/>
                  <a:gd name="connsiteY74" fmla="*/ 127635 h 839247"/>
                  <a:gd name="connsiteX75" fmla="*/ 317182 w 1126807"/>
                  <a:gd name="connsiteY75" fmla="*/ 148685 h 839247"/>
                  <a:gd name="connsiteX76" fmla="*/ 309563 w 1126807"/>
                  <a:gd name="connsiteY76" fmla="*/ 155353 h 839247"/>
                  <a:gd name="connsiteX77" fmla="*/ 295275 w 1126807"/>
                  <a:gd name="connsiteY77" fmla="*/ 148685 h 839247"/>
                  <a:gd name="connsiteX78" fmla="*/ 295275 w 1126807"/>
                  <a:gd name="connsiteY78" fmla="*/ 169640 h 839247"/>
                  <a:gd name="connsiteX79" fmla="*/ 288607 w 1126807"/>
                  <a:gd name="connsiteY79" fmla="*/ 180022 h 839247"/>
                  <a:gd name="connsiteX80" fmla="*/ 281940 w 1126807"/>
                  <a:gd name="connsiteY80" fmla="*/ 173450 h 839247"/>
                  <a:gd name="connsiteX81" fmla="*/ 274320 w 1126807"/>
                  <a:gd name="connsiteY81" fmla="*/ 162973 h 839247"/>
                  <a:gd name="connsiteX82" fmla="*/ 257175 w 1126807"/>
                  <a:gd name="connsiteY82" fmla="*/ 173450 h 839247"/>
                  <a:gd name="connsiteX83" fmla="*/ 249555 w 1126807"/>
                  <a:gd name="connsiteY83" fmla="*/ 187738 h 839247"/>
                  <a:gd name="connsiteX84" fmla="*/ 253365 w 1126807"/>
                  <a:gd name="connsiteY84" fmla="*/ 208597 h 839247"/>
                  <a:gd name="connsiteX85" fmla="*/ 214313 w 1126807"/>
                  <a:gd name="connsiteY85" fmla="*/ 254413 h 839247"/>
                  <a:gd name="connsiteX86" fmla="*/ 193357 w 1126807"/>
                  <a:gd name="connsiteY86" fmla="*/ 258223 h 839247"/>
                  <a:gd name="connsiteX87" fmla="*/ 151448 w 1126807"/>
                  <a:gd name="connsiteY87" fmla="*/ 271463 h 839247"/>
                  <a:gd name="connsiteX88" fmla="*/ 108585 w 1126807"/>
                  <a:gd name="connsiteY88" fmla="*/ 279178 h 839247"/>
                  <a:gd name="connsiteX89" fmla="*/ 84773 w 1126807"/>
                  <a:gd name="connsiteY89" fmla="*/ 285750 h 839247"/>
                  <a:gd name="connsiteX90" fmla="*/ 60007 w 1126807"/>
                  <a:gd name="connsiteY90" fmla="*/ 314325 h 839247"/>
                  <a:gd name="connsiteX91" fmla="*/ 41910 w 1126807"/>
                  <a:gd name="connsiteY91" fmla="*/ 314325 h 839247"/>
                  <a:gd name="connsiteX92" fmla="*/ 35243 w 1126807"/>
                  <a:gd name="connsiteY92" fmla="*/ 328613 h 839247"/>
                  <a:gd name="connsiteX93" fmla="*/ 24765 w 1126807"/>
                  <a:gd name="connsiteY93" fmla="*/ 318135 h 839247"/>
                  <a:gd name="connsiteX94" fmla="*/ 20955 w 1126807"/>
                  <a:gd name="connsiteY94" fmla="*/ 331565 h 839247"/>
                  <a:gd name="connsiteX95" fmla="*/ 10478 w 1126807"/>
                  <a:gd name="connsiteY95" fmla="*/ 360140 h 839247"/>
                  <a:gd name="connsiteX96" fmla="*/ 10478 w 1126807"/>
                  <a:gd name="connsiteY96" fmla="*/ 384810 h 839247"/>
                  <a:gd name="connsiteX97" fmla="*/ 20955 w 1126807"/>
                  <a:gd name="connsiteY97" fmla="*/ 420148 h 839247"/>
                  <a:gd name="connsiteX98" fmla="*/ 35243 w 1126807"/>
                  <a:gd name="connsiteY98" fmla="*/ 430625 h 839247"/>
                  <a:gd name="connsiteX99" fmla="*/ 31432 w 1126807"/>
                  <a:gd name="connsiteY99" fmla="*/ 448723 h 839247"/>
                  <a:gd name="connsiteX100" fmla="*/ 17145 w 1126807"/>
                  <a:gd name="connsiteY100" fmla="*/ 448723 h 839247"/>
                  <a:gd name="connsiteX101" fmla="*/ 10478 w 1126807"/>
                  <a:gd name="connsiteY101" fmla="*/ 437197 h 839247"/>
                  <a:gd name="connsiteX102" fmla="*/ 0 w 1126807"/>
                  <a:gd name="connsiteY102" fmla="*/ 434435 h 839247"/>
                  <a:gd name="connsiteX103" fmla="*/ 6668 w 1126807"/>
                  <a:gd name="connsiteY103" fmla="*/ 448723 h 839247"/>
                  <a:gd name="connsiteX104" fmla="*/ 17145 w 1126807"/>
                  <a:gd name="connsiteY104" fmla="*/ 465772 h 839247"/>
                  <a:gd name="connsiteX105" fmla="*/ 31432 w 1126807"/>
                  <a:gd name="connsiteY105" fmla="*/ 494347 h 839247"/>
                  <a:gd name="connsiteX106" fmla="*/ 52388 w 1126807"/>
                  <a:gd name="connsiteY106" fmla="*/ 546735 h 839247"/>
                  <a:gd name="connsiteX107" fmla="*/ 52388 w 1126807"/>
                  <a:gd name="connsiteY107" fmla="*/ 579215 h 839247"/>
                  <a:gd name="connsiteX108" fmla="*/ 70485 w 1126807"/>
                  <a:gd name="connsiteY108" fmla="*/ 603028 h 839247"/>
                  <a:gd name="connsiteX109" fmla="*/ 70485 w 1126807"/>
                  <a:gd name="connsiteY109" fmla="*/ 627697 h 839247"/>
                  <a:gd name="connsiteX110" fmla="*/ 70485 w 1126807"/>
                  <a:gd name="connsiteY110" fmla="*/ 666750 h 839247"/>
                  <a:gd name="connsiteX111" fmla="*/ 49530 w 1126807"/>
                  <a:gd name="connsiteY111" fmla="*/ 677323 h 839247"/>
                  <a:gd name="connsiteX112" fmla="*/ 52388 w 1126807"/>
                  <a:gd name="connsiteY112" fmla="*/ 695325 h 839247"/>
                  <a:gd name="connsiteX113" fmla="*/ 74295 w 1126807"/>
                  <a:gd name="connsiteY113" fmla="*/ 705898 h 839247"/>
                  <a:gd name="connsiteX114" fmla="*/ 95250 w 1126807"/>
                  <a:gd name="connsiteY114" fmla="*/ 720185 h 839247"/>
                  <a:gd name="connsiteX115" fmla="*/ 140970 w 1126807"/>
                  <a:gd name="connsiteY115" fmla="*/ 716375 h 839247"/>
                  <a:gd name="connsiteX116" fmla="*/ 158115 w 1126807"/>
                  <a:gd name="connsiteY116" fmla="*/ 695325 h 839247"/>
                  <a:gd name="connsiteX117" fmla="*/ 176213 w 1126807"/>
                  <a:gd name="connsiteY117" fmla="*/ 695325 h 839247"/>
                  <a:gd name="connsiteX118" fmla="*/ 190500 w 1126807"/>
                  <a:gd name="connsiteY118" fmla="*/ 681038 h 839247"/>
                  <a:gd name="connsiteX119" fmla="*/ 288607 w 1126807"/>
                  <a:gd name="connsiteY119" fmla="*/ 681038 h 839247"/>
                  <a:gd name="connsiteX120" fmla="*/ 299085 w 1126807"/>
                  <a:gd name="connsiteY120" fmla="*/ 670560 h 839247"/>
                  <a:gd name="connsiteX121" fmla="*/ 302895 w 1126807"/>
                  <a:gd name="connsiteY121" fmla="*/ 656272 h 839247"/>
                  <a:gd name="connsiteX122" fmla="*/ 323850 w 1126807"/>
                  <a:gd name="connsiteY122" fmla="*/ 649700 h 839247"/>
                  <a:gd name="connsiteX123" fmla="*/ 352425 w 1126807"/>
                  <a:gd name="connsiteY123" fmla="*/ 631603 h 839247"/>
                  <a:gd name="connsiteX124" fmla="*/ 401003 w 1126807"/>
                  <a:gd name="connsiteY124" fmla="*/ 627697 h 839247"/>
                  <a:gd name="connsiteX125" fmla="*/ 433388 w 1126807"/>
                  <a:gd name="connsiteY125" fmla="*/ 614363 h 839247"/>
                  <a:gd name="connsiteX126" fmla="*/ 454343 w 1126807"/>
                  <a:gd name="connsiteY126" fmla="*/ 606838 h 839247"/>
                  <a:gd name="connsiteX127" fmla="*/ 524828 w 1126807"/>
                  <a:gd name="connsiteY127" fmla="*/ 617315 h 839247"/>
                  <a:gd name="connsiteX128" fmla="*/ 577215 w 1126807"/>
                  <a:gd name="connsiteY128" fmla="*/ 631603 h 839247"/>
                  <a:gd name="connsiteX129" fmla="*/ 587693 w 1126807"/>
                  <a:gd name="connsiteY129" fmla="*/ 641985 h 839247"/>
                  <a:gd name="connsiteX130" fmla="*/ 598170 w 1126807"/>
                  <a:gd name="connsiteY130" fmla="*/ 656272 h 839247"/>
                  <a:gd name="connsiteX131" fmla="*/ 616268 w 1126807"/>
                  <a:gd name="connsiteY131" fmla="*/ 681038 h 839247"/>
                  <a:gd name="connsiteX132" fmla="*/ 620078 w 1126807"/>
                  <a:gd name="connsiteY132" fmla="*/ 702088 h 839247"/>
                  <a:gd name="connsiteX133" fmla="*/ 633413 w 1126807"/>
                  <a:gd name="connsiteY133" fmla="*/ 709613 h 839247"/>
                  <a:gd name="connsiteX134" fmla="*/ 643890 w 1126807"/>
                  <a:gd name="connsiteY134" fmla="*/ 695325 h 839247"/>
                  <a:gd name="connsiteX135" fmla="*/ 661988 w 1126807"/>
                  <a:gd name="connsiteY135" fmla="*/ 681038 h 839247"/>
                  <a:gd name="connsiteX136" fmla="*/ 672465 w 1126807"/>
                  <a:gd name="connsiteY136" fmla="*/ 663035 h 839247"/>
                  <a:gd name="connsiteX137" fmla="*/ 686753 w 1126807"/>
                  <a:gd name="connsiteY137" fmla="*/ 645890 h 839247"/>
                  <a:gd name="connsiteX138" fmla="*/ 693420 w 1126807"/>
                  <a:gd name="connsiteY138" fmla="*/ 663035 h 839247"/>
                  <a:gd name="connsiteX139" fmla="*/ 690563 w 1126807"/>
                  <a:gd name="connsiteY139" fmla="*/ 673513 h 839247"/>
                  <a:gd name="connsiteX140" fmla="*/ 679132 w 1126807"/>
                  <a:gd name="connsiteY140" fmla="*/ 684847 h 839247"/>
                  <a:gd name="connsiteX141" fmla="*/ 668655 w 1126807"/>
                  <a:gd name="connsiteY141" fmla="*/ 720185 h 839247"/>
                  <a:gd name="connsiteX142" fmla="*/ 686753 w 1126807"/>
                  <a:gd name="connsiteY142" fmla="*/ 709613 h 839247"/>
                  <a:gd name="connsiteX143" fmla="*/ 701040 w 1126807"/>
                  <a:gd name="connsiteY143" fmla="*/ 695325 h 839247"/>
                  <a:gd name="connsiteX144" fmla="*/ 714375 w 1126807"/>
                  <a:gd name="connsiteY144" fmla="*/ 702088 h 839247"/>
                  <a:gd name="connsiteX145" fmla="*/ 703898 w 1126807"/>
                  <a:gd name="connsiteY145" fmla="*/ 720185 h 839247"/>
                  <a:gd name="connsiteX146" fmla="*/ 707707 w 1126807"/>
                  <a:gd name="connsiteY146" fmla="*/ 733425 h 839247"/>
                  <a:gd name="connsiteX147" fmla="*/ 721995 w 1126807"/>
                  <a:gd name="connsiteY147" fmla="*/ 733425 h 839247"/>
                  <a:gd name="connsiteX148" fmla="*/ 736282 w 1126807"/>
                  <a:gd name="connsiteY148" fmla="*/ 747713 h 839247"/>
                  <a:gd name="connsiteX149" fmla="*/ 749618 w 1126807"/>
                  <a:gd name="connsiteY149" fmla="*/ 765810 h 839247"/>
                  <a:gd name="connsiteX150" fmla="*/ 746760 w 1126807"/>
                  <a:gd name="connsiteY150" fmla="*/ 783050 h 839247"/>
                  <a:gd name="connsiteX151" fmla="*/ 757238 w 1126807"/>
                  <a:gd name="connsiteY151" fmla="*/ 797338 h 839247"/>
                  <a:gd name="connsiteX152" fmla="*/ 771525 w 1126807"/>
                  <a:gd name="connsiteY152" fmla="*/ 815435 h 839247"/>
                  <a:gd name="connsiteX153" fmla="*/ 792480 w 1126807"/>
                  <a:gd name="connsiteY153" fmla="*/ 818197 h 839247"/>
                  <a:gd name="connsiteX154" fmla="*/ 813435 w 1126807"/>
                  <a:gd name="connsiteY154" fmla="*/ 818197 h 839247"/>
                  <a:gd name="connsiteX155" fmla="*/ 834390 w 1126807"/>
                  <a:gd name="connsiteY155" fmla="*/ 828675 h 839247"/>
                  <a:gd name="connsiteX156" fmla="*/ 855345 w 1126807"/>
                  <a:gd name="connsiteY156" fmla="*/ 836390 h 839247"/>
                  <a:gd name="connsiteX157" fmla="*/ 880110 w 1126807"/>
                  <a:gd name="connsiteY157" fmla="*/ 811625 h 839247"/>
                  <a:gd name="connsiteX158" fmla="*/ 890588 w 1126807"/>
                  <a:gd name="connsiteY158" fmla="*/ 807815 h 839247"/>
                  <a:gd name="connsiteX159" fmla="*/ 898207 w 1126807"/>
                  <a:gd name="connsiteY159" fmla="*/ 815435 h 839247"/>
                  <a:gd name="connsiteX160" fmla="*/ 908685 w 1126807"/>
                  <a:gd name="connsiteY160" fmla="*/ 825913 h 839247"/>
                  <a:gd name="connsiteX161" fmla="*/ 915353 w 1126807"/>
                  <a:gd name="connsiteY161" fmla="*/ 832485 h 839247"/>
                  <a:gd name="connsiteX162" fmla="*/ 925830 w 1126807"/>
                  <a:gd name="connsiteY162" fmla="*/ 839248 h 839247"/>
                  <a:gd name="connsiteX163" fmla="*/ 936307 w 1126807"/>
                  <a:gd name="connsiteY163" fmla="*/ 836390 h 839247"/>
                  <a:gd name="connsiteX164" fmla="*/ 940118 w 1126807"/>
                  <a:gd name="connsiteY164" fmla="*/ 832485 h 839247"/>
                  <a:gd name="connsiteX165" fmla="*/ 961073 w 1126807"/>
                  <a:gd name="connsiteY165" fmla="*/ 818197 h 839247"/>
                  <a:gd name="connsiteX166" fmla="*/ 968693 w 1126807"/>
                  <a:gd name="connsiteY166" fmla="*/ 797338 h 839247"/>
                  <a:gd name="connsiteX167" fmla="*/ 996315 w 1126807"/>
                  <a:gd name="connsiteY167" fmla="*/ 801148 h 839247"/>
                  <a:gd name="connsiteX168" fmla="*/ 1014413 w 1126807"/>
                  <a:gd name="connsiteY168" fmla="*/ 801148 h 839247"/>
                  <a:gd name="connsiteX169" fmla="*/ 1024890 w 1126807"/>
                  <a:gd name="connsiteY169" fmla="*/ 793528 h 839247"/>
                  <a:gd name="connsiteX170" fmla="*/ 1024890 w 1126807"/>
                  <a:gd name="connsiteY170" fmla="*/ 762000 h 839247"/>
                  <a:gd name="connsiteX171" fmla="*/ 1039178 w 1126807"/>
                  <a:gd name="connsiteY171" fmla="*/ 737235 h 839247"/>
                  <a:gd name="connsiteX172" fmla="*/ 1049655 w 1126807"/>
                  <a:gd name="connsiteY172" fmla="*/ 709613 h 839247"/>
                  <a:gd name="connsiteX173" fmla="*/ 1066800 w 1126807"/>
                  <a:gd name="connsiteY173" fmla="*/ 670560 h 839247"/>
                  <a:gd name="connsiteX174" fmla="*/ 1077278 w 1126807"/>
                  <a:gd name="connsiteY174" fmla="*/ 649700 h 839247"/>
                  <a:gd name="connsiteX175" fmla="*/ 1098232 w 1126807"/>
                  <a:gd name="connsiteY175" fmla="*/ 631603 h 839247"/>
                  <a:gd name="connsiteX176" fmla="*/ 1112520 w 1126807"/>
                  <a:gd name="connsiteY176" fmla="*/ 600075 h 839247"/>
                  <a:gd name="connsiteX177" fmla="*/ 1116330 w 1126807"/>
                  <a:gd name="connsiteY177" fmla="*/ 567785 h 839247"/>
                  <a:gd name="connsiteX178" fmla="*/ 1126807 w 1126807"/>
                  <a:gd name="connsiteY178" fmla="*/ 529685 h 839247"/>
                  <a:gd name="connsiteX179" fmla="*/ 1122998 w 1126807"/>
                  <a:gd name="connsiteY179" fmla="*/ 497300 h 8392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</a:cxnLst>
                <a:rect l="l" t="t" r="r" b="b"/>
                <a:pathLst>
                  <a:path w="1126807" h="839247">
                    <a:moveTo>
                      <a:pt x="1122998" y="497300"/>
                    </a:moveTo>
                    <a:lnTo>
                      <a:pt x="1120140" y="476250"/>
                    </a:lnTo>
                    <a:lnTo>
                      <a:pt x="1116330" y="448723"/>
                    </a:lnTo>
                    <a:lnTo>
                      <a:pt x="1109663" y="426815"/>
                    </a:lnTo>
                    <a:lnTo>
                      <a:pt x="1098232" y="402050"/>
                    </a:lnTo>
                    <a:lnTo>
                      <a:pt x="1077278" y="378238"/>
                    </a:lnTo>
                    <a:lnTo>
                      <a:pt x="1052513" y="360140"/>
                    </a:lnTo>
                    <a:lnTo>
                      <a:pt x="1045845" y="331565"/>
                    </a:lnTo>
                    <a:lnTo>
                      <a:pt x="1024890" y="331565"/>
                    </a:lnTo>
                    <a:lnTo>
                      <a:pt x="1017270" y="321088"/>
                    </a:lnTo>
                    <a:lnTo>
                      <a:pt x="1017270" y="303847"/>
                    </a:lnTo>
                    <a:lnTo>
                      <a:pt x="1000125" y="285750"/>
                    </a:lnTo>
                    <a:lnTo>
                      <a:pt x="982028" y="260985"/>
                    </a:lnTo>
                    <a:lnTo>
                      <a:pt x="958215" y="243935"/>
                    </a:lnTo>
                    <a:lnTo>
                      <a:pt x="936307" y="236315"/>
                    </a:lnTo>
                    <a:lnTo>
                      <a:pt x="925830" y="219075"/>
                    </a:lnTo>
                    <a:lnTo>
                      <a:pt x="925830" y="198215"/>
                    </a:lnTo>
                    <a:lnTo>
                      <a:pt x="919163" y="180022"/>
                    </a:lnTo>
                    <a:lnTo>
                      <a:pt x="901065" y="169640"/>
                    </a:lnTo>
                    <a:lnTo>
                      <a:pt x="901065" y="144875"/>
                    </a:lnTo>
                    <a:lnTo>
                      <a:pt x="898207" y="127635"/>
                    </a:lnTo>
                    <a:lnTo>
                      <a:pt x="890588" y="109538"/>
                    </a:lnTo>
                    <a:lnTo>
                      <a:pt x="869632" y="102965"/>
                    </a:lnTo>
                    <a:lnTo>
                      <a:pt x="852488" y="95250"/>
                    </a:lnTo>
                    <a:lnTo>
                      <a:pt x="848678" y="57150"/>
                    </a:lnTo>
                    <a:lnTo>
                      <a:pt x="842010" y="35338"/>
                    </a:lnTo>
                    <a:lnTo>
                      <a:pt x="827723" y="10573"/>
                    </a:lnTo>
                    <a:lnTo>
                      <a:pt x="817245" y="0"/>
                    </a:lnTo>
                    <a:lnTo>
                      <a:pt x="809625" y="18097"/>
                    </a:lnTo>
                    <a:lnTo>
                      <a:pt x="802957" y="39148"/>
                    </a:lnTo>
                    <a:lnTo>
                      <a:pt x="792480" y="70485"/>
                    </a:lnTo>
                    <a:lnTo>
                      <a:pt x="795338" y="117253"/>
                    </a:lnTo>
                    <a:lnTo>
                      <a:pt x="792480" y="148685"/>
                    </a:lnTo>
                    <a:lnTo>
                      <a:pt x="778193" y="176213"/>
                    </a:lnTo>
                    <a:lnTo>
                      <a:pt x="761048" y="198215"/>
                    </a:lnTo>
                    <a:lnTo>
                      <a:pt x="732473" y="180022"/>
                    </a:lnTo>
                    <a:lnTo>
                      <a:pt x="711518" y="169640"/>
                    </a:lnTo>
                    <a:lnTo>
                      <a:pt x="682943" y="148685"/>
                    </a:lnTo>
                    <a:lnTo>
                      <a:pt x="655320" y="138113"/>
                    </a:lnTo>
                    <a:lnTo>
                      <a:pt x="630555" y="120110"/>
                    </a:lnTo>
                    <a:lnTo>
                      <a:pt x="620078" y="109538"/>
                    </a:lnTo>
                    <a:lnTo>
                      <a:pt x="620078" y="95250"/>
                    </a:lnTo>
                    <a:lnTo>
                      <a:pt x="633413" y="84772"/>
                    </a:lnTo>
                    <a:lnTo>
                      <a:pt x="643890" y="70485"/>
                    </a:lnTo>
                    <a:lnTo>
                      <a:pt x="655320" y="53435"/>
                    </a:lnTo>
                    <a:lnTo>
                      <a:pt x="668655" y="39148"/>
                    </a:lnTo>
                    <a:lnTo>
                      <a:pt x="655320" y="32385"/>
                    </a:lnTo>
                    <a:lnTo>
                      <a:pt x="637223" y="39148"/>
                    </a:lnTo>
                    <a:lnTo>
                      <a:pt x="622935" y="39148"/>
                    </a:lnTo>
                    <a:lnTo>
                      <a:pt x="612457" y="35338"/>
                    </a:lnTo>
                    <a:lnTo>
                      <a:pt x="598170" y="32385"/>
                    </a:lnTo>
                    <a:lnTo>
                      <a:pt x="581025" y="24860"/>
                    </a:lnTo>
                    <a:lnTo>
                      <a:pt x="566738" y="18097"/>
                    </a:lnTo>
                    <a:lnTo>
                      <a:pt x="541973" y="7715"/>
                    </a:lnTo>
                    <a:lnTo>
                      <a:pt x="531495" y="10573"/>
                    </a:lnTo>
                    <a:lnTo>
                      <a:pt x="545782" y="22003"/>
                    </a:lnTo>
                    <a:lnTo>
                      <a:pt x="541973" y="32385"/>
                    </a:lnTo>
                    <a:lnTo>
                      <a:pt x="521018" y="39148"/>
                    </a:lnTo>
                    <a:lnTo>
                      <a:pt x="503873" y="35338"/>
                    </a:lnTo>
                    <a:lnTo>
                      <a:pt x="496253" y="42863"/>
                    </a:lnTo>
                    <a:lnTo>
                      <a:pt x="481965" y="49625"/>
                    </a:lnTo>
                    <a:lnTo>
                      <a:pt x="471488" y="70485"/>
                    </a:lnTo>
                    <a:lnTo>
                      <a:pt x="450532" y="92488"/>
                    </a:lnTo>
                    <a:lnTo>
                      <a:pt x="461010" y="109538"/>
                    </a:lnTo>
                    <a:lnTo>
                      <a:pt x="446723" y="113347"/>
                    </a:lnTo>
                    <a:lnTo>
                      <a:pt x="425768" y="117253"/>
                    </a:lnTo>
                    <a:lnTo>
                      <a:pt x="425768" y="117253"/>
                    </a:lnTo>
                    <a:lnTo>
                      <a:pt x="425768" y="117253"/>
                    </a:lnTo>
                    <a:lnTo>
                      <a:pt x="415290" y="105823"/>
                    </a:lnTo>
                    <a:lnTo>
                      <a:pt x="404813" y="95250"/>
                    </a:lnTo>
                    <a:lnTo>
                      <a:pt x="387668" y="84772"/>
                    </a:lnTo>
                    <a:lnTo>
                      <a:pt x="359093" y="105823"/>
                    </a:lnTo>
                    <a:lnTo>
                      <a:pt x="348615" y="105823"/>
                    </a:lnTo>
                    <a:lnTo>
                      <a:pt x="338138" y="117253"/>
                    </a:lnTo>
                    <a:lnTo>
                      <a:pt x="320040" y="127635"/>
                    </a:lnTo>
                    <a:lnTo>
                      <a:pt x="317182" y="148685"/>
                    </a:lnTo>
                    <a:lnTo>
                      <a:pt x="309563" y="155353"/>
                    </a:lnTo>
                    <a:lnTo>
                      <a:pt x="295275" y="148685"/>
                    </a:lnTo>
                    <a:lnTo>
                      <a:pt x="295275" y="169640"/>
                    </a:lnTo>
                    <a:lnTo>
                      <a:pt x="288607" y="180022"/>
                    </a:lnTo>
                    <a:lnTo>
                      <a:pt x="281940" y="173450"/>
                    </a:lnTo>
                    <a:lnTo>
                      <a:pt x="274320" y="162973"/>
                    </a:lnTo>
                    <a:lnTo>
                      <a:pt x="257175" y="173450"/>
                    </a:lnTo>
                    <a:lnTo>
                      <a:pt x="249555" y="187738"/>
                    </a:lnTo>
                    <a:lnTo>
                      <a:pt x="253365" y="208597"/>
                    </a:lnTo>
                    <a:lnTo>
                      <a:pt x="214313" y="254413"/>
                    </a:lnTo>
                    <a:lnTo>
                      <a:pt x="193357" y="258223"/>
                    </a:lnTo>
                    <a:lnTo>
                      <a:pt x="151448" y="271463"/>
                    </a:lnTo>
                    <a:lnTo>
                      <a:pt x="108585" y="279178"/>
                    </a:lnTo>
                    <a:lnTo>
                      <a:pt x="84773" y="285750"/>
                    </a:lnTo>
                    <a:lnTo>
                      <a:pt x="60007" y="314325"/>
                    </a:lnTo>
                    <a:lnTo>
                      <a:pt x="41910" y="314325"/>
                    </a:lnTo>
                    <a:lnTo>
                      <a:pt x="35243" y="328613"/>
                    </a:lnTo>
                    <a:lnTo>
                      <a:pt x="24765" y="318135"/>
                    </a:lnTo>
                    <a:lnTo>
                      <a:pt x="20955" y="331565"/>
                    </a:lnTo>
                    <a:lnTo>
                      <a:pt x="10478" y="360140"/>
                    </a:lnTo>
                    <a:lnTo>
                      <a:pt x="10478" y="384810"/>
                    </a:lnTo>
                    <a:lnTo>
                      <a:pt x="20955" y="420148"/>
                    </a:lnTo>
                    <a:lnTo>
                      <a:pt x="35243" y="430625"/>
                    </a:lnTo>
                    <a:lnTo>
                      <a:pt x="31432" y="448723"/>
                    </a:lnTo>
                    <a:lnTo>
                      <a:pt x="17145" y="448723"/>
                    </a:lnTo>
                    <a:lnTo>
                      <a:pt x="10478" y="437197"/>
                    </a:lnTo>
                    <a:lnTo>
                      <a:pt x="0" y="434435"/>
                    </a:lnTo>
                    <a:lnTo>
                      <a:pt x="6668" y="448723"/>
                    </a:lnTo>
                    <a:lnTo>
                      <a:pt x="17145" y="465772"/>
                    </a:lnTo>
                    <a:lnTo>
                      <a:pt x="31432" y="494347"/>
                    </a:lnTo>
                    <a:lnTo>
                      <a:pt x="52388" y="546735"/>
                    </a:lnTo>
                    <a:lnTo>
                      <a:pt x="52388" y="579215"/>
                    </a:lnTo>
                    <a:lnTo>
                      <a:pt x="70485" y="603028"/>
                    </a:lnTo>
                    <a:lnTo>
                      <a:pt x="70485" y="627697"/>
                    </a:lnTo>
                    <a:lnTo>
                      <a:pt x="70485" y="666750"/>
                    </a:lnTo>
                    <a:lnTo>
                      <a:pt x="49530" y="677323"/>
                    </a:lnTo>
                    <a:lnTo>
                      <a:pt x="52388" y="695325"/>
                    </a:lnTo>
                    <a:lnTo>
                      <a:pt x="74295" y="705898"/>
                    </a:lnTo>
                    <a:lnTo>
                      <a:pt x="95250" y="720185"/>
                    </a:lnTo>
                    <a:lnTo>
                      <a:pt x="140970" y="716375"/>
                    </a:lnTo>
                    <a:lnTo>
                      <a:pt x="158115" y="695325"/>
                    </a:lnTo>
                    <a:lnTo>
                      <a:pt x="176213" y="695325"/>
                    </a:lnTo>
                    <a:lnTo>
                      <a:pt x="190500" y="681038"/>
                    </a:lnTo>
                    <a:lnTo>
                      <a:pt x="288607" y="681038"/>
                    </a:lnTo>
                    <a:lnTo>
                      <a:pt x="299085" y="670560"/>
                    </a:lnTo>
                    <a:lnTo>
                      <a:pt x="302895" y="656272"/>
                    </a:lnTo>
                    <a:lnTo>
                      <a:pt x="323850" y="649700"/>
                    </a:lnTo>
                    <a:lnTo>
                      <a:pt x="352425" y="631603"/>
                    </a:lnTo>
                    <a:lnTo>
                      <a:pt x="401003" y="627697"/>
                    </a:lnTo>
                    <a:lnTo>
                      <a:pt x="433388" y="614363"/>
                    </a:lnTo>
                    <a:lnTo>
                      <a:pt x="454343" y="606838"/>
                    </a:lnTo>
                    <a:lnTo>
                      <a:pt x="524828" y="617315"/>
                    </a:lnTo>
                    <a:lnTo>
                      <a:pt x="577215" y="631603"/>
                    </a:lnTo>
                    <a:lnTo>
                      <a:pt x="587693" y="641985"/>
                    </a:lnTo>
                    <a:lnTo>
                      <a:pt x="598170" y="656272"/>
                    </a:lnTo>
                    <a:lnTo>
                      <a:pt x="616268" y="681038"/>
                    </a:lnTo>
                    <a:lnTo>
                      <a:pt x="620078" y="702088"/>
                    </a:lnTo>
                    <a:lnTo>
                      <a:pt x="633413" y="709613"/>
                    </a:lnTo>
                    <a:lnTo>
                      <a:pt x="643890" y="695325"/>
                    </a:lnTo>
                    <a:lnTo>
                      <a:pt x="661988" y="681038"/>
                    </a:lnTo>
                    <a:lnTo>
                      <a:pt x="672465" y="663035"/>
                    </a:lnTo>
                    <a:lnTo>
                      <a:pt x="686753" y="645890"/>
                    </a:lnTo>
                    <a:lnTo>
                      <a:pt x="693420" y="663035"/>
                    </a:lnTo>
                    <a:lnTo>
                      <a:pt x="690563" y="673513"/>
                    </a:lnTo>
                    <a:lnTo>
                      <a:pt x="679132" y="684847"/>
                    </a:lnTo>
                    <a:lnTo>
                      <a:pt x="668655" y="720185"/>
                    </a:lnTo>
                    <a:lnTo>
                      <a:pt x="686753" y="709613"/>
                    </a:lnTo>
                    <a:lnTo>
                      <a:pt x="701040" y="695325"/>
                    </a:lnTo>
                    <a:lnTo>
                      <a:pt x="714375" y="702088"/>
                    </a:lnTo>
                    <a:lnTo>
                      <a:pt x="703898" y="720185"/>
                    </a:lnTo>
                    <a:lnTo>
                      <a:pt x="707707" y="733425"/>
                    </a:lnTo>
                    <a:lnTo>
                      <a:pt x="721995" y="733425"/>
                    </a:lnTo>
                    <a:lnTo>
                      <a:pt x="736282" y="747713"/>
                    </a:lnTo>
                    <a:lnTo>
                      <a:pt x="749618" y="765810"/>
                    </a:lnTo>
                    <a:lnTo>
                      <a:pt x="746760" y="783050"/>
                    </a:lnTo>
                    <a:lnTo>
                      <a:pt x="757238" y="797338"/>
                    </a:lnTo>
                    <a:lnTo>
                      <a:pt x="771525" y="815435"/>
                    </a:lnTo>
                    <a:lnTo>
                      <a:pt x="792480" y="818197"/>
                    </a:lnTo>
                    <a:lnTo>
                      <a:pt x="813435" y="818197"/>
                    </a:lnTo>
                    <a:lnTo>
                      <a:pt x="834390" y="828675"/>
                    </a:lnTo>
                    <a:lnTo>
                      <a:pt x="855345" y="836390"/>
                    </a:lnTo>
                    <a:lnTo>
                      <a:pt x="880110" y="811625"/>
                    </a:lnTo>
                    <a:lnTo>
                      <a:pt x="890588" y="807815"/>
                    </a:lnTo>
                    <a:lnTo>
                      <a:pt x="898207" y="815435"/>
                    </a:lnTo>
                    <a:lnTo>
                      <a:pt x="908685" y="825913"/>
                    </a:lnTo>
                    <a:lnTo>
                      <a:pt x="915353" y="832485"/>
                    </a:lnTo>
                    <a:lnTo>
                      <a:pt x="925830" y="839248"/>
                    </a:lnTo>
                    <a:lnTo>
                      <a:pt x="936307" y="836390"/>
                    </a:lnTo>
                    <a:lnTo>
                      <a:pt x="940118" y="832485"/>
                    </a:lnTo>
                    <a:lnTo>
                      <a:pt x="961073" y="818197"/>
                    </a:lnTo>
                    <a:lnTo>
                      <a:pt x="968693" y="797338"/>
                    </a:lnTo>
                    <a:lnTo>
                      <a:pt x="996315" y="801148"/>
                    </a:lnTo>
                    <a:lnTo>
                      <a:pt x="1014413" y="801148"/>
                    </a:lnTo>
                    <a:lnTo>
                      <a:pt x="1024890" y="793528"/>
                    </a:lnTo>
                    <a:lnTo>
                      <a:pt x="1024890" y="762000"/>
                    </a:lnTo>
                    <a:lnTo>
                      <a:pt x="1039178" y="737235"/>
                    </a:lnTo>
                    <a:lnTo>
                      <a:pt x="1049655" y="709613"/>
                    </a:lnTo>
                    <a:lnTo>
                      <a:pt x="1066800" y="670560"/>
                    </a:lnTo>
                    <a:lnTo>
                      <a:pt x="1077278" y="649700"/>
                    </a:lnTo>
                    <a:lnTo>
                      <a:pt x="1098232" y="631603"/>
                    </a:lnTo>
                    <a:lnTo>
                      <a:pt x="1112520" y="600075"/>
                    </a:lnTo>
                    <a:lnTo>
                      <a:pt x="1116330" y="567785"/>
                    </a:lnTo>
                    <a:lnTo>
                      <a:pt x="1126807" y="529685"/>
                    </a:lnTo>
                    <a:lnTo>
                      <a:pt x="1122998" y="49730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0" name="Freeform: Shape 519">
                <a:extLst>
                  <a:ext uri="{FF2B5EF4-FFF2-40B4-BE49-F238E27FC236}">
                    <a16:creationId xmlns:a16="http://schemas.microsoft.com/office/drawing/2014/main" id="{A433305C-79FD-54C8-F40B-B36444035ECC}"/>
                  </a:ext>
                </a:extLst>
              </p:cNvPr>
              <p:cNvSpPr/>
              <p:nvPr/>
            </p:nvSpPr>
            <p:spPr>
              <a:xfrm>
                <a:off x="10734370" y="5526024"/>
                <a:ext cx="152197" cy="235300"/>
              </a:xfrm>
              <a:custGeom>
                <a:avLst/>
                <a:gdLst>
                  <a:gd name="connsiteX0" fmla="*/ 134302 w 155257"/>
                  <a:gd name="connsiteY0" fmla="*/ 116205 h 240030"/>
                  <a:gd name="connsiteX1" fmla="*/ 113348 w 155257"/>
                  <a:gd name="connsiteY1" fmla="*/ 120015 h 240030"/>
                  <a:gd name="connsiteX2" fmla="*/ 92393 w 155257"/>
                  <a:gd name="connsiteY2" fmla="*/ 105728 h 240030"/>
                  <a:gd name="connsiteX3" fmla="*/ 80963 w 155257"/>
                  <a:gd name="connsiteY3" fmla="*/ 91440 h 240030"/>
                  <a:gd name="connsiteX4" fmla="*/ 78105 w 155257"/>
                  <a:gd name="connsiteY4" fmla="*/ 80963 h 240030"/>
                  <a:gd name="connsiteX5" fmla="*/ 67627 w 155257"/>
                  <a:gd name="connsiteY5" fmla="*/ 91440 h 240030"/>
                  <a:gd name="connsiteX6" fmla="*/ 60007 w 155257"/>
                  <a:gd name="connsiteY6" fmla="*/ 77153 h 240030"/>
                  <a:gd name="connsiteX7" fmla="*/ 49530 w 155257"/>
                  <a:gd name="connsiteY7" fmla="*/ 59912 h 240030"/>
                  <a:gd name="connsiteX8" fmla="*/ 53340 w 155257"/>
                  <a:gd name="connsiteY8" fmla="*/ 45625 h 240030"/>
                  <a:gd name="connsiteX9" fmla="*/ 39052 w 155257"/>
                  <a:gd name="connsiteY9" fmla="*/ 31337 h 240030"/>
                  <a:gd name="connsiteX10" fmla="*/ 18098 w 155257"/>
                  <a:gd name="connsiteY10" fmla="*/ 18002 h 240030"/>
                  <a:gd name="connsiteX11" fmla="*/ 0 w 155257"/>
                  <a:gd name="connsiteY11" fmla="*/ 0 h 240030"/>
                  <a:gd name="connsiteX12" fmla="*/ 3810 w 155257"/>
                  <a:gd name="connsiteY12" fmla="*/ 18002 h 240030"/>
                  <a:gd name="connsiteX13" fmla="*/ 14288 w 155257"/>
                  <a:gd name="connsiteY13" fmla="*/ 45625 h 240030"/>
                  <a:gd name="connsiteX14" fmla="*/ 35243 w 155257"/>
                  <a:gd name="connsiteY14" fmla="*/ 59912 h 240030"/>
                  <a:gd name="connsiteX15" fmla="*/ 53340 w 155257"/>
                  <a:gd name="connsiteY15" fmla="*/ 80963 h 240030"/>
                  <a:gd name="connsiteX16" fmla="*/ 49530 w 155257"/>
                  <a:gd name="connsiteY16" fmla="*/ 109538 h 240030"/>
                  <a:gd name="connsiteX17" fmla="*/ 49530 w 155257"/>
                  <a:gd name="connsiteY17" fmla="*/ 140875 h 240030"/>
                  <a:gd name="connsiteX18" fmla="*/ 39052 w 155257"/>
                  <a:gd name="connsiteY18" fmla="*/ 147638 h 240030"/>
                  <a:gd name="connsiteX19" fmla="*/ 24765 w 155257"/>
                  <a:gd name="connsiteY19" fmla="*/ 159068 h 240030"/>
                  <a:gd name="connsiteX20" fmla="*/ 35243 w 155257"/>
                  <a:gd name="connsiteY20" fmla="*/ 172403 h 240030"/>
                  <a:gd name="connsiteX21" fmla="*/ 53340 w 155257"/>
                  <a:gd name="connsiteY21" fmla="*/ 176213 h 240030"/>
                  <a:gd name="connsiteX22" fmla="*/ 63818 w 155257"/>
                  <a:gd name="connsiteY22" fmla="*/ 190500 h 240030"/>
                  <a:gd name="connsiteX23" fmla="*/ 63818 w 155257"/>
                  <a:gd name="connsiteY23" fmla="*/ 204788 h 240030"/>
                  <a:gd name="connsiteX24" fmla="*/ 53340 w 155257"/>
                  <a:gd name="connsiteY24" fmla="*/ 215265 h 240030"/>
                  <a:gd name="connsiteX25" fmla="*/ 57150 w 155257"/>
                  <a:gd name="connsiteY25" fmla="*/ 236125 h 240030"/>
                  <a:gd name="connsiteX26" fmla="*/ 70485 w 155257"/>
                  <a:gd name="connsiteY26" fmla="*/ 240030 h 240030"/>
                  <a:gd name="connsiteX27" fmla="*/ 88582 w 155257"/>
                  <a:gd name="connsiteY27" fmla="*/ 221837 h 240030"/>
                  <a:gd name="connsiteX28" fmla="*/ 102870 w 155257"/>
                  <a:gd name="connsiteY28" fmla="*/ 200978 h 240030"/>
                  <a:gd name="connsiteX29" fmla="*/ 113348 w 155257"/>
                  <a:gd name="connsiteY29" fmla="*/ 186690 h 240030"/>
                  <a:gd name="connsiteX30" fmla="*/ 113348 w 155257"/>
                  <a:gd name="connsiteY30" fmla="*/ 172403 h 240030"/>
                  <a:gd name="connsiteX31" fmla="*/ 113348 w 155257"/>
                  <a:gd name="connsiteY31" fmla="*/ 159068 h 240030"/>
                  <a:gd name="connsiteX32" fmla="*/ 140970 w 155257"/>
                  <a:gd name="connsiteY32" fmla="*/ 155162 h 240030"/>
                  <a:gd name="connsiteX33" fmla="*/ 140970 w 155257"/>
                  <a:gd name="connsiteY33" fmla="*/ 140875 h 240030"/>
                  <a:gd name="connsiteX34" fmla="*/ 155257 w 155257"/>
                  <a:gd name="connsiteY34" fmla="*/ 130493 h 240030"/>
                  <a:gd name="connsiteX35" fmla="*/ 155257 w 155257"/>
                  <a:gd name="connsiteY35" fmla="*/ 109538 h 240030"/>
                  <a:gd name="connsiteX36" fmla="*/ 144780 w 155257"/>
                  <a:gd name="connsiteY36" fmla="*/ 105728 h 240030"/>
                  <a:gd name="connsiteX37" fmla="*/ 134302 w 155257"/>
                  <a:gd name="connsiteY37" fmla="*/ 116205 h 2400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155257" h="240030">
                    <a:moveTo>
                      <a:pt x="134302" y="116205"/>
                    </a:moveTo>
                    <a:lnTo>
                      <a:pt x="113348" y="120015"/>
                    </a:lnTo>
                    <a:lnTo>
                      <a:pt x="92393" y="105728"/>
                    </a:lnTo>
                    <a:lnTo>
                      <a:pt x="80963" y="91440"/>
                    </a:lnTo>
                    <a:lnTo>
                      <a:pt x="78105" y="80963"/>
                    </a:lnTo>
                    <a:lnTo>
                      <a:pt x="67627" y="91440"/>
                    </a:lnTo>
                    <a:lnTo>
                      <a:pt x="60007" y="77153"/>
                    </a:lnTo>
                    <a:lnTo>
                      <a:pt x="49530" y="59912"/>
                    </a:lnTo>
                    <a:lnTo>
                      <a:pt x="53340" y="45625"/>
                    </a:lnTo>
                    <a:lnTo>
                      <a:pt x="39052" y="31337"/>
                    </a:lnTo>
                    <a:lnTo>
                      <a:pt x="18098" y="18002"/>
                    </a:lnTo>
                    <a:lnTo>
                      <a:pt x="0" y="0"/>
                    </a:lnTo>
                    <a:lnTo>
                      <a:pt x="3810" y="18002"/>
                    </a:lnTo>
                    <a:lnTo>
                      <a:pt x="14288" y="45625"/>
                    </a:lnTo>
                    <a:lnTo>
                      <a:pt x="35243" y="59912"/>
                    </a:lnTo>
                    <a:lnTo>
                      <a:pt x="53340" y="80963"/>
                    </a:lnTo>
                    <a:lnTo>
                      <a:pt x="49530" y="109538"/>
                    </a:lnTo>
                    <a:lnTo>
                      <a:pt x="49530" y="140875"/>
                    </a:lnTo>
                    <a:lnTo>
                      <a:pt x="39052" y="147638"/>
                    </a:lnTo>
                    <a:lnTo>
                      <a:pt x="24765" y="159068"/>
                    </a:lnTo>
                    <a:lnTo>
                      <a:pt x="35243" y="172403"/>
                    </a:lnTo>
                    <a:lnTo>
                      <a:pt x="53340" y="176213"/>
                    </a:lnTo>
                    <a:lnTo>
                      <a:pt x="63818" y="190500"/>
                    </a:lnTo>
                    <a:lnTo>
                      <a:pt x="63818" y="204788"/>
                    </a:lnTo>
                    <a:lnTo>
                      <a:pt x="53340" y="215265"/>
                    </a:lnTo>
                    <a:lnTo>
                      <a:pt x="57150" y="236125"/>
                    </a:lnTo>
                    <a:lnTo>
                      <a:pt x="70485" y="240030"/>
                    </a:lnTo>
                    <a:lnTo>
                      <a:pt x="88582" y="221837"/>
                    </a:lnTo>
                    <a:lnTo>
                      <a:pt x="102870" y="200978"/>
                    </a:lnTo>
                    <a:lnTo>
                      <a:pt x="113348" y="186690"/>
                    </a:lnTo>
                    <a:lnTo>
                      <a:pt x="113348" y="172403"/>
                    </a:lnTo>
                    <a:lnTo>
                      <a:pt x="113348" y="159068"/>
                    </a:lnTo>
                    <a:lnTo>
                      <a:pt x="140970" y="155162"/>
                    </a:lnTo>
                    <a:lnTo>
                      <a:pt x="140970" y="140875"/>
                    </a:lnTo>
                    <a:lnTo>
                      <a:pt x="155257" y="130493"/>
                    </a:lnTo>
                    <a:lnTo>
                      <a:pt x="155257" y="109538"/>
                    </a:lnTo>
                    <a:lnTo>
                      <a:pt x="144780" y="105728"/>
                    </a:lnTo>
                    <a:lnTo>
                      <a:pt x="134302" y="1162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1" name="Freeform: Shape 520">
                <a:extLst>
                  <a:ext uri="{FF2B5EF4-FFF2-40B4-BE49-F238E27FC236}">
                    <a16:creationId xmlns:a16="http://schemas.microsoft.com/office/drawing/2014/main" id="{4A9C5D7E-7C1F-B653-D362-4221F6B78109}"/>
                  </a:ext>
                </a:extLst>
              </p:cNvPr>
              <p:cNvSpPr/>
              <p:nvPr/>
            </p:nvSpPr>
            <p:spPr>
              <a:xfrm>
                <a:off x="10562565" y="5726777"/>
                <a:ext cx="210087" cy="199725"/>
              </a:xfrm>
              <a:custGeom>
                <a:avLst/>
                <a:gdLst>
                  <a:gd name="connsiteX0" fmla="*/ 186690 w 214312"/>
                  <a:gd name="connsiteY0" fmla="*/ 17050 h 203739"/>
                  <a:gd name="connsiteX1" fmla="*/ 175260 w 214312"/>
                  <a:gd name="connsiteY1" fmla="*/ 2762 h 203739"/>
                  <a:gd name="connsiteX2" fmla="*/ 161925 w 214312"/>
                  <a:gd name="connsiteY2" fmla="*/ 0 h 203739"/>
                  <a:gd name="connsiteX3" fmla="*/ 154305 w 214312"/>
                  <a:gd name="connsiteY3" fmla="*/ 17050 h 203739"/>
                  <a:gd name="connsiteX4" fmla="*/ 154305 w 214312"/>
                  <a:gd name="connsiteY4" fmla="*/ 35243 h 203739"/>
                  <a:gd name="connsiteX5" fmla="*/ 137160 w 214312"/>
                  <a:gd name="connsiteY5" fmla="*/ 45625 h 203739"/>
                  <a:gd name="connsiteX6" fmla="*/ 126683 w 214312"/>
                  <a:gd name="connsiteY6" fmla="*/ 62865 h 203739"/>
                  <a:gd name="connsiteX7" fmla="*/ 104775 w 214312"/>
                  <a:gd name="connsiteY7" fmla="*/ 91440 h 203739"/>
                  <a:gd name="connsiteX8" fmla="*/ 83820 w 214312"/>
                  <a:gd name="connsiteY8" fmla="*/ 91440 h 203739"/>
                  <a:gd name="connsiteX9" fmla="*/ 66675 w 214312"/>
                  <a:gd name="connsiteY9" fmla="*/ 112300 h 203739"/>
                  <a:gd name="connsiteX10" fmla="*/ 52388 w 214312"/>
                  <a:gd name="connsiteY10" fmla="*/ 112300 h 203739"/>
                  <a:gd name="connsiteX11" fmla="*/ 23813 w 214312"/>
                  <a:gd name="connsiteY11" fmla="*/ 140875 h 203739"/>
                  <a:gd name="connsiteX12" fmla="*/ 6668 w 214312"/>
                  <a:gd name="connsiteY12" fmla="*/ 161925 h 203739"/>
                  <a:gd name="connsiteX13" fmla="*/ 0 w 214312"/>
                  <a:gd name="connsiteY13" fmla="*/ 186690 h 203739"/>
                  <a:gd name="connsiteX14" fmla="*/ 27623 w 214312"/>
                  <a:gd name="connsiteY14" fmla="*/ 190500 h 203739"/>
                  <a:gd name="connsiteX15" fmla="*/ 38100 w 214312"/>
                  <a:gd name="connsiteY15" fmla="*/ 193262 h 203739"/>
                  <a:gd name="connsiteX16" fmla="*/ 52388 w 214312"/>
                  <a:gd name="connsiteY16" fmla="*/ 203740 h 203739"/>
                  <a:gd name="connsiteX17" fmla="*/ 83820 w 214312"/>
                  <a:gd name="connsiteY17" fmla="*/ 200978 h 203739"/>
                  <a:gd name="connsiteX18" fmla="*/ 101918 w 214312"/>
                  <a:gd name="connsiteY18" fmla="*/ 182880 h 203739"/>
                  <a:gd name="connsiteX19" fmla="*/ 122873 w 214312"/>
                  <a:gd name="connsiteY19" fmla="*/ 158115 h 203739"/>
                  <a:gd name="connsiteX20" fmla="*/ 129540 w 214312"/>
                  <a:gd name="connsiteY20" fmla="*/ 130493 h 203739"/>
                  <a:gd name="connsiteX21" fmla="*/ 140018 w 214312"/>
                  <a:gd name="connsiteY21" fmla="*/ 116205 h 203739"/>
                  <a:gd name="connsiteX22" fmla="*/ 158115 w 214312"/>
                  <a:gd name="connsiteY22" fmla="*/ 108490 h 203739"/>
                  <a:gd name="connsiteX23" fmla="*/ 175260 w 214312"/>
                  <a:gd name="connsiteY23" fmla="*/ 105728 h 203739"/>
                  <a:gd name="connsiteX24" fmla="*/ 175260 w 214312"/>
                  <a:gd name="connsiteY24" fmla="*/ 80963 h 203739"/>
                  <a:gd name="connsiteX25" fmla="*/ 193358 w 214312"/>
                  <a:gd name="connsiteY25" fmla="*/ 66675 h 203739"/>
                  <a:gd name="connsiteX26" fmla="*/ 203835 w 214312"/>
                  <a:gd name="connsiteY26" fmla="*/ 52388 h 203739"/>
                  <a:gd name="connsiteX27" fmla="*/ 214313 w 214312"/>
                  <a:gd name="connsiteY27" fmla="*/ 35243 h 203739"/>
                  <a:gd name="connsiteX28" fmla="*/ 214313 w 214312"/>
                  <a:gd name="connsiteY28" fmla="*/ 17050 h 203739"/>
                  <a:gd name="connsiteX29" fmla="*/ 203835 w 214312"/>
                  <a:gd name="connsiteY29" fmla="*/ 17050 h 203739"/>
                  <a:gd name="connsiteX30" fmla="*/ 186690 w 214312"/>
                  <a:gd name="connsiteY30" fmla="*/ 17050 h 203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214312" h="203739">
                    <a:moveTo>
                      <a:pt x="186690" y="17050"/>
                    </a:moveTo>
                    <a:lnTo>
                      <a:pt x="175260" y="2762"/>
                    </a:lnTo>
                    <a:lnTo>
                      <a:pt x="161925" y="0"/>
                    </a:lnTo>
                    <a:lnTo>
                      <a:pt x="154305" y="17050"/>
                    </a:lnTo>
                    <a:lnTo>
                      <a:pt x="154305" y="35243"/>
                    </a:lnTo>
                    <a:lnTo>
                      <a:pt x="137160" y="45625"/>
                    </a:lnTo>
                    <a:lnTo>
                      <a:pt x="126683" y="62865"/>
                    </a:lnTo>
                    <a:lnTo>
                      <a:pt x="104775" y="91440"/>
                    </a:lnTo>
                    <a:lnTo>
                      <a:pt x="83820" y="91440"/>
                    </a:lnTo>
                    <a:lnTo>
                      <a:pt x="66675" y="112300"/>
                    </a:lnTo>
                    <a:lnTo>
                      <a:pt x="52388" y="112300"/>
                    </a:lnTo>
                    <a:lnTo>
                      <a:pt x="23813" y="140875"/>
                    </a:lnTo>
                    <a:lnTo>
                      <a:pt x="6668" y="161925"/>
                    </a:lnTo>
                    <a:lnTo>
                      <a:pt x="0" y="186690"/>
                    </a:lnTo>
                    <a:lnTo>
                      <a:pt x="27623" y="190500"/>
                    </a:lnTo>
                    <a:lnTo>
                      <a:pt x="38100" y="193262"/>
                    </a:lnTo>
                    <a:lnTo>
                      <a:pt x="52388" y="203740"/>
                    </a:lnTo>
                    <a:lnTo>
                      <a:pt x="83820" y="200978"/>
                    </a:lnTo>
                    <a:lnTo>
                      <a:pt x="101918" y="182880"/>
                    </a:lnTo>
                    <a:lnTo>
                      <a:pt x="122873" y="158115"/>
                    </a:lnTo>
                    <a:lnTo>
                      <a:pt x="129540" y="130493"/>
                    </a:lnTo>
                    <a:lnTo>
                      <a:pt x="140018" y="116205"/>
                    </a:lnTo>
                    <a:lnTo>
                      <a:pt x="158115" y="108490"/>
                    </a:lnTo>
                    <a:lnTo>
                      <a:pt x="175260" y="105728"/>
                    </a:lnTo>
                    <a:lnTo>
                      <a:pt x="175260" y="80963"/>
                    </a:lnTo>
                    <a:lnTo>
                      <a:pt x="193358" y="66675"/>
                    </a:lnTo>
                    <a:lnTo>
                      <a:pt x="203835" y="52388"/>
                    </a:lnTo>
                    <a:lnTo>
                      <a:pt x="214313" y="35243"/>
                    </a:lnTo>
                    <a:lnTo>
                      <a:pt x="214313" y="17050"/>
                    </a:lnTo>
                    <a:lnTo>
                      <a:pt x="203835" y="17050"/>
                    </a:lnTo>
                    <a:lnTo>
                      <a:pt x="186690" y="1705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2" name="Freeform: Shape 521">
                <a:extLst>
                  <a:ext uri="{FF2B5EF4-FFF2-40B4-BE49-F238E27FC236}">
                    <a16:creationId xmlns:a16="http://schemas.microsoft.com/office/drawing/2014/main" id="{B18690C4-66DA-E280-4461-147FCC938D9F}"/>
                  </a:ext>
                </a:extLst>
              </p:cNvPr>
              <p:cNvSpPr/>
              <p:nvPr/>
            </p:nvSpPr>
            <p:spPr>
              <a:xfrm>
                <a:off x="7379499" y="3804222"/>
                <a:ext cx="13071" cy="21382"/>
              </a:xfrm>
              <a:custGeom>
                <a:avLst/>
                <a:gdLst>
                  <a:gd name="connsiteX0" fmla="*/ 0 w 13334"/>
                  <a:gd name="connsiteY0" fmla="*/ 0 h 21812"/>
                  <a:gd name="connsiteX1" fmla="*/ 6668 w 13334"/>
                  <a:gd name="connsiteY1" fmla="*/ 21812 h 21812"/>
                  <a:gd name="connsiteX2" fmla="*/ 13335 w 13334"/>
                  <a:gd name="connsiteY2" fmla="*/ 3810 h 21812"/>
                  <a:gd name="connsiteX3" fmla="*/ 0 w 13334"/>
                  <a:gd name="connsiteY3" fmla="*/ 0 h 218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3334" h="21812">
                    <a:moveTo>
                      <a:pt x="0" y="0"/>
                    </a:moveTo>
                    <a:lnTo>
                      <a:pt x="6668" y="21812"/>
                    </a:lnTo>
                    <a:lnTo>
                      <a:pt x="13335" y="38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3" name="Freeform: Shape 522">
                <a:extLst>
                  <a:ext uri="{FF2B5EF4-FFF2-40B4-BE49-F238E27FC236}">
                    <a16:creationId xmlns:a16="http://schemas.microsoft.com/office/drawing/2014/main" id="{C93BAC61-A70A-11D4-AF09-E1B994193BC5}"/>
                  </a:ext>
                </a:extLst>
              </p:cNvPr>
              <p:cNvSpPr/>
              <p:nvPr/>
            </p:nvSpPr>
            <p:spPr>
              <a:xfrm>
                <a:off x="5779095" y="2857325"/>
                <a:ext cx="65361" cy="41177"/>
              </a:xfrm>
              <a:custGeom>
                <a:avLst/>
                <a:gdLst>
                  <a:gd name="connsiteX0" fmla="*/ 27623 w 66675"/>
                  <a:gd name="connsiteY0" fmla="*/ 31528 h 42005"/>
                  <a:gd name="connsiteX1" fmla="*/ 38100 w 66675"/>
                  <a:gd name="connsiteY1" fmla="*/ 42005 h 42005"/>
                  <a:gd name="connsiteX2" fmla="*/ 60008 w 66675"/>
                  <a:gd name="connsiteY2" fmla="*/ 42005 h 42005"/>
                  <a:gd name="connsiteX3" fmla="*/ 66675 w 66675"/>
                  <a:gd name="connsiteY3" fmla="*/ 28575 h 42005"/>
                  <a:gd name="connsiteX4" fmla="*/ 60008 w 66675"/>
                  <a:gd name="connsiteY4" fmla="*/ 14288 h 42005"/>
                  <a:gd name="connsiteX5" fmla="*/ 52388 w 66675"/>
                  <a:gd name="connsiteY5" fmla="*/ 3905 h 42005"/>
                  <a:gd name="connsiteX6" fmla="*/ 20955 w 66675"/>
                  <a:gd name="connsiteY6" fmla="*/ 0 h 42005"/>
                  <a:gd name="connsiteX7" fmla="*/ 6668 w 66675"/>
                  <a:gd name="connsiteY7" fmla="*/ 14288 h 42005"/>
                  <a:gd name="connsiteX8" fmla="*/ 0 w 66675"/>
                  <a:gd name="connsiteY8" fmla="*/ 31528 h 42005"/>
                  <a:gd name="connsiteX9" fmla="*/ 14288 w 66675"/>
                  <a:gd name="connsiteY9" fmla="*/ 39148 h 42005"/>
                  <a:gd name="connsiteX10" fmla="*/ 27623 w 66675"/>
                  <a:gd name="connsiteY10" fmla="*/ 31528 h 42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66675" h="42005">
                    <a:moveTo>
                      <a:pt x="27623" y="31528"/>
                    </a:moveTo>
                    <a:lnTo>
                      <a:pt x="38100" y="42005"/>
                    </a:lnTo>
                    <a:lnTo>
                      <a:pt x="60008" y="42005"/>
                    </a:lnTo>
                    <a:lnTo>
                      <a:pt x="66675" y="28575"/>
                    </a:lnTo>
                    <a:lnTo>
                      <a:pt x="60008" y="14288"/>
                    </a:lnTo>
                    <a:lnTo>
                      <a:pt x="52388" y="3905"/>
                    </a:lnTo>
                    <a:lnTo>
                      <a:pt x="20955" y="0"/>
                    </a:lnTo>
                    <a:lnTo>
                      <a:pt x="6668" y="14288"/>
                    </a:lnTo>
                    <a:lnTo>
                      <a:pt x="0" y="31528"/>
                    </a:lnTo>
                    <a:lnTo>
                      <a:pt x="14288" y="39148"/>
                    </a:lnTo>
                    <a:lnTo>
                      <a:pt x="27623" y="31528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4" name="Freeform: Shape 523">
                <a:extLst>
                  <a:ext uri="{FF2B5EF4-FFF2-40B4-BE49-F238E27FC236}">
                    <a16:creationId xmlns:a16="http://schemas.microsoft.com/office/drawing/2014/main" id="{C7D1BC1D-D7C6-76E9-FCA7-8128B23C3144}"/>
                  </a:ext>
                </a:extLst>
              </p:cNvPr>
              <p:cNvSpPr/>
              <p:nvPr/>
            </p:nvSpPr>
            <p:spPr>
              <a:xfrm>
                <a:off x="6238488" y="3296179"/>
                <a:ext cx="23343" cy="44912"/>
              </a:xfrm>
              <a:custGeom>
                <a:avLst/>
                <a:gdLst>
                  <a:gd name="connsiteX0" fmla="*/ 6668 w 23812"/>
                  <a:gd name="connsiteY0" fmla="*/ 3905 h 45815"/>
                  <a:gd name="connsiteX1" fmla="*/ 0 w 23812"/>
                  <a:gd name="connsiteY1" fmla="*/ 10573 h 45815"/>
                  <a:gd name="connsiteX2" fmla="*/ 0 w 23812"/>
                  <a:gd name="connsiteY2" fmla="*/ 24860 h 45815"/>
                  <a:gd name="connsiteX3" fmla="*/ 0 w 23812"/>
                  <a:gd name="connsiteY3" fmla="*/ 39148 h 45815"/>
                  <a:gd name="connsiteX4" fmla="*/ 10477 w 23812"/>
                  <a:gd name="connsiteY4" fmla="*/ 45815 h 45815"/>
                  <a:gd name="connsiteX5" fmla="*/ 17145 w 23812"/>
                  <a:gd name="connsiteY5" fmla="*/ 31528 h 45815"/>
                  <a:gd name="connsiteX6" fmla="*/ 13335 w 23812"/>
                  <a:gd name="connsiteY6" fmla="*/ 20955 h 45815"/>
                  <a:gd name="connsiteX7" fmla="*/ 23813 w 23812"/>
                  <a:gd name="connsiteY7" fmla="*/ 18193 h 45815"/>
                  <a:gd name="connsiteX8" fmla="*/ 17145 w 23812"/>
                  <a:gd name="connsiteY8" fmla="*/ 0 h 45815"/>
                  <a:gd name="connsiteX9" fmla="*/ 6668 w 23812"/>
                  <a:gd name="connsiteY9" fmla="*/ 3905 h 4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812" h="45815">
                    <a:moveTo>
                      <a:pt x="6668" y="3905"/>
                    </a:moveTo>
                    <a:lnTo>
                      <a:pt x="0" y="10573"/>
                    </a:lnTo>
                    <a:lnTo>
                      <a:pt x="0" y="24860"/>
                    </a:lnTo>
                    <a:lnTo>
                      <a:pt x="0" y="39148"/>
                    </a:lnTo>
                    <a:lnTo>
                      <a:pt x="10477" y="45815"/>
                    </a:lnTo>
                    <a:lnTo>
                      <a:pt x="17145" y="31528"/>
                    </a:lnTo>
                    <a:lnTo>
                      <a:pt x="13335" y="20955"/>
                    </a:lnTo>
                    <a:lnTo>
                      <a:pt x="23813" y="18193"/>
                    </a:lnTo>
                    <a:lnTo>
                      <a:pt x="17145" y="0"/>
                    </a:lnTo>
                    <a:lnTo>
                      <a:pt x="6668" y="390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5" name="Freeform: Shape 524">
                <a:extLst>
                  <a:ext uri="{FF2B5EF4-FFF2-40B4-BE49-F238E27FC236}">
                    <a16:creationId xmlns:a16="http://schemas.microsoft.com/office/drawing/2014/main" id="{505BA704-9940-F379-BB9F-B4B92034D74C}"/>
                  </a:ext>
                </a:extLst>
              </p:cNvPr>
              <p:cNvSpPr/>
              <p:nvPr/>
            </p:nvSpPr>
            <p:spPr>
              <a:xfrm>
                <a:off x="6227283" y="3355097"/>
                <a:ext cx="34547" cy="65361"/>
              </a:xfrm>
              <a:custGeom>
                <a:avLst/>
                <a:gdLst>
                  <a:gd name="connsiteX0" fmla="*/ 32385 w 35242"/>
                  <a:gd name="connsiteY0" fmla="*/ 3715 h 66675"/>
                  <a:gd name="connsiteX1" fmla="*/ 18098 w 35242"/>
                  <a:gd name="connsiteY1" fmla="*/ 0 h 66675"/>
                  <a:gd name="connsiteX2" fmla="*/ 14288 w 35242"/>
                  <a:gd name="connsiteY2" fmla="*/ 6572 h 66675"/>
                  <a:gd name="connsiteX3" fmla="*/ 3810 w 35242"/>
                  <a:gd name="connsiteY3" fmla="*/ 6572 h 66675"/>
                  <a:gd name="connsiteX4" fmla="*/ 0 w 35242"/>
                  <a:gd name="connsiteY4" fmla="*/ 20860 h 66675"/>
                  <a:gd name="connsiteX5" fmla="*/ 7620 w 35242"/>
                  <a:gd name="connsiteY5" fmla="*/ 28575 h 66675"/>
                  <a:gd name="connsiteX6" fmla="*/ 7620 w 35242"/>
                  <a:gd name="connsiteY6" fmla="*/ 45720 h 66675"/>
                  <a:gd name="connsiteX7" fmla="*/ 7620 w 35242"/>
                  <a:gd name="connsiteY7" fmla="*/ 63722 h 66675"/>
                  <a:gd name="connsiteX8" fmla="*/ 18098 w 35242"/>
                  <a:gd name="connsiteY8" fmla="*/ 66675 h 66675"/>
                  <a:gd name="connsiteX9" fmla="*/ 24765 w 35242"/>
                  <a:gd name="connsiteY9" fmla="*/ 60008 h 66675"/>
                  <a:gd name="connsiteX10" fmla="*/ 35243 w 35242"/>
                  <a:gd name="connsiteY10" fmla="*/ 49435 h 66675"/>
                  <a:gd name="connsiteX11" fmla="*/ 32385 w 35242"/>
                  <a:gd name="connsiteY11" fmla="*/ 24765 h 66675"/>
                  <a:gd name="connsiteX12" fmla="*/ 35243 w 35242"/>
                  <a:gd name="connsiteY12" fmla="*/ 10477 h 66675"/>
                  <a:gd name="connsiteX13" fmla="*/ 32385 w 35242"/>
                  <a:gd name="connsiteY13" fmla="*/ 3715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5242" h="66675">
                    <a:moveTo>
                      <a:pt x="32385" y="3715"/>
                    </a:moveTo>
                    <a:lnTo>
                      <a:pt x="18098" y="0"/>
                    </a:lnTo>
                    <a:lnTo>
                      <a:pt x="14288" y="6572"/>
                    </a:lnTo>
                    <a:lnTo>
                      <a:pt x="3810" y="6572"/>
                    </a:lnTo>
                    <a:lnTo>
                      <a:pt x="0" y="20860"/>
                    </a:lnTo>
                    <a:lnTo>
                      <a:pt x="7620" y="28575"/>
                    </a:lnTo>
                    <a:lnTo>
                      <a:pt x="7620" y="45720"/>
                    </a:lnTo>
                    <a:lnTo>
                      <a:pt x="7620" y="63722"/>
                    </a:lnTo>
                    <a:lnTo>
                      <a:pt x="18098" y="66675"/>
                    </a:lnTo>
                    <a:lnTo>
                      <a:pt x="24765" y="60008"/>
                    </a:lnTo>
                    <a:lnTo>
                      <a:pt x="35243" y="49435"/>
                    </a:lnTo>
                    <a:lnTo>
                      <a:pt x="32385" y="24765"/>
                    </a:lnTo>
                    <a:lnTo>
                      <a:pt x="35243" y="10477"/>
                    </a:lnTo>
                    <a:lnTo>
                      <a:pt x="32385" y="3715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6" name="Freeform: Shape 525">
                <a:extLst>
                  <a:ext uri="{FF2B5EF4-FFF2-40B4-BE49-F238E27FC236}">
                    <a16:creationId xmlns:a16="http://schemas.microsoft.com/office/drawing/2014/main" id="{3AFAAF4D-BB04-458F-5812-51FA4DF612B5}"/>
                  </a:ext>
                </a:extLst>
              </p:cNvPr>
              <p:cNvSpPr/>
              <p:nvPr/>
            </p:nvSpPr>
            <p:spPr>
              <a:xfrm>
                <a:off x="6346800" y="3452112"/>
                <a:ext cx="72831" cy="41177"/>
              </a:xfrm>
              <a:custGeom>
                <a:avLst/>
                <a:gdLst>
                  <a:gd name="connsiteX0" fmla="*/ 28575 w 74295"/>
                  <a:gd name="connsiteY0" fmla="*/ 0 h 42005"/>
                  <a:gd name="connsiteX1" fmla="*/ 3810 w 74295"/>
                  <a:gd name="connsiteY1" fmla="*/ 0 h 42005"/>
                  <a:gd name="connsiteX2" fmla="*/ 0 w 74295"/>
                  <a:gd name="connsiteY2" fmla="*/ 14288 h 42005"/>
                  <a:gd name="connsiteX3" fmla="*/ 18098 w 74295"/>
                  <a:gd name="connsiteY3" fmla="*/ 17145 h 42005"/>
                  <a:gd name="connsiteX4" fmla="*/ 28575 w 74295"/>
                  <a:gd name="connsiteY4" fmla="*/ 27718 h 42005"/>
                  <a:gd name="connsiteX5" fmla="*/ 45720 w 74295"/>
                  <a:gd name="connsiteY5" fmla="*/ 27718 h 42005"/>
                  <a:gd name="connsiteX6" fmla="*/ 60008 w 74295"/>
                  <a:gd name="connsiteY6" fmla="*/ 42005 h 42005"/>
                  <a:gd name="connsiteX7" fmla="*/ 66675 w 74295"/>
                  <a:gd name="connsiteY7" fmla="*/ 31433 h 42005"/>
                  <a:gd name="connsiteX8" fmla="*/ 63818 w 74295"/>
                  <a:gd name="connsiteY8" fmla="*/ 17145 h 42005"/>
                  <a:gd name="connsiteX9" fmla="*/ 74295 w 74295"/>
                  <a:gd name="connsiteY9" fmla="*/ 6763 h 42005"/>
                  <a:gd name="connsiteX10" fmla="*/ 74295 w 74295"/>
                  <a:gd name="connsiteY10" fmla="*/ 0 h 42005"/>
                  <a:gd name="connsiteX11" fmla="*/ 45720 w 74295"/>
                  <a:gd name="connsiteY11" fmla="*/ 0 h 42005"/>
                  <a:gd name="connsiteX12" fmla="*/ 28575 w 74295"/>
                  <a:gd name="connsiteY12" fmla="*/ 0 h 420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74295" h="42005">
                    <a:moveTo>
                      <a:pt x="28575" y="0"/>
                    </a:moveTo>
                    <a:lnTo>
                      <a:pt x="3810" y="0"/>
                    </a:lnTo>
                    <a:lnTo>
                      <a:pt x="0" y="14288"/>
                    </a:lnTo>
                    <a:lnTo>
                      <a:pt x="18098" y="17145"/>
                    </a:lnTo>
                    <a:lnTo>
                      <a:pt x="28575" y="27718"/>
                    </a:lnTo>
                    <a:lnTo>
                      <a:pt x="45720" y="27718"/>
                    </a:lnTo>
                    <a:lnTo>
                      <a:pt x="60008" y="42005"/>
                    </a:lnTo>
                    <a:lnTo>
                      <a:pt x="66675" y="31433"/>
                    </a:lnTo>
                    <a:lnTo>
                      <a:pt x="63818" y="17145"/>
                    </a:lnTo>
                    <a:lnTo>
                      <a:pt x="74295" y="6763"/>
                    </a:lnTo>
                    <a:lnTo>
                      <a:pt x="74295" y="0"/>
                    </a:lnTo>
                    <a:lnTo>
                      <a:pt x="45720" y="0"/>
                    </a:lnTo>
                    <a:lnTo>
                      <a:pt x="28575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7" name="Freeform: Shape 526">
                <a:extLst>
                  <a:ext uri="{FF2B5EF4-FFF2-40B4-BE49-F238E27FC236}">
                    <a16:creationId xmlns:a16="http://schemas.microsoft.com/office/drawing/2014/main" id="{AF412E5A-2947-E06A-8323-2D1AE11D0FEB}"/>
                  </a:ext>
                </a:extLst>
              </p:cNvPr>
              <p:cNvSpPr/>
              <p:nvPr/>
            </p:nvSpPr>
            <p:spPr>
              <a:xfrm>
                <a:off x="9961247" y="5726777"/>
                <a:ext cx="99908" cy="99909"/>
              </a:xfrm>
              <a:custGeom>
                <a:avLst/>
                <a:gdLst>
                  <a:gd name="connsiteX0" fmla="*/ 70485 w 101917"/>
                  <a:gd name="connsiteY0" fmla="*/ 17050 h 101917"/>
                  <a:gd name="connsiteX1" fmla="*/ 45720 w 101917"/>
                  <a:gd name="connsiteY1" fmla="*/ 20955 h 101917"/>
                  <a:gd name="connsiteX2" fmla="*/ 20955 w 101917"/>
                  <a:gd name="connsiteY2" fmla="*/ 10478 h 101917"/>
                  <a:gd name="connsiteX3" fmla="*/ 3810 w 101917"/>
                  <a:gd name="connsiteY3" fmla="*/ 0 h 101917"/>
                  <a:gd name="connsiteX4" fmla="*/ 0 w 101917"/>
                  <a:gd name="connsiteY4" fmla="*/ 20955 h 101917"/>
                  <a:gd name="connsiteX5" fmla="*/ 14288 w 101917"/>
                  <a:gd name="connsiteY5" fmla="*/ 31337 h 101917"/>
                  <a:gd name="connsiteX6" fmla="*/ 20955 w 101917"/>
                  <a:gd name="connsiteY6" fmla="*/ 45625 h 101917"/>
                  <a:gd name="connsiteX7" fmla="*/ 18097 w 101917"/>
                  <a:gd name="connsiteY7" fmla="*/ 70390 h 101917"/>
                  <a:gd name="connsiteX8" fmla="*/ 28575 w 101917"/>
                  <a:gd name="connsiteY8" fmla="*/ 84677 h 101917"/>
                  <a:gd name="connsiteX9" fmla="*/ 42863 w 101917"/>
                  <a:gd name="connsiteY9" fmla="*/ 98012 h 101917"/>
                  <a:gd name="connsiteX10" fmla="*/ 56197 w 101917"/>
                  <a:gd name="connsiteY10" fmla="*/ 101918 h 101917"/>
                  <a:gd name="connsiteX11" fmla="*/ 70485 w 101917"/>
                  <a:gd name="connsiteY11" fmla="*/ 87630 h 101917"/>
                  <a:gd name="connsiteX12" fmla="*/ 74295 w 101917"/>
                  <a:gd name="connsiteY12" fmla="*/ 80963 h 101917"/>
                  <a:gd name="connsiteX13" fmla="*/ 84772 w 101917"/>
                  <a:gd name="connsiteY13" fmla="*/ 80963 h 101917"/>
                  <a:gd name="connsiteX14" fmla="*/ 91440 w 101917"/>
                  <a:gd name="connsiteY14" fmla="*/ 73343 h 101917"/>
                  <a:gd name="connsiteX15" fmla="*/ 95250 w 101917"/>
                  <a:gd name="connsiteY15" fmla="*/ 59912 h 101917"/>
                  <a:gd name="connsiteX16" fmla="*/ 101918 w 101917"/>
                  <a:gd name="connsiteY16" fmla="*/ 45625 h 101917"/>
                  <a:gd name="connsiteX17" fmla="*/ 101918 w 101917"/>
                  <a:gd name="connsiteY17" fmla="*/ 17050 h 101917"/>
                  <a:gd name="connsiteX18" fmla="*/ 91440 w 101917"/>
                  <a:gd name="connsiteY18" fmla="*/ 14288 h 101917"/>
                  <a:gd name="connsiteX19" fmla="*/ 70485 w 101917"/>
                  <a:gd name="connsiteY19" fmla="*/ 17050 h 101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01917" h="101917">
                    <a:moveTo>
                      <a:pt x="70485" y="17050"/>
                    </a:moveTo>
                    <a:lnTo>
                      <a:pt x="45720" y="20955"/>
                    </a:lnTo>
                    <a:lnTo>
                      <a:pt x="20955" y="10478"/>
                    </a:lnTo>
                    <a:lnTo>
                      <a:pt x="3810" y="0"/>
                    </a:lnTo>
                    <a:lnTo>
                      <a:pt x="0" y="20955"/>
                    </a:lnTo>
                    <a:lnTo>
                      <a:pt x="14288" y="31337"/>
                    </a:lnTo>
                    <a:lnTo>
                      <a:pt x="20955" y="45625"/>
                    </a:lnTo>
                    <a:lnTo>
                      <a:pt x="18097" y="70390"/>
                    </a:lnTo>
                    <a:lnTo>
                      <a:pt x="28575" y="84677"/>
                    </a:lnTo>
                    <a:lnTo>
                      <a:pt x="42863" y="98012"/>
                    </a:lnTo>
                    <a:lnTo>
                      <a:pt x="56197" y="101918"/>
                    </a:lnTo>
                    <a:lnTo>
                      <a:pt x="70485" y="87630"/>
                    </a:lnTo>
                    <a:lnTo>
                      <a:pt x="74295" y="80963"/>
                    </a:lnTo>
                    <a:lnTo>
                      <a:pt x="84772" y="80963"/>
                    </a:lnTo>
                    <a:lnTo>
                      <a:pt x="91440" y="73343"/>
                    </a:lnTo>
                    <a:lnTo>
                      <a:pt x="95250" y="59912"/>
                    </a:lnTo>
                    <a:lnTo>
                      <a:pt x="101918" y="45625"/>
                    </a:lnTo>
                    <a:lnTo>
                      <a:pt x="101918" y="17050"/>
                    </a:lnTo>
                    <a:lnTo>
                      <a:pt x="91440" y="14288"/>
                    </a:lnTo>
                    <a:lnTo>
                      <a:pt x="70485" y="1705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8" name="Freeform: Shape 527">
                <a:extLst>
                  <a:ext uri="{FF2B5EF4-FFF2-40B4-BE49-F238E27FC236}">
                    <a16:creationId xmlns:a16="http://schemas.microsoft.com/office/drawing/2014/main" id="{B4191326-D812-834D-77DA-490C42CE1943}"/>
                  </a:ext>
                </a:extLst>
              </p:cNvPr>
              <p:cNvSpPr/>
              <p:nvPr/>
            </p:nvSpPr>
            <p:spPr>
              <a:xfrm>
                <a:off x="8974300" y="3990968"/>
                <a:ext cx="65361" cy="52289"/>
              </a:xfrm>
              <a:custGeom>
                <a:avLst/>
                <a:gdLst>
                  <a:gd name="connsiteX0" fmla="*/ 35243 w 66675"/>
                  <a:gd name="connsiteY0" fmla="*/ 0 h 53340"/>
                  <a:gd name="connsiteX1" fmla="*/ 17145 w 66675"/>
                  <a:gd name="connsiteY1" fmla="*/ 10478 h 53340"/>
                  <a:gd name="connsiteX2" fmla="*/ 0 w 66675"/>
                  <a:gd name="connsiteY2" fmla="*/ 18097 h 53340"/>
                  <a:gd name="connsiteX3" fmla="*/ 0 w 66675"/>
                  <a:gd name="connsiteY3" fmla="*/ 35147 h 53340"/>
                  <a:gd name="connsiteX4" fmla="*/ 10477 w 66675"/>
                  <a:gd name="connsiteY4" fmla="*/ 49435 h 53340"/>
                  <a:gd name="connsiteX5" fmla="*/ 27623 w 66675"/>
                  <a:gd name="connsiteY5" fmla="*/ 53340 h 53340"/>
                  <a:gd name="connsiteX6" fmla="*/ 38100 w 66675"/>
                  <a:gd name="connsiteY6" fmla="*/ 45625 h 53340"/>
                  <a:gd name="connsiteX7" fmla="*/ 52388 w 66675"/>
                  <a:gd name="connsiteY7" fmla="*/ 42863 h 53340"/>
                  <a:gd name="connsiteX8" fmla="*/ 52388 w 66675"/>
                  <a:gd name="connsiteY8" fmla="*/ 24765 h 53340"/>
                  <a:gd name="connsiteX9" fmla="*/ 60007 w 66675"/>
                  <a:gd name="connsiteY9" fmla="*/ 14288 h 53340"/>
                  <a:gd name="connsiteX10" fmla="*/ 66675 w 66675"/>
                  <a:gd name="connsiteY10" fmla="*/ 3810 h 53340"/>
                  <a:gd name="connsiteX11" fmla="*/ 52388 w 66675"/>
                  <a:gd name="connsiteY11" fmla="*/ 0 h 53340"/>
                  <a:gd name="connsiteX12" fmla="*/ 35243 w 66675"/>
                  <a:gd name="connsiteY12" fmla="*/ 0 h 53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6675" h="53340">
                    <a:moveTo>
                      <a:pt x="35243" y="0"/>
                    </a:moveTo>
                    <a:lnTo>
                      <a:pt x="17145" y="10478"/>
                    </a:lnTo>
                    <a:lnTo>
                      <a:pt x="0" y="18097"/>
                    </a:lnTo>
                    <a:lnTo>
                      <a:pt x="0" y="35147"/>
                    </a:lnTo>
                    <a:lnTo>
                      <a:pt x="10477" y="49435"/>
                    </a:lnTo>
                    <a:lnTo>
                      <a:pt x="27623" y="53340"/>
                    </a:lnTo>
                    <a:lnTo>
                      <a:pt x="38100" y="45625"/>
                    </a:lnTo>
                    <a:lnTo>
                      <a:pt x="52388" y="42863"/>
                    </a:lnTo>
                    <a:lnTo>
                      <a:pt x="52388" y="24765"/>
                    </a:lnTo>
                    <a:lnTo>
                      <a:pt x="60007" y="14288"/>
                    </a:lnTo>
                    <a:lnTo>
                      <a:pt x="66675" y="3810"/>
                    </a:lnTo>
                    <a:lnTo>
                      <a:pt x="52388" y="0"/>
                    </a:lnTo>
                    <a:lnTo>
                      <a:pt x="35243" y="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29" name="Freeform: Shape 528">
                <a:extLst>
                  <a:ext uri="{FF2B5EF4-FFF2-40B4-BE49-F238E27FC236}">
                    <a16:creationId xmlns:a16="http://schemas.microsoft.com/office/drawing/2014/main" id="{0C0A7B8E-9848-4045-2272-3637F2C32E86}"/>
                  </a:ext>
                </a:extLst>
              </p:cNvPr>
              <p:cNvSpPr/>
              <p:nvPr/>
            </p:nvSpPr>
            <p:spPr>
              <a:xfrm>
                <a:off x="6564358" y="3109432"/>
                <a:ext cx="244635" cy="155933"/>
              </a:xfrm>
              <a:custGeom>
                <a:avLst/>
                <a:gdLst>
                  <a:gd name="connsiteX0" fmla="*/ 211455 w 249554"/>
                  <a:gd name="connsiteY0" fmla="*/ 49530 h 159067"/>
                  <a:gd name="connsiteX1" fmla="*/ 190500 w 249554"/>
                  <a:gd name="connsiteY1" fmla="*/ 28575 h 159067"/>
                  <a:gd name="connsiteX2" fmla="*/ 186690 w 249554"/>
                  <a:gd name="connsiteY2" fmla="*/ 18193 h 159067"/>
                  <a:gd name="connsiteX3" fmla="*/ 180022 w 249554"/>
                  <a:gd name="connsiteY3" fmla="*/ 0 h 159067"/>
                  <a:gd name="connsiteX4" fmla="*/ 158115 w 249554"/>
                  <a:gd name="connsiteY4" fmla="*/ 0 h 159067"/>
                  <a:gd name="connsiteX5" fmla="*/ 151447 w 249554"/>
                  <a:gd name="connsiteY5" fmla="*/ 14288 h 159067"/>
                  <a:gd name="connsiteX6" fmla="*/ 116205 w 249554"/>
                  <a:gd name="connsiteY6" fmla="*/ 14288 h 159067"/>
                  <a:gd name="connsiteX7" fmla="*/ 95250 w 249554"/>
                  <a:gd name="connsiteY7" fmla="*/ 3905 h 159067"/>
                  <a:gd name="connsiteX8" fmla="*/ 80963 w 249554"/>
                  <a:gd name="connsiteY8" fmla="*/ 7715 h 159067"/>
                  <a:gd name="connsiteX9" fmla="*/ 56197 w 249554"/>
                  <a:gd name="connsiteY9" fmla="*/ 18193 h 159067"/>
                  <a:gd name="connsiteX10" fmla="*/ 41910 w 249554"/>
                  <a:gd name="connsiteY10" fmla="*/ 28575 h 159067"/>
                  <a:gd name="connsiteX11" fmla="*/ 24765 w 249554"/>
                  <a:gd name="connsiteY11" fmla="*/ 53435 h 159067"/>
                  <a:gd name="connsiteX12" fmla="*/ 0 w 249554"/>
                  <a:gd name="connsiteY12" fmla="*/ 78105 h 159067"/>
                  <a:gd name="connsiteX13" fmla="*/ 3810 w 249554"/>
                  <a:gd name="connsiteY13" fmla="*/ 91535 h 159067"/>
                  <a:gd name="connsiteX14" fmla="*/ 14288 w 249554"/>
                  <a:gd name="connsiteY14" fmla="*/ 105823 h 159067"/>
                  <a:gd name="connsiteX15" fmla="*/ 28575 w 249554"/>
                  <a:gd name="connsiteY15" fmla="*/ 126778 h 159067"/>
                  <a:gd name="connsiteX16" fmla="*/ 56197 w 249554"/>
                  <a:gd name="connsiteY16" fmla="*/ 130492 h 159067"/>
                  <a:gd name="connsiteX17" fmla="*/ 56197 w 249554"/>
                  <a:gd name="connsiteY17" fmla="*/ 148685 h 159067"/>
                  <a:gd name="connsiteX18" fmla="*/ 77152 w 249554"/>
                  <a:gd name="connsiteY18" fmla="*/ 155353 h 159067"/>
                  <a:gd name="connsiteX19" fmla="*/ 126682 w 249554"/>
                  <a:gd name="connsiteY19" fmla="*/ 155353 h 159067"/>
                  <a:gd name="connsiteX20" fmla="*/ 147638 w 249554"/>
                  <a:gd name="connsiteY20" fmla="*/ 155353 h 159067"/>
                  <a:gd name="connsiteX21" fmla="*/ 161925 w 249554"/>
                  <a:gd name="connsiteY21" fmla="*/ 141065 h 159067"/>
                  <a:gd name="connsiteX22" fmla="*/ 186690 w 249554"/>
                  <a:gd name="connsiteY22" fmla="*/ 148685 h 159067"/>
                  <a:gd name="connsiteX23" fmla="*/ 207645 w 249554"/>
                  <a:gd name="connsiteY23" fmla="*/ 159067 h 159067"/>
                  <a:gd name="connsiteX24" fmla="*/ 218122 w 249554"/>
                  <a:gd name="connsiteY24" fmla="*/ 159067 h 159067"/>
                  <a:gd name="connsiteX25" fmla="*/ 221932 w 249554"/>
                  <a:gd name="connsiteY25" fmla="*/ 138113 h 159067"/>
                  <a:gd name="connsiteX26" fmla="*/ 228600 w 249554"/>
                  <a:gd name="connsiteY26" fmla="*/ 126778 h 159067"/>
                  <a:gd name="connsiteX27" fmla="*/ 242888 w 249554"/>
                  <a:gd name="connsiteY27" fmla="*/ 120110 h 159067"/>
                  <a:gd name="connsiteX28" fmla="*/ 249555 w 249554"/>
                  <a:gd name="connsiteY28" fmla="*/ 109538 h 159067"/>
                  <a:gd name="connsiteX29" fmla="*/ 239077 w 249554"/>
                  <a:gd name="connsiteY29" fmla="*/ 99155 h 159067"/>
                  <a:gd name="connsiteX30" fmla="*/ 232410 w 249554"/>
                  <a:gd name="connsiteY30" fmla="*/ 105823 h 159067"/>
                  <a:gd name="connsiteX31" fmla="*/ 215265 w 249554"/>
                  <a:gd name="connsiteY31" fmla="*/ 102965 h 159067"/>
                  <a:gd name="connsiteX32" fmla="*/ 211455 w 249554"/>
                  <a:gd name="connsiteY32" fmla="*/ 91535 h 159067"/>
                  <a:gd name="connsiteX33" fmla="*/ 207645 w 249554"/>
                  <a:gd name="connsiteY33" fmla="*/ 74390 h 159067"/>
                  <a:gd name="connsiteX34" fmla="*/ 215265 w 249554"/>
                  <a:gd name="connsiteY34" fmla="*/ 56293 h 159067"/>
                  <a:gd name="connsiteX35" fmla="*/ 211455 w 249554"/>
                  <a:gd name="connsiteY35" fmla="*/ 49530 h 1590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249554" h="159067">
                    <a:moveTo>
                      <a:pt x="211455" y="49530"/>
                    </a:moveTo>
                    <a:lnTo>
                      <a:pt x="190500" y="28575"/>
                    </a:lnTo>
                    <a:lnTo>
                      <a:pt x="186690" y="18193"/>
                    </a:lnTo>
                    <a:lnTo>
                      <a:pt x="180022" y="0"/>
                    </a:lnTo>
                    <a:lnTo>
                      <a:pt x="158115" y="0"/>
                    </a:lnTo>
                    <a:lnTo>
                      <a:pt x="151447" y="14288"/>
                    </a:lnTo>
                    <a:lnTo>
                      <a:pt x="116205" y="14288"/>
                    </a:lnTo>
                    <a:lnTo>
                      <a:pt x="95250" y="3905"/>
                    </a:lnTo>
                    <a:lnTo>
                      <a:pt x="80963" y="7715"/>
                    </a:lnTo>
                    <a:lnTo>
                      <a:pt x="56197" y="18193"/>
                    </a:lnTo>
                    <a:lnTo>
                      <a:pt x="41910" y="28575"/>
                    </a:lnTo>
                    <a:lnTo>
                      <a:pt x="24765" y="53435"/>
                    </a:lnTo>
                    <a:lnTo>
                      <a:pt x="0" y="78105"/>
                    </a:lnTo>
                    <a:lnTo>
                      <a:pt x="3810" y="91535"/>
                    </a:lnTo>
                    <a:lnTo>
                      <a:pt x="14288" y="105823"/>
                    </a:lnTo>
                    <a:lnTo>
                      <a:pt x="28575" y="126778"/>
                    </a:lnTo>
                    <a:lnTo>
                      <a:pt x="56197" y="130492"/>
                    </a:lnTo>
                    <a:lnTo>
                      <a:pt x="56197" y="148685"/>
                    </a:lnTo>
                    <a:lnTo>
                      <a:pt x="77152" y="155353"/>
                    </a:lnTo>
                    <a:lnTo>
                      <a:pt x="126682" y="155353"/>
                    </a:lnTo>
                    <a:lnTo>
                      <a:pt x="147638" y="155353"/>
                    </a:lnTo>
                    <a:lnTo>
                      <a:pt x="161925" y="141065"/>
                    </a:lnTo>
                    <a:lnTo>
                      <a:pt x="186690" y="148685"/>
                    </a:lnTo>
                    <a:lnTo>
                      <a:pt x="207645" y="159067"/>
                    </a:lnTo>
                    <a:lnTo>
                      <a:pt x="218122" y="159067"/>
                    </a:lnTo>
                    <a:lnTo>
                      <a:pt x="221932" y="138113"/>
                    </a:lnTo>
                    <a:lnTo>
                      <a:pt x="228600" y="126778"/>
                    </a:lnTo>
                    <a:lnTo>
                      <a:pt x="242888" y="120110"/>
                    </a:lnTo>
                    <a:lnTo>
                      <a:pt x="249555" y="109538"/>
                    </a:lnTo>
                    <a:lnTo>
                      <a:pt x="239077" y="99155"/>
                    </a:lnTo>
                    <a:lnTo>
                      <a:pt x="232410" y="105823"/>
                    </a:lnTo>
                    <a:lnTo>
                      <a:pt x="215265" y="102965"/>
                    </a:lnTo>
                    <a:lnTo>
                      <a:pt x="211455" y="91535"/>
                    </a:lnTo>
                    <a:lnTo>
                      <a:pt x="207645" y="74390"/>
                    </a:lnTo>
                    <a:lnTo>
                      <a:pt x="215265" y="56293"/>
                    </a:lnTo>
                    <a:lnTo>
                      <a:pt x="211455" y="49530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30" name="Freeform: Shape 529">
                <a:extLst>
                  <a:ext uri="{FF2B5EF4-FFF2-40B4-BE49-F238E27FC236}">
                    <a16:creationId xmlns:a16="http://schemas.microsoft.com/office/drawing/2014/main" id="{AA18E65E-B2CD-8824-9827-9A29B9435196}"/>
                  </a:ext>
                </a:extLst>
              </p:cNvPr>
              <p:cNvSpPr/>
              <p:nvPr/>
            </p:nvSpPr>
            <p:spPr>
              <a:xfrm>
                <a:off x="6643724" y="4213103"/>
                <a:ext cx="286653" cy="92439"/>
              </a:xfrm>
              <a:custGeom>
                <a:avLst/>
                <a:gdLst>
                  <a:gd name="connsiteX0" fmla="*/ 0 w 292417"/>
                  <a:gd name="connsiteY0" fmla="*/ 94297 h 94297"/>
                  <a:gd name="connsiteX1" fmla="*/ 27622 w 292417"/>
                  <a:gd name="connsiteY1" fmla="*/ 76200 h 94297"/>
                  <a:gd name="connsiteX2" fmla="*/ 48577 w 292417"/>
                  <a:gd name="connsiteY2" fmla="*/ 76200 h 94297"/>
                  <a:gd name="connsiteX3" fmla="*/ 67627 w 292417"/>
                  <a:gd name="connsiteY3" fmla="*/ 57150 h 94297"/>
                  <a:gd name="connsiteX4" fmla="*/ 79057 w 292417"/>
                  <a:gd name="connsiteY4" fmla="*/ 57150 h 94297"/>
                  <a:gd name="connsiteX5" fmla="*/ 100013 w 292417"/>
                  <a:gd name="connsiteY5" fmla="*/ 73343 h 94297"/>
                  <a:gd name="connsiteX6" fmla="*/ 126682 w 292417"/>
                  <a:gd name="connsiteY6" fmla="*/ 80010 h 94297"/>
                  <a:gd name="connsiteX7" fmla="*/ 140970 w 292417"/>
                  <a:gd name="connsiteY7" fmla="*/ 92393 h 94297"/>
                  <a:gd name="connsiteX8" fmla="*/ 180975 w 292417"/>
                  <a:gd name="connsiteY8" fmla="*/ 63818 h 94297"/>
                  <a:gd name="connsiteX9" fmla="*/ 200025 w 292417"/>
                  <a:gd name="connsiteY9" fmla="*/ 67628 h 94297"/>
                  <a:gd name="connsiteX10" fmla="*/ 214313 w 292417"/>
                  <a:gd name="connsiteY10" fmla="*/ 80010 h 94297"/>
                  <a:gd name="connsiteX11" fmla="*/ 235267 w 292417"/>
                  <a:gd name="connsiteY11" fmla="*/ 21907 h 94297"/>
                  <a:gd name="connsiteX12" fmla="*/ 249555 w 292417"/>
                  <a:gd name="connsiteY12" fmla="*/ 21907 h 94297"/>
                  <a:gd name="connsiteX13" fmla="*/ 263842 w 292417"/>
                  <a:gd name="connsiteY13" fmla="*/ 0 h 94297"/>
                  <a:gd name="connsiteX14" fmla="*/ 277177 w 292417"/>
                  <a:gd name="connsiteY14" fmla="*/ 46672 h 94297"/>
                  <a:gd name="connsiteX15" fmla="*/ 281940 w 292417"/>
                  <a:gd name="connsiteY15" fmla="*/ 63818 h 94297"/>
                  <a:gd name="connsiteX16" fmla="*/ 292417 w 292417"/>
                  <a:gd name="connsiteY16" fmla="*/ 76200 h 94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92417" h="94297">
                    <a:moveTo>
                      <a:pt x="0" y="94297"/>
                    </a:moveTo>
                    <a:lnTo>
                      <a:pt x="27622" y="76200"/>
                    </a:lnTo>
                    <a:lnTo>
                      <a:pt x="48577" y="76200"/>
                    </a:lnTo>
                    <a:lnTo>
                      <a:pt x="67627" y="57150"/>
                    </a:lnTo>
                    <a:cubicBezTo>
                      <a:pt x="67627" y="57150"/>
                      <a:pt x="69532" y="51435"/>
                      <a:pt x="79057" y="57150"/>
                    </a:cubicBezTo>
                    <a:cubicBezTo>
                      <a:pt x="88582" y="62865"/>
                      <a:pt x="100013" y="73343"/>
                      <a:pt x="100013" y="73343"/>
                    </a:cubicBezTo>
                    <a:lnTo>
                      <a:pt x="126682" y="80010"/>
                    </a:lnTo>
                    <a:lnTo>
                      <a:pt x="140970" y="92393"/>
                    </a:lnTo>
                    <a:lnTo>
                      <a:pt x="180975" y="63818"/>
                    </a:lnTo>
                    <a:lnTo>
                      <a:pt x="200025" y="67628"/>
                    </a:lnTo>
                    <a:lnTo>
                      <a:pt x="214313" y="80010"/>
                    </a:lnTo>
                    <a:lnTo>
                      <a:pt x="235267" y="21907"/>
                    </a:lnTo>
                    <a:lnTo>
                      <a:pt x="249555" y="21907"/>
                    </a:lnTo>
                    <a:lnTo>
                      <a:pt x="263842" y="0"/>
                    </a:lnTo>
                    <a:lnTo>
                      <a:pt x="277177" y="46672"/>
                    </a:lnTo>
                    <a:lnTo>
                      <a:pt x="281940" y="63818"/>
                    </a:lnTo>
                    <a:lnTo>
                      <a:pt x="292417" y="76200"/>
                    </a:lnTo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31" name="Freeform: Shape 530">
                <a:extLst>
                  <a:ext uri="{FF2B5EF4-FFF2-40B4-BE49-F238E27FC236}">
                    <a16:creationId xmlns:a16="http://schemas.microsoft.com/office/drawing/2014/main" id="{5EE16C18-A399-7CA0-B809-89135B8E3D09}"/>
                  </a:ext>
                </a:extLst>
              </p:cNvPr>
              <p:cNvSpPr/>
              <p:nvPr/>
            </p:nvSpPr>
            <p:spPr>
              <a:xfrm>
                <a:off x="8014432" y="2919885"/>
                <a:ext cx="1677902" cy="1057078"/>
              </a:xfrm>
              <a:custGeom>
                <a:avLst/>
                <a:gdLst>
                  <a:gd name="connsiteX0" fmla="*/ 1633538 w 1711642"/>
                  <a:gd name="connsiteY0" fmla="*/ 296323 h 1078325"/>
                  <a:gd name="connsiteX1" fmla="*/ 1644968 w 1711642"/>
                  <a:gd name="connsiteY1" fmla="*/ 306800 h 1078325"/>
                  <a:gd name="connsiteX2" fmla="*/ 1665922 w 1711642"/>
                  <a:gd name="connsiteY2" fmla="*/ 302895 h 1078325"/>
                  <a:gd name="connsiteX3" fmla="*/ 1686877 w 1711642"/>
                  <a:gd name="connsiteY3" fmla="*/ 263938 h 1078325"/>
                  <a:gd name="connsiteX4" fmla="*/ 1697355 w 1711642"/>
                  <a:gd name="connsiteY4" fmla="*/ 225838 h 1078325"/>
                  <a:gd name="connsiteX5" fmla="*/ 1711643 w 1711642"/>
                  <a:gd name="connsiteY5" fmla="*/ 218218 h 1078325"/>
                  <a:gd name="connsiteX6" fmla="*/ 1707832 w 1711642"/>
                  <a:gd name="connsiteY6" fmla="*/ 193358 h 1078325"/>
                  <a:gd name="connsiteX7" fmla="*/ 1680210 w 1711642"/>
                  <a:gd name="connsiteY7" fmla="*/ 197263 h 1078325"/>
                  <a:gd name="connsiteX8" fmla="*/ 1655445 w 1711642"/>
                  <a:gd name="connsiteY8" fmla="*/ 201073 h 1078325"/>
                  <a:gd name="connsiteX9" fmla="*/ 1644968 w 1711642"/>
                  <a:gd name="connsiteY9" fmla="*/ 214313 h 1078325"/>
                  <a:gd name="connsiteX10" fmla="*/ 1605915 w 1711642"/>
                  <a:gd name="connsiteY10" fmla="*/ 211550 h 1078325"/>
                  <a:gd name="connsiteX11" fmla="*/ 1599247 w 1711642"/>
                  <a:gd name="connsiteY11" fmla="*/ 176213 h 1078325"/>
                  <a:gd name="connsiteX12" fmla="*/ 1587818 w 1711642"/>
                  <a:gd name="connsiteY12" fmla="*/ 172498 h 1078325"/>
                  <a:gd name="connsiteX13" fmla="*/ 1564005 w 1711642"/>
                  <a:gd name="connsiteY13" fmla="*/ 158210 h 1078325"/>
                  <a:gd name="connsiteX14" fmla="*/ 1545907 w 1711642"/>
                  <a:gd name="connsiteY14" fmla="*/ 147638 h 1078325"/>
                  <a:gd name="connsiteX15" fmla="*/ 1517332 w 1711642"/>
                  <a:gd name="connsiteY15" fmla="*/ 147638 h 1078325"/>
                  <a:gd name="connsiteX16" fmla="*/ 1498282 w 1711642"/>
                  <a:gd name="connsiteY16" fmla="*/ 102013 h 1078325"/>
                  <a:gd name="connsiteX17" fmla="*/ 1493520 w 1711642"/>
                  <a:gd name="connsiteY17" fmla="*/ 91535 h 1078325"/>
                  <a:gd name="connsiteX18" fmla="*/ 1479232 w 1711642"/>
                  <a:gd name="connsiteY18" fmla="*/ 56293 h 1078325"/>
                  <a:gd name="connsiteX19" fmla="*/ 1458277 w 1711642"/>
                  <a:gd name="connsiteY19" fmla="*/ 21050 h 1078325"/>
                  <a:gd name="connsiteX20" fmla="*/ 1404938 w 1711642"/>
                  <a:gd name="connsiteY20" fmla="*/ 0 h 1078325"/>
                  <a:gd name="connsiteX21" fmla="*/ 1373505 w 1711642"/>
                  <a:gd name="connsiteY21" fmla="*/ 2858 h 1078325"/>
                  <a:gd name="connsiteX22" fmla="*/ 1327785 w 1711642"/>
                  <a:gd name="connsiteY22" fmla="*/ 6763 h 1078325"/>
                  <a:gd name="connsiteX23" fmla="*/ 1303020 w 1711642"/>
                  <a:gd name="connsiteY23" fmla="*/ 17145 h 1078325"/>
                  <a:gd name="connsiteX24" fmla="*/ 1299210 w 1711642"/>
                  <a:gd name="connsiteY24" fmla="*/ 31433 h 1078325"/>
                  <a:gd name="connsiteX25" fmla="*/ 1320165 w 1711642"/>
                  <a:gd name="connsiteY25" fmla="*/ 35338 h 1078325"/>
                  <a:gd name="connsiteX26" fmla="*/ 1320165 w 1711642"/>
                  <a:gd name="connsiteY26" fmla="*/ 60008 h 1078325"/>
                  <a:gd name="connsiteX27" fmla="*/ 1303020 w 1711642"/>
                  <a:gd name="connsiteY27" fmla="*/ 70580 h 1078325"/>
                  <a:gd name="connsiteX28" fmla="*/ 1284922 w 1711642"/>
                  <a:gd name="connsiteY28" fmla="*/ 102013 h 1078325"/>
                  <a:gd name="connsiteX29" fmla="*/ 1278255 w 1711642"/>
                  <a:gd name="connsiteY29" fmla="*/ 130588 h 1078325"/>
                  <a:gd name="connsiteX30" fmla="*/ 1257300 w 1711642"/>
                  <a:gd name="connsiteY30" fmla="*/ 133350 h 1078325"/>
                  <a:gd name="connsiteX31" fmla="*/ 1239202 w 1711642"/>
                  <a:gd name="connsiteY31" fmla="*/ 151543 h 1078325"/>
                  <a:gd name="connsiteX32" fmla="*/ 1207770 w 1711642"/>
                  <a:gd name="connsiteY32" fmla="*/ 133350 h 1078325"/>
                  <a:gd name="connsiteX33" fmla="*/ 1197293 w 1711642"/>
                  <a:gd name="connsiteY33" fmla="*/ 147638 h 1078325"/>
                  <a:gd name="connsiteX34" fmla="*/ 1183005 w 1711642"/>
                  <a:gd name="connsiteY34" fmla="*/ 179070 h 1078325"/>
                  <a:gd name="connsiteX35" fmla="*/ 1176338 w 1711642"/>
                  <a:gd name="connsiteY35" fmla="*/ 203930 h 1078325"/>
                  <a:gd name="connsiteX36" fmla="*/ 1225868 w 1711642"/>
                  <a:gd name="connsiteY36" fmla="*/ 207645 h 1078325"/>
                  <a:gd name="connsiteX37" fmla="*/ 1239202 w 1711642"/>
                  <a:gd name="connsiteY37" fmla="*/ 197263 h 1078325"/>
                  <a:gd name="connsiteX38" fmla="*/ 1257300 w 1711642"/>
                  <a:gd name="connsiteY38" fmla="*/ 201073 h 1078325"/>
                  <a:gd name="connsiteX39" fmla="*/ 1292543 w 1711642"/>
                  <a:gd name="connsiteY39" fmla="*/ 236220 h 1078325"/>
                  <a:gd name="connsiteX40" fmla="*/ 1296352 w 1711642"/>
                  <a:gd name="connsiteY40" fmla="*/ 253460 h 1078325"/>
                  <a:gd name="connsiteX41" fmla="*/ 1267777 w 1711642"/>
                  <a:gd name="connsiteY41" fmla="*/ 249650 h 1078325"/>
                  <a:gd name="connsiteX42" fmla="*/ 1246822 w 1711642"/>
                  <a:gd name="connsiteY42" fmla="*/ 249650 h 1078325"/>
                  <a:gd name="connsiteX43" fmla="*/ 1211580 w 1711642"/>
                  <a:gd name="connsiteY43" fmla="*/ 263938 h 1078325"/>
                  <a:gd name="connsiteX44" fmla="*/ 1180147 w 1711642"/>
                  <a:gd name="connsiteY44" fmla="*/ 288608 h 1078325"/>
                  <a:gd name="connsiteX45" fmla="*/ 1151572 w 1711642"/>
                  <a:gd name="connsiteY45" fmla="*/ 288608 h 1078325"/>
                  <a:gd name="connsiteX46" fmla="*/ 1126807 w 1711642"/>
                  <a:gd name="connsiteY46" fmla="*/ 313468 h 1078325"/>
                  <a:gd name="connsiteX47" fmla="*/ 1095375 w 1711642"/>
                  <a:gd name="connsiteY47" fmla="*/ 309563 h 1078325"/>
                  <a:gd name="connsiteX48" fmla="*/ 1070610 w 1711642"/>
                  <a:gd name="connsiteY48" fmla="*/ 309563 h 1078325"/>
                  <a:gd name="connsiteX49" fmla="*/ 1060132 w 1711642"/>
                  <a:gd name="connsiteY49" fmla="*/ 331470 h 1078325"/>
                  <a:gd name="connsiteX50" fmla="*/ 1070610 w 1711642"/>
                  <a:gd name="connsiteY50" fmla="*/ 352425 h 1078325"/>
                  <a:gd name="connsiteX51" fmla="*/ 1039177 w 1711642"/>
                  <a:gd name="connsiteY51" fmla="*/ 369570 h 1078325"/>
                  <a:gd name="connsiteX52" fmla="*/ 1039177 w 1711642"/>
                  <a:gd name="connsiteY52" fmla="*/ 380143 h 1078325"/>
                  <a:gd name="connsiteX53" fmla="*/ 1006793 w 1711642"/>
                  <a:gd name="connsiteY53" fmla="*/ 398145 h 1078325"/>
                  <a:gd name="connsiteX54" fmla="*/ 929640 w 1711642"/>
                  <a:gd name="connsiteY54" fmla="*/ 398145 h 1078325"/>
                  <a:gd name="connsiteX55" fmla="*/ 890588 w 1711642"/>
                  <a:gd name="connsiteY55" fmla="*/ 423005 h 1078325"/>
                  <a:gd name="connsiteX56" fmla="*/ 827722 w 1711642"/>
                  <a:gd name="connsiteY56" fmla="*/ 415385 h 1078325"/>
                  <a:gd name="connsiteX57" fmla="*/ 784860 w 1711642"/>
                  <a:gd name="connsiteY57" fmla="*/ 394430 h 1078325"/>
                  <a:gd name="connsiteX58" fmla="*/ 736282 w 1711642"/>
                  <a:gd name="connsiteY58" fmla="*/ 391573 h 1078325"/>
                  <a:gd name="connsiteX59" fmla="*/ 641032 w 1711642"/>
                  <a:gd name="connsiteY59" fmla="*/ 387763 h 1078325"/>
                  <a:gd name="connsiteX60" fmla="*/ 630555 w 1711642"/>
                  <a:gd name="connsiteY60" fmla="*/ 373475 h 1078325"/>
                  <a:gd name="connsiteX61" fmla="*/ 620077 w 1711642"/>
                  <a:gd name="connsiteY61" fmla="*/ 348710 h 1078325"/>
                  <a:gd name="connsiteX62" fmla="*/ 581025 w 1711642"/>
                  <a:gd name="connsiteY62" fmla="*/ 327755 h 1078325"/>
                  <a:gd name="connsiteX63" fmla="*/ 562927 w 1711642"/>
                  <a:gd name="connsiteY63" fmla="*/ 309563 h 1078325"/>
                  <a:gd name="connsiteX64" fmla="*/ 503872 w 1711642"/>
                  <a:gd name="connsiteY64" fmla="*/ 306800 h 1078325"/>
                  <a:gd name="connsiteX65" fmla="*/ 489585 w 1711642"/>
                  <a:gd name="connsiteY65" fmla="*/ 299180 h 1078325"/>
                  <a:gd name="connsiteX66" fmla="*/ 481965 w 1711642"/>
                  <a:gd name="connsiteY66" fmla="*/ 278225 h 1078325"/>
                  <a:gd name="connsiteX67" fmla="*/ 493395 w 1711642"/>
                  <a:gd name="connsiteY67" fmla="*/ 263938 h 1078325"/>
                  <a:gd name="connsiteX68" fmla="*/ 493395 w 1711642"/>
                  <a:gd name="connsiteY68" fmla="*/ 249650 h 1078325"/>
                  <a:gd name="connsiteX69" fmla="*/ 479107 w 1711642"/>
                  <a:gd name="connsiteY69" fmla="*/ 228600 h 1078325"/>
                  <a:gd name="connsiteX70" fmla="*/ 454343 w 1711642"/>
                  <a:gd name="connsiteY70" fmla="*/ 203930 h 1078325"/>
                  <a:gd name="connsiteX71" fmla="*/ 425768 w 1711642"/>
                  <a:gd name="connsiteY71" fmla="*/ 201073 h 1078325"/>
                  <a:gd name="connsiteX72" fmla="*/ 408622 w 1711642"/>
                  <a:gd name="connsiteY72" fmla="*/ 182975 h 1078325"/>
                  <a:gd name="connsiteX73" fmla="*/ 401002 w 1711642"/>
                  <a:gd name="connsiteY73" fmla="*/ 165830 h 1078325"/>
                  <a:gd name="connsiteX74" fmla="*/ 373380 w 1711642"/>
                  <a:gd name="connsiteY74" fmla="*/ 165830 h 1078325"/>
                  <a:gd name="connsiteX75" fmla="*/ 369570 w 1711642"/>
                  <a:gd name="connsiteY75" fmla="*/ 182975 h 1078325"/>
                  <a:gd name="connsiteX76" fmla="*/ 348615 w 1711642"/>
                  <a:gd name="connsiteY76" fmla="*/ 182975 h 1078325"/>
                  <a:gd name="connsiteX77" fmla="*/ 341947 w 1711642"/>
                  <a:gd name="connsiteY77" fmla="*/ 207645 h 1078325"/>
                  <a:gd name="connsiteX78" fmla="*/ 341947 w 1711642"/>
                  <a:gd name="connsiteY78" fmla="*/ 232505 h 1078325"/>
                  <a:gd name="connsiteX79" fmla="*/ 323850 w 1711642"/>
                  <a:gd name="connsiteY79" fmla="*/ 236220 h 1078325"/>
                  <a:gd name="connsiteX80" fmla="*/ 299085 w 1711642"/>
                  <a:gd name="connsiteY80" fmla="*/ 236220 h 1078325"/>
                  <a:gd name="connsiteX81" fmla="*/ 267652 w 1711642"/>
                  <a:gd name="connsiteY81" fmla="*/ 232505 h 1078325"/>
                  <a:gd name="connsiteX82" fmla="*/ 249555 w 1711642"/>
                  <a:gd name="connsiteY82" fmla="*/ 274320 h 1078325"/>
                  <a:gd name="connsiteX83" fmla="*/ 242888 w 1711642"/>
                  <a:gd name="connsiteY83" fmla="*/ 299180 h 1078325"/>
                  <a:gd name="connsiteX84" fmla="*/ 211455 w 1711642"/>
                  <a:gd name="connsiteY84" fmla="*/ 299180 h 1078325"/>
                  <a:gd name="connsiteX85" fmla="*/ 190500 w 1711642"/>
                  <a:gd name="connsiteY85" fmla="*/ 309563 h 1078325"/>
                  <a:gd name="connsiteX86" fmla="*/ 193357 w 1711642"/>
                  <a:gd name="connsiteY86" fmla="*/ 342043 h 1078325"/>
                  <a:gd name="connsiteX87" fmla="*/ 203835 w 1711642"/>
                  <a:gd name="connsiteY87" fmla="*/ 369570 h 1078325"/>
                  <a:gd name="connsiteX88" fmla="*/ 190500 w 1711642"/>
                  <a:gd name="connsiteY88" fmla="*/ 383858 h 1078325"/>
                  <a:gd name="connsiteX89" fmla="*/ 190500 w 1711642"/>
                  <a:gd name="connsiteY89" fmla="*/ 402050 h 1078325"/>
                  <a:gd name="connsiteX90" fmla="*/ 179070 w 1711642"/>
                  <a:gd name="connsiteY90" fmla="*/ 408718 h 1078325"/>
                  <a:gd name="connsiteX91" fmla="*/ 133350 w 1711642"/>
                  <a:gd name="connsiteY91" fmla="*/ 429673 h 1078325"/>
                  <a:gd name="connsiteX92" fmla="*/ 126682 w 1711642"/>
                  <a:gd name="connsiteY92" fmla="*/ 443960 h 1078325"/>
                  <a:gd name="connsiteX93" fmla="*/ 91440 w 1711642"/>
                  <a:gd name="connsiteY93" fmla="*/ 443960 h 1078325"/>
                  <a:gd name="connsiteX94" fmla="*/ 84772 w 1711642"/>
                  <a:gd name="connsiteY94" fmla="*/ 461963 h 1078325"/>
                  <a:gd name="connsiteX95" fmla="*/ 56197 w 1711642"/>
                  <a:gd name="connsiteY95" fmla="*/ 468725 h 1078325"/>
                  <a:gd name="connsiteX96" fmla="*/ 56197 w 1711642"/>
                  <a:gd name="connsiteY96" fmla="*/ 458248 h 1078325"/>
                  <a:gd name="connsiteX97" fmla="*/ 31432 w 1711642"/>
                  <a:gd name="connsiteY97" fmla="*/ 458248 h 1078325"/>
                  <a:gd name="connsiteX98" fmla="*/ 27622 w 1711642"/>
                  <a:gd name="connsiteY98" fmla="*/ 468725 h 1078325"/>
                  <a:gd name="connsiteX99" fmla="*/ 6668 w 1711642"/>
                  <a:gd name="connsiteY99" fmla="*/ 483013 h 1078325"/>
                  <a:gd name="connsiteX100" fmla="*/ 3810 w 1711642"/>
                  <a:gd name="connsiteY100" fmla="*/ 500063 h 1078325"/>
                  <a:gd name="connsiteX101" fmla="*/ 0 w 1711642"/>
                  <a:gd name="connsiteY101" fmla="*/ 510635 h 1078325"/>
                  <a:gd name="connsiteX102" fmla="*/ 3810 w 1711642"/>
                  <a:gd name="connsiteY102" fmla="*/ 524923 h 1078325"/>
                  <a:gd name="connsiteX103" fmla="*/ 14288 w 1711642"/>
                  <a:gd name="connsiteY103" fmla="*/ 528638 h 1078325"/>
                  <a:gd name="connsiteX104" fmla="*/ 35243 w 1711642"/>
                  <a:gd name="connsiteY104" fmla="*/ 524923 h 1078325"/>
                  <a:gd name="connsiteX105" fmla="*/ 35243 w 1711642"/>
                  <a:gd name="connsiteY105" fmla="*/ 560070 h 1078325"/>
                  <a:gd name="connsiteX106" fmla="*/ 35243 w 1711642"/>
                  <a:gd name="connsiteY106" fmla="*/ 574358 h 1078325"/>
                  <a:gd name="connsiteX107" fmla="*/ 66675 w 1711642"/>
                  <a:gd name="connsiteY107" fmla="*/ 584930 h 1078325"/>
                  <a:gd name="connsiteX108" fmla="*/ 66675 w 1711642"/>
                  <a:gd name="connsiteY108" fmla="*/ 602933 h 1078325"/>
                  <a:gd name="connsiteX109" fmla="*/ 101918 w 1711642"/>
                  <a:gd name="connsiteY109" fmla="*/ 616363 h 1078325"/>
                  <a:gd name="connsiteX110" fmla="*/ 113347 w 1711642"/>
                  <a:gd name="connsiteY110" fmla="*/ 638175 h 1078325"/>
                  <a:gd name="connsiteX111" fmla="*/ 141922 w 1711642"/>
                  <a:gd name="connsiteY111" fmla="*/ 661035 h 1078325"/>
                  <a:gd name="connsiteX112" fmla="*/ 160972 w 1711642"/>
                  <a:gd name="connsiteY112" fmla="*/ 654463 h 1078325"/>
                  <a:gd name="connsiteX113" fmla="*/ 177165 w 1711642"/>
                  <a:gd name="connsiteY113" fmla="*/ 641033 h 1078325"/>
                  <a:gd name="connsiteX114" fmla="*/ 176213 w 1711642"/>
                  <a:gd name="connsiteY114" fmla="*/ 655415 h 1078325"/>
                  <a:gd name="connsiteX115" fmla="*/ 147638 w 1711642"/>
                  <a:gd name="connsiteY115" fmla="*/ 669703 h 1078325"/>
                  <a:gd name="connsiteX116" fmla="*/ 147638 w 1711642"/>
                  <a:gd name="connsiteY116" fmla="*/ 687800 h 1078325"/>
                  <a:gd name="connsiteX117" fmla="*/ 168593 w 1711642"/>
                  <a:gd name="connsiteY117" fmla="*/ 701135 h 1078325"/>
                  <a:gd name="connsiteX118" fmla="*/ 165735 w 1711642"/>
                  <a:gd name="connsiteY118" fmla="*/ 715423 h 1078325"/>
                  <a:gd name="connsiteX119" fmla="*/ 147638 w 1711642"/>
                  <a:gd name="connsiteY119" fmla="*/ 719138 h 1078325"/>
                  <a:gd name="connsiteX120" fmla="*/ 140970 w 1711642"/>
                  <a:gd name="connsiteY120" fmla="*/ 736378 h 1078325"/>
                  <a:gd name="connsiteX121" fmla="*/ 140970 w 1711642"/>
                  <a:gd name="connsiteY121" fmla="*/ 750665 h 1078325"/>
                  <a:gd name="connsiteX122" fmla="*/ 177165 w 1711642"/>
                  <a:gd name="connsiteY122" fmla="*/ 781050 h 1078325"/>
                  <a:gd name="connsiteX123" fmla="*/ 207645 w 1711642"/>
                  <a:gd name="connsiteY123" fmla="*/ 810673 h 1078325"/>
                  <a:gd name="connsiteX124" fmla="*/ 232410 w 1711642"/>
                  <a:gd name="connsiteY124" fmla="*/ 791623 h 1078325"/>
                  <a:gd name="connsiteX125" fmla="*/ 255270 w 1711642"/>
                  <a:gd name="connsiteY125" fmla="*/ 814388 h 1078325"/>
                  <a:gd name="connsiteX126" fmla="*/ 284797 w 1711642"/>
                  <a:gd name="connsiteY126" fmla="*/ 823913 h 1078325"/>
                  <a:gd name="connsiteX127" fmla="*/ 302895 w 1711642"/>
                  <a:gd name="connsiteY127" fmla="*/ 841153 h 1078325"/>
                  <a:gd name="connsiteX128" fmla="*/ 338138 w 1711642"/>
                  <a:gd name="connsiteY128" fmla="*/ 856297 h 1078325"/>
                  <a:gd name="connsiteX129" fmla="*/ 365760 w 1711642"/>
                  <a:gd name="connsiteY129" fmla="*/ 863060 h 1078325"/>
                  <a:gd name="connsiteX130" fmla="*/ 404813 w 1711642"/>
                  <a:gd name="connsiteY130" fmla="*/ 860203 h 1078325"/>
                  <a:gd name="connsiteX131" fmla="*/ 433388 w 1711642"/>
                  <a:gd name="connsiteY131" fmla="*/ 860203 h 1078325"/>
                  <a:gd name="connsiteX132" fmla="*/ 440055 w 1711642"/>
                  <a:gd name="connsiteY132" fmla="*/ 860203 h 1078325"/>
                  <a:gd name="connsiteX133" fmla="*/ 450532 w 1711642"/>
                  <a:gd name="connsiteY133" fmla="*/ 849725 h 1078325"/>
                  <a:gd name="connsiteX134" fmla="*/ 468630 w 1711642"/>
                  <a:gd name="connsiteY134" fmla="*/ 849725 h 1078325"/>
                  <a:gd name="connsiteX135" fmla="*/ 489585 w 1711642"/>
                  <a:gd name="connsiteY135" fmla="*/ 856297 h 1078325"/>
                  <a:gd name="connsiteX136" fmla="*/ 514350 w 1711642"/>
                  <a:gd name="connsiteY136" fmla="*/ 860203 h 1078325"/>
                  <a:gd name="connsiteX137" fmla="*/ 531495 w 1711642"/>
                  <a:gd name="connsiteY137" fmla="*/ 856297 h 1078325"/>
                  <a:gd name="connsiteX138" fmla="*/ 549593 w 1711642"/>
                  <a:gd name="connsiteY138" fmla="*/ 831628 h 1078325"/>
                  <a:gd name="connsiteX139" fmla="*/ 570547 w 1711642"/>
                  <a:gd name="connsiteY139" fmla="*/ 831628 h 1078325"/>
                  <a:gd name="connsiteX140" fmla="*/ 581025 w 1711642"/>
                  <a:gd name="connsiteY140" fmla="*/ 817340 h 1078325"/>
                  <a:gd name="connsiteX141" fmla="*/ 600075 w 1711642"/>
                  <a:gd name="connsiteY141" fmla="*/ 851535 h 1078325"/>
                  <a:gd name="connsiteX142" fmla="*/ 620077 w 1711642"/>
                  <a:gd name="connsiteY142" fmla="*/ 852488 h 1078325"/>
                  <a:gd name="connsiteX143" fmla="*/ 637222 w 1711642"/>
                  <a:gd name="connsiteY143" fmla="*/ 839248 h 1078325"/>
                  <a:gd name="connsiteX144" fmla="*/ 665797 w 1711642"/>
                  <a:gd name="connsiteY144" fmla="*/ 842010 h 1078325"/>
                  <a:gd name="connsiteX145" fmla="*/ 679132 w 1711642"/>
                  <a:gd name="connsiteY145" fmla="*/ 845915 h 1078325"/>
                  <a:gd name="connsiteX146" fmla="*/ 690563 w 1711642"/>
                  <a:gd name="connsiteY146" fmla="*/ 864013 h 1078325"/>
                  <a:gd name="connsiteX147" fmla="*/ 703897 w 1711642"/>
                  <a:gd name="connsiteY147" fmla="*/ 874490 h 1078325"/>
                  <a:gd name="connsiteX148" fmla="*/ 701040 w 1711642"/>
                  <a:gd name="connsiteY148" fmla="*/ 916400 h 1078325"/>
                  <a:gd name="connsiteX149" fmla="*/ 672465 w 1711642"/>
                  <a:gd name="connsiteY149" fmla="*/ 955453 h 1078325"/>
                  <a:gd name="connsiteX150" fmla="*/ 672465 w 1711642"/>
                  <a:gd name="connsiteY150" fmla="*/ 962025 h 1078325"/>
                  <a:gd name="connsiteX151" fmla="*/ 707707 w 1711642"/>
                  <a:gd name="connsiteY151" fmla="*/ 972598 h 1078325"/>
                  <a:gd name="connsiteX152" fmla="*/ 707707 w 1711642"/>
                  <a:gd name="connsiteY152" fmla="*/ 997363 h 1078325"/>
                  <a:gd name="connsiteX153" fmla="*/ 725805 w 1711642"/>
                  <a:gd name="connsiteY153" fmla="*/ 1004888 h 1078325"/>
                  <a:gd name="connsiteX154" fmla="*/ 725805 w 1711642"/>
                  <a:gd name="connsiteY154" fmla="*/ 1004888 h 1078325"/>
                  <a:gd name="connsiteX155" fmla="*/ 725805 w 1711642"/>
                  <a:gd name="connsiteY155" fmla="*/ 1032510 h 1078325"/>
                  <a:gd name="connsiteX156" fmla="*/ 739140 w 1711642"/>
                  <a:gd name="connsiteY156" fmla="*/ 1036415 h 1078325"/>
                  <a:gd name="connsiteX157" fmla="*/ 739140 w 1711642"/>
                  <a:gd name="connsiteY157" fmla="*/ 1046797 h 1078325"/>
                  <a:gd name="connsiteX158" fmla="*/ 753427 w 1711642"/>
                  <a:gd name="connsiteY158" fmla="*/ 1046797 h 1078325"/>
                  <a:gd name="connsiteX159" fmla="*/ 767715 w 1711642"/>
                  <a:gd name="connsiteY159" fmla="*/ 1046797 h 1078325"/>
                  <a:gd name="connsiteX160" fmla="*/ 774382 w 1711642"/>
                  <a:gd name="connsiteY160" fmla="*/ 1054513 h 1078325"/>
                  <a:gd name="connsiteX161" fmla="*/ 788670 w 1711642"/>
                  <a:gd name="connsiteY161" fmla="*/ 1054513 h 1078325"/>
                  <a:gd name="connsiteX162" fmla="*/ 792480 w 1711642"/>
                  <a:gd name="connsiteY162" fmla="*/ 1040225 h 1078325"/>
                  <a:gd name="connsiteX163" fmla="*/ 782002 w 1711642"/>
                  <a:gd name="connsiteY163" fmla="*/ 1036415 h 1078325"/>
                  <a:gd name="connsiteX164" fmla="*/ 782002 w 1711642"/>
                  <a:gd name="connsiteY164" fmla="*/ 1022128 h 1078325"/>
                  <a:gd name="connsiteX165" fmla="*/ 802957 w 1711642"/>
                  <a:gd name="connsiteY165" fmla="*/ 1022128 h 1078325"/>
                  <a:gd name="connsiteX166" fmla="*/ 806768 w 1711642"/>
                  <a:gd name="connsiteY166" fmla="*/ 1015460 h 1078325"/>
                  <a:gd name="connsiteX167" fmla="*/ 865822 w 1711642"/>
                  <a:gd name="connsiteY167" fmla="*/ 1015460 h 1078325"/>
                  <a:gd name="connsiteX168" fmla="*/ 880110 w 1711642"/>
                  <a:gd name="connsiteY168" fmla="*/ 1001173 h 1078325"/>
                  <a:gd name="connsiteX169" fmla="*/ 894397 w 1711642"/>
                  <a:gd name="connsiteY169" fmla="*/ 1001173 h 1078325"/>
                  <a:gd name="connsiteX170" fmla="*/ 904875 w 1711642"/>
                  <a:gd name="connsiteY170" fmla="*/ 1007840 h 1078325"/>
                  <a:gd name="connsiteX171" fmla="*/ 925830 w 1711642"/>
                  <a:gd name="connsiteY171" fmla="*/ 1011650 h 1078325"/>
                  <a:gd name="connsiteX172" fmla="*/ 929640 w 1711642"/>
                  <a:gd name="connsiteY172" fmla="*/ 1040225 h 1078325"/>
                  <a:gd name="connsiteX173" fmla="*/ 943927 w 1711642"/>
                  <a:gd name="connsiteY173" fmla="*/ 1046797 h 1078325"/>
                  <a:gd name="connsiteX174" fmla="*/ 961072 w 1711642"/>
                  <a:gd name="connsiteY174" fmla="*/ 1046797 h 1078325"/>
                  <a:gd name="connsiteX175" fmla="*/ 979170 w 1711642"/>
                  <a:gd name="connsiteY175" fmla="*/ 1040225 h 1078325"/>
                  <a:gd name="connsiteX176" fmla="*/ 996315 w 1711642"/>
                  <a:gd name="connsiteY176" fmla="*/ 1046797 h 1078325"/>
                  <a:gd name="connsiteX177" fmla="*/ 1014413 w 1711642"/>
                  <a:gd name="connsiteY177" fmla="*/ 1046797 h 1078325"/>
                  <a:gd name="connsiteX178" fmla="*/ 1014413 w 1711642"/>
                  <a:gd name="connsiteY178" fmla="*/ 1057275 h 1078325"/>
                  <a:gd name="connsiteX179" fmla="*/ 1014413 w 1711642"/>
                  <a:gd name="connsiteY179" fmla="*/ 1071563 h 1078325"/>
                  <a:gd name="connsiteX180" fmla="*/ 1028700 w 1711642"/>
                  <a:gd name="connsiteY180" fmla="*/ 1078325 h 1078325"/>
                  <a:gd name="connsiteX181" fmla="*/ 1024890 w 1711642"/>
                  <a:gd name="connsiteY181" fmla="*/ 1064990 h 1078325"/>
                  <a:gd name="connsiteX182" fmla="*/ 1031557 w 1711642"/>
                  <a:gd name="connsiteY182" fmla="*/ 1050703 h 1078325"/>
                  <a:gd name="connsiteX183" fmla="*/ 1052513 w 1711642"/>
                  <a:gd name="connsiteY183" fmla="*/ 1046797 h 1078325"/>
                  <a:gd name="connsiteX184" fmla="*/ 1087755 w 1711642"/>
                  <a:gd name="connsiteY184" fmla="*/ 1036415 h 1078325"/>
                  <a:gd name="connsiteX185" fmla="*/ 1112520 w 1711642"/>
                  <a:gd name="connsiteY185" fmla="*/ 1029748 h 1078325"/>
                  <a:gd name="connsiteX186" fmla="*/ 1112520 w 1711642"/>
                  <a:gd name="connsiteY186" fmla="*/ 1004888 h 1078325"/>
                  <a:gd name="connsiteX187" fmla="*/ 1122997 w 1711642"/>
                  <a:gd name="connsiteY187" fmla="*/ 1001173 h 1078325"/>
                  <a:gd name="connsiteX188" fmla="*/ 1133475 w 1711642"/>
                  <a:gd name="connsiteY188" fmla="*/ 1015460 h 1078325"/>
                  <a:gd name="connsiteX189" fmla="*/ 1155382 w 1711642"/>
                  <a:gd name="connsiteY189" fmla="*/ 1015460 h 1078325"/>
                  <a:gd name="connsiteX190" fmla="*/ 1193482 w 1711642"/>
                  <a:gd name="connsiteY190" fmla="*/ 1007840 h 1078325"/>
                  <a:gd name="connsiteX191" fmla="*/ 1218247 w 1711642"/>
                  <a:gd name="connsiteY191" fmla="*/ 986885 h 1078325"/>
                  <a:gd name="connsiteX192" fmla="*/ 1257300 w 1711642"/>
                  <a:gd name="connsiteY192" fmla="*/ 955453 h 1078325"/>
                  <a:gd name="connsiteX193" fmla="*/ 1274445 w 1711642"/>
                  <a:gd name="connsiteY193" fmla="*/ 923925 h 1078325"/>
                  <a:gd name="connsiteX194" fmla="*/ 1299210 w 1711642"/>
                  <a:gd name="connsiteY194" fmla="*/ 888778 h 1078325"/>
                  <a:gd name="connsiteX195" fmla="*/ 1334452 w 1711642"/>
                  <a:gd name="connsiteY195" fmla="*/ 845915 h 1078325"/>
                  <a:gd name="connsiteX196" fmla="*/ 1348740 w 1711642"/>
                  <a:gd name="connsiteY196" fmla="*/ 814388 h 1078325"/>
                  <a:gd name="connsiteX197" fmla="*/ 1348740 w 1711642"/>
                  <a:gd name="connsiteY197" fmla="*/ 793528 h 1078325"/>
                  <a:gd name="connsiteX198" fmla="*/ 1331595 w 1711642"/>
                  <a:gd name="connsiteY198" fmla="*/ 789622 h 1078325"/>
                  <a:gd name="connsiteX199" fmla="*/ 1306830 w 1711642"/>
                  <a:gd name="connsiteY199" fmla="*/ 785813 h 1078325"/>
                  <a:gd name="connsiteX200" fmla="*/ 1309688 w 1711642"/>
                  <a:gd name="connsiteY200" fmla="*/ 782098 h 1078325"/>
                  <a:gd name="connsiteX201" fmla="*/ 1320165 w 1711642"/>
                  <a:gd name="connsiteY201" fmla="*/ 775335 h 1078325"/>
                  <a:gd name="connsiteX202" fmla="*/ 1338263 w 1711642"/>
                  <a:gd name="connsiteY202" fmla="*/ 771525 h 1078325"/>
                  <a:gd name="connsiteX203" fmla="*/ 1352550 w 1711642"/>
                  <a:gd name="connsiteY203" fmla="*/ 768763 h 1078325"/>
                  <a:gd name="connsiteX204" fmla="*/ 1344930 w 1711642"/>
                  <a:gd name="connsiteY204" fmla="*/ 758285 h 1078325"/>
                  <a:gd name="connsiteX205" fmla="*/ 1323975 w 1711642"/>
                  <a:gd name="connsiteY205" fmla="*/ 750665 h 1078325"/>
                  <a:gd name="connsiteX206" fmla="*/ 1331595 w 1711642"/>
                  <a:gd name="connsiteY206" fmla="*/ 736378 h 1078325"/>
                  <a:gd name="connsiteX207" fmla="*/ 1348740 w 1711642"/>
                  <a:gd name="connsiteY207" fmla="*/ 743998 h 1078325"/>
                  <a:gd name="connsiteX208" fmla="*/ 1352550 w 1711642"/>
                  <a:gd name="connsiteY208" fmla="*/ 736378 h 1078325"/>
                  <a:gd name="connsiteX209" fmla="*/ 1323975 w 1711642"/>
                  <a:gd name="connsiteY209" fmla="*/ 715423 h 1078325"/>
                  <a:gd name="connsiteX210" fmla="*/ 1320165 w 1711642"/>
                  <a:gd name="connsiteY210" fmla="*/ 701135 h 1078325"/>
                  <a:gd name="connsiteX211" fmla="*/ 1306830 w 1711642"/>
                  <a:gd name="connsiteY211" fmla="*/ 665797 h 1078325"/>
                  <a:gd name="connsiteX212" fmla="*/ 1296352 w 1711642"/>
                  <a:gd name="connsiteY212" fmla="*/ 655415 h 1078325"/>
                  <a:gd name="connsiteX213" fmla="*/ 1278255 w 1711642"/>
                  <a:gd name="connsiteY213" fmla="*/ 648748 h 1078325"/>
                  <a:gd name="connsiteX214" fmla="*/ 1284922 w 1711642"/>
                  <a:gd name="connsiteY214" fmla="*/ 630650 h 1078325"/>
                  <a:gd name="connsiteX215" fmla="*/ 1303020 w 1711642"/>
                  <a:gd name="connsiteY215" fmla="*/ 605885 h 1078325"/>
                  <a:gd name="connsiteX216" fmla="*/ 1320165 w 1711642"/>
                  <a:gd name="connsiteY216" fmla="*/ 599218 h 1078325"/>
                  <a:gd name="connsiteX217" fmla="*/ 1323975 w 1711642"/>
                  <a:gd name="connsiteY217" fmla="*/ 588645 h 1078325"/>
                  <a:gd name="connsiteX218" fmla="*/ 1338263 w 1711642"/>
                  <a:gd name="connsiteY218" fmla="*/ 581025 h 1078325"/>
                  <a:gd name="connsiteX219" fmla="*/ 1359218 w 1711642"/>
                  <a:gd name="connsiteY219" fmla="*/ 581025 h 1078325"/>
                  <a:gd name="connsiteX220" fmla="*/ 1369695 w 1711642"/>
                  <a:gd name="connsiteY220" fmla="*/ 578263 h 1078325"/>
                  <a:gd name="connsiteX221" fmla="*/ 1363027 w 1711642"/>
                  <a:gd name="connsiteY221" fmla="*/ 563975 h 1078325"/>
                  <a:gd name="connsiteX222" fmla="*/ 1334452 w 1711642"/>
                  <a:gd name="connsiteY222" fmla="*/ 557213 h 1078325"/>
                  <a:gd name="connsiteX223" fmla="*/ 1320165 w 1711642"/>
                  <a:gd name="connsiteY223" fmla="*/ 549688 h 1078325"/>
                  <a:gd name="connsiteX224" fmla="*/ 1306830 w 1711642"/>
                  <a:gd name="connsiteY224" fmla="*/ 553498 h 1078325"/>
                  <a:gd name="connsiteX225" fmla="*/ 1292543 w 1711642"/>
                  <a:gd name="connsiteY225" fmla="*/ 567785 h 1078325"/>
                  <a:gd name="connsiteX226" fmla="*/ 1271588 w 1711642"/>
                  <a:gd name="connsiteY226" fmla="*/ 570643 h 1078325"/>
                  <a:gd name="connsiteX227" fmla="*/ 1267777 w 1711642"/>
                  <a:gd name="connsiteY227" fmla="*/ 557213 h 1078325"/>
                  <a:gd name="connsiteX228" fmla="*/ 1267777 w 1711642"/>
                  <a:gd name="connsiteY228" fmla="*/ 545783 h 1078325"/>
                  <a:gd name="connsiteX229" fmla="*/ 1243013 w 1711642"/>
                  <a:gd name="connsiteY229" fmla="*/ 542925 h 1078325"/>
                  <a:gd name="connsiteX230" fmla="*/ 1232535 w 1711642"/>
                  <a:gd name="connsiteY230" fmla="*/ 518255 h 1078325"/>
                  <a:gd name="connsiteX231" fmla="*/ 1239202 w 1711642"/>
                  <a:gd name="connsiteY231" fmla="*/ 503968 h 1078325"/>
                  <a:gd name="connsiteX232" fmla="*/ 1274445 w 1711642"/>
                  <a:gd name="connsiteY232" fmla="*/ 503968 h 1078325"/>
                  <a:gd name="connsiteX233" fmla="*/ 1282065 w 1711642"/>
                  <a:gd name="connsiteY233" fmla="*/ 485775 h 1078325"/>
                  <a:gd name="connsiteX234" fmla="*/ 1320165 w 1711642"/>
                  <a:gd name="connsiteY234" fmla="*/ 454438 h 1078325"/>
                  <a:gd name="connsiteX235" fmla="*/ 1342072 w 1711642"/>
                  <a:gd name="connsiteY235" fmla="*/ 450533 h 1078325"/>
                  <a:gd name="connsiteX236" fmla="*/ 1355407 w 1711642"/>
                  <a:gd name="connsiteY236" fmla="*/ 450533 h 1078325"/>
                  <a:gd name="connsiteX237" fmla="*/ 1359218 w 1711642"/>
                  <a:gd name="connsiteY237" fmla="*/ 468725 h 1078325"/>
                  <a:gd name="connsiteX238" fmla="*/ 1342072 w 1711642"/>
                  <a:gd name="connsiteY238" fmla="*/ 479108 h 1078325"/>
                  <a:gd name="connsiteX239" fmla="*/ 1334452 w 1711642"/>
                  <a:gd name="connsiteY239" fmla="*/ 497300 h 1078325"/>
                  <a:gd name="connsiteX240" fmla="*/ 1338263 w 1711642"/>
                  <a:gd name="connsiteY240" fmla="*/ 518255 h 1078325"/>
                  <a:gd name="connsiteX241" fmla="*/ 1387793 w 1711642"/>
                  <a:gd name="connsiteY241" fmla="*/ 485775 h 1078325"/>
                  <a:gd name="connsiteX242" fmla="*/ 1404938 w 1711642"/>
                  <a:gd name="connsiteY242" fmla="*/ 483013 h 1078325"/>
                  <a:gd name="connsiteX243" fmla="*/ 1423035 w 1711642"/>
                  <a:gd name="connsiteY243" fmla="*/ 479108 h 1078325"/>
                  <a:gd name="connsiteX244" fmla="*/ 1440180 w 1711642"/>
                  <a:gd name="connsiteY244" fmla="*/ 461963 h 1078325"/>
                  <a:gd name="connsiteX245" fmla="*/ 1461135 w 1711642"/>
                  <a:gd name="connsiteY245" fmla="*/ 447675 h 1078325"/>
                  <a:gd name="connsiteX246" fmla="*/ 1485900 w 1711642"/>
                  <a:gd name="connsiteY246" fmla="*/ 423005 h 1078325"/>
                  <a:gd name="connsiteX247" fmla="*/ 1493520 w 1711642"/>
                  <a:gd name="connsiteY247" fmla="*/ 419100 h 1078325"/>
                  <a:gd name="connsiteX248" fmla="*/ 1510665 w 1711642"/>
                  <a:gd name="connsiteY248" fmla="*/ 426720 h 1078325"/>
                  <a:gd name="connsiteX249" fmla="*/ 1528763 w 1711642"/>
                  <a:gd name="connsiteY249" fmla="*/ 423005 h 1078325"/>
                  <a:gd name="connsiteX250" fmla="*/ 1531620 w 1711642"/>
                  <a:gd name="connsiteY250" fmla="*/ 408718 h 1078325"/>
                  <a:gd name="connsiteX251" fmla="*/ 1549718 w 1711642"/>
                  <a:gd name="connsiteY251" fmla="*/ 408718 h 1078325"/>
                  <a:gd name="connsiteX252" fmla="*/ 1577340 w 1711642"/>
                  <a:gd name="connsiteY252" fmla="*/ 380143 h 1078325"/>
                  <a:gd name="connsiteX253" fmla="*/ 1595438 w 1711642"/>
                  <a:gd name="connsiteY253" fmla="*/ 394430 h 1078325"/>
                  <a:gd name="connsiteX254" fmla="*/ 1609725 w 1711642"/>
                  <a:gd name="connsiteY254" fmla="*/ 377285 h 1078325"/>
                  <a:gd name="connsiteX255" fmla="*/ 1609725 w 1711642"/>
                  <a:gd name="connsiteY255" fmla="*/ 313468 h 1078325"/>
                  <a:gd name="connsiteX256" fmla="*/ 1633538 w 1711642"/>
                  <a:gd name="connsiteY256" fmla="*/ 296323 h 1078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</a:cxnLst>
                <a:rect l="l" t="t" r="r" b="b"/>
                <a:pathLst>
                  <a:path w="1711642" h="1078325">
                    <a:moveTo>
                      <a:pt x="1633538" y="296323"/>
                    </a:moveTo>
                    <a:lnTo>
                      <a:pt x="1644968" y="306800"/>
                    </a:lnTo>
                    <a:lnTo>
                      <a:pt x="1665922" y="302895"/>
                    </a:lnTo>
                    <a:lnTo>
                      <a:pt x="1686877" y="263938"/>
                    </a:lnTo>
                    <a:lnTo>
                      <a:pt x="1697355" y="225838"/>
                    </a:lnTo>
                    <a:lnTo>
                      <a:pt x="1711643" y="218218"/>
                    </a:lnTo>
                    <a:lnTo>
                      <a:pt x="1707832" y="193358"/>
                    </a:lnTo>
                    <a:lnTo>
                      <a:pt x="1680210" y="197263"/>
                    </a:lnTo>
                    <a:lnTo>
                      <a:pt x="1655445" y="201073"/>
                    </a:lnTo>
                    <a:lnTo>
                      <a:pt x="1644968" y="214313"/>
                    </a:lnTo>
                    <a:lnTo>
                      <a:pt x="1605915" y="211550"/>
                    </a:lnTo>
                    <a:lnTo>
                      <a:pt x="1599247" y="176213"/>
                    </a:lnTo>
                    <a:lnTo>
                      <a:pt x="1587818" y="172498"/>
                    </a:lnTo>
                    <a:lnTo>
                      <a:pt x="1564005" y="158210"/>
                    </a:lnTo>
                    <a:lnTo>
                      <a:pt x="1545907" y="147638"/>
                    </a:lnTo>
                    <a:lnTo>
                      <a:pt x="1517332" y="147638"/>
                    </a:lnTo>
                    <a:lnTo>
                      <a:pt x="1498282" y="102013"/>
                    </a:lnTo>
                    <a:lnTo>
                      <a:pt x="1493520" y="91535"/>
                    </a:lnTo>
                    <a:lnTo>
                      <a:pt x="1479232" y="56293"/>
                    </a:lnTo>
                    <a:lnTo>
                      <a:pt x="1458277" y="21050"/>
                    </a:lnTo>
                    <a:lnTo>
                      <a:pt x="1404938" y="0"/>
                    </a:lnTo>
                    <a:lnTo>
                      <a:pt x="1373505" y="2858"/>
                    </a:lnTo>
                    <a:lnTo>
                      <a:pt x="1327785" y="6763"/>
                    </a:lnTo>
                    <a:lnTo>
                      <a:pt x="1303020" y="17145"/>
                    </a:lnTo>
                    <a:lnTo>
                      <a:pt x="1299210" y="31433"/>
                    </a:lnTo>
                    <a:lnTo>
                      <a:pt x="1320165" y="35338"/>
                    </a:lnTo>
                    <a:lnTo>
                      <a:pt x="1320165" y="60008"/>
                    </a:lnTo>
                    <a:lnTo>
                      <a:pt x="1303020" y="70580"/>
                    </a:lnTo>
                    <a:lnTo>
                      <a:pt x="1284922" y="102013"/>
                    </a:lnTo>
                    <a:lnTo>
                      <a:pt x="1278255" y="130588"/>
                    </a:lnTo>
                    <a:lnTo>
                      <a:pt x="1257300" y="133350"/>
                    </a:lnTo>
                    <a:lnTo>
                      <a:pt x="1239202" y="151543"/>
                    </a:lnTo>
                    <a:lnTo>
                      <a:pt x="1207770" y="133350"/>
                    </a:lnTo>
                    <a:lnTo>
                      <a:pt x="1197293" y="147638"/>
                    </a:lnTo>
                    <a:lnTo>
                      <a:pt x="1183005" y="179070"/>
                    </a:lnTo>
                    <a:lnTo>
                      <a:pt x="1176338" y="203930"/>
                    </a:lnTo>
                    <a:lnTo>
                      <a:pt x="1225868" y="207645"/>
                    </a:lnTo>
                    <a:lnTo>
                      <a:pt x="1239202" y="197263"/>
                    </a:lnTo>
                    <a:lnTo>
                      <a:pt x="1257300" y="201073"/>
                    </a:lnTo>
                    <a:lnTo>
                      <a:pt x="1292543" y="236220"/>
                    </a:lnTo>
                    <a:lnTo>
                      <a:pt x="1296352" y="253460"/>
                    </a:lnTo>
                    <a:lnTo>
                      <a:pt x="1267777" y="249650"/>
                    </a:lnTo>
                    <a:lnTo>
                      <a:pt x="1246822" y="249650"/>
                    </a:lnTo>
                    <a:lnTo>
                      <a:pt x="1211580" y="263938"/>
                    </a:lnTo>
                    <a:lnTo>
                      <a:pt x="1180147" y="288608"/>
                    </a:lnTo>
                    <a:lnTo>
                      <a:pt x="1151572" y="288608"/>
                    </a:lnTo>
                    <a:lnTo>
                      <a:pt x="1126807" y="313468"/>
                    </a:lnTo>
                    <a:lnTo>
                      <a:pt x="1095375" y="309563"/>
                    </a:lnTo>
                    <a:lnTo>
                      <a:pt x="1070610" y="309563"/>
                    </a:lnTo>
                    <a:lnTo>
                      <a:pt x="1060132" y="331470"/>
                    </a:lnTo>
                    <a:lnTo>
                      <a:pt x="1070610" y="352425"/>
                    </a:lnTo>
                    <a:lnTo>
                      <a:pt x="1039177" y="369570"/>
                    </a:lnTo>
                    <a:lnTo>
                      <a:pt x="1039177" y="380143"/>
                    </a:lnTo>
                    <a:lnTo>
                      <a:pt x="1006793" y="398145"/>
                    </a:lnTo>
                    <a:lnTo>
                      <a:pt x="929640" y="398145"/>
                    </a:lnTo>
                    <a:lnTo>
                      <a:pt x="890588" y="423005"/>
                    </a:lnTo>
                    <a:lnTo>
                      <a:pt x="827722" y="415385"/>
                    </a:lnTo>
                    <a:lnTo>
                      <a:pt x="784860" y="394430"/>
                    </a:lnTo>
                    <a:lnTo>
                      <a:pt x="736282" y="391573"/>
                    </a:lnTo>
                    <a:lnTo>
                      <a:pt x="641032" y="387763"/>
                    </a:lnTo>
                    <a:lnTo>
                      <a:pt x="630555" y="373475"/>
                    </a:lnTo>
                    <a:lnTo>
                      <a:pt x="620077" y="348710"/>
                    </a:lnTo>
                    <a:lnTo>
                      <a:pt x="581025" y="327755"/>
                    </a:lnTo>
                    <a:lnTo>
                      <a:pt x="562927" y="309563"/>
                    </a:lnTo>
                    <a:lnTo>
                      <a:pt x="503872" y="306800"/>
                    </a:lnTo>
                    <a:lnTo>
                      <a:pt x="489585" y="299180"/>
                    </a:lnTo>
                    <a:lnTo>
                      <a:pt x="481965" y="278225"/>
                    </a:lnTo>
                    <a:lnTo>
                      <a:pt x="493395" y="263938"/>
                    </a:lnTo>
                    <a:lnTo>
                      <a:pt x="493395" y="249650"/>
                    </a:lnTo>
                    <a:lnTo>
                      <a:pt x="479107" y="228600"/>
                    </a:lnTo>
                    <a:lnTo>
                      <a:pt x="454343" y="203930"/>
                    </a:lnTo>
                    <a:lnTo>
                      <a:pt x="425768" y="201073"/>
                    </a:lnTo>
                    <a:lnTo>
                      <a:pt x="408622" y="182975"/>
                    </a:lnTo>
                    <a:lnTo>
                      <a:pt x="401002" y="165830"/>
                    </a:lnTo>
                    <a:lnTo>
                      <a:pt x="373380" y="165830"/>
                    </a:lnTo>
                    <a:lnTo>
                      <a:pt x="369570" y="182975"/>
                    </a:lnTo>
                    <a:lnTo>
                      <a:pt x="348615" y="182975"/>
                    </a:lnTo>
                    <a:lnTo>
                      <a:pt x="341947" y="207645"/>
                    </a:lnTo>
                    <a:lnTo>
                      <a:pt x="341947" y="232505"/>
                    </a:lnTo>
                    <a:lnTo>
                      <a:pt x="323850" y="236220"/>
                    </a:lnTo>
                    <a:lnTo>
                      <a:pt x="299085" y="236220"/>
                    </a:lnTo>
                    <a:lnTo>
                      <a:pt x="267652" y="232505"/>
                    </a:lnTo>
                    <a:lnTo>
                      <a:pt x="249555" y="274320"/>
                    </a:lnTo>
                    <a:lnTo>
                      <a:pt x="242888" y="299180"/>
                    </a:lnTo>
                    <a:lnTo>
                      <a:pt x="211455" y="299180"/>
                    </a:lnTo>
                    <a:lnTo>
                      <a:pt x="190500" y="309563"/>
                    </a:lnTo>
                    <a:lnTo>
                      <a:pt x="193357" y="342043"/>
                    </a:lnTo>
                    <a:lnTo>
                      <a:pt x="203835" y="369570"/>
                    </a:lnTo>
                    <a:lnTo>
                      <a:pt x="190500" y="383858"/>
                    </a:lnTo>
                    <a:lnTo>
                      <a:pt x="190500" y="402050"/>
                    </a:lnTo>
                    <a:lnTo>
                      <a:pt x="179070" y="408718"/>
                    </a:lnTo>
                    <a:lnTo>
                      <a:pt x="133350" y="429673"/>
                    </a:lnTo>
                    <a:lnTo>
                      <a:pt x="126682" y="443960"/>
                    </a:lnTo>
                    <a:lnTo>
                      <a:pt x="91440" y="443960"/>
                    </a:lnTo>
                    <a:lnTo>
                      <a:pt x="84772" y="461963"/>
                    </a:lnTo>
                    <a:lnTo>
                      <a:pt x="56197" y="468725"/>
                    </a:lnTo>
                    <a:lnTo>
                      <a:pt x="56197" y="458248"/>
                    </a:lnTo>
                    <a:lnTo>
                      <a:pt x="31432" y="458248"/>
                    </a:lnTo>
                    <a:lnTo>
                      <a:pt x="27622" y="468725"/>
                    </a:lnTo>
                    <a:lnTo>
                      <a:pt x="6668" y="483013"/>
                    </a:lnTo>
                    <a:lnTo>
                      <a:pt x="3810" y="500063"/>
                    </a:lnTo>
                    <a:lnTo>
                      <a:pt x="0" y="510635"/>
                    </a:lnTo>
                    <a:lnTo>
                      <a:pt x="3810" y="524923"/>
                    </a:lnTo>
                    <a:lnTo>
                      <a:pt x="14288" y="528638"/>
                    </a:lnTo>
                    <a:lnTo>
                      <a:pt x="35243" y="524923"/>
                    </a:lnTo>
                    <a:lnTo>
                      <a:pt x="35243" y="560070"/>
                    </a:lnTo>
                    <a:lnTo>
                      <a:pt x="35243" y="574358"/>
                    </a:lnTo>
                    <a:lnTo>
                      <a:pt x="66675" y="584930"/>
                    </a:lnTo>
                    <a:lnTo>
                      <a:pt x="66675" y="602933"/>
                    </a:lnTo>
                    <a:lnTo>
                      <a:pt x="101918" y="616363"/>
                    </a:lnTo>
                    <a:lnTo>
                      <a:pt x="113347" y="638175"/>
                    </a:lnTo>
                    <a:lnTo>
                      <a:pt x="141922" y="661035"/>
                    </a:lnTo>
                    <a:lnTo>
                      <a:pt x="160972" y="654463"/>
                    </a:lnTo>
                    <a:lnTo>
                      <a:pt x="177165" y="641033"/>
                    </a:lnTo>
                    <a:lnTo>
                      <a:pt x="176213" y="655415"/>
                    </a:lnTo>
                    <a:lnTo>
                      <a:pt x="147638" y="669703"/>
                    </a:lnTo>
                    <a:lnTo>
                      <a:pt x="147638" y="687800"/>
                    </a:lnTo>
                    <a:lnTo>
                      <a:pt x="168593" y="701135"/>
                    </a:lnTo>
                    <a:lnTo>
                      <a:pt x="165735" y="715423"/>
                    </a:lnTo>
                    <a:lnTo>
                      <a:pt x="147638" y="719138"/>
                    </a:lnTo>
                    <a:lnTo>
                      <a:pt x="140970" y="736378"/>
                    </a:lnTo>
                    <a:lnTo>
                      <a:pt x="140970" y="750665"/>
                    </a:lnTo>
                    <a:lnTo>
                      <a:pt x="177165" y="781050"/>
                    </a:lnTo>
                    <a:lnTo>
                      <a:pt x="207645" y="810673"/>
                    </a:lnTo>
                    <a:lnTo>
                      <a:pt x="232410" y="791623"/>
                    </a:lnTo>
                    <a:lnTo>
                      <a:pt x="255270" y="814388"/>
                    </a:lnTo>
                    <a:lnTo>
                      <a:pt x="284797" y="823913"/>
                    </a:lnTo>
                    <a:lnTo>
                      <a:pt x="302895" y="841153"/>
                    </a:lnTo>
                    <a:lnTo>
                      <a:pt x="338138" y="856297"/>
                    </a:lnTo>
                    <a:lnTo>
                      <a:pt x="365760" y="863060"/>
                    </a:lnTo>
                    <a:lnTo>
                      <a:pt x="404813" y="860203"/>
                    </a:lnTo>
                    <a:lnTo>
                      <a:pt x="433388" y="860203"/>
                    </a:lnTo>
                    <a:lnTo>
                      <a:pt x="440055" y="860203"/>
                    </a:lnTo>
                    <a:lnTo>
                      <a:pt x="450532" y="849725"/>
                    </a:lnTo>
                    <a:lnTo>
                      <a:pt x="468630" y="849725"/>
                    </a:lnTo>
                    <a:lnTo>
                      <a:pt x="489585" y="856297"/>
                    </a:lnTo>
                    <a:lnTo>
                      <a:pt x="514350" y="860203"/>
                    </a:lnTo>
                    <a:lnTo>
                      <a:pt x="531495" y="856297"/>
                    </a:lnTo>
                    <a:lnTo>
                      <a:pt x="549593" y="831628"/>
                    </a:lnTo>
                    <a:lnTo>
                      <a:pt x="570547" y="831628"/>
                    </a:lnTo>
                    <a:lnTo>
                      <a:pt x="581025" y="817340"/>
                    </a:lnTo>
                    <a:lnTo>
                      <a:pt x="600075" y="851535"/>
                    </a:lnTo>
                    <a:lnTo>
                      <a:pt x="620077" y="852488"/>
                    </a:lnTo>
                    <a:lnTo>
                      <a:pt x="637222" y="839248"/>
                    </a:lnTo>
                    <a:lnTo>
                      <a:pt x="665797" y="842010"/>
                    </a:lnTo>
                    <a:lnTo>
                      <a:pt x="679132" y="845915"/>
                    </a:lnTo>
                    <a:lnTo>
                      <a:pt x="690563" y="864013"/>
                    </a:lnTo>
                    <a:lnTo>
                      <a:pt x="703897" y="874490"/>
                    </a:lnTo>
                    <a:lnTo>
                      <a:pt x="701040" y="916400"/>
                    </a:lnTo>
                    <a:lnTo>
                      <a:pt x="672465" y="955453"/>
                    </a:lnTo>
                    <a:lnTo>
                      <a:pt x="672465" y="962025"/>
                    </a:lnTo>
                    <a:lnTo>
                      <a:pt x="707707" y="972598"/>
                    </a:lnTo>
                    <a:lnTo>
                      <a:pt x="707707" y="997363"/>
                    </a:lnTo>
                    <a:lnTo>
                      <a:pt x="725805" y="1004888"/>
                    </a:lnTo>
                    <a:lnTo>
                      <a:pt x="725805" y="1004888"/>
                    </a:lnTo>
                    <a:lnTo>
                      <a:pt x="725805" y="1032510"/>
                    </a:lnTo>
                    <a:lnTo>
                      <a:pt x="739140" y="1036415"/>
                    </a:lnTo>
                    <a:lnTo>
                      <a:pt x="739140" y="1046797"/>
                    </a:lnTo>
                    <a:lnTo>
                      <a:pt x="753427" y="1046797"/>
                    </a:lnTo>
                    <a:lnTo>
                      <a:pt x="767715" y="1046797"/>
                    </a:lnTo>
                    <a:lnTo>
                      <a:pt x="774382" y="1054513"/>
                    </a:lnTo>
                    <a:lnTo>
                      <a:pt x="788670" y="1054513"/>
                    </a:lnTo>
                    <a:lnTo>
                      <a:pt x="792480" y="1040225"/>
                    </a:lnTo>
                    <a:lnTo>
                      <a:pt x="782002" y="1036415"/>
                    </a:lnTo>
                    <a:lnTo>
                      <a:pt x="782002" y="1022128"/>
                    </a:lnTo>
                    <a:lnTo>
                      <a:pt x="802957" y="1022128"/>
                    </a:lnTo>
                    <a:lnTo>
                      <a:pt x="806768" y="1015460"/>
                    </a:lnTo>
                    <a:lnTo>
                      <a:pt x="865822" y="1015460"/>
                    </a:lnTo>
                    <a:lnTo>
                      <a:pt x="880110" y="1001173"/>
                    </a:lnTo>
                    <a:lnTo>
                      <a:pt x="894397" y="1001173"/>
                    </a:lnTo>
                    <a:lnTo>
                      <a:pt x="904875" y="1007840"/>
                    </a:lnTo>
                    <a:lnTo>
                      <a:pt x="925830" y="1011650"/>
                    </a:lnTo>
                    <a:lnTo>
                      <a:pt x="929640" y="1040225"/>
                    </a:lnTo>
                    <a:lnTo>
                      <a:pt x="943927" y="1046797"/>
                    </a:lnTo>
                    <a:lnTo>
                      <a:pt x="961072" y="1046797"/>
                    </a:lnTo>
                    <a:lnTo>
                      <a:pt x="979170" y="1040225"/>
                    </a:lnTo>
                    <a:lnTo>
                      <a:pt x="996315" y="1046797"/>
                    </a:lnTo>
                    <a:lnTo>
                      <a:pt x="1014413" y="1046797"/>
                    </a:lnTo>
                    <a:lnTo>
                      <a:pt x="1014413" y="1057275"/>
                    </a:lnTo>
                    <a:lnTo>
                      <a:pt x="1014413" y="1071563"/>
                    </a:lnTo>
                    <a:lnTo>
                      <a:pt x="1028700" y="1078325"/>
                    </a:lnTo>
                    <a:lnTo>
                      <a:pt x="1024890" y="1064990"/>
                    </a:lnTo>
                    <a:lnTo>
                      <a:pt x="1031557" y="1050703"/>
                    </a:lnTo>
                    <a:lnTo>
                      <a:pt x="1052513" y="1046797"/>
                    </a:lnTo>
                    <a:lnTo>
                      <a:pt x="1087755" y="1036415"/>
                    </a:lnTo>
                    <a:lnTo>
                      <a:pt x="1112520" y="1029748"/>
                    </a:lnTo>
                    <a:lnTo>
                      <a:pt x="1112520" y="1004888"/>
                    </a:lnTo>
                    <a:lnTo>
                      <a:pt x="1122997" y="1001173"/>
                    </a:lnTo>
                    <a:lnTo>
                      <a:pt x="1133475" y="1015460"/>
                    </a:lnTo>
                    <a:lnTo>
                      <a:pt x="1155382" y="1015460"/>
                    </a:lnTo>
                    <a:lnTo>
                      <a:pt x="1193482" y="1007840"/>
                    </a:lnTo>
                    <a:lnTo>
                      <a:pt x="1218247" y="986885"/>
                    </a:lnTo>
                    <a:lnTo>
                      <a:pt x="1257300" y="955453"/>
                    </a:lnTo>
                    <a:lnTo>
                      <a:pt x="1274445" y="923925"/>
                    </a:lnTo>
                    <a:lnTo>
                      <a:pt x="1299210" y="888778"/>
                    </a:lnTo>
                    <a:lnTo>
                      <a:pt x="1334452" y="845915"/>
                    </a:lnTo>
                    <a:lnTo>
                      <a:pt x="1348740" y="814388"/>
                    </a:lnTo>
                    <a:lnTo>
                      <a:pt x="1348740" y="793528"/>
                    </a:lnTo>
                    <a:lnTo>
                      <a:pt x="1331595" y="789622"/>
                    </a:lnTo>
                    <a:lnTo>
                      <a:pt x="1306830" y="785813"/>
                    </a:lnTo>
                    <a:lnTo>
                      <a:pt x="1309688" y="782098"/>
                    </a:lnTo>
                    <a:lnTo>
                      <a:pt x="1320165" y="775335"/>
                    </a:lnTo>
                    <a:lnTo>
                      <a:pt x="1338263" y="771525"/>
                    </a:lnTo>
                    <a:lnTo>
                      <a:pt x="1352550" y="768763"/>
                    </a:lnTo>
                    <a:lnTo>
                      <a:pt x="1344930" y="758285"/>
                    </a:lnTo>
                    <a:lnTo>
                      <a:pt x="1323975" y="750665"/>
                    </a:lnTo>
                    <a:lnTo>
                      <a:pt x="1331595" y="736378"/>
                    </a:lnTo>
                    <a:lnTo>
                      <a:pt x="1348740" y="743998"/>
                    </a:lnTo>
                    <a:lnTo>
                      <a:pt x="1352550" y="736378"/>
                    </a:lnTo>
                    <a:lnTo>
                      <a:pt x="1323975" y="715423"/>
                    </a:lnTo>
                    <a:lnTo>
                      <a:pt x="1320165" y="701135"/>
                    </a:lnTo>
                    <a:lnTo>
                      <a:pt x="1306830" y="665797"/>
                    </a:lnTo>
                    <a:lnTo>
                      <a:pt x="1296352" y="655415"/>
                    </a:lnTo>
                    <a:lnTo>
                      <a:pt x="1278255" y="648748"/>
                    </a:lnTo>
                    <a:lnTo>
                      <a:pt x="1284922" y="630650"/>
                    </a:lnTo>
                    <a:lnTo>
                      <a:pt x="1303020" y="605885"/>
                    </a:lnTo>
                    <a:lnTo>
                      <a:pt x="1320165" y="599218"/>
                    </a:lnTo>
                    <a:lnTo>
                      <a:pt x="1323975" y="588645"/>
                    </a:lnTo>
                    <a:lnTo>
                      <a:pt x="1338263" y="581025"/>
                    </a:lnTo>
                    <a:lnTo>
                      <a:pt x="1359218" y="581025"/>
                    </a:lnTo>
                    <a:lnTo>
                      <a:pt x="1369695" y="578263"/>
                    </a:lnTo>
                    <a:lnTo>
                      <a:pt x="1363027" y="563975"/>
                    </a:lnTo>
                    <a:lnTo>
                      <a:pt x="1334452" y="557213"/>
                    </a:lnTo>
                    <a:lnTo>
                      <a:pt x="1320165" y="549688"/>
                    </a:lnTo>
                    <a:lnTo>
                      <a:pt x="1306830" y="553498"/>
                    </a:lnTo>
                    <a:lnTo>
                      <a:pt x="1292543" y="567785"/>
                    </a:lnTo>
                    <a:lnTo>
                      <a:pt x="1271588" y="570643"/>
                    </a:lnTo>
                    <a:lnTo>
                      <a:pt x="1267777" y="557213"/>
                    </a:lnTo>
                    <a:lnTo>
                      <a:pt x="1267777" y="545783"/>
                    </a:lnTo>
                    <a:lnTo>
                      <a:pt x="1243013" y="542925"/>
                    </a:lnTo>
                    <a:lnTo>
                      <a:pt x="1232535" y="518255"/>
                    </a:lnTo>
                    <a:lnTo>
                      <a:pt x="1239202" y="503968"/>
                    </a:lnTo>
                    <a:lnTo>
                      <a:pt x="1274445" y="503968"/>
                    </a:lnTo>
                    <a:lnTo>
                      <a:pt x="1282065" y="485775"/>
                    </a:lnTo>
                    <a:lnTo>
                      <a:pt x="1320165" y="454438"/>
                    </a:lnTo>
                    <a:lnTo>
                      <a:pt x="1342072" y="450533"/>
                    </a:lnTo>
                    <a:lnTo>
                      <a:pt x="1355407" y="450533"/>
                    </a:lnTo>
                    <a:lnTo>
                      <a:pt x="1359218" y="468725"/>
                    </a:lnTo>
                    <a:lnTo>
                      <a:pt x="1342072" y="479108"/>
                    </a:lnTo>
                    <a:lnTo>
                      <a:pt x="1334452" y="497300"/>
                    </a:lnTo>
                    <a:lnTo>
                      <a:pt x="1338263" y="518255"/>
                    </a:lnTo>
                    <a:lnTo>
                      <a:pt x="1387793" y="485775"/>
                    </a:lnTo>
                    <a:lnTo>
                      <a:pt x="1404938" y="483013"/>
                    </a:lnTo>
                    <a:lnTo>
                      <a:pt x="1423035" y="479108"/>
                    </a:lnTo>
                    <a:lnTo>
                      <a:pt x="1440180" y="461963"/>
                    </a:lnTo>
                    <a:lnTo>
                      <a:pt x="1461135" y="447675"/>
                    </a:lnTo>
                    <a:lnTo>
                      <a:pt x="1485900" y="423005"/>
                    </a:lnTo>
                    <a:lnTo>
                      <a:pt x="1493520" y="419100"/>
                    </a:lnTo>
                    <a:lnTo>
                      <a:pt x="1510665" y="426720"/>
                    </a:lnTo>
                    <a:lnTo>
                      <a:pt x="1528763" y="423005"/>
                    </a:lnTo>
                    <a:lnTo>
                      <a:pt x="1531620" y="408718"/>
                    </a:lnTo>
                    <a:lnTo>
                      <a:pt x="1549718" y="408718"/>
                    </a:lnTo>
                    <a:lnTo>
                      <a:pt x="1577340" y="380143"/>
                    </a:lnTo>
                    <a:lnTo>
                      <a:pt x="1595438" y="394430"/>
                    </a:lnTo>
                    <a:lnTo>
                      <a:pt x="1609725" y="377285"/>
                    </a:lnTo>
                    <a:lnTo>
                      <a:pt x="1609725" y="313468"/>
                    </a:lnTo>
                    <a:lnTo>
                      <a:pt x="1633538" y="296323"/>
                    </a:ln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32" name="Freeform: Shape 531">
                <a:extLst>
                  <a:ext uri="{FF2B5EF4-FFF2-40B4-BE49-F238E27FC236}">
                    <a16:creationId xmlns:a16="http://schemas.microsoft.com/office/drawing/2014/main" id="{9B2EF009-543F-02EE-3C4D-4414724C10CA}"/>
                  </a:ext>
                </a:extLst>
              </p:cNvPr>
              <p:cNvSpPr/>
              <p:nvPr/>
            </p:nvSpPr>
            <p:spPr>
              <a:xfrm>
                <a:off x="8505571" y="3733258"/>
                <a:ext cx="251171" cy="523823"/>
              </a:xfrm>
              <a:custGeom>
                <a:avLst/>
                <a:gdLst>
                  <a:gd name="connsiteX0" fmla="*/ 238125 w 256222"/>
                  <a:gd name="connsiteY0" fmla="*/ 206692 h 534352"/>
                  <a:gd name="connsiteX1" fmla="*/ 224790 w 256222"/>
                  <a:gd name="connsiteY1" fmla="*/ 202787 h 534352"/>
                  <a:gd name="connsiteX2" fmla="*/ 224790 w 256222"/>
                  <a:gd name="connsiteY2" fmla="*/ 175165 h 534352"/>
                  <a:gd name="connsiteX3" fmla="*/ 206693 w 256222"/>
                  <a:gd name="connsiteY3" fmla="*/ 167640 h 534352"/>
                  <a:gd name="connsiteX4" fmla="*/ 206693 w 256222"/>
                  <a:gd name="connsiteY4" fmla="*/ 167640 h 534352"/>
                  <a:gd name="connsiteX5" fmla="*/ 206693 w 256222"/>
                  <a:gd name="connsiteY5" fmla="*/ 167640 h 534352"/>
                  <a:gd name="connsiteX6" fmla="*/ 206693 w 256222"/>
                  <a:gd name="connsiteY6" fmla="*/ 142875 h 534352"/>
                  <a:gd name="connsiteX7" fmla="*/ 171450 w 256222"/>
                  <a:gd name="connsiteY7" fmla="*/ 132302 h 534352"/>
                  <a:gd name="connsiteX8" fmla="*/ 171450 w 256222"/>
                  <a:gd name="connsiteY8" fmla="*/ 125730 h 534352"/>
                  <a:gd name="connsiteX9" fmla="*/ 185738 w 256222"/>
                  <a:gd name="connsiteY9" fmla="*/ 104775 h 534352"/>
                  <a:gd name="connsiteX10" fmla="*/ 200025 w 256222"/>
                  <a:gd name="connsiteY10" fmla="*/ 86677 h 534352"/>
                  <a:gd name="connsiteX11" fmla="*/ 202882 w 256222"/>
                  <a:gd name="connsiteY11" fmla="*/ 44767 h 534352"/>
                  <a:gd name="connsiteX12" fmla="*/ 189548 w 256222"/>
                  <a:gd name="connsiteY12" fmla="*/ 34290 h 534352"/>
                  <a:gd name="connsiteX13" fmla="*/ 178118 w 256222"/>
                  <a:gd name="connsiteY13" fmla="*/ 16192 h 534352"/>
                  <a:gd name="connsiteX14" fmla="*/ 133350 w 256222"/>
                  <a:gd name="connsiteY14" fmla="*/ 0 h 534352"/>
                  <a:gd name="connsiteX15" fmla="*/ 122873 w 256222"/>
                  <a:gd name="connsiteY15" fmla="*/ 18002 h 534352"/>
                  <a:gd name="connsiteX16" fmla="*/ 122873 w 256222"/>
                  <a:gd name="connsiteY16" fmla="*/ 35242 h 534352"/>
                  <a:gd name="connsiteX17" fmla="*/ 98107 w 256222"/>
                  <a:gd name="connsiteY17" fmla="*/ 35242 h 534352"/>
                  <a:gd name="connsiteX18" fmla="*/ 70485 w 256222"/>
                  <a:gd name="connsiteY18" fmla="*/ 59912 h 534352"/>
                  <a:gd name="connsiteX19" fmla="*/ 66675 w 256222"/>
                  <a:gd name="connsiteY19" fmla="*/ 80963 h 534352"/>
                  <a:gd name="connsiteX20" fmla="*/ 52388 w 256222"/>
                  <a:gd name="connsiteY20" fmla="*/ 95250 h 534352"/>
                  <a:gd name="connsiteX21" fmla="*/ 45720 w 256222"/>
                  <a:gd name="connsiteY21" fmla="*/ 130492 h 534352"/>
                  <a:gd name="connsiteX22" fmla="*/ 20955 w 256222"/>
                  <a:gd name="connsiteY22" fmla="*/ 134302 h 534352"/>
                  <a:gd name="connsiteX23" fmla="*/ 10478 w 256222"/>
                  <a:gd name="connsiteY23" fmla="*/ 183737 h 534352"/>
                  <a:gd name="connsiteX24" fmla="*/ 0 w 256222"/>
                  <a:gd name="connsiteY24" fmla="*/ 194215 h 534352"/>
                  <a:gd name="connsiteX25" fmla="*/ 0 w 256222"/>
                  <a:gd name="connsiteY25" fmla="*/ 211455 h 534352"/>
                  <a:gd name="connsiteX26" fmla="*/ 20003 w 256222"/>
                  <a:gd name="connsiteY26" fmla="*/ 231362 h 534352"/>
                  <a:gd name="connsiteX27" fmla="*/ 44768 w 256222"/>
                  <a:gd name="connsiteY27" fmla="*/ 256127 h 534352"/>
                  <a:gd name="connsiteX28" fmla="*/ 65723 w 256222"/>
                  <a:gd name="connsiteY28" fmla="*/ 291465 h 534352"/>
                  <a:gd name="connsiteX29" fmla="*/ 80010 w 256222"/>
                  <a:gd name="connsiteY29" fmla="*/ 305752 h 534352"/>
                  <a:gd name="connsiteX30" fmla="*/ 86678 w 256222"/>
                  <a:gd name="connsiteY30" fmla="*/ 322802 h 534352"/>
                  <a:gd name="connsiteX31" fmla="*/ 83820 w 256222"/>
                  <a:gd name="connsiteY31" fmla="*/ 347662 h 534352"/>
                  <a:gd name="connsiteX32" fmla="*/ 83820 w 256222"/>
                  <a:gd name="connsiteY32" fmla="*/ 372427 h 534352"/>
                  <a:gd name="connsiteX33" fmla="*/ 94298 w 256222"/>
                  <a:gd name="connsiteY33" fmla="*/ 386715 h 534352"/>
                  <a:gd name="connsiteX34" fmla="*/ 115253 w 256222"/>
                  <a:gd name="connsiteY34" fmla="*/ 386715 h 534352"/>
                  <a:gd name="connsiteX35" fmla="*/ 119063 w 256222"/>
                  <a:gd name="connsiteY35" fmla="*/ 372427 h 534352"/>
                  <a:gd name="connsiteX36" fmla="*/ 140018 w 256222"/>
                  <a:gd name="connsiteY36" fmla="*/ 365665 h 534352"/>
                  <a:gd name="connsiteX37" fmla="*/ 150495 w 256222"/>
                  <a:gd name="connsiteY37" fmla="*/ 343852 h 534352"/>
                  <a:gd name="connsiteX38" fmla="*/ 167640 w 256222"/>
                  <a:gd name="connsiteY38" fmla="*/ 365665 h 534352"/>
                  <a:gd name="connsiteX39" fmla="*/ 178118 w 256222"/>
                  <a:gd name="connsiteY39" fmla="*/ 390525 h 534352"/>
                  <a:gd name="connsiteX40" fmla="*/ 178118 w 256222"/>
                  <a:gd name="connsiteY40" fmla="*/ 418052 h 534352"/>
                  <a:gd name="connsiteX41" fmla="*/ 192405 w 256222"/>
                  <a:gd name="connsiteY41" fmla="*/ 453390 h 534352"/>
                  <a:gd name="connsiteX42" fmla="*/ 196215 w 256222"/>
                  <a:gd name="connsiteY42" fmla="*/ 463867 h 534352"/>
                  <a:gd name="connsiteX43" fmla="*/ 196215 w 256222"/>
                  <a:gd name="connsiteY43" fmla="*/ 488537 h 534352"/>
                  <a:gd name="connsiteX44" fmla="*/ 196215 w 256222"/>
                  <a:gd name="connsiteY44" fmla="*/ 506730 h 534352"/>
                  <a:gd name="connsiteX45" fmla="*/ 192405 w 256222"/>
                  <a:gd name="connsiteY45" fmla="*/ 520065 h 534352"/>
                  <a:gd name="connsiteX46" fmla="*/ 196215 w 256222"/>
                  <a:gd name="connsiteY46" fmla="*/ 534352 h 534352"/>
                  <a:gd name="connsiteX47" fmla="*/ 217170 w 256222"/>
                  <a:gd name="connsiteY47" fmla="*/ 517112 h 534352"/>
                  <a:gd name="connsiteX48" fmla="*/ 224790 w 256222"/>
                  <a:gd name="connsiteY48" fmla="*/ 496252 h 534352"/>
                  <a:gd name="connsiteX49" fmla="*/ 213360 w 256222"/>
                  <a:gd name="connsiteY49" fmla="*/ 478155 h 534352"/>
                  <a:gd name="connsiteX50" fmla="*/ 213360 w 256222"/>
                  <a:gd name="connsiteY50" fmla="*/ 449580 h 534352"/>
                  <a:gd name="connsiteX51" fmla="*/ 200025 w 256222"/>
                  <a:gd name="connsiteY51" fmla="*/ 428625 h 534352"/>
                  <a:gd name="connsiteX52" fmla="*/ 189548 w 256222"/>
                  <a:gd name="connsiteY52" fmla="*/ 414337 h 534352"/>
                  <a:gd name="connsiteX53" fmla="*/ 196215 w 256222"/>
                  <a:gd name="connsiteY53" fmla="*/ 397192 h 534352"/>
                  <a:gd name="connsiteX54" fmla="*/ 202882 w 256222"/>
                  <a:gd name="connsiteY54" fmla="*/ 379000 h 534352"/>
                  <a:gd name="connsiteX55" fmla="*/ 192405 w 256222"/>
                  <a:gd name="connsiteY55" fmla="*/ 351377 h 534352"/>
                  <a:gd name="connsiteX56" fmla="*/ 175260 w 256222"/>
                  <a:gd name="connsiteY56" fmla="*/ 337090 h 534352"/>
                  <a:gd name="connsiteX57" fmla="*/ 171450 w 256222"/>
                  <a:gd name="connsiteY57" fmla="*/ 326612 h 534352"/>
                  <a:gd name="connsiteX58" fmla="*/ 167640 w 256222"/>
                  <a:gd name="connsiteY58" fmla="*/ 308515 h 534352"/>
                  <a:gd name="connsiteX59" fmla="*/ 171450 w 256222"/>
                  <a:gd name="connsiteY59" fmla="*/ 298037 h 534352"/>
                  <a:gd name="connsiteX60" fmla="*/ 175260 w 256222"/>
                  <a:gd name="connsiteY60" fmla="*/ 291465 h 534352"/>
                  <a:gd name="connsiteX61" fmla="*/ 175260 w 256222"/>
                  <a:gd name="connsiteY61" fmla="*/ 270415 h 534352"/>
                  <a:gd name="connsiteX62" fmla="*/ 206693 w 256222"/>
                  <a:gd name="connsiteY62" fmla="*/ 266700 h 534352"/>
                  <a:gd name="connsiteX63" fmla="*/ 224790 w 256222"/>
                  <a:gd name="connsiteY63" fmla="*/ 252412 h 534352"/>
                  <a:gd name="connsiteX64" fmla="*/ 256223 w 256222"/>
                  <a:gd name="connsiteY64" fmla="*/ 235267 h 534352"/>
                  <a:gd name="connsiteX65" fmla="*/ 252413 w 256222"/>
                  <a:gd name="connsiteY65" fmla="*/ 217075 h 534352"/>
                  <a:gd name="connsiteX66" fmla="*/ 238125 w 256222"/>
                  <a:gd name="connsiteY66" fmla="*/ 217075 h 534352"/>
                  <a:gd name="connsiteX67" fmla="*/ 238125 w 256222"/>
                  <a:gd name="connsiteY67" fmla="*/ 206692 h 5343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256222" h="534352">
                    <a:moveTo>
                      <a:pt x="238125" y="206692"/>
                    </a:moveTo>
                    <a:lnTo>
                      <a:pt x="224790" y="202787"/>
                    </a:lnTo>
                    <a:lnTo>
                      <a:pt x="224790" y="175165"/>
                    </a:lnTo>
                    <a:lnTo>
                      <a:pt x="206693" y="167640"/>
                    </a:lnTo>
                    <a:lnTo>
                      <a:pt x="206693" y="167640"/>
                    </a:lnTo>
                    <a:lnTo>
                      <a:pt x="206693" y="167640"/>
                    </a:lnTo>
                    <a:lnTo>
                      <a:pt x="206693" y="142875"/>
                    </a:lnTo>
                    <a:lnTo>
                      <a:pt x="171450" y="132302"/>
                    </a:lnTo>
                    <a:lnTo>
                      <a:pt x="171450" y="125730"/>
                    </a:lnTo>
                    <a:lnTo>
                      <a:pt x="185738" y="104775"/>
                    </a:lnTo>
                    <a:lnTo>
                      <a:pt x="200025" y="86677"/>
                    </a:lnTo>
                    <a:lnTo>
                      <a:pt x="202882" y="44767"/>
                    </a:lnTo>
                    <a:lnTo>
                      <a:pt x="189548" y="34290"/>
                    </a:lnTo>
                    <a:lnTo>
                      <a:pt x="178118" y="16192"/>
                    </a:lnTo>
                    <a:lnTo>
                      <a:pt x="133350" y="0"/>
                    </a:lnTo>
                    <a:lnTo>
                      <a:pt x="122873" y="18002"/>
                    </a:lnTo>
                    <a:lnTo>
                      <a:pt x="122873" y="35242"/>
                    </a:lnTo>
                    <a:lnTo>
                      <a:pt x="98107" y="35242"/>
                    </a:lnTo>
                    <a:lnTo>
                      <a:pt x="70485" y="59912"/>
                    </a:lnTo>
                    <a:lnTo>
                      <a:pt x="66675" y="80963"/>
                    </a:lnTo>
                    <a:lnTo>
                      <a:pt x="52388" y="95250"/>
                    </a:lnTo>
                    <a:lnTo>
                      <a:pt x="45720" y="130492"/>
                    </a:lnTo>
                    <a:lnTo>
                      <a:pt x="20955" y="134302"/>
                    </a:lnTo>
                    <a:lnTo>
                      <a:pt x="10478" y="183737"/>
                    </a:lnTo>
                    <a:lnTo>
                      <a:pt x="0" y="194215"/>
                    </a:lnTo>
                    <a:lnTo>
                      <a:pt x="0" y="211455"/>
                    </a:lnTo>
                    <a:lnTo>
                      <a:pt x="20003" y="231362"/>
                    </a:lnTo>
                    <a:lnTo>
                      <a:pt x="44768" y="256127"/>
                    </a:lnTo>
                    <a:lnTo>
                      <a:pt x="65723" y="291465"/>
                    </a:lnTo>
                    <a:lnTo>
                      <a:pt x="80010" y="305752"/>
                    </a:lnTo>
                    <a:lnTo>
                      <a:pt x="86678" y="322802"/>
                    </a:lnTo>
                    <a:lnTo>
                      <a:pt x="83820" y="347662"/>
                    </a:lnTo>
                    <a:lnTo>
                      <a:pt x="83820" y="372427"/>
                    </a:lnTo>
                    <a:lnTo>
                      <a:pt x="94298" y="386715"/>
                    </a:lnTo>
                    <a:lnTo>
                      <a:pt x="115253" y="386715"/>
                    </a:lnTo>
                    <a:lnTo>
                      <a:pt x="119063" y="372427"/>
                    </a:lnTo>
                    <a:lnTo>
                      <a:pt x="140018" y="365665"/>
                    </a:lnTo>
                    <a:lnTo>
                      <a:pt x="150495" y="343852"/>
                    </a:lnTo>
                    <a:lnTo>
                      <a:pt x="167640" y="365665"/>
                    </a:lnTo>
                    <a:lnTo>
                      <a:pt x="178118" y="390525"/>
                    </a:lnTo>
                    <a:lnTo>
                      <a:pt x="178118" y="418052"/>
                    </a:lnTo>
                    <a:lnTo>
                      <a:pt x="192405" y="453390"/>
                    </a:lnTo>
                    <a:lnTo>
                      <a:pt x="196215" y="463867"/>
                    </a:lnTo>
                    <a:lnTo>
                      <a:pt x="196215" y="488537"/>
                    </a:lnTo>
                    <a:lnTo>
                      <a:pt x="196215" y="506730"/>
                    </a:lnTo>
                    <a:lnTo>
                      <a:pt x="192405" y="520065"/>
                    </a:lnTo>
                    <a:lnTo>
                      <a:pt x="196215" y="534352"/>
                    </a:lnTo>
                    <a:lnTo>
                      <a:pt x="217170" y="517112"/>
                    </a:lnTo>
                    <a:lnTo>
                      <a:pt x="224790" y="496252"/>
                    </a:lnTo>
                    <a:lnTo>
                      <a:pt x="213360" y="478155"/>
                    </a:lnTo>
                    <a:lnTo>
                      <a:pt x="213360" y="449580"/>
                    </a:lnTo>
                    <a:lnTo>
                      <a:pt x="200025" y="428625"/>
                    </a:lnTo>
                    <a:lnTo>
                      <a:pt x="189548" y="414337"/>
                    </a:lnTo>
                    <a:lnTo>
                      <a:pt x="196215" y="397192"/>
                    </a:lnTo>
                    <a:lnTo>
                      <a:pt x="202882" y="379000"/>
                    </a:lnTo>
                    <a:lnTo>
                      <a:pt x="192405" y="351377"/>
                    </a:lnTo>
                    <a:lnTo>
                      <a:pt x="175260" y="337090"/>
                    </a:lnTo>
                    <a:lnTo>
                      <a:pt x="171450" y="326612"/>
                    </a:lnTo>
                    <a:lnTo>
                      <a:pt x="167640" y="308515"/>
                    </a:lnTo>
                    <a:lnTo>
                      <a:pt x="171450" y="298037"/>
                    </a:lnTo>
                    <a:lnTo>
                      <a:pt x="175260" y="291465"/>
                    </a:lnTo>
                    <a:lnTo>
                      <a:pt x="175260" y="270415"/>
                    </a:lnTo>
                    <a:lnTo>
                      <a:pt x="206693" y="266700"/>
                    </a:lnTo>
                    <a:lnTo>
                      <a:pt x="224790" y="252412"/>
                    </a:lnTo>
                    <a:lnTo>
                      <a:pt x="256223" y="235267"/>
                    </a:lnTo>
                    <a:lnTo>
                      <a:pt x="252413" y="217075"/>
                    </a:lnTo>
                    <a:lnTo>
                      <a:pt x="238125" y="217075"/>
                    </a:lnTo>
                    <a:lnTo>
                      <a:pt x="238125" y="20669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33" name="Freeform: Shape 532">
                <a:extLst>
                  <a:ext uri="{FF2B5EF4-FFF2-40B4-BE49-F238E27FC236}">
                    <a16:creationId xmlns:a16="http://schemas.microsoft.com/office/drawing/2014/main" id="{C1AF5FB3-98A2-A23D-0C53-C9EBBD01AF4B}"/>
                  </a:ext>
                </a:extLst>
              </p:cNvPr>
              <p:cNvSpPr/>
              <p:nvPr/>
            </p:nvSpPr>
            <p:spPr>
              <a:xfrm>
                <a:off x="8396324" y="3796659"/>
                <a:ext cx="120450" cy="155000"/>
              </a:xfrm>
              <a:custGeom>
                <a:avLst/>
                <a:gdLst>
                  <a:gd name="connsiteX0" fmla="*/ 24765 w 122872"/>
                  <a:gd name="connsiteY0" fmla="*/ 130588 h 158115"/>
                  <a:gd name="connsiteX1" fmla="*/ 17145 w 122872"/>
                  <a:gd name="connsiteY1" fmla="*/ 87725 h 158115"/>
                  <a:gd name="connsiteX2" fmla="*/ 14288 w 122872"/>
                  <a:gd name="connsiteY2" fmla="*/ 66675 h 158115"/>
                  <a:gd name="connsiteX3" fmla="*/ 2858 w 122872"/>
                  <a:gd name="connsiteY3" fmla="*/ 60103 h 158115"/>
                  <a:gd name="connsiteX4" fmla="*/ 0 w 122872"/>
                  <a:gd name="connsiteY4" fmla="*/ 45815 h 158115"/>
                  <a:gd name="connsiteX5" fmla="*/ 20955 w 122872"/>
                  <a:gd name="connsiteY5" fmla="*/ 35338 h 158115"/>
                  <a:gd name="connsiteX6" fmla="*/ 6668 w 122872"/>
                  <a:gd name="connsiteY6" fmla="*/ 21050 h 158115"/>
                  <a:gd name="connsiteX7" fmla="*/ 6668 w 122872"/>
                  <a:gd name="connsiteY7" fmla="*/ 10478 h 158115"/>
                  <a:gd name="connsiteX8" fmla="*/ 17145 w 122872"/>
                  <a:gd name="connsiteY8" fmla="*/ 0 h 158115"/>
                  <a:gd name="connsiteX9" fmla="*/ 24765 w 122872"/>
                  <a:gd name="connsiteY9" fmla="*/ 10478 h 158115"/>
                  <a:gd name="connsiteX10" fmla="*/ 41910 w 122872"/>
                  <a:gd name="connsiteY10" fmla="*/ 17240 h 158115"/>
                  <a:gd name="connsiteX11" fmla="*/ 52388 w 122872"/>
                  <a:gd name="connsiteY11" fmla="*/ 38100 h 158115"/>
                  <a:gd name="connsiteX12" fmla="*/ 112395 w 122872"/>
                  <a:gd name="connsiteY12" fmla="*/ 38100 h 158115"/>
                  <a:gd name="connsiteX13" fmla="*/ 112395 w 122872"/>
                  <a:gd name="connsiteY13" fmla="*/ 60103 h 158115"/>
                  <a:gd name="connsiteX14" fmla="*/ 98108 w 122872"/>
                  <a:gd name="connsiteY14" fmla="*/ 66675 h 158115"/>
                  <a:gd name="connsiteX15" fmla="*/ 91440 w 122872"/>
                  <a:gd name="connsiteY15" fmla="*/ 70580 h 158115"/>
                  <a:gd name="connsiteX16" fmla="*/ 84773 w 122872"/>
                  <a:gd name="connsiteY16" fmla="*/ 80963 h 158115"/>
                  <a:gd name="connsiteX17" fmla="*/ 84773 w 122872"/>
                  <a:gd name="connsiteY17" fmla="*/ 87725 h 158115"/>
                  <a:gd name="connsiteX18" fmla="*/ 84773 w 122872"/>
                  <a:gd name="connsiteY18" fmla="*/ 95250 h 158115"/>
                  <a:gd name="connsiteX19" fmla="*/ 98108 w 122872"/>
                  <a:gd name="connsiteY19" fmla="*/ 102013 h 158115"/>
                  <a:gd name="connsiteX20" fmla="*/ 105728 w 122872"/>
                  <a:gd name="connsiteY20" fmla="*/ 80963 h 158115"/>
                  <a:gd name="connsiteX21" fmla="*/ 122873 w 122872"/>
                  <a:gd name="connsiteY21" fmla="*/ 83915 h 158115"/>
                  <a:gd name="connsiteX22" fmla="*/ 119063 w 122872"/>
                  <a:gd name="connsiteY22" fmla="*/ 105728 h 158115"/>
                  <a:gd name="connsiteX23" fmla="*/ 119063 w 122872"/>
                  <a:gd name="connsiteY23" fmla="*/ 122968 h 158115"/>
                  <a:gd name="connsiteX24" fmla="*/ 122873 w 122872"/>
                  <a:gd name="connsiteY24" fmla="*/ 133350 h 158115"/>
                  <a:gd name="connsiteX25" fmla="*/ 122873 w 122872"/>
                  <a:gd name="connsiteY25" fmla="*/ 151543 h 158115"/>
                  <a:gd name="connsiteX26" fmla="*/ 112395 w 122872"/>
                  <a:gd name="connsiteY26" fmla="*/ 158115 h 158115"/>
                  <a:gd name="connsiteX27" fmla="*/ 105728 w 122872"/>
                  <a:gd name="connsiteY27" fmla="*/ 143828 h 158115"/>
                  <a:gd name="connsiteX28" fmla="*/ 101918 w 122872"/>
                  <a:gd name="connsiteY28" fmla="*/ 119063 h 158115"/>
                  <a:gd name="connsiteX29" fmla="*/ 95250 w 122872"/>
                  <a:gd name="connsiteY29" fmla="*/ 112490 h 158115"/>
                  <a:gd name="connsiteX30" fmla="*/ 84773 w 122872"/>
                  <a:gd name="connsiteY30" fmla="*/ 108680 h 158115"/>
                  <a:gd name="connsiteX31" fmla="*/ 70485 w 122872"/>
                  <a:gd name="connsiteY31" fmla="*/ 98203 h 158115"/>
                  <a:gd name="connsiteX32" fmla="*/ 62865 w 122872"/>
                  <a:gd name="connsiteY32" fmla="*/ 108680 h 158115"/>
                  <a:gd name="connsiteX33" fmla="*/ 62865 w 122872"/>
                  <a:gd name="connsiteY33" fmla="*/ 130588 h 158115"/>
                  <a:gd name="connsiteX34" fmla="*/ 45720 w 122872"/>
                  <a:gd name="connsiteY34" fmla="*/ 130588 h 158115"/>
                  <a:gd name="connsiteX35" fmla="*/ 24765 w 122872"/>
                  <a:gd name="connsiteY35" fmla="*/ 130588 h 158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122872" h="158115">
                    <a:moveTo>
                      <a:pt x="24765" y="130588"/>
                    </a:moveTo>
                    <a:lnTo>
                      <a:pt x="17145" y="87725"/>
                    </a:lnTo>
                    <a:lnTo>
                      <a:pt x="14288" y="66675"/>
                    </a:lnTo>
                    <a:lnTo>
                      <a:pt x="2858" y="60103"/>
                    </a:lnTo>
                    <a:lnTo>
                      <a:pt x="0" y="45815"/>
                    </a:lnTo>
                    <a:lnTo>
                      <a:pt x="20955" y="35338"/>
                    </a:lnTo>
                    <a:lnTo>
                      <a:pt x="6668" y="21050"/>
                    </a:lnTo>
                    <a:lnTo>
                      <a:pt x="6668" y="10478"/>
                    </a:lnTo>
                    <a:lnTo>
                      <a:pt x="17145" y="0"/>
                    </a:lnTo>
                    <a:lnTo>
                      <a:pt x="24765" y="10478"/>
                    </a:lnTo>
                    <a:lnTo>
                      <a:pt x="41910" y="17240"/>
                    </a:lnTo>
                    <a:lnTo>
                      <a:pt x="52388" y="38100"/>
                    </a:lnTo>
                    <a:lnTo>
                      <a:pt x="112395" y="38100"/>
                    </a:lnTo>
                    <a:lnTo>
                      <a:pt x="112395" y="60103"/>
                    </a:lnTo>
                    <a:lnTo>
                      <a:pt x="98108" y="66675"/>
                    </a:lnTo>
                    <a:lnTo>
                      <a:pt x="91440" y="70580"/>
                    </a:lnTo>
                    <a:lnTo>
                      <a:pt x="84773" y="80963"/>
                    </a:lnTo>
                    <a:lnTo>
                      <a:pt x="84773" y="87725"/>
                    </a:lnTo>
                    <a:lnTo>
                      <a:pt x="84773" y="95250"/>
                    </a:lnTo>
                    <a:lnTo>
                      <a:pt x="98108" y="102013"/>
                    </a:lnTo>
                    <a:lnTo>
                      <a:pt x="105728" y="80963"/>
                    </a:lnTo>
                    <a:lnTo>
                      <a:pt x="122873" y="83915"/>
                    </a:lnTo>
                    <a:lnTo>
                      <a:pt x="119063" y="105728"/>
                    </a:lnTo>
                    <a:lnTo>
                      <a:pt x="119063" y="122968"/>
                    </a:lnTo>
                    <a:lnTo>
                      <a:pt x="122873" y="133350"/>
                    </a:lnTo>
                    <a:lnTo>
                      <a:pt x="122873" y="151543"/>
                    </a:lnTo>
                    <a:lnTo>
                      <a:pt x="112395" y="158115"/>
                    </a:lnTo>
                    <a:lnTo>
                      <a:pt x="105728" y="143828"/>
                    </a:lnTo>
                    <a:lnTo>
                      <a:pt x="101918" y="119063"/>
                    </a:lnTo>
                    <a:lnTo>
                      <a:pt x="95250" y="112490"/>
                    </a:lnTo>
                    <a:lnTo>
                      <a:pt x="84773" y="108680"/>
                    </a:lnTo>
                    <a:lnTo>
                      <a:pt x="70485" y="98203"/>
                    </a:lnTo>
                    <a:lnTo>
                      <a:pt x="62865" y="108680"/>
                    </a:lnTo>
                    <a:lnTo>
                      <a:pt x="62865" y="130588"/>
                    </a:lnTo>
                    <a:lnTo>
                      <a:pt x="45720" y="130588"/>
                    </a:lnTo>
                    <a:lnTo>
                      <a:pt x="24765" y="130588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34" name="Freeform: Shape 533">
                <a:extLst>
                  <a:ext uri="{FF2B5EF4-FFF2-40B4-BE49-F238E27FC236}">
                    <a16:creationId xmlns:a16="http://schemas.microsoft.com/office/drawing/2014/main" id="{7C90820E-8EAD-A218-891E-C2131BDE280D}"/>
                  </a:ext>
                </a:extLst>
              </p:cNvPr>
              <p:cNvSpPr/>
              <p:nvPr/>
            </p:nvSpPr>
            <p:spPr>
              <a:xfrm>
                <a:off x="7672688" y="3482925"/>
                <a:ext cx="441651" cy="390393"/>
              </a:xfrm>
              <a:custGeom>
                <a:avLst/>
                <a:gdLst>
                  <a:gd name="connsiteX0" fmla="*/ 224790 w 450532"/>
                  <a:gd name="connsiteY0" fmla="*/ 379190 h 398240"/>
                  <a:gd name="connsiteX1" fmla="*/ 228600 w 450532"/>
                  <a:gd name="connsiteY1" fmla="*/ 387667 h 398240"/>
                  <a:gd name="connsiteX2" fmla="*/ 242888 w 450532"/>
                  <a:gd name="connsiteY2" fmla="*/ 398240 h 398240"/>
                  <a:gd name="connsiteX3" fmla="*/ 249555 w 450532"/>
                  <a:gd name="connsiteY3" fmla="*/ 387667 h 398240"/>
                  <a:gd name="connsiteX4" fmla="*/ 274320 w 450532"/>
                  <a:gd name="connsiteY4" fmla="*/ 387667 h 398240"/>
                  <a:gd name="connsiteX5" fmla="*/ 274320 w 450532"/>
                  <a:gd name="connsiteY5" fmla="*/ 370618 h 398240"/>
                  <a:gd name="connsiteX6" fmla="*/ 297180 w 450532"/>
                  <a:gd name="connsiteY6" fmla="*/ 363855 h 398240"/>
                  <a:gd name="connsiteX7" fmla="*/ 287655 w 450532"/>
                  <a:gd name="connsiteY7" fmla="*/ 343852 h 398240"/>
                  <a:gd name="connsiteX8" fmla="*/ 280035 w 450532"/>
                  <a:gd name="connsiteY8" fmla="*/ 319183 h 398240"/>
                  <a:gd name="connsiteX9" fmla="*/ 272415 w 450532"/>
                  <a:gd name="connsiteY9" fmla="*/ 313468 h 398240"/>
                  <a:gd name="connsiteX10" fmla="*/ 274320 w 450532"/>
                  <a:gd name="connsiteY10" fmla="*/ 305752 h 398240"/>
                  <a:gd name="connsiteX11" fmla="*/ 268605 w 450532"/>
                  <a:gd name="connsiteY11" fmla="*/ 296227 h 398240"/>
                  <a:gd name="connsiteX12" fmla="*/ 263843 w 450532"/>
                  <a:gd name="connsiteY12" fmla="*/ 281940 h 398240"/>
                  <a:gd name="connsiteX13" fmla="*/ 278130 w 450532"/>
                  <a:gd name="connsiteY13" fmla="*/ 289655 h 398240"/>
                  <a:gd name="connsiteX14" fmla="*/ 302895 w 450532"/>
                  <a:gd name="connsiteY14" fmla="*/ 281940 h 398240"/>
                  <a:gd name="connsiteX15" fmla="*/ 390525 w 450532"/>
                  <a:gd name="connsiteY15" fmla="*/ 199168 h 398240"/>
                  <a:gd name="connsiteX16" fmla="*/ 418148 w 450532"/>
                  <a:gd name="connsiteY16" fmla="*/ 151543 h 398240"/>
                  <a:gd name="connsiteX17" fmla="*/ 403860 w 450532"/>
                  <a:gd name="connsiteY17" fmla="*/ 142970 h 398240"/>
                  <a:gd name="connsiteX18" fmla="*/ 393383 w 450532"/>
                  <a:gd name="connsiteY18" fmla="*/ 135255 h 398240"/>
                  <a:gd name="connsiteX19" fmla="*/ 381953 w 450532"/>
                  <a:gd name="connsiteY19" fmla="*/ 119158 h 398240"/>
                  <a:gd name="connsiteX20" fmla="*/ 373380 w 450532"/>
                  <a:gd name="connsiteY20" fmla="*/ 83915 h 398240"/>
                  <a:gd name="connsiteX21" fmla="*/ 411480 w 450532"/>
                  <a:gd name="connsiteY21" fmla="*/ 81058 h 398240"/>
                  <a:gd name="connsiteX22" fmla="*/ 440055 w 450532"/>
                  <a:gd name="connsiteY22" fmla="*/ 74390 h 398240"/>
                  <a:gd name="connsiteX23" fmla="*/ 446723 w 450532"/>
                  <a:gd name="connsiteY23" fmla="*/ 53435 h 398240"/>
                  <a:gd name="connsiteX24" fmla="*/ 450533 w 450532"/>
                  <a:gd name="connsiteY24" fmla="*/ 42005 h 398240"/>
                  <a:gd name="connsiteX25" fmla="*/ 415290 w 450532"/>
                  <a:gd name="connsiteY25" fmla="*/ 28575 h 398240"/>
                  <a:gd name="connsiteX26" fmla="*/ 415290 w 450532"/>
                  <a:gd name="connsiteY26" fmla="*/ 10573 h 398240"/>
                  <a:gd name="connsiteX27" fmla="*/ 394335 w 450532"/>
                  <a:gd name="connsiteY27" fmla="*/ 3905 h 398240"/>
                  <a:gd name="connsiteX28" fmla="*/ 383858 w 450532"/>
                  <a:gd name="connsiteY28" fmla="*/ 0 h 398240"/>
                  <a:gd name="connsiteX29" fmla="*/ 362903 w 450532"/>
                  <a:gd name="connsiteY29" fmla="*/ 3905 h 398240"/>
                  <a:gd name="connsiteX30" fmla="*/ 334328 w 450532"/>
                  <a:gd name="connsiteY30" fmla="*/ 3905 h 398240"/>
                  <a:gd name="connsiteX31" fmla="*/ 320040 w 450532"/>
                  <a:gd name="connsiteY31" fmla="*/ 3905 h 398240"/>
                  <a:gd name="connsiteX32" fmla="*/ 292418 w 450532"/>
                  <a:gd name="connsiteY32" fmla="*/ 20955 h 398240"/>
                  <a:gd name="connsiteX33" fmla="*/ 281940 w 450532"/>
                  <a:gd name="connsiteY33" fmla="*/ 31528 h 398240"/>
                  <a:gd name="connsiteX34" fmla="*/ 292418 w 450532"/>
                  <a:gd name="connsiteY34" fmla="*/ 53435 h 398240"/>
                  <a:gd name="connsiteX35" fmla="*/ 281940 w 450532"/>
                  <a:gd name="connsiteY35" fmla="*/ 88678 h 398240"/>
                  <a:gd name="connsiteX36" fmla="*/ 253365 w 450532"/>
                  <a:gd name="connsiteY36" fmla="*/ 99155 h 398240"/>
                  <a:gd name="connsiteX37" fmla="*/ 246698 w 450532"/>
                  <a:gd name="connsiteY37" fmla="*/ 120015 h 398240"/>
                  <a:gd name="connsiteX38" fmla="*/ 236220 w 450532"/>
                  <a:gd name="connsiteY38" fmla="*/ 126778 h 398240"/>
                  <a:gd name="connsiteX39" fmla="*/ 228600 w 450532"/>
                  <a:gd name="connsiteY39" fmla="*/ 144780 h 398240"/>
                  <a:gd name="connsiteX40" fmla="*/ 228600 w 450532"/>
                  <a:gd name="connsiteY40" fmla="*/ 169640 h 398240"/>
                  <a:gd name="connsiteX41" fmla="*/ 186690 w 450532"/>
                  <a:gd name="connsiteY41" fmla="*/ 169640 h 398240"/>
                  <a:gd name="connsiteX42" fmla="*/ 179070 w 450532"/>
                  <a:gd name="connsiteY42" fmla="*/ 183928 h 398240"/>
                  <a:gd name="connsiteX43" fmla="*/ 151448 w 450532"/>
                  <a:gd name="connsiteY43" fmla="*/ 183928 h 398240"/>
                  <a:gd name="connsiteX44" fmla="*/ 143828 w 450532"/>
                  <a:gd name="connsiteY44" fmla="*/ 194405 h 398240"/>
                  <a:gd name="connsiteX45" fmla="*/ 140970 w 450532"/>
                  <a:gd name="connsiteY45" fmla="*/ 225742 h 398240"/>
                  <a:gd name="connsiteX46" fmla="*/ 122873 w 450532"/>
                  <a:gd name="connsiteY46" fmla="*/ 229552 h 398240"/>
                  <a:gd name="connsiteX47" fmla="*/ 95250 w 450532"/>
                  <a:gd name="connsiteY47" fmla="*/ 232505 h 398240"/>
                  <a:gd name="connsiteX48" fmla="*/ 60008 w 450532"/>
                  <a:gd name="connsiteY48" fmla="*/ 236315 h 398240"/>
                  <a:gd name="connsiteX49" fmla="*/ 27623 w 450532"/>
                  <a:gd name="connsiteY49" fmla="*/ 236315 h 398240"/>
                  <a:gd name="connsiteX50" fmla="*/ 17145 w 450532"/>
                  <a:gd name="connsiteY50" fmla="*/ 225742 h 398240"/>
                  <a:gd name="connsiteX51" fmla="*/ 0 w 450532"/>
                  <a:gd name="connsiteY51" fmla="*/ 232505 h 398240"/>
                  <a:gd name="connsiteX52" fmla="*/ 27623 w 450532"/>
                  <a:gd name="connsiteY52" fmla="*/ 267652 h 398240"/>
                  <a:gd name="connsiteX53" fmla="*/ 49530 w 450532"/>
                  <a:gd name="connsiteY53" fmla="*/ 285845 h 398240"/>
                  <a:gd name="connsiteX54" fmla="*/ 49530 w 450532"/>
                  <a:gd name="connsiteY54" fmla="*/ 306705 h 398240"/>
                  <a:gd name="connsiteX55" fmla="*/ 62865 w 450532"/>
                  <a:gd name="connsiteY55" fmla="*/ 306705 h 398240"/>
                  <a:gd name="connsiteX56" fmla="*/ 62865 w 450532"/>
                  <a:gd name="connsiteY56" fmla="*/ 320992 h 398240"/>
                  <a:gd name="connsiteX57" fmla="*/ 39053 w 450532"/>
                  <a:gd name="connsiteY57" fmla="*/ 324802 h 398240"/>
                  <a:gd name="connsiteX58" fmla="*/ 14288 w 450532"/>
                  <a:gd name="connsiteY58" fmla="*/ 338233 h 398240"/>
                  <a:gd name="connsiteX59" fmla="*/ 14288 w 450532"/>
                  <a:gd name="connsiteY59" fmla="*/ 366808 h 398240"/>
                  <a:gd name="connsiteX60" fmla="*/ 60008 w 450532"/>
                  <a:gd name="connsiteY60" fmla="*/ 370618 h 398240"/>
                  <a:gd name="connsiteX61" fmla="*/ 66675 w 450532"/>
                  <a:gd name="connsiteY61" fmla="*/ 360140 h 398240"/>
                  <a:gd name="connsiteX62" fmla="*/ 151448 w 450532"/>
                  <a:gd name="connsiteY62" fmla="*/ 352520 h 398240"/>
                  <a:gd name="connsiteX63" fmla="*/ 153353 w 450532"/>
                  <a:gd name="connsiteY63" fmla="*/ 374428 h 398240"/>
                  <a:gd name="connsiteX64" fmla="*/ 224790 w 450532"/>
                  <a:gd name="connsiteY64" fmla="*/ 379190 h 3982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450532" h="398240">
                    <a:moveTo>
                      <a:pt x="224790" y="379190"/>
                    </a:moveTo>
                    <a:lnTo>
                      <a:pt x="228600" y="387667"/>
                    </a:lnTo>
                    <a:lnTo>
                      <a:pt x="242888" y="398240"/>
                    </a:lnTo>
                    <a:lnTo>
                      <a:pt x="249555" y="387667"/>
                    </a:lnTo>
                    <a:lnTo>
                      <a:pt x="274320" y="387667"/>
                    </a:lnTo>
                    <a:lnTo>
                      <a:pt x="274320" y="370618"/>
                    </a:lnTo>
                    <a:lnTo>
                      <a:pt x="297180" y="363855"/>
                    </a:lnTo>
                    <a:lnTo>
                      <a:pt x="287655" y="343852"/>
                    </a:lnTo>
                    <a:lnTo>
                      <a:pt x="280035" y="319183"/>
                    </a:lnTo>
                    <a:lnTo>
                      <a:pt x="272415" y="313468"/>
                    </a:lnTo>
                    <a:lnTo>
                      <a:pt x="274320" y="305752"/>
                    </a:lnTo>
                    <a:lnTo>
                      <a:pt x="268605" y="296227"/>
                    </a:lnTo>
                    <a:lnTo>
                      <a:pt x="263843" y="281940"/>
                    </a:lnTo>
                    <a:lnTo>
                      <a:pt x="278130" y="289655"/>
                    </a:lnTo>
                    <a:lnTo>
                      <a:pt x="302895" y="281940"/>
                    </a:lnTo>
                    <a:lnTo>
                      <a:pt x="390525" y="199168"/>
                    </a:lnTo>
                    <a:lnTo>
                      <a:pt x="418148" y="151543"/>
                    </a:lnTo>
                    <a:lnTo>
                      <a:pt x="403860" y="142970"/>
                    </a:lnTo>
                    <a:lnTo>
                      <a:pt x="393383" y="135255"/>
                    </a:lnTo>
                    <a:lnTo>
                      <a:pt x="381953" y="119158"/>
                    </a:lnTo>
                    <a:lnTo>
                      <a:pt x="373380" y="83915"/>
                    </a:lnTo>
                    <a:lnTo>
                      <a:pt x="411480" y="81058"/>
                    </a:lnTo>
                    <a:lnTo>
                      <a:pt x="440055" y="74390"/>
                    </a:lnTo>
                    <a:lnTo>
                      <a:pt x="446723" y="53435"/>
                    </a:lnTo>
                    <a:lnTo>
                      <a:pt x="450533" y="42005"/>
                    </a:lnTo>
                    <a:lnTo>
                      <a:pt x="415290" y="28575"/>
                    </a:lnTo>
                    <a:lnTo>
                      <a:pt x="415290" y="10573"/>
                    </a:lnTo>
                    <a:lnTo>
                      <a:pt x="394335" y="3905"/>
                    </a:lnTo>
                    <a:lnTo>
                      <a:pt x="383858" y="0"/>
                    </a:lnTo>
                    <a:lnTo>
                      <a:pt x="362903" y="3905"/>
                    </a:lnTo>
                    <a:lnTo>
                      <a:pt x="334328" y="3905"/>
                    </a:lnTo>
                    <a:lnTo>
                      <a:pt x="320040" y="3905"/>
                    </a:lnTo>
                    <a:lnTo>
                      <a:pt x="292418" y="20955"/>
                    </a:lnTo>
                    <a:lnTo>
                      <a:pt x="281940" y="31528"/>
                    </a:lnTo>
                    <a:lnTo>
                      <a:pt x="292418" y="53435"/>
                    </a:lnTo>
                    <a:lnTo>
                      <a:pt x="281940" y="88678"/>
                    </a:lnTo>
                    <a:lnTo>
                      <a:pt x="253365" y="99155"/>
                    </a:lnTo>
                    <a:lnTo>
                      <a:pt x="246698" y="120015"/>
                    </a:lnTo>
                    <a:lnTo>
                      <a:pt x="236220" y="126778"/>
                    </a:lnTo>
                    <a:lnTo>
                      <a:pt x="228600" y="144780"/>
                    </a:lnTo>
                    <a:lnTo>
                      <a:pt x="228600" y="169640"/>
                    </a:lnTo>
                    <a:lnTo>
                      <a:pt x="186690" y="169640"/>
                    </a:lnTo>
                    <a:lnTo>
                      <a:pt x="179070" y="183928"/>
                    </a:lnTo>
                    <a:lnTo>
                      <a:pt x="151448" y="183928"/>
                    </a:lnTo>
                    <a:lnTo>
                      <a:pt x="143828" y="194405"/>
                    </a:lnTo>
                    <a:lnTo>
                      <a:pt x="140970" y="225742"/>
                    </a:lnTo>
                    <a:lnTo>
                      <a:pt x="122873" y="229552"/>
                    </a:lnTo>
                    <a:lnTo>
                      <a:pt x="95250" y="232505"/>
                    </a:lnTo>
                    <a:lnTo>
                      <a:pt x="60008" y="236315"/>
                    </a:lnTo>
                    <a:lnTo>
                      <a:pt x="27623" y="236315"/>
                    </a:lnTo>
                    <a:lnTo>
                      <a:pt x="17145" y="225742"/>
                    </a:lnTo>
                    <a:lnTo>
                      <a:pt x="0" y="232505"/>
                    </a:lnTo>
                    <a:lnTo>
                      <a:pt x="27623" y="267652"/>
                    </a:lnTo>
                    <a:lnTo>
                      <a:pt x="49530" y="285845"/>
                    </a:lnTo>
                    <a:lnTo>
                      <a:pt x="49530" y="306705"/>
                    </a:lnTo>
                    <a:lnTo>
                      <a:pt x="62865" y="306705"/>
                    </a:lnTo>
                    <a:lnTo>
                      <a:pt x="62865" y="320992"/>
                    </a:lnTo>
                    <a:lnTo>
                      <a:pt x="39053" y="324802"/>
                    </a:lnTo>
                    <a:lnTo>
                      <a:pt x="14288" y="338233"/>
                    </a:lnTo>
                    <a:lnTo>
                      <a:pt x="14288" y="366808"/>
                    </a:lnTo>
                    <a:lnTo>
                      <a:pt x="60008" y="370618"/>
                    </a:lnTo>
                    <a:lnTo>
                      <a:pt x="66675" y="360140"/>
                    </a:lnTo>
                    <a:lnTo>
                      <a:pt x="151448" y="352520"/>
                    </a:lnTo>
                    <a:lnTo>
                      <a:pt x="153353" y="374428"/>
                    </a:lnTo>
                    <a:lnTo>
                      <a:pt x="224790" y="37919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35" name="Freeform: Shape 534">
                <a:extLst>
                  <a:ext uri="{FF2B5EF4-FFF2-40B4-BE49-F238E27FC236}">
                    <a16:creationId xmlns:a16="http://schemas.microsoft.com/office/drawing/2014/main" id="{1FB07365-097B-3642-6FCC-AD49C00F4F1F}"/>
                  </a:ext>
                </a:extLst>
              </p:cNvPr>
              <p:cNvSpPr/>
              <p:nvPr/>
            </p:nvSpPr>
            <p:spPr>
              <a:xfrm>
                <a:off x="8189972" y="3683771"/>
                <a:ext cx="221292" cy="124186"/>
              </a:xfrm>
              <a:custGeom>
                <a:avLst/>
                <a:gdLst>
                  <a:gd name="connsiteX0" fmla="*/ 28575 w 225742"/>
                  <a:gd name="connsiteY0" fmla="*/ 10382 h 126682"/>
                  <a:gd name="connsiteX1" fmla="*/ 53340 w 225742"/>
                  <a:gd name="connsiteY1" fmla="*/ 0 h 126682"/>
                  <a:gd name="connsiteX2" fmla="*/ 78105 w 225742"/>
                  <a:gd name="connsiteY2" fmla="*/ 24670 h 126682"/>
                  <a:gd name="connsiteX3" fmla="*/ 105727 w 225742"/>
                  <a:gd name="connsiteY3" fmla="*/ 38100 h 126682"/>
                  <a:gd name="connsiteX4" fmla="*/ 127635 w 225742"/>
                  <a:gd name="connsiteY4" fmla="*/ 52388 h 126682"/>
                  <a:gd name="connsiteX5" fmla="*/ 155257 w 225742"/>
                  <a:gd name="connsiteY5" fmla="*/ 70485 h 126682"/>
                  <a:gd name="connsiteX6" fmla="*/ 183832 w 225742"/>
                  <a:gd name="connsiteY6" fmla="*/ 77057 h 126682"/>
                  <a:gd name="connsiteX7" fmla="*/ 225743 w 225742"/>
                  <a:gd name="connsiteY7" fmla="*/ 80963 h 126682"/>
                  <a:gd name="connsiteX8" fmla="*/ 225743 w 225742"/>
                  <a:gd name="connsiteY8" fmla="*/ 101822 h 126682"/>
                  <a:gd name="connsiteX9" fmla="*/ 220027 w 225742"/>
                  <a:gd name="connsiteY9" fmla="*/ 111347 h 126682"/>
                  <a:gd name="connsiteX10" fmla="*/ 180023 w 225742"/>
                  <a:gd name="connsiteY10" fmla="*/ 126683 h 126682"/>
                  <a:gd name="connsiteX11" fmla="*/ 155257 w 225742"/>
                  <a:gd name="connsiteY11" fmla="*/ 124682 h 126682"/>
                  <a:gd name="connsiteX12" fmla="*/ 121920 w 225742"/>
                  <a:gd name="connsiteY12" fmla="*/ 117158 h 126682"/>
                  <a:gd name="connsiteX13" fmla="*/ 84773 w 225742"/>
                  <a:gd name="connsiteY13" fmla="*/ 98108 h 126682"/>
                  <a:gd name="connsiteX14" fmla="*/ 58102 w 225742"/>
                  <a:gd name="connsiteY14" fmla="*/ 95250 h 126682"/>
                  <a:gd name="connsiteX15" fmla="*/ 32385 w 225742"/>
                  <a:gd name="connsiteY15" fmla="*/ 78010 h 126682"/>
                  <a:gd name="connsiteX16" fmla="*/ 0 w 225742"/>
                  <a:gd name="connsiteY16" fmla="*/ 52388 h 126682"/>
                  <a:gd name="connsiteX17" fmla="*/ 7620 w 225742"/>
                  <a:gd name="connsiteY17" fmla="*/ 24670 h 126682"/>
                  <a:gd name="connsiteX18" fmla="*/ 28575 w 225742"/>
                  <a:gd name="connsiteY18" fmla="*/ 10382 h 1266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25742" h="126682">
                    <a:moveTo>
                      <a:pt x="28575" y="10382"/>
                    </a:moveTo>
                    <a:lnTo>
                      <a:pt x="53340" y="0"/>
                    </a:lnTo>
                    <a:lnTo>
                      <a:pt x="78105" y="24670"/>
                    </a:lnTo>
                    <a:lnTo>
                      <a:pt x="105727" y="38100"/>
                    </a:lnTo>
                    <a:lnTo>
                      <a:pt x="127635" y="52388"/>
                    </a:lnTo>
                    <a:lnTo>
                      <a:pt x="155257" y="70485"/>
                    </a:lnTo>
                    <a:lnTo>
                      <a:pt x="183832" y="77057"/>
                    </a:lnTo>
                    <a:lnTo>
                      <a:pt x="225743" y="80963"/>
                    </a:lnTo>
                    <a:lnTo>
                      <a:pt x="225743" y="101822"/>
                    </a:lnTo>
                    <a:lnTo>
                      <a:pt x="220027" y="111347"/>
                    </a:lnTo>
                    <a:lnTo>
                      <a:pt x="180023" y="126683"/>
                    </a:lnTo>
                    <a:lnTo>
                      <a:pt x="155257" y="124682"/>
                    </a:lnTo>
                    <a:lnTo>
                      <a:pt x="121920" y="117158"/>
                    </a:lnTo>
                    <a:lnTo>
                      <a:pt x="84773" y="98108"/>
                    </a:lnTo>
                    <a:lnTo>
                      <a:pt x="58102" y="95250"/>
                    </a:lnTo>
                    <a:lnTo>
                      <a:pt x="32385" y="78010"/>
                    </a:lnTo>
                    <a:lnTo>
                      <a:pt x="0" y="52388"/>
                    </a:lnTo>
                    <a:lnTo>
                      <a:pt x="7620" y="24670"/>
                    </a:lnTo>
                    <a:lnTo>
                      <a:pt x="28575" y="10382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36" name="Freeform: Shape 535">
                <a:extLst>
                  <a:ext uri="{FF2B5EF4-FFF2-40B4-BE49-F238E27FC236}">
                    <a16:creationId xmlns:a16="http://schemas.microsoft.com/office/drawing/2014/main" id="{B0981FCE-10DC-555E-ADB9-5701E2A8FBAD}"/>
                  </a:ext>
                </a:extLst>
              </p:cNvPr>
              <p:cNvSpPr/>
              <p:nvPr/>
            </p:nvSpPr>
            <p:spPr>
              <a:xfrm>
                <a:off x="8414999" y="3745303"/>
                <a:ext cx="85903" cy="44912"/>
              </a:xfrm>
              <a:custGeom>
                <a:avLst/>
                <a:gdLst>
                  <a:gd name="connsiteX0" fmla="*/ 17145 w 87630"/>
                  <a:gd name="connsiteY0" fmla="*/ 0 h 45815"/>
                  <a:gd name="connsiteX1" fmla="*/ 6668 w 87630"/>
                  <a:gd name="connsiteY1" fmla="*/ 10478 h 45815"/>
                  <a:gd name="connsiteX2" fmla="*/ 3810 w 87630"/>
                  <a:gd name="connsiteY2" fmla="*/ 10478 h 45815"/>
                  <a:gd name="connsiteX3" fmla="*/ 0 w 87630"/>
                  <a:gd name="connsiteY3" fmla="*/ 24765 h 45815"/>
                  <a:gd name="connsiteX4" fmla="*/ 3810 w 87630"/>
                  <a:gd name="connsiteY4" fmla="*/ 35338 h 45815"/>
                  <a:gd name="connsiteX5" fmla="*/ 14288 w 87630"/>
                  <a:gd name="connsiteY5" fmla="*/ 42863 h 45815"/>
                  <a:gd name="connsiteX6" fmla="*/ 28575 w 87630"/>
                  <a:gd name="connsiteY6" fmla="*/ 45815 h 45815"/>
                  <a:gd name="connsiteX7" fmla="*/ 56198 w 87630"/>
                  <a:gd name="connsiteY7" fmla="*/ 42863 h 45815"/>
                  <a:gd name="connsiteX8" fmla="*/ 80963 w 87630"/>
                  <a:gd name="connsiteY8" fmla="*/ 39053 h 45815"/>
                  <a:gd name="connsiteX9" fmla="*/ 87630 w 87630"/>
                  <a:gd name="connsiteY9" fmla="*/ 28575 h 45815"/>
                  <a:gd name="connsiteX10" fmla="*/ 80963 w 87630"/>
                  <a:gd name="connsiteY10" fmla="*/ 10478 h 45815"/>
                  <a:gd name="connsiteX11" fmla="*/ 56198 w 87630"/>
                  <a:gd name="connsiteY11" fmla="*/ 7715 h 45815"/>
                  <a:gd name="connsiteX12" fmla="*/ 35243 w 87630"/>
                  <a:gd name="connsiteY12" fmla="*/ 0 h 45815"/>
                  <a:gd name="connsiteX13" fmla="*/ 17145 w 87630"/>
                  <a:gd name="connsiteY13" fmla="*/ 0 h 458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7630" h="45815">
                    <a:moveTo>
                      <a:pt x="17145" y="0"/>
                    </a:moveTo>
                    <a:lnTo>
                      <a:pt x="6668" y="10478"/>
                    </a:lnTo>
                    <a:lnTo>
                      <a:pt x="3810" y="10478"/>
                    </a:lnTo>
                    <a:lnTo>
                      <a:pt x="0" y="24765"/>
                    </a:lnTo>
                    <a:lnTo>
                      <a:pt x="3810" y="35338"/>
                    </a:lnTo>
                    <a:lnTo>
                      <a:pt x="14288" y="42863"/>
                    </a:lnTo>
                    <a:lnTo>
                      <a:pt x="28575" y="45815"/>
                    </a:lnTo>
                    <a:lnTo>
                      <a:pt x="56198" y="42863"/>
                    </a:lnTo>
                    <a:lnTo>
                      <a:pt x="80963" y="39053"/>
                    </a:lnTo>
                    <a:lnTo>
                      <a:pt x="87630" y="28575"/>
                    </a:lnTo>
                    <a:lnTo>
                      <a:pt x="80963" y="10478"/>
                    </a:lnTo>
                    <a:lnTo>
                      <a:pt x="56198" y="7715"/>
                    </a:lnTo>
                    <a:lnTo>
                      <a:pt x="35243" y="0"/>
                    </a:lnTo>
                    <a:lnTo>
                      <a:pt x="17145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37" name="Freeform: Shape 536">
                <a:extLst>
                  <a:ext uri="{FF2B5EF4-FFF2-40B4-BE49-F238E27FC236}">
                    <a16:creationId xmlns:a16="http://schemas.microsoft.com/office/drawing/2014/main" id="{C4C78D3E-93FE-6616-2D8E-60C6DE751176}"/>
                  </a:ext>
                </a:extLst>
              </p:cNvPr>
              <p:cNvSpPr/>
              <p:nvPr/>
            </p:nvSpPr>
            <p:spPr>
              <a:xfrm>
                <a:off x="8187171" y="4278465"/>
                <a:ext cx="55089" cy="100002"/>
              </a:xfrm>
              <a:custGeom>
                <a:avLst/>
                <a:gdLst>
                  <a:gd name="connsiteX0" fmla="*/ 10477 w 56197"/>
                  <a:gd name="connsiteY0" fmla="*/ 0 h 102012"/>
                  <a:gd name="connsiteX1" fmla="*/ 27622 w 56197"/>
                  <a:gd name="connsiteY1" fmla="*/ 21050 h 102012"/>
                  <a:gd name="connsiteX2" fmla="*/ 45720 w 56197"/>
                  <a:gd name="connsiteY2" fmla="*/ 45815 h 102012"/>
                  <a:gd name="connsiteX3" fmla="*/ 56197 w 56197"/>
                  <a:gd name="connsiteY3" fmla="*/ 70485 h 102012"/>
                  <a:gd name="connsiteX4" fmla="*/ 45720 w 56197"/>
                  <a:gd name="connsiteY4" fmla="*/ 98203 h 102012"/>
                  <a:gd name="connsiteX5" fmla="*/ 27622 w 56197"/>
                  <a:gd name="connsiteY5" fmla="*/ 102013 h 102012"/>
                  <a:gd name="connsiteX6" fmla="*/ 10477 w 56197"/>
                  <a:gd name="connsiteY6" fmla="*/ 98203 h 102012"/>
                  <a:gd name="connsiteX7" fmla="*/ 0 w 56197"/>
                  <a:gd name="connsiteY7" fmla="*/ 77248 h 102012"/>
                  <a:gd name="connsiteX8" fmla="*/ 0 w 56197"/>
                  <a:gd name="connsiteY8" fmla="*/ 45815 h 102012"/>
                  <a:gd name="connsiteX9" fmla="*/ 6668 w 56197"/>
                  <a:gd name="connsiteY9" fmla="*/ 21050 h 102012"/>
                  <a:gd name="connsiteX10" fmla="*/ 10477 w 56197"/>
                  <a:gd name="connsiteY10" fmla="*/ 0 h 1020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6197" h="102012">
                    <a:moveTo>
                      <a:pt x="10477" y="0"/>
                    </a:moveTo>
                    <a:lnTo>
                      <a:pt x="27622" y="21050"/>
                    </a:lnTo>
                    <a:lnTo>
                      <a:pt x="45720" y="45815"/>
                    </a:lnTo>
                    <a:lnTo>
                      <a:pt x="56197" y="70485"/>
                    </a:lnTo>
                    <a:lnTo>
                      <a:pt x="45720" y="98203"/>
                    </a:lnTo>
                    <a:lnTo>
                      <a:pt x="27622" y="102013"/>
                    </a:lnTo>
                    <a:lnTo>
                      <a:pt x="10477" y="98203"/>
                    </a:lnTo>
                    <a:lnTo>
                      <a:pt x="0" y="77248"/>
                    </a:lnTo>
                    <a:lnTo>
                      <a:pt x="0" y="45815"/>
                    </a:lnTo>
                    <a:lnTo>
                      <a:pt x="6668" y="21050"/>
                    </a:lnTo>
                    <a:lnTo>
                      <a:pt x="10477" y="0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38" name="Freeform: Shape 537">
                <a:extLst>
                  <a:ext uri="{FF2B5EF4-FFF2-40B4-BE49-F238E27FC236}">
                    <a16:creationId xmlns:a16="http://schemas.microsoft.com/office/drawing/2014/main" id="{5A877812-5B1B-6E31-EEB7-5BA22078E050}"/>
                  </a:ext>
                </a:extLst>
              </p:cNvPr>
              <p:cNvSpPr/>
              <p:nvPr/>
            </p:nvSpPr>
            <p:spPr>
              <a:xfrm>
                <a:off x="7867836" y="3488621"/>
                <a:ext cx="766587" cy="818882"/>
              </a:xfrm>
              <a:custGeom>
                <a:avLst/>
                <a:gdLst>
                  <a:gd name="connsiteX0" fmla="*/ 782002 w 782002"/>
                  <a:gd name="connsiteY0" fmla="*/ 264795 h 835342"/>
                  <a:gd name="connsiteX1" fmla="*/ 782002 w 782002"/>
                  <a:gd name="connsiteY1" fmla="*/ 253365 h 835342"/>
                  <a:gd name="connsiteX2" fmla="*/ 751523 w 782002"/>
                  <a:gd name="connsiteY2" fmla="*/ 250507 h 835342"/>
                  <a:gd name="connsiteX3" fmla="*/ 751523 w 782002"/>
                  <a:gd name="connsiteY3" fmla="*/ 232410 h 835342"/>
                  <a:gd name="connsiteX4" fmla="*/ 752475 w 782002"/>
                  <a:gd name="connsiteY4" fmla="*/ 225742 h 835342"/>
                  <a:gd name="connsiteX5" fmla="*/ 739140 w 782002"/>
                  <a:gd name="connsiteY5" fmla="*/ 220980 h 835342"/>
                  <a:gd name="connsiteX6" fmla="*/ 730568 w 782002"/>
                  <a:gd name="connsiteY6" fmla="*/ 228600 h 835342"/>
                  <a:gd name="connsiteX7" fmla="*/ 712470 w 782002"/>
                  <a:gd name="connsiteY7" fmla="*/ 230505 h 835342"/>
                  <a:gd name="connsiteX8" fmla="*/ 707707 w 782002"/>
                  <a:gd name="connsiteY8" fmla="*/ 225742 h 835342"/>
                  <a:gd name="connsiteX9" fmla="*/ 688657 w 782002"/>
                  <a:gd name="connsiteY9" fmla="*/ 243840 h 835342"/>
                  <a:gd name="connsiteX10" fmla="*/ 670560 w 782002"/>
                  <a:gd name="connsiteY10" fmla="*/ 252413 h 835342"/>
                  <a:gd name="connsiteX11" fmla="*/ 637223 w 782002"/>
                  <a:gd name="connsiteY11" fmla="*/ 274320 h 835342"/>
                  <a:gd name="connsiteX12" fmla="*/ 628650 w 782002"/>
                  <a:gd name="connsiteY12" fmla="*/ 271463 h 835342"/>
                  <a:gd name="connsiteX13" fmla="*/ 630555 w 782002"/>
                  <a:gd name="connsiteY13" fmla="*/ 287655 h 835342"/>
                  <a:gd name="connsiteX14" fmla="*/ 641985 w 782002"/>
                  <a:gd name="connsiteY14" fmla="*/ 288607 h 835342"/>
                  <a:gd name="connsiteX15" fmla="*/ 642938 w 782002"/>
                  <a:gd name="connsiteY15" fmla="*/ 300990 h 835342"/>
                  <a:gd name="connsiteX16" fmla="*/ 618173 w 782002"/>
                  <a:gd name="connsiteY16" fmla="*/ 304800 h 835342"/>
                  <a:gd name="connsiteX17" fmla="*/ 591502 w 782002"/>
                  <a:gd name="connsiteY17" fmla="*/ 306705 h 835342"/>
                  <a:gd name="connsiteX18" fmla="*/ 564832 w 782002"/>
                  <a:gd name="connsiteY18" fmla="*/ 300990 h 835342"/>
                  <a:gd name="connsiteX19" fmla="*/ 565785 w 782002"/>
                  <a:gd name="connsiteY19" fmla="*/ 275272 h 835342"/>
                  <a:gd name="connsiteX20" fmla="*/ 553402 w 782002"/>
                  <a:gd name="connsiteY20" fmla="*/ 262890 h 835342"/>
                  <a:gd name="connsiteX21" fmla="*/ 536257 w 782002"/>
                  <a:gd name="connsiteY21" fmla="*/ 286702 h 835342"/>
                  <a:gd name="connsiteX22" fmla="*/ 537210 w 782002"/>
                  <a:gd name="connsiteY22" fmla="*/ 317182 h 835342"/>
                  <a:gd name="connsiteX23" fmla="*/ 514350 w 782002"/>
                  <a:gd name="connsiteY23" fmla="*/ 313372 h 835342"/>
                  <a:gd name="connsiteX24" fmla="*/ 487680 w 782002"/>
                  <a:gd name="connsiteY24" fmla="*/ 309563 h 835342"/>
                  <a:gd name="connsiteX25" fmla="*/ 481965 w 782002"/>
                  <a:gd name="connsiteY25" fmla="*/ 311467 h 835342"/>
                  <a:gd name="connsiteX26" fmla="*/ 468630 w 782002"/>
                  <a:gd name="connsiteY26" fmla="*/ 307657 h 835342"/>
                  <a:gd name="connsiteX27" fmla="*/ 453390 w 782002"/>
                  <a:gd name="connsiteY27" fmla="*/ 296227 h 835342"/>
                  <a:gd name="connsiteX28" fmla="*/ 426720 w 782002"/>
                  <a:gd name="connsiteY28" fmla="*/ 290513 h 835342"/>
                  <a:gd name="connsiteX29" fmla="*/ 415290 w 782002"/>
                  <a:gd name="connsiteY29" fmla="*/ 289560 h 835342"/>
                  <a:gd name="connsiteX30" fmla="*/ 404813 w 782002"/>
                  <a:gd name="connsiteY30" fmla="*/ 285750 h 835342"/>
                  <a:gd name="connsiteX31" fmla="*/ 401002 w 782002"/>
                  <a:gd name="connsiteY31" fmla="*/ 281940 h 835342"/>
                  <a:gd name="connsiteX32" fmla="*/ 376238 w 782002"/>
                  <a:gd name="connsiteY32" fmla="*/ 274320 h 835342"/>
                  <a:gd name="connsiteX33" fmla="*/ 348615 w 782002"/>
                  <a:gd name="connsiteY33" fmla="*/ 252413 h 835342"/>
                  <a:gd name="connsiteX34" fmla="*/ 338138 w 782002"/>
                  <a:gd name="connsiteY34" fmla="*/ 245745 h 835342"/>
                  <a:gd name="connsiteX35" fmla="*/ 351473 w 782002"/>
                  <a:gd name="connsiteY35" fmla="*/ 215265 h 835342"/>
                  <a:gd name="connsiteX36" fmla="*/ 360998 w 782002"/>
                  <a:gd name="connsiteY36" fmla="*/ 212407 h 835342"/>
                  <a:gd name="connsiteX37" fmla="*/ 343852 w 782002"/>
                  <a:gd name="connsiteY37" fmla="*/ 200025 h 835342"/>
                  <a:gd name="connsiteX38" fmla="*/ 331470 w 782002"/>
                  <a:gd name="connsiteY38" fmla="*/ 186690 h 835342"/>
                  <a:gd name="connsiteX39" fmla="*/ 316230 w 782002"/>
                  <a:gd name="connsiteY39" fmla="*/ 174307 h 835342"/>
                  <a:gd name="connsiteX40" fmla="*/ 307657 w 782002"/>
                  <a:gd name="connsiteY40" fmla="*/ 172402 h 835342"/>
                  <a:gd name="connsiteX41" fmla="*/ 305752 w 782002"/>
                  <a:gd name="connsiteY41" fmla="*/ 149542 h 835342"/>
                  <a:gd name="connsiteX42" fmla="*/ 303848 w 782002"/>
                  <a:gd name="connsiteY42" fmla="*/ 145732 h 835342"/>
                  <a:gd name="connsiteX43" fmla="*/ 318135 w 782002"/>
                  <a:gd name="connsiteY43" fmla="*/ 143827 h 835342"/>
                  <a:gd name="connsiteX44" fmla="*/ 325755 w 782002"/>
                  <a:gd name="connsiteY44" fmla="*/ 120967 h 835342"/>
                  <a:gd name="connsiteX45" fmla="*/ 312420 w 782002"/>
                  <a:gd name="connsiteY45" fmla="*/ 115252 h 835342"/>
                  <a:gd name="connsiteX46" fmla="*/ 315277 w 782002"/>
                  <a:gd name="connsiteY46" fmla="*/ 100013 h 835342"/>
                  <a:gd name="connsiteX47" fmla="*/ 350520 w 782002"/>
                  <a:gd name="connsiteY47" fmla="*/ 78105 h 835342"/>
                  <a:gd name="connsiteX48" fmla="*/ 346710 w 782002"/>
                  <a:gd name="connsiteY48" fmla="*/ 50482 h 835342"/>
                  <a:gd name="connsiteX49" fmla="*/ 316230 w 782002"/>
                  <a:gd name="connsiteY49" fmla="*/ 37147 h 835342"/>
                  <a:gd name="connsiteX50" fmla="*/ 314325 w 782002"/>
                  <a:gd name="connsiteY50" fmla="*/ 41910 h 835342"/>
                  <a:gd name="connsiteX51" fmla="*/ 278130 w 782002"/>
                  <a:gd name="connsiteY51" fmla="*/ 52388 h 835342"/>
                  <a:gd name="connsiteX52" fmla="*/ 277177 w 782002"/>
                  <a:gd name="connsiteY52" fmla="*/ 46672 h 835342"/>
                  <a:gd name="connsiteX53" fmla="*/ 247650 w 782002"/>
                  <a:gd name="connsiteY53" fmla="*/ 20955 h 835342"/>
                  <a:gd name="connsiteX54" fmla="*/ 229552 w 782002"/>
                  <a:gd name="connsiteY54" fmla="*/ 1905 h 835342"/>
                  <a:gd name="connsiteX55" fmla="*/ 213360 w 782002"/>
                  <a:gd name="connsiteY55" fmla="*/ 0 h 835342"/>
                  <a:gd name="connsiteX56" fmla="*/ 209550 w 782002"/>
                  <a:gd name="connsiteY56" fmla="*/ 0 h 835342"/>
                  <a:gd name="connsiteX57" fmla="*/ 185738 w 782002"/>
                  <a:gd name="connsiteY57" fmla="*/ 2857 h 835342"/>
                  <a:gd name="connsiteX58" fmla="*/ 184785 w 782002"/>
                  <a:gd name="connsiteY58" fmla="*/ 6667 h 835342"/>
                  <a:gd name="connsiteX59" fmla="*/ 159068 w 782002"/>
                  <a:gd name="connsiteY59" fmla="*/ 21907 h 835342"/>
                  <a:gd name="connsiteX60" fmla="*/ 163830 w 782002"/>
                  <a:gd name="connsiteY60" fmla="*/ 36195 h 835342"/>
                  <a:gd name="connsiteX61" fmla="*/ 178118 w 782002"/>
                  <a:gd name="connsiteY61" fmla="*/ 45720 h 835342"/>
                  <a:gd name="connsiteX62" fmla="*/ 184785 w 782002"/>
                  <a:gd name="connsiteY62" fmla="*/ 46672 h 835342"/>
                  <a:gd name="connsiteX63" fmla="*/ 180975 w 782002"/>
                  <a:gd name="connsiteY63" fmla="*/ 52388 h 835342"/>
                  <a:gd name="connsiteX64" fmla="*/ 191452 w 782002"/>
                  <a:gd name="connsiteY64" fmla="*/ 58102 h 835342"/>
                  <a:gd name="connsiteX65" fmla="*/ 172402 w 782002"/>
                  <a:gd name="connsiteY65" fmla="*/ 75247 h 835342"/>
                  <a:gd name="connsiteX66" fmla="*/ 176213 w 782002"/>
                  <a:gd name="connsiteY66" fmla="*/ 89535 h 835342"/>
                  <a:gd name="connsiteX67" fmla="*/ 178118 w 782002"/>
                  <a:gd name="connsiteY67" fmla="*/ 119063 h 835342"/>
                  <a:gd name="connsiteX68" fmla="*/ 196215 w 782002"/>
                  <a:gd name="connsiteY68" fmla="*/ 126682 h 835342"/>
                  <a:gd name="connsiteX69" fmla="*/ 200977 w 782002"/>
                  <a:gd name="connsiteY69" fmla="*/ 136207 h 835342"/>
                  <a:gd name="connsiteX70" fmla="*/ 215265 w 782002"/>
                  <a:gd name="connsiteY70" fmla="*/ 142875 h 835342"/>
                  <a:gd name="connsiteX71" fmla="*/ 195263 w 782002"/>
                  <a:gd name="connsiteY71" fmla="*/ 156210 h 835342"/>
                  <a:gd name="connsiteX72" fmla="*/ 191452 w 782002"/>
                  <a:gd name="connsiteY72" fmla="*/ 176213 h 835342"/>
                  <a:gd name="connsiteX73" fmla="*/ 174307 w 782002"/>
                  <a:gd name="connsiteY73" fmla="*/ 195263 h 835342"/>
                  <a:gd name="connsiteX74" fmla="*/ 159068 w 782002"/>
                  <a:gd name="connsiteY74" fmla="*/ 206692 h 835342"/>
                  <a:gd name="connsiteX75" fmla="*/ 148590 w 782002"/>
                  <a:gd name="connsiteY75" fmla="*/ 224790 h 835342"/>
                  <a:gd name="connsiteX76" fmla="*/ 129540 w 782002"/>
                  <a:gd name="connsiteY76" fmla="*/ 239077 h 835342"/>
                  <a:gd name="connsiteX77" fmla="*/ 113348 w 782002"/>
                  <a:gd name="connsiteY77" fmla="*/ 258127 h 835342"/>
                  <a:gd name="connsiteX78" fmla="*/ 89535 w 782002"/>
                  <a:gd name="connsiteY78" fmla="*/ 260032 h 835342"/>
                  <a:gd name="connsiteX79" fmla="*/ 84773 w 782002"/>
                  <a:gd name="connsiteY79" fmla="*/ 250507 h 835342"/>
                  <a:gd name="connsiteX80" fmla="*/ 66675 w 782002"/>
                  <a:gd name="connsiteY80" fmla="*/ 261938 h 835342"/>
                  <a:gd name="connsiteX81" fmla="*/ 53340 w 782002"/>
                  <a:gd name="connsiteY81" fmla="*/ 274320 h 835342"/>
                  <a:gd name="connsiteX82" fmla="*/ 53340 w 782002"/>
                  <a:gd name="connsiteY82" fmla="*/ 288607 h 835342"/>
                  <a:gd name="connsiteX83" fmla="*/ 66675 w 782002"/>
                  <a:gd name="connsiteY83" fmla="*/ 297180 h 835342"/>
                  <a:gd name="connsiteX84" fmla="*/ 63818 w 782002"/>
                  <a:gd name="connsiteY84" fmla="*/ 312420 h 835342"/>
                  <a:gd name="connsiteX85" fmla="*/ 78105 w 782002"/>
                  <a:gd name="connsiteY85" fmla="*/ 326707 h 835342"/>
                  <a:gd name="connsiteX86" fmla="*/ 82868 w 782002"/>
                  <a:gd name="connsiteY86" fmla="*/ 357188 h 835342"/>
                  <a:gd name="connsiteX87" fmla="*/ 70485 w 782002"/>
                  <a:gd name="connsiteY87" fmla="*/ 352425 h 835342"/>
                  <a:gd name="connsiteX88" fmla="*/ 55245 w 782002"/>
                  <a:gd name="connsiteY88" fmla="*/ 356235 h 835342"/>
                  <a:gd name="connsiteX89" fmla="*/ 25718 w 782002"/>
                  <a:gd name="connsiteY89" fmla="*/ 353378 h 835342"/>
                  <a:gd name="connsiteX90" fmla="*/ 20002 w 782002"/>
                  <a:gd name="connsiteY90" fmla="*/ 360045 h 835342"/>
                  <a:gd name="connsiteX91" fmla="*/ 0 w 782002"/>
                  <a:gd name="connsiteY91" fmla="*/ 367665 h 835342"/>
                  <a:gd name="connsiteX92" fmla="*/ 0 w 782002"/>
                  <a:gd name="connsiteY92" fmla="*/ 371475 h 835342"/>
                  <a:gd name="connsiteX93" fmla="*/ 15240 w 782002"/>
                  <a:gd name="connsiteY93" fmla="*/ 372428 h 835342"/>
                  <a:gd name="connsiteX94" fmla="*/ 40957 w 782002"/>
                  <a:gd name="connsiteY94" fmla="*/ 399097 h 835342"/>
                  <a:gd name="connsiteX95" fmla="*/ 62865 w 782002"/>
                  <a:gd name="connsiteY95" fmla="*/ 400050 h 835342"/>
                  <a:gd name="connsiteX96" fmla="*/ 35243 w 782002"/>
                  <a:gd name="connsiteY96" fmla="*/ 410528 h 835342"/>
                  <a:gd name="connsiteX97" fmla="*/ 25718 w 782002"/>
                  <a:gd name="connsiteY97" fmla="*/ 409575 h 835342"/>
                  <a:gd name="connsiteX98" fmla="*/ 33338 w 782002"/>
                  <a:gd name="connsiteY98" fmla="*/ 421005 h 835342"/>
                  <a:gd name="connsiteX99" fmla="*/ 58102 w 782002"/>
                  <a:gd name="connsiteY99" fmla="*/ 452438 h 835342"/>
                  <a:gd name="connsiteX100" fmla="*/ 84773 w 782002"/>
                  <a:gd name="connsiteY100" fmla="*/ 459105 h 835342"/>
                  <a:gd name="connsiteX101" fmla="*/ 109538 w 782002"/>
                  <a:gd name="connsiteY101" fmla="*/ 449580 h 835342"/>
                  <a:gd name="connsiteX102" fmla="*/ 116205 w 782002"/>
                  <a:gd name="connsiteY102" fmla="*/ 422910 h 835342"/>
                  <a:gd name="connsiteX103" fmla="*/ 119063 w 782002"/>
                  <a:gd name="connsiteY103" fmla="*/ 435292 h 835342"/>
                  <a:gd name="connsiteX104" fmla="*/ 124777 w 782002"/>
                  <a:gd name="connsiteY104" fmla="*/ 440055 h 835342"/>
                  <a:gd name="connsiteX105" fmla="*/ 123825 w 782002"/>
                  <a:gd name="connsiteY105" fmla="*/ 463867 h 835342"/>
                  <a:gd name="connsiteX106" fmla="*/ 120015 w 782002"/>
                  <a:gd name="connsiteY106" fmla="*/ 493395 h 835342"/>
                  <a:gd name="connsiteX107" fmla="*/ 125730 w 782002"/>
                  <a:gd name="connsiteY107" fmla="*/ 547688 h 835342"/>
                  <a:gd name="connsiteX108" fmla="*/ 133350 w 782002"/>
                  <a:gd name="connsiteY108" fmla="*/ 601028 h 835342"/>
                  <a:gd name="connsiteX109" fmla="*/ 141923 w 782002"/>
                  <a:gd name="connsiteY109" fmla="*/ 621982 h 835342"/>
                  <a:gd name="connsiteX110" fmla="*/ 153352 w 782002"/>
                  <a:gd name="connsiteY110" fmla="*/ 644842 h 835342"/>
                  <a:gd name="connsiteX111" fmla="*/ 160020 w 782002"/>
                  <a:gd name="connsiteY111" fmla="*/ 669607 h 835342"/>
                  <a:gd name="connsiteX112" fmla="*/ 168593 w 782002"/>
                  <a:gd name="connsiteY112" fmla="*/ 703897 h 835342"/>
                  <a:gd name="connsiteX113" fmla="*/ 191452 w 782002"/>
                  <a:gd name="connsiteY113" fmla="*/ 747713 h 835342"/>
                  <a:gd name="connsiteX114" fmla="*/ 196215 w 782002"/>
                  <a:gd name="connsiteY114" fmla="*/ 766763 h 835342"/>
                  <a:gd name="connsiteX115" fmla="*/ 204788 w 782002"/>
                  <a:gd name="connsiteY115" fmla="*/ 798195 h 835342"/>
                  <a:gd name="connsiteX116" fmla="*/ 216218 w 782002"/>
                  <a:gd name="connsiteY116" fmla="*/ 822960 h 835342"/>
                  <a:gd name="connsiteX117" fmla="*/ 235268 w 782002"/>
                  <a:gd name="connsiteY117" fmla="*/ 835342 h 835342"/>
                  <a:gd name="connsiteX118" fmla="*/ 244793 w 782002"/>
                  <a:gd name="connsiteY118" fmla="*/ 835342 h 835342"/>
                  <a:gd name="connsiteX119" fmla="*/ 261938 w 782002"/>
                  <a:gd name="connsiteY119" fmla="*/ 814388 h 835342"/>
                  <a:gd name="connsiteX120" fmla="*/ 280035 w 782002"/>
                  <a:gd name="connsiteY120" fmla="*/ 796290 h 835342"/>
                  <a:gd name="connsiteX121" fmla="*/ 285750 w 782002"/>
                  <a:gd name="connsiteY121" fmla="*/ 791528 h 835342"/>
                  <a:gd name="connsiteX122" fmla="*/ 292418 w 782002"/>
                  <a:gd name="connsiteY122" fmla="*/ 777240 h 835342"/>
                  <a:gd name="connsiteX123" fmla="*/ 307657 w 782002"/>
                  <a:gd name="connsiteY123" fmla="*/ 773430 h 835342"/>
                  <a:gd name="connsiteX124" fmla="*/ 310515 w 782002"/>
                  <a:gd name="connsiteY124" fmla="*/ 730567 h 835342"/>
                  <a:gd name="connsiteX125" fmla="*/ 320993 w 782002"/>
                  <a:gd name="connsiteY125" fmla="*/ 711517 h 835342"/>
                  <a:gd name="connsiteX126" fmla="*/ 322898 w 782002"/>
                  <a:gd name="connsiteY126" fmla="*/ 688657 h 835342"/>
                  <a:gd name="connsiteX127" fmla="*/ 324802 w 782002"/>
                  <a:gd name="connsiteY127" fmla="*/ 670560 h 835342"/>
                  <a:gd name="connsiteX128" fmla="*/ 322898 w 782002"/>
                  <a:gd name="connsiteY128" fmla="*/ 641032 h 835342"/>
                  <a:gd name="connsiteX129" fmla="*/ 340043 w 782002"/>
                  <a:gd name="connsiteY129" fmla="*/ 611505 h 835342"/>
                  <a:gd name="connsiteX130" fmla="*/ 343852 w 782002"/>
                  <a:gd name="connsiteY130" fmla="*/ 617220 h 835342"/>
                  <a:gd name="connsiteX131" fmla="*/ 355282 w 782002"/>
                  <a:gd name="connsiteY131" fmla="*/ 601028 h 835342"/>
                  <a:gd name="connsiteX132" fmla="*/ 381000 w 782002"/>
                  <a:gd name="connsiteY132" fmla="*/ 594360 h 835342"/>
                  <a:gd name="connsiteX133" fmla="*/ 385763 w 782002"/>
                  <a:gd name="connsiteY133" fmla="*/ 580072 h 835342"/>
                  <a:gd name="connsiteX134" fmla="*/ 412432 w 782002"/>
                  <a:gd name="connsiteY134" fmla="*/ 561022 h 835342"/>
                  <a:gd name="connsiteX135" fmla="*/ 437198 w 782002"/>
                  <a:gd name="connsiteY135" fmla="*/ 541972 h 835342"/>
                  <a:gd name="connsiteX136" fmla="*/ 462915 w 782002"/>
                  <a:gd name="connsiteY136" fmla="*/ 512445 h 835342"/>
                  <a:gd name="connsiteX137" fmla="*/ 469582 w 782002"/>
                  <a:gd name="connsiteY137" fmla="*/ 501015 h 835342"/>
                  <a:gd name="connsiteX138" fmla="*/ 486727 w 782002"/>
                  <a:gd name="connsiteY138" fmla="*/ 501015 h 835342"/>
                  <a:gd name="connsiteX139" fmla="*/ 512445 w 782002"/>
                  <a:gd name="connsiteY139" fmla="*/ 475297 h 835342"/>
                  <a:gd name="connsiteX140" fmla="*/ 512445 w 782002"/>
                  <a:gd name="connsiteY140" fmla="*/ 459105 h 835342"/>
                  <a:gd name="connsiteX141" fmla="*/ 541973 w 782002"/>
                  <a:gd name="connsiteY141" fmla="*/ 439103 h 835342"/>
                  <a:gd name="connsiteX142" fmla="*/ 544830 w 782002"/>
                  <a:gd name="connsiteY142" fmla="*/ 439103 h 835342"/>
                  <a:gd name="connsiteX143" fmla="*/ 546735 w 782002"/>
                  <a:gd name="connsiteY143" fmla="*/ 445770 h 835342"/>
                  <a:gd name="connsiteX144" fmla="*/ 554355 w 782002"/>
                  <a:gd name="connsiteY144" fmla="*/ 446722 h 835342"/>
                  <a:gd name="connsiteX145" fmla="*/ 563880 w 782002"/>
                  <a:gd name="connsiteY145" fmla="*/ 443865 h 835342"/>
                  <a:gd name="connsiteX146" fmla="*/ 562927 w 782002"/>
                  <a:gd name="connsiteY146" fmla="*/ 440055 h 835342"/>
                  <a:gd name="connsiteX147" fmla="*/ 566738 w 782002"/>
                  <a:gd name="connsiteY147" fmla="*/ 427672 h 835342"/>
                  <a:gd name="connsiteX148" fmla="*/ 562927 w 782002"/>
                  <a:gd name="connsiteY148" fmla="*/ 406717 h 835342"/>
                  <a:gd name="connsiteX149" fmla="*/ 553402 w 782002"/>
                  <a:gd name="connsiteY149" fmla="*/ 388620 h 835342"/>
                  <a:gd name="connsiteX150" fmla="*/ 557213 w 782002"/>
                  <a:gd name="connsiteY150" fmla="*/ 371475 h 835342"/>
                  <a:gd name="connsiteX151" fmla="*/ 537210 w 782002"/>
                  <a:gd name="connsiteY151" fmla="*/ 356235 h 835342"/>
                  <a:gd name="connsiteX152" fmla="*/ 546735 w 782002"/>
                  <a:gd name="connsiteY152" fmla="*/ 353378 h 835342"/>
                  <a:gd name="connsiteX153" fmla="*/ 546735 w 782002"/>
                  <a:gd name="connsiteY153" fmla="*/ 345757 h 835342"/>
                  <a:gd name="connsiteX154" fmla="*/ 561023 w 782002"/>
                  <a:gd name="connsiteY154" fmla="*/ 343853 h 835342"/>
                  <a:gd name="connsiteX155" fmla="*/ 553402 w 782002"/>
                  <a:gd name="connsiteY155" fmla="*/ 334327 h 835342"/>
                  <a:gd name="connsiteX156" fmla="*/ 548640 w 782002"/>
                  <a:gd name="connsiteY156" fmla="*/ 332422 h 835342"/>
                  <a:gd name="connsiteX157" fmla="*/ 538163 w 782002"/>
                  <a:gd name="connsiteY157" fmla="*/ 323850 h 835342"/>
                  <a:gd name="connsiteX158" fmla="*/ 547688 w 782002"/>
                  <a:gd name="connsiteY158" fmla="*/ 309563 h 835342"/>
                  <a:gd name="connsiteX159" fmla="*/ 552450 w 782002"/>
                  <a:gd name="connsiteY159" fmla="*/ 320040 h 835342"/>
                  <a:gd name="connsiteX160" fmla="*/ 561975 w 782002"/>
                  <a:gd name="connsiteY160" fmla="*/ 315277 h 835342"/>
                  <a:gd name="connsiteX161" fmla="*/ 574357 w 782002"/>
                  <a:gd name="connsiteY161" fmla="*/ 322897 h 835342"/>
                  <a:gd name="connsiteX162" fmla="*/ 579120 w 782002"/>
                  <a:gd name="connsiteY162" fmla="*/ 319088 h 835342"/>
                  <a:gd name="connsiteX163" fmla="*/ 576263 w 782002"/>
                  <a:gd name="connsiteY163" fmla="*/ 335280 h 835342"/>
                  <a:gd name="connsiteX164" fmla="*/ 599123 w 782002"/>
                  <a:gd name="connsiteY164" fmla="*/ 345757 h 835342"/>
                  <a:gd name="connsiteX165" fmla="*/ 642938 w 782002"/>
                  <a:gd name="connsiteY165" fmla="*/ 341947 h 835342"/>
                  <a:gd name="connsiteX166" fmla="*/ 649605 w 782002"/>
                  <a:gd name="connsiteY166" fmla="*/ 344805 h 835342"/>
                  <a:gd name="connsiteX167" fmla="*/ 641985 w 782002"/>
                  <a:gd name="connsiteY167" fmla="*/ 361950 h 835342"/>
                  <a:gd name="connsiteX168" fmla="*/ 620077 w 782002"/>
                  <a:gd name="connsiteY168" fmla="*/ 374332 h 835342"/>
                  <a:gd name="connsiteX169" fmla="*/ 622935 w 782002"/>
                  <a:gd name="connsiteY169" fmla="*/ 402907 h 835342"/>
                  <a:gd name="connsiteX170" fmla="*/ 634365 w 782002"/>
                  <a:gd name="connsiteY170" fmla="*/ 405765 h 835342"/>
                  <a:gd name="connsiteX171" fmla="*/ 649605 w 782002"/>
                  <a:gd name="connsiteY171" fmla="*/ 401003 h 835342"/>
                  <a:gd name="connsiteX172" fmla="*/ 656273 w 782002"/>
                  <a:gd name="connsiteY172" fmla="*/ 434340 h 835342"/>
                  <a:gd name="connsiteX173" fmla="*/ 671513 w 782002"/>
                  <a:gd name="connsiteY173" fmla="*/ 429578 h 835342"/>
                  <a:gd name="connsiteX174" fmla="*/ 672465 w 782002"/>
                  <a:gd name="connsiteY174" fmla="*/ 406717 h 835342"/>
                  <a:gd name="connsiteX175" fmla="*/ 677227 w 782002"/>
                  <a:gd name="connsiteY175" fmla="*/ 372428 h 835342"/>
                  <a:gd name="connsiteX176" fmla="*/ 699135 w 782002"/>
                  <a:gd name="connsiteY176" fmla="*/ 377190 h 835342"/>
                  <a:gd name="connsiteX177" fmla="*/ 715327 w 782002"/>
                  <a:gd name="connsiteY177" fmla="*/ 341947 h 835342"/>
                  <a:gd name="connsiteX178" fmla="*/ 713423 w 782002"/>
                  <a:gd name="connsiteY178" fmla="*/ 330517 h 835342"/>
                  <a:gd name="connsiteX179" fmla="*/ 722948 w 782002"/>
                  <a:gd name="connsiteY179" fmla="*/ 298132 h 835342"/>
                  <a:gd name="connsiteX180" fmla="*/ 755332 w 782002"/>
                  <a:gd name="connsiteY180" fmla="*/ 275272 h 835342"/>
                  <a:gd name="connsiteX181" fmla="*/ 773430 w 782002"/>
                  <a:gd name="connsiteY181" fmla="*/ 280035 h 835342"/>
                  <a:gd name="connsiteX182" fmla="*/ 765810 w 782002"/>
                  <a:gd name="connsiteY182" fmla="*/ 265747 h 835342"/>
                  <a:gd name="connsiteX183" fmla="*/ 782002 w 782002"/>
                  <a:gd name="connsiteY183" fmla="*/ 264795 h 8353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</a:cxnLst>
                <a:rect l="l" t="t" r="r" b="b"/>
                <a:pathLst>
                  <a:path w="782002" h="835342">
                    <a:moveTo>
                      <a:pt x="782002" y="264795"/>
                    </a:moveTo>
                    <a:lnTo>
                      <a:pt x="782002" y="253365"/>
                    </a:lnTo>
                    <a:cubicBezTo>
                      <a:pt x="772477" y="248602"/>
                      <a:pt x="762000" y="249555"/>
                      <a:pt x="751523" y="250507"/>
                    </a:cubicBezTo>
                    <a:cubicBezTo>
                      <a:pt x="755332" y="245745"/>
                      <a:pt x="760095" y="236220"/>
                      <a:pt x="751523" y="232410"/>
                    </a:cubicBezTo>
                    <a:cubicBezTo>
                      <a:pt x="751523" y="230505"/>
                      <a:pt x="751523" y="227647"/>
                      <a:pt x="752475" y="225742"/>
                    </a:cubicBezTo>
                    <a:cubicBezTo>
                      <a:pt x="747713" y="223838"/>
                      <a:pt x="743902" y="220980"/>
                      <a:pt x="739140" y="220980"/>
                    </a:cubicBezTo>
                    <a:cubicBezTo>
                      <a:pt x="734377" y="220980"/>
                      <a:pt x="732473" y="225742"/>
                      <a:pt x="730568" y="228600"/>
                    </a:cubicBezTo>
                    <a:cubicBezTo>
                      <a:pt x="724852" y="230505"/>
                      <a:pt x="718185" y="230505"/>
                      <a:pt x="712470" y="230505"/>
                    </a:cubicBezTo>
                    <a:cubicBezTo>
                      <a:pt x="710565" y="228600"/>
                      <a:pt x="709613" y="226695"/>
                      <a:pt x="707707" y="225742"/>
                    </a:cubicBezTo>
                    <a:cubicBezTo>
                      <a:pt x="697230" y="226695"/>
                      <a:pt x="692468" y="237172"/>
                      <a:pt x="688657" y="243840"/>
                    </a:cubicBezTo>
                    <a:cubicBezTo>
                      <a:pt x="682943" y="247650"/>
                      <a:pt x="674370" y="246697"/>
                      <a:pt x="670560" y="252413"/>
                    </a:cubicBezTo>
                    <a:cubicBezTo>
                      <a:pt x="662940" y="262890"/>
                      <a:pt x="651510" y="271463"/>
                      <a:pt x="637223" y="274320"/>
                    </a:cubicBezTo>
                    <a:cubicBezTo>
                      <a:pt x="634365" y="273367"/>
                      <a:pt x="631507" y="272415"/>
                      <a:pt x="628650" y="271463"/>
                    </a:cubicBezTo>
                    <a:cubicBezTo>
                      <a:pt x="628650" y="277177"/>
                      <a:pt x="628650" y="281940"/>
                      <a:pt x="630555" y="287655"/>
                    </a:cubicBezTo>
                    <a:cubicBezTo>
                      <a:pt x="634365" y="287655"/>
                      <a:pt x="638175" y="288607"/>
                      <a:pt x="641985" y="288607"/>
                    </a:cubicBezTo>
                    <a:cubicBezTo>
                      <a:pt x="641032" y="292417"/>
                      <a:pt x="641032" y="297180"/>
                      <a:pt x="642938" y="300990"/>
                    </a:cubicBezTo>
                    <a:cubicBezTo>
                      <a:pt x="635318" y="303847"/>
                      <a:pt x="625793" y="302895"/>
                      <a:pt x="618173" y="304800"/>
                    </a:cubicBezTo>
                    <a:cubicBezTo>
                      <a:pt x="609600" y="306705"/>
                      <a:pt x="599123" y="300038"/>
                      <a:pt x="591502" y="306705"/>
                    </a:cubicBezTo>
                    <a:cubicBezTo>
                      <a:pt x="582930" y="303847"/>
                      <a:pt x="573405" y="304800"/>
                      <a:pt x="564832" y="300990"/>
                    </a:cubicBezTo>
                    <a:cubicBezTo>
                      <a:pt x="563880" y="292417"/>
                      <a:pt x="557213" y="281940"/>
                      <a:pt x="565785" y="275272"/>
                    </a:cubicBezTo>
                    <a:cubicBezTo>
                      <a:pt x="563880" y="269557"/>
                      <a:pt x="561023" y="260985"/>
                      <a:pt x="553402" y="262890"/>
                    </a:cubicBezTo>
                    <a:cubicBezTo>
                      <a:pt x="542925" y="266700"/>
                      <a:pt x="539115" y="278130"/>
                      <a:pt x="536257" y="286702"/>
                    </a:cubicBezTo>
                    <a:cubicBezTo>
                      <a:pt x="532448" y="297180"/>
                      <a:pt x="545782" y="307657"/>
                      <a:pt x="537210" y="317182"/>
                    </a:cubicBezTo>
                    <a:cubicBezTo>
                      <a:pt x="529590" y="318135"/>
                      <a:pt x="520065" y="319088"/>
                      <a:pt x="514350" y="313372"/>
                    </a:cubicBezTo>
                    <a:cubicBezTo>
                      <a:pt x="504825" y="318135"/>
                      <a:pt x="496252" y="312420"/>
                      <a:pt x="487680" y="309563"/>
                    </a:cubicBezTo>
                    <a:cubicBezTo>
                      <a:pt x="485775" y="310515"/>
                      <a:pt x="483870" y="310515"/>
                      <a:pt x="481965" y="311467"/>
                    </a:cubicBezTo>
                    <a:cubicBezTo>
                      <a:pt x="481013" y="303847"/>
                      <a:pt x="473393" y="304800"/>
                      <a:pt x="468630" y="307657"/>
                    </a:cubicBezTo>
                    <a:cubicBezTo>
                      <a:pt x="462915" y="303847"/>
                      <a:pt x="456248" y="301942"/>
                      <a:pt x="453390" y="296227"/>
                    </a:cubicBezTo>
                    <a:cubicBezTo>
                      <a:pt x="447675" y="288607"/>
                      <a:pt x="435293" y="282892"/>
                      <a:pt x="426720" y="290513"/>
                    </a:cubicBezTo>
                    <a:cubicBezTo>
                      <a:pt x="422910" y="287655"/>
                      <a:pt x="419100" y="288607"/>
                      <a:pt x="415290" y="289560"/>
                    </a:cubicBezTo>
                    <a:cubicBezTo>
                      <a:pt x="411480" y="287655"/>
                      <a:pt x="408623" y="286702"/>
                      <a:pt x="404813" y="285750"/>
                    </a:cubicBezTo>
                    <a:cubicBezTo>
                      <a:pt x="403860" y="284797"/>
                      <a:pt x="401955" y="282892"/>
                      <a:pt x="401002" y="281940"/>
                    </a:cubicBezTo>
                    <a:cubicBezTo>
                      <a:pt x="391477" y="280988"/>
                      <a:pt x="385763" y="272415"/>
                      <a:pt x="376238" y="274320"/>
                    </a:cubicBezTo>
                    <a:cubicBezTo>
                      <a:pt x="367665" y="265747"/>
                      <a:pt x="358140" y="259080"/>
                      <a:pt x="348615" y="252413"/>
                    </a:cubicBezTo>
                    <a:cubicBezTo>
                      <a:pt x="344805" y="250507"/>
                      <a:pt x="337185" y="251460"/>
                      <a:pt x="338138" y="245745"/>
                    </a:cubicBezTo>
                    <a:cubicBezTo>
                      <a:pt x="340043" y="234315"/>
                      <a:pt x="345757" y="224790"/>
                      <a:pt x="351473" y="215265"/>
                    </a:cubicBezTo>
                    <a:cubicBezTo>
                      <a:pt x="353377" y="211455"/>
                      <a:pt x="358140" y="213360"/>
                      <a:pt x="360998" y="212407"/>
                    </a:cubicBezTo>
                    <a:cubicBezTo>
                      <a:pt x="360998" y="203835"/>
                      <a:pt x="350520" y="201930"/>
                      <a:pt x="343852" y="200025"/>
                    </a:cubicBezTo>
                    <a:cubicBezTo>
                      <a:pt x="336232" y="198120"/>
                      <a:pt x="339090" y="187642"/>
                      <a:pt x="331470" y="186690"/>
                    </a:cubicBezTo>
                    <a:cubicBezTo>
                      <a:pt x="323850" y="185738"/>
                      <a:pt x="319088" y="180975"/>
                      <a:pt x="316230" y="174307"/>
                    </a:cubicBezTo>
                    <a:cubicBezTo>
                      <a:pt x="315277" y="170497"/>
                      <a:pt x="310515" y="172402"/>
                      <a:pt x="307657" y="172402"/>
                    </a:cubicBezTo>
                    <a:cubicBezTo>
                      <a:pt x="307657" y="164782"/>
                      <a:pt x="302895" y="157163"/>
                      <a:pt x="305752" y="149542"/>
                    </a:cubicBezTo>
                    <a:cubicBezTo>
                      <a:pt x="305752" y="148590"/>
                      <a:pt x="304800" y="146685"/>
                      <a:pt x="303848" y="145732"/>
                    </a:cubicBezTo>
                    <a:cubicBezTo>
                      <a:pt x="308610" y="147638"/>
                      <a:pt x="314325" y="148590"/>
                      <a:pt x="318135" y="143827"/>
                    </a:cubicBezTo>
                    <a:cubicBezTo>
                      <a:pt x="331470" y="142875"/>
                      <a:pt x="321945" y="128588"/>
                      <a:pt x="325755" y="120967"/>
                    </a:cubicBezTo>
                    <a:cubicBezTo>
                      <a:pt x="320993" y="119063"/>
                      <a:pt x="316230" y="117157"/>
                      <a:pt x="312420" y="115252"/>
                    </a:cubicBezTo>
                    <a:cubicBezTo>
                      <a:pt x="314325" y="110490"/>
                      <a:pt x="314325" y="105727"/>
                      <a:pt x="315277" y="100013"/>
                    </a:cubicBezTo>
                    <a:cubicBezTo>
                      <a:pt x="328613" y="99060"/>
                      <a:pt x="341948" y="85725"/>
                      <a:pt x="350520" y="78105"/>
                    </a:cubicBezTo>
                    <a:cubicBezTo>
                      <a:pt x="354330" y="69532"/>
                      <a:pt x="350520" y="60007"/>
                      <a:pt x="346710" y="50482"/>
                    </a:cubicBezTo>
                    <a:cubicBezTo>
                      <a:pt x="339090" y="42863"/>
                      <a:pt x="327660" y="40005"/>
                      <a:pt x="316230" y="37147"/>
                    </a:cubicBezTo>
                    <a:cubicBezTo>
                      <a:pt x="316230" y="38100"/>
                      <a:pt x="315277" y="40957"/>
                      <a:pt x="314325" y="41910"/>
                    </a:cubicBezTo>
                    <a:cubicBezTo>
                      <a:pt x="300038" y="39052"/>
                      <a:pt x="292418" y="54292"/>
                      <a:pt x="278130" y="52388"/>
                    </a:cubicBezTo>
                    <a:cubicBezTo>
                      <a:pt x="278130" y="50482"/>
                      <a:pt x="277177" y="48577"/>
                      <a:pt x="277177" y="46672"/>
                    </a:cubicBezTo>
                    <a:cubicBezTo>
                      <a:pt x="262890" y="42863"/>
                      <a:pt x="260985" y="26670"/>
                      <a:pt x="247650" y="20955"/>
                    </a:cubicBezTo>
                    <a:cubicBezTo>
                      <a:pt x="238125" y="18097"/>
                      <a:pt x="238125" y="6667"/>
                      <a:pt x="229552" y="1905"/>
                    </a:cubicBezTo>
                    <a:cubicBezTo>
                      <a:pt x="223838" y="2857"/>
                      <a:pt x="218123" y="2857"/>
                      <a:pt x="213360" y="0"/>
                    </a:cubicBezTo>
                    <a:lnTo>
                      <a:pt x="209550" y="0"/>
                    </a:lnTo>
                    <a:cubicBezTo>
                      <a:pt x="202882" y="4763"/>
                      <a:pt x="194310" y="4763"/>
                      <a:pt x="185738" y="2857"/>
                    </a:cubicBezTo>
                    <a:cubicBezTo>
                      <a:pt x="185738" y="3810"/>
                      <a:pt x="184785" y="5715"/>
                      <a:pt x="184785" y="6667"/>
                    </a:cubicBezTo>
                    <a:cubicBezTo>
                      <a:pt x="172402" y="3810"/>
                      <a:pt x="167640" y="16192"/>
                      <a:pt x="159068" y="21907"/>
                    </a:cubicBezTo>
                    <a:cubicBezTo>
                      <a:pt x="153352" y="25717"/>
                      <a:pt x="156210" y="36195"/>
                      <a:pt x="163830" y="36195"/>
                    </a:cubicBezTo>
                    <a:cubicBezTo>
                      <a:pt x="170498" y="37147"/>
                      <a:pt x="173355" y="41910"/>
                      <a:pt x="178118" y="45720"/>
                    </a:cubicBezTo>
                    <a:cubicBezTo>
                      <a:pt x="180023" y="45720"/>
                      <a:pt x="182880" y="46672"/>
                      <a:pt x="184785" y="46672"/>
                    </a:cubicBezTo>
                    <a:cubicBezTo>
                      <a:pt x="183832" y="48577"/>
                      <a:pt x="182880" y="50482"/>
                      <a:pt x="180975" y="52388"/>
                    </a:cubicBezTo>
                    <a:cubicBezTo>
                      <a:pt x="184785" y="54292"/>
                      <a:pt x="188595" y="56197"/>
                      <a:pt x="191452" y="58102"/>
                    </a:cubicBezTo>
                    <a:cubicBezTo>
                      <a:pt x="183832" y="61913"/>
                      <a:pt x="178118" y="68580"/>
                      <a:pt x="172402" y="75247"/>
                    </a:cubicBezTo>
                    <a:cubicBezTo>
                      <a:pt x="172402" y="80010"/>
                      <a:pt x="175260" y="84772"/>
                      <a:pt x="176213" y="89535"/>
                    </a:cubicBezTo>
                    <a:cubicBezTo>
                      <a:pt x="179070" y="99060"/>
                      <a:pt x="174307" y="109538"/>
                      <a:pt x="178118" y="119063"/>
                    </a:cubicBezTo>
                    <a:cubicBezTo>
                      <a:pt x="183832" y="121920"/>
                      <a:pt x="190500" y="122872"/>
                      <a:pt x="196215" y="126682"/>
                    </a:cubicBezTo>
                    <a:cubicBezTo>
                      <a:pt x="199073" y="129540"/>
                      <a:pt x="199073" y="133350"/>
                      <a:pt x="200977" y="136207"/>
                    </a:cubicBezTo>
                    <a:cubicBezTo>
                      <a:pt x="205740" y="138113"/>
                      <a:pt x="210502" y="140017"/>
                      <a:pt x="215265" y="142875"/>
                    </a:cubicBezTo>
                    <a:cubicBezTo>
                      <a:pt x="208598" y="147638"/>
                      <a:pt x="195263" y="144780"/>
                      <a:pt x="195263" y="156210"/>
                    </a:cubicBezTo>
                    <a:cubicBezTo>
                      <a:pt x="194310" y="162877"/>
                      <a:pt x="192405" y="169545"/>
                      <a:pt x="191452" y="176213"/>
                    </a:cubicBezTo>
                    <a:cubicBezTo>
                      <a:pt x="185738" y="182880"/>
                      <a:pt x="175260" y="185738"/>
                      <a:pt x="174307" y="195263"/>
                    </a:cubicBezTo>
                    <a:cubicBezTo>
                      <a:pt x="173355" y="202882"/>
                      <a:pt x="161925" y="200025"/>
                      <a:pt x="159068" y="206692"/>
                    </a:cubicBezTo>
                    <a:cubicBezTo>
                      <a:pt x="156210" y="213360"/>
                      <a:pt x="155257" y="220980"/>
                      <a:pt x="148590" y="224790"/>
                    </a:cubicBezTo>
                    <a:cubicBezTo>
                      <a:pt x="142875" y="230505"/>
                      <a:pt x="133350" y="231457"/>
                      <a:pt x="129540" y="239077"/>
                    </a:cubicBezTo>
                    <a:cubicBezTo>
                      <a:pt x="125730" y="246697"/>
                      <a:pt x="120015" y="252413"/>
                      <a:pt x="113348" y="258127"/>
                    </a:cubicBezTo>
                    <a:cubicBezTo>
                      <a:pt x="105727" y="257175"/>
                      <a:pt x="97155" y="258127"/>
                      <a:pt x="89535" y="260032"/>
                    </a:cubicBezTo>
                    <a:cubicBezTo>
                      <a:pt x="87630" y="257175"/>
                      <a:pt x="86677" y="253365"/>
                      <a:pt x="84773" y="250507"/>
                    </a:cubicBezTo>
                    <a:cubicBezTo>
                      <a:pt x="77152" y="250507"/>
                      <a:pt x="70485" y="256222"/>
                      <a:pt x="66675" y="261938"/>
                    </a:cubicBezTo>
                    <a:cubicBezTo>
                      <a:pt x="63818" y="267652"/>
                      <a:pt x="58102" y="269557"/>
                      <a:pt x="53340" y="274320"/>
                    </a:cubicBezTo>
                    <a:cubicBezTo>
                      <a:pt x="50482" y="278130"/>
                      <a:pt x="51435" y="283845"/>
                      <a:pt x="53340" y="288607"/>
                    </a:cubicBezTo>
                    <a:cubicBezTo>
                      <a:pt x="57150" y="292417"/>
                      <a:pt x="62865" y="292417"/>
                      <a:pt x="66675" y="297180"/>
                    </a:cubicBezTo>
                    <a:cubicBezTo>
                      <a:pt x="65723" y="301942"/>
                      <a:pt x="63818" y="306705"/>
                      <a:pt x="63818" y="312420"/>
                    </a:cubicBezTo>
                    <a:cubicBezTo>
                      <a:pt x="65723" y="320040"/>
                      <a:pt x="77152" y="319088"/>
                      <a:pt x="78105" y="326707"/>
                    </a:cubicBezTo>
                    <a:cubicBezTo>
                      <a:pt x="80963" y="336232"/>
                      <a:pt x="85725" y="347663"/>
                      <a:pt x="82868" y="357188"/>
                    </a:cubicBezTo>
                    <a:cubicBezTo>
                      <a:pt x="77152" y="360045"/>
                      <a:pt x="75248" y="354330"/>
                      <a:pt x="70485" y="352425"/>
                    </a:cubicBezTo>
                    <a:cubicBezTo>
                      <a:pt x="64770" y="352425"/>
                      <a:pt x="60007" y="355282"/>
                      <a:pt x="55245" y="356235"/>
                    </a:cubicBezTo>
                    <a:cubicBezTo>
                      <a:pt x="45720" y="354330"/>
                      <a:pt x="36195" y="351472"/>
                      <a:pt x="25718" y="353378"/>
                    </a:cubicBezTo>
                    <a:cubicBezTo>
                      <a:pt x="21907" y="353378"/>
                      <a:pt x="20955" y="357188"/>
                      <a:pt x="20002" y="360045"/>
                    </a:cubicBezTo>
                    <a:cubicBezTo>
                      <a:pt x="12382" y="360045"/>
                      <a:pt x="4763" y="361950"/>
                      <a:pt x="0" y="367665"/>
                    </a:cubicBezTo>
                    <a:lnTo>
                      <a:pt x="0" y="371475"/>
                    </a:lnTo>
                    <a:cubicBezTo>
                      <a:pt x="4763" y="372428"/>
                      <a:pt x="10477" y="373380"/>
                      <a:pt x="15240" y="372428"/>
                    </a:cubicBezTo>
                    <a:cubicBezTo>
                      <a:pt x="18098" y="384810"/>
                      <a:pt x="29527" y="394335"/>
                      <a:pt x="40957" y="399097"/>
                    </a:cubicBezTo>
                    <a:cubicBezTo>
                      <a:pt x="48577" y="401955"/>
                      <a:pt x="59055" y="391478"/>
                      <a:pt x="62865" y="400050"/>
                    </a:cubicBezTo>
                    <a:cubicBezTo>
                      <a:pt x="55245" y="406717"/>
                      <a:pt x="45720" y="409575"/>
                      <a:pt x="35243" y="410528"/>
                    </a:cubicBezTo>
                    <a:cubicBezTo>
                      <a:pt x="32385" y="409575"/>
                      <a:pt x="27623" y="404813"/>
                      <a:pt x="25718" y="409575"/>
                    </a:cubicBezTo>
                    <a:cubicBezTo>
                      <a:pt x="27623" y="414338"/>
                      <a:pt x="29527" y="418147"/>
                      <a:pt x="33338" y="421005"/>
                    </a:cubicBezTo>
                    <a:cubicBezTo>
                      <a:pt x="43815" y="429578"/>
                      <a:pt x="48577" y="442913"/>
                      <a:pt x="58102" y="452438"/>
                    </a:cubicBezTo>
                    <a:cubicBezTo>
                      <a:pt x="62865" y="461010"/>
                      <a:pt x="75248" y="462915"/>
                      <a:pt x="84773" y="459105"/>
                    </a:cubicBezTo>
                    <a:cubicBezTo>
                      <a:pt x="92393" y="456247"/>
                      <a:pt x="101918" y="454342"/>
                      <a:pt x="109538" y="449580"/>
                    </a:cubicBezTo>
                    <a:cubicBezTo>
                      <a:pt x="116205" y="441960"/>
                      <a:pt x="112395" y="431482"/>
                      <a:pt x="116205" y="422910"/>
                    </a:cubicBezTo>
                    <a:cubicBezTo>
                      <a:pt x="117157" y="426720"/>
                      <a:pt x="118110" y="431482"/>
                      <a:pt x="119063" y="435292"/>
                    </a:cubicBezTo>
                    <a:cubicBezTo>
                      <a:pt x="120968" y="437197"/>
                      <a:pt x="122873" y="438150"/>
                      <a:pt x="124777" y="440055"/>
                    </a:cubicBezTo>
                    <a:cubicBezTo>
                      <a:pt x="123825" y="447675"/>
                      <a:pt x="122873" y="456247"/>
                      <a:pt x="123825" y="463867"/>
                    </a:cubicBezTo>
                    <a:cubicBezTo>
                      <a:pt x="125730" y="474345"/>
                      <a:pt x="119063" y="482917"/>
                      <a:pt x="120015" y="493395"/>
                    </a:cubicBezTo>
                    <a:cubicBezTo>
                      <a:pt x="123825" y="511492"/>
                      <a:pt x="119063" y="529590"/>
                      <a:pt x="125730" y="547688"/>
                    </a:cubicBezTo>
                    <a:cubicBezTo>
                      <a:pt x="127635" y="565785"/>
                      <a:pt x="129540" y="582930"/>
                      <a:pt x="133350" y="601028"/>
                    </a:cubicBezTo>
                    <a:cubicBezTo>
                      <a:pt x="142875" y="603885"/>
                      <a:pt x="139065" y="615315"/>
                      <a:pt x="141923" y="621982"/>
                    </a:cubicBezTo>
                    <a:cubicBezTo>
                      <a:pt x="141923" y="630555"/>
                      <a:pt x="152400" y="636270"/>
                      <a:pt x="153352" y="644842"/>
                    </a:cubicBezTo>
                    <a:cubicBezTo>
                      <a:pt x="155257" y="653415"/>
                      <a:pt x="157163" y="661988"/>
                      <a:pt x="160020" y="669607"/>
                    </a:cubicBezTo>
                    <a:cubicBezTo>
                      <a:pt x="163830" y="681038"/>
                      <a:pt x="162877" y="693420"/>
                      <a:pt x="168593" y="703897"/>
                    </a:cubicBezTo>
                    <a:cubicBezTo>
                      <a:pt x="175260" y="718185"/>
                      <a:pt x="181927" y="733425"/>
                      <a:pt x="191452" y="747713"/>
                    </a:cubicBezTo>
                    <a:cubicBezTo>
                      <a:pt x="195263" y="753428"/>
                      <a:pt x="194310" y="760095"/>
                      <a:pt x="196215" y="766763"/>
                    </a:cubicBezTo>
                    <a:cubicBezTo>
                      <a:pt x="201930" y="776288"/>
                      <a:pt x="208598" y="786765"/>
                      <a:pt x="204788" y="798195"/>
                    </a:cubicBezTo>
                    <a:cubicBezTo>
                      <a:pt x="207645" y="806767"/>
                      <a:pt x="212407" y="814388"/>
                      <a:pt x="216218" y="822960"/>
                    </a:cubicBezTo>
                    <a:cubicBezTo>
                      <a:pt x="220027" y="829628"/>
                      <a:pt x="227648" y="833438"/>
                      <a:pt x="235268" y="835342"/>
                    </a:cubicBezTo>
                    <a:lnTo>
                      <a:pt x="244793" y="835342"/>
                    </a:lnTo>
                    <a:cubicBezTo>
                      <a:pt x="257175" y="833438"/>
                      <a:pt x="256223" y="822007"/>
                      <a:pt x="261938" y="814388"/>
                    </a:cubicBezTo>
                    <a:cubicBezTo>
                      <a:pt x="270510" y="806767"/>
                      <a:pt x="282893" y="802957"/>
                      <a:pt x="280035" y="796290"/>
                    </a:cubicBezTo>
                    <a:cubicBezTo>
                      <a:pt x="280988" y="794385"/>
                      <a:pt x="283845" y="792480"/>
                      <a:pt x="285750" y="791528"/>
                    </a:cubicBezTo>
                    <a:cubicBezTo>
                      <a:pt x="287655" y="786765"/>
                      <a:pt x="289560" y="782003"/>
                      <a:pt x="292418" y="777240"/>
                    </a:cubicBezTo>
                    <a:cubicBezTo>
                      <a:pt x="296227" y="772478"/>
                      <a:pt x="302895" y="774382"/>
                      <a:pt x="307657" y="773430"/>
                    </a:cubicBezTo>
                    <a:cubicBezTo>
                      <a:pt x="311468" y="759142"/>
                      <a:pt x="308610" y="744855"/>
                      <a:pt x="310515" y="730567"/>
                    </a:cubicBezTo>
                    <a:cubicBezTo>
                      <a:pt x="310515" y="722947"/>
                      <a:pt x="317182" y="718185"/>
                      <a:pt x="320993" y="711517"/>
                    </a:cubicBezTo>
                    <a:cubicBezTo>
                      <a:pt x="324802" y="704850"/>
                      <a:pt x="325755" y="696278"/>
                      <a:pt x="322898" y="688657"/>
                    </a:cubicBezTo>
                    <a:cubicBezTo>
                      <a:pt x="320040" y="682942"/>
                      <a:pt x="327660" y="677228"/>
                      <a:pt x="324802" y="670560"/>
                    </a:cubicBezTo>
                    <a:cubicBezTo>
                      <a:pt x="320993" y="661035"/>
                      <a:pt x="324802" y="650557"/>
                      <a:pt x="322898" y="641032"/>
                    </a:cubicBezTo>
                    <a:cubicBezTo>
                      <a:pt x="320040" y="628650"/>
                      <a:pt x="326707" y="615315"/>
                      <a:pt x="340043" y="611505"/>
                    </a:cubicBezTo>
                    <a:cubicBezTo>
                      <a:pt x="340995" y="613410"/>
                      <a:pt x="342900" y="615315"/>
                      <a:pt x="343852" y="617220"/>
                    </a:cubicBezTo>
                    <a:cubicBezTo>
                      <a:pt x="348615" y="612457"/>
                      <a:pt x="351473" y="606742"/>
                      <a:pt x="355282" y="601028"/>
                    </a:cubicBezTo>
                    <a:cubicBezTo>
                      <a:pt x="363855" y="597217"/>
                      <a:pt x="374332" y="601028"/>
                      <a:pt x="381000" y="594360"/>
                    </a:cubicBezTo>
                    <a:cubicBezTo>
                      <a:pt x="385763" y="590550"/>
                      <a:pt x="385763" y="584835"/>
                      <a:pt x="385763" y="580072"/>
                    </a:cubicBezTo>
                    <a:cubicBezTo>
                      <a:pt x="394335" y="572453"/>
                      <a:pt x="406718" y="570547"/>
                      <a:pt x="412432" y="561022"/>
                    </a:cubicBezTo>
                    <a:cubicBezTo>
                      <a:pt x="419100" y="552450"/>
                      <a:pt x="430530" y="549592"/>
                      <a:pt x="437198" y="541972"/>
                    </a:cubicBezTo>
                    <a:cubicBezTo>
                      <a:pt x="447675" y="533400"/>
                      <a:pt x="453390" y="521970"/>
                      <a:pt x="462915" y="512445"/>
                    </a:cubicBezTo>
                    <a:cubicBezTo>
                      <a:pt x="466725" y="509588"/>
                      <a:pt x="466725" y="503872"/>
                      <a:pt x="469582" y="501015"/>
                    </a:cubicBezTo>
                    <a:cubicBezTo>
                      <a:pt x="475298" y="500063"/>
                      <a:pt x="481013" y="501967"/>
                      <a:pt x="486727" y="501015"/>
                    </a:cubicBezTo>
                    <a:cubicBezTo>
                      <a:pt x="497205" y="494347"/>
                      <a:pt x="508635" y="487680"/>
                      <a:pt x="512445" y="475297"/>
                    </a:cubicBezTo>
                    <a:cubicBezTo>
                      <a:pt x="512445" y="469582"/>
                      <a:pt x="511493" y="464820"/>
                      <a:pt x="512445" y="459105"/>
                    </a:cubicBezTo>
                    <a:cubicBezTo>
                      <a:pt x="518160" y="447675"/>
                      <a:pt x="537210" y="451485"/>
                      <a:pt x="541973" y="439103"/>
                    </a:cubicBezTo>
                    <a:lnTo>
                      <a:pt x="544830" y="439103"/>
                    </a:lnTo>
                    <a:cubicBezTo>
                      <a:pt x="545782" y="441007"/>
                      <a:pt x="545782" y="443865"/>
                      <a:pt x="546735" y="445770"/>
                    </a:cubicBezTo>
                    <a:cubicBezTo>
                      <a:pt x="549593" y="445770"/>
                      <a:pt x="551498" y="445770"/>
                      <a:pt x="554355" y="446722"/>
                    </a:cubicBezTo>
                    <a:cubicBezTo>
                      <a:pt x="557213" y="445770"/>
                      <a:pt x="561023" y="444817"/>
                      <a:pt x="563880" y="443865"/>
                    </a:cubicBezTo>
                    <a:cubicBezTo>
                      <a:pt x="563880" y="442913"/>
                      <a:pt x="562927" y="441007"/>
                      <a:pt x="562927" y="440055"/>
                    </a:cubicBezTo>
                    <a:cubicBezTo>
                      <a:pt x="569595" y="441007"/>
                      <a:pt x="568643" y="431482"/>
                      <a:pt x="566738" y="427672"/>
                    </a:cubicBezTo>
                    <a:cubicBezTo>
                      <a:pt x="562927" y="421005"/>
                      <a:pt x="562927" y="414338"/>
                      <a:pt x="562927" y="406717"/>
                    </a:cubicBezTo>
                    <a:cubicBezTo>
                      <a:pt x="563880" y="399097"/>
                      <a:pt x="554355" y="395288"/>
                      <a:pt x="553402" y="388620"/>
                    </a:cubicBezTo>
                    <a:cubicBezTo>
                      <a:pt x="555307" y="382905"/>
                      <a:pt x="558165" y="377190"/>
                      <a:pt x="557213" y="371475"/>
                    </a:cubicBezTo>
                    <a:cubicBezTo>
                      <a:pt x="551498" y="364807"/>
                      <a:pt x="537210" y="366713"/>
                      <a:pt x="537210" y="356235"/>
                    </a:cubicBezTo>
                    <a:cubicBezTo>
                      <a:pt x="540068" y="355282"/>
                      <a:pt x="542925" y="354330"/>
                      <a:pt x="546735" y="353378"/>
                    </a:cubicBezTo>
                    <a:lnTo>
                      <a:pt x="546735" y="345757"/>
                    </a:lnTo>
                    <a:cubicBezTo>
                      <a:pt x="551498" y="345757"/>
                      <a:pt x="557213" y="345757"/>
                      <a:pt x="561023" y="343853"/>
                    </a:cubicBezTo>
                    <a:cubicBezTo>
                      <a:pt x="559118" y="340995"/>
                      <a:pt x="556260" y="337185"/>
                      <a:pt x="553402" y="334327"/>
                    </a:cubicBezTo>
                    <a:cubicBezTo>
                      <a:pt x="551498" y="333375"/>
                      <a:pt x="549593" y="333375"/>
                      <a:pt x="548640" y="332422"/>
                    </a:cubicBezTo>
                    <a:cubicBezTo>
                      <a:pt x="545782" y="328613"/>
                      <a:pt x="542925" y="326707"/>
                      <a:pt x="538163" y="323850"/>
                    </a:cubicBezTo>
                    <a:cubicBezTo>
                      <a:pt x="541973" y="319088"/>
                      <a:pt x="544830" y="315277"/>
                      <a:pt x="547688" y="309563"/>
                    </a:cubicBezTo>
                    <a:cubicBezTo>
                      <a:pt x="549593" y="313372"/>
                      <a:pt x="550545" y="317182"/>
                      <a:pt x="552450" y="320040"/>
                    </a:cubicBezTo>
                    <a:cubicBezTo>
                      <a:pt x="556260" y="319088"/>
                      <a:pt x="559118" y="317182"/>
                      <a:pt x="561975" y="315277"/>
                    </a:cubicBezTo>
                    <a:cubicBezTo>
                      <a:pt x="564832" y="319088"/>
                      <a:pt x="569595" y="321945"/>
                      <a:pt x="574357" y="322897"/>
                    </a:cubicBezTo>
                    <a:cubicBezTo>
                      <a:pt x="576263" y="321945"/>
                      <a:pt x="577215" y="320040"/>
                      <a:pt x="579120" y="319088"/>
                    </a:cubicBezTo>
                    <a:cubicBezTo>
                      <a:pt x="580073" y="324802"/>
                      <a:pt x="577215" y="330517"/>
                      <a:pt x="576263" y="335280"/>
                    </a:cubicBezTo>
                    <a:cubicBezTo>
                      <a:pt x="581977" y="341947"/>
                      <a:pt x="589598" y="346710"/>
                      <a:pt x="599123" y="345757"/>
                    </a:cubicBezTo>
                    <a:cubicBezTo>
                      <a:pt x="613410" y="342900"/>
                      <a:pt x="627698" y="341947"/>
                      <a:pt x="642938" y="341947"/>
                    </a:cubicBezTo>
                    <a:cubicBezTo>
                      <a:pt x="645795" y="341947"/>
                      <a:pt x="647700" y="342900"/>
                      <a:pt x="649605" y="344805"/>
                    </a:cubicBezTo>
                    <a:cubicBezTo>
                      <a:pt x="643890" y="349567"/>
                      <a:pt x="642938" y="355282"/>
                      <a:pt x="641985" y="361950"/>
                    </a:cubicBezTo>
                    <a:cubicBezTo>
                      <a:pt x="635318" y="366713"/>
                      <a:pt x="627698" y="370522"/>
                      <a:pt x="620077" y="374332"/>
                    </a:cubicBezTo>
                    <a:cubicBezTo>
                      <a:pt x="615315" y="383857"/>
                      <a:pt x="619125" y="394335"/>
                      <a:pt x="622935" y="402907"/>
                    </a:cubicBezTo>
                    <a:cubicBezTo>
                      <a:pt x="626745" y="403860"/>
                      <a:pt x="630555" y="404813"/>
                      <a:pt x="634365" y="405765"/>
                    </a:cubicBezTo>
                    <a:cubicBezTo>
                      <a:pt x="637223" y="400050"/>
                      <a:pt x="643890" y="401003"/>
                      <a:pt x="649605" y="401003"/>
                    </a:cubicBezTo>
                    <a:cubicBezTo>
                      <a:pt x="654368" y="411480"/>
                      <a:pt x="653415" y="423863"/>
                      <a:pt x="656273" y="434340"/>
                    </a:cubicBezTo>
                    <a:cubicBezTo>
                      <a:pt x="661988" y="435292"/>
                      <a:pt x="670560" y="437197"/>
                      <a:pt x="671513" y="429578"/>
                    </a:cubicBezTo>
                    <a:cubicBezTo>
                      <a:pt x="677227" y="422910"/>
                      <a:pt x="672465" y="414338"/>
                      <a:pt x="672465" y="406717"/>
                    </a:cubicBezTo>
                    <a:cubicBezTo>
                      <a:pt x="682943" y="398145"/>
                      <a:pt x="679132" y="383857"/>
                      <a:pt x="677227" y="372428"/>
                    </a:cubicBezTo>
                    <a:cubicBezTo>
                      <a:pt x="683895" y="374332"/>
                      <a:pt x="691515" y="377190"/>
                      <a:pt x="699135" y="377190"/>
                    </a:cubicBezTo>
                    <a:cubicBezTo>
                      <a:pt x="701993" y="364807"/>
                      <a:pt x="711518" y="354330"/>
                      <a:pt x="715327" y="341947"/>
                    </a:cubicBezTo>
                    <a:cubicBezTo>
                      <a:pt x="713423" y="338138"/>
                      <a:pt x="708660" y="334327"/>
                      <a:pt x="713423" y="330517"/>
                    </a:cubicBezTo>
                    <a:cubicBezTo>
                      <a:pt x="721043" y="320992"/>
                      <a:pt x="722948" y="309563"/>
                      <a:pt x="722948" y="298132"/>
                    </a:cubicBezTo>
                    <a:cubicBezTo>
                      <a:pt x="731520" y="287655"/>
                      <a:pt x="742950" y="280988"/>
                      <a:pt x="755332" y="275272"/>
                    </a:cubicBezTo>
                    <a:cubicBezTo>
                      <a:pt x="762000" y="276225"/>
                      <a:pt x="766763" y="282892"/>
                      <a:pt x="773430" y="280035"/>
                    </a:cubicBezTo>
                    <a:cubicBezTo>
                      <a:pt x="771525" y="275272"/>
                      <a:pt x="766763" y="271463"/>
                      <a:pt x="765810" y="265747"/>
                    </a:cubicBezTo>
                    <a:cubicBezTo>
                      <a:pt x="770573" y="269557"/>
                      <a:pt x="778193" y="268605"/>
                      <a:pt x="782002" y="264795"/>
                    </a:cubicBezTo>
                    <a:close/>
                  </a:path>
                </a:pathLst>
              </a:custGeom>
              <a:solidFill>
                <a:srgbClr val="CEE3BF"/>
              </a:solidFill>
              <a:ln w="3175" cap="flat">
                <a:solidFill>
                  <a:srgbClr val="CEE3BF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  <p:sp>
            <p:nvSpPr>
              <p:cNvPr id="539" name="Freeform: Shape 538">
                <a:extLst>
                  <a:ext uri="{FF2B5EF4-FFF2-40B4-BE49-F238E27FC236}">
                    <a16:creationId xmlns:a16="http://schemas.microsoft.com/office/drawing/2014/main" id="{CF0CF6D3-1300-D0E3-A28D-326FE5FDACD4}"/>
                  </a:ext>
                </a:extLst>
              </p:cNvPr>
              <p:cNvSpPr/>
              <p:nvPr/>
            </p:nvSpPr>
            <p:spPr>
              <a:xfrm>
                <a:off x="6779115" y="5362621"/>
                <a:ext cx="34547" cy="35388"/>
              </a:xfrm>
              <a:custGeom>
                <a:avLst/>
                <a:gdLst>
                  <a:gd name="connsiteX0" fmla="*/ 11430 w 35242"/>
                  <a:gd name="connsiteY0" fmla="*/ 1905 h 36099"/>
                  <a:gd name="connsiteX1" fmla="*/ 27622 w 35242"/>
                  <a:gd name="connsiteY1" fmla="*/ 0 h 36099"/>
                  <a:gd name="connsiteX2" fmla="*/ 35242 w 35242"/>
                  <a:gd name="connsiteY2" fmla="*/ 16193 h 36099"/>
                  <a:gd name="connsiteX3" fmla="*/ 29527 w 35242"/>
                  <a:gd name="connsiteY3" fmla="*/ 23813 h 36099"/>
                  <a:gd name="connsiteX4" fmla="*/ 20955 w 35242"/>
                  <a:gd name="connsiteY4" fmla="*/ 27527 h 36099"/>
                  <a:gd name="connsiteX5" fmla="*/ 13335 w 35242"/>
                  <a:gd name="connsiteY5" fmla="*/ 36100 h 36099"/>
                  <a:gd name="connsiteX6" fmla="*/ 0 w 35242"/>
                  <a:gd name="connsiteY6" fmla="*/ 18002 h 36099"/>
                  <a:gd name="connsiteX7" fmla="*/ 11430 w 35242"/>
                  <a:gd name="connsiteY7" fmla="*/ 1905 h 36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5242" h="36099">
                    <a:moveTo>
                      <a:pt x="11430" y="1905"/>
                    </a:moveTo>
                    <a:lnTo>
                      <a:pt x="27622" y="0"/>
                    </a:lnTo>
                    <a:lnTo>
                      <a:pt x="35242" y="16193"/>
                    </a:lnTo>
                    <a:lnTo>
                      <a:pt x="29527" y="23813"/>
                    </a:lnTo>
                    <a:lnTo>
                      <a:pt x="20955" y="27527"/>
                    </a:lnTo>
                    <a:lnTo>
                      <a:pt x="13335" y="36100"/>
                    </a:lnTo>
                    <a:lnTo>
                      <a:pt x="0" y="18002"/>
                    </a:lnTo>
                    <a:lnTo>
                      <a:pt x="11430" y="1905"/>
                    </a:lnTo>
                    <a:close/>
                  </a:path>
                </a:pathLst>
              </a:custGeom>
              <a:solidFill>
                <a:srgbClr val="EEEDE8"/>
              </a:solidFill>
              <a:ln w="3175" cap="flat">
                <a:solidFill>
                  <a:srgbClr val="EEEDE8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GB" dirty="0"/>
              </a:p>
            </p:txBody>
          </p:sp>
        </p:grp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A3414AC-3357-8F4C-B109-3264FC9D1E5F}"/>
                </a:ext>
              </a:extLst>
            </p:cNvPr>
            <p:cNvSpPr/>
            <p:nvPr/>
          </p:nvSpPr>
          <p:spPr>
            <a:xfrm>
              <a:off x="-992732" y="1768786"/>
              <a:ext cx="7775505" cy="4425705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da-DK" sz="2000" dirty="0" err="1"/>
            </a:p>
          </p:txBody>
        </p:sp>
      </p:grp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A13E62-7E0E-3766-48C1-ADDFD6155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2</a:t>
            </a:fld>
            <a:endParaRPr lang="en-GB" dirty="0"/>
          </a:p>
        </p:txBody>
      </p:sp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B2181D4B-E811-702D-14F5-0B0D98A3D161}"/>
              </a:ext>
            </a:extLst>
          </p:cNvPr>
          <p:cNvCxnSpPr>
            <a:cxnSpLocks/>
          </p:cNvCxnSpPr>
          <p:nvPr/>
        </p:nvCxnSpPr>
        <p:spPr>
          <a:xfrm>
            <a:off x="3264242" y="3137663"/>
            <a:ext cx="2465139" cy="553275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3B2571BA-6D8C-5349-6094-BF53EE346E8E}"/>
              </a:ext>
            </a:extLst>
          </p:cNvPr>
          <p:cNvCxnSpPr>
            <a:cxnSpLocks/>
          </p:cNvCxnSpPr>
          <p:nvPr/>
        </p:nvCxnSpPr>
        <p:spPr>
          <a:xfrm flipV="1">
            <a:off x="3466736" y="3870465"/>
            <a:ext cx="2262645" cy="489056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4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772A733E-42EE-C680-C678-BC83E45C07F5}"/>
              </a:ext>
            </a:extLst>
          </p:cNvPr>
          <p:cNvCxnSpPr>
            <a:cxnSpLocks/>
          </p:cNvCxnSpPr>
          <p:nvPr/>
        </p:nvCxnSpPr>
        <p:spPr>
          <a:xfrm flipV="1">
            <a:off x="3240383" y="4029075"/>
            <a:ext cx="2488998" cy="1704810"/>
          </a:xfrm>
          <a:prstGeom prst="bentConnector3">
            <a:avLst>
              <a:gd name="adj1" fmla="val 60524"/>
            </a:avLst>
          </a:prstGeom>
          <a:ln w="12700"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A4D7DC3B-6185-E7A9-C758-2470FD0FDDA8}"/>
              </a:ext>
            </a:extLst>
          </p:cNvPr>
          <p:cNvCxnSpPr>
            <a:cxnSpLocks/>
          </p:cNvCxnSpPr>
          <p:nvPr/>
        </p:nvCxnSpPr>
        <p:spPr>
          <a:xfrm>
            <a:off x="8486775" y="3755454"/>
            <a:ext cx="1134803" cy="0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D76310D8-7ED2-71B0-F873-734C06D9C90F}"/>
              </a:ext>
            </a:extLst>
          </p:cNvPr>
          <p:cNvGrpSpPr/>
          <p:nvPr/>
        </p:nvGrpSpPr>
        <p:grpSpPr>
          <a:xfrm>
            <a:off x="6354543" y="2461695"/>
            <a:ext cx="2587519" cy="2768952"/>
            <a:chOff x="5409421" y="2459089"/>
            <a:chExt cx="2587519" cy="276895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B1E30D58-493D-3E3D-E366-99815BFDF624}"/>
                </a:ext>
              </a:extLst>
            </p:cNvPr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rcRect/>
            <a:stretch>
              <a:fillRect/>
            </a:stretch>
          </p:blipFill>
          <p:spPr>
            <a:xfrm>
              <a:off x="5409421" y="2459089"/>
              <a:ext cx="2587519" cy="2587519"/>
            </a:xfrm>
            <a:prstGeom prst="rect">
              <a:avLst/>
            </a:prstGeom>
          </p:spPr>
        </p:pic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E67A0B62-CD47-6706-B0F3-828B1368B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6245980" y="4473241"/>
              <a:ext cx="914400" cy="189831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56E5C77D-58F2-2F43-1D42-42469DA0B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6014205" y="4657855"/>
              <a:ext cx="1377949" cy="570186"/>
            </a:xfrm>
            <a:prstGeom prst="rect">
              <a:avLst/>
            </a:prstGeom>
          </p:spPr>
        </p:pic>
      </p:grp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B6C1CC03-6311-3989-24F5-CF177691E67F}"/>
              </a:ext>
            </a:extLst>
          </p:cNvPr>
          <p:cNvCxnSpPr>
            <a:cxnSpLocks/>
          </p:cNvCxnSpPr>
          <p:nvPr/>
        </p:nvCxnSpPr>
        <p:spPr>
          <a:xfrm>
            <a:off x="4054674" y="2136665"/>
            <a:ext cx="1674707" cy="1387585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3F7772D7-F33C-CB9B-3CB2-5D860A8C6543}"/>
              </a:ext>
            </a:extLst>
          </p:cNvPr>
          <p:cNvGrpSpPr/>
          <p:nvPr/>
        </p:nvGrpSpPr>
        <p:grpSpPr>
          <a:xfrm>
            <a:off x="980044" y="1137910"/>
            <a:ext cx="3202027" cy="1702004"/>
            <a:chOff x="980044" y="1137910"/>
            <a:chExt cx="3202027" cy="1702004"/>
          </a:xfrm>
          <a:solidFill>
            <a:schemeClr val="accent5"/>
          </a:solidFill>
        </p:grpSpPr>
        <p:pic>
          <p:nvPicPr>
            <p:cNvPr id="58" name="Graphic 16">
              <a:extLst>
                <a:ext uri="{FF2B5EF4-FFF2-40B4-BE49-F238E27FC236}">
                  <a16:creationId xmlns:a16="http://schemas.microsoft.com/office/drawing/2014/main" id="{1FEDCA4F-CE16-40FC-B815-631310FAFC6F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rcRect/>
            <a:stretch>
              <a:fillRect/>
            </a:stretch>
          </p:blipFill>
          <p:spPr>
            <a:xfrm>
              <a:off x="2883970" y="1541813"/>
              <a:ext cx="1298101" cy="1298101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C06B97C2-786B-65FC-E5DE-6C4A1E97557B}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rcRect/>
            <a:stretch>
              <a:fillRect/>
            </a:stretch>
          </p:blipFill>
          <p:spPr>
            <a:xfrm>
              <a:off x="980044" y="1601127"/>
              <a:ext cx="764842" cy="764842"/>
            </a:xfrm>
            <a:prstGeom prst="rect">
              <a:avLst/>
            </a:prstGeom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42650F5-00D0-9340-E518-8F866A0F07A8}"/>
                </a:ext>
              </a:extLst>
            </p:cNvPr>
            <p:cNvGrpSpPr/>
            <p:nvPr/>
          </p:nvGrpSpPr>
          <p:grpSpPr>
            <a:xfrm>
              <a:off x="1582890" y="1137910"/>
              <a:ext cx="807805" cy="807805"/>
              <a:chOff x="938365" y="1157760"/>
              <a:chExt cx="807805" cy="807805"/>
            </a:xfrm>
            <a:grpFill/>
          </p:grpSpPr>
          <p:pic>
            <p:nvPicPr>
              <p:cNvPr id="6" name="Graphic 5">
                <a:extLst>
                  <a:ext uri="{FF2B5EF4-FFF2-40B4-BE49-F238E27FC236}">
                    <a16:creationId xmlns:a16="http://schemas.microsoft.com/office/drawing/2014/main" id="{377E55AC-9E6A-A4CB-8B77-BCB661040BDF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6"/>
                </p:custDataLst>
              </p:nvPr>
            </p:nvPicPr>
            <p:blipFill>
              <a:blip r:embed="rId28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9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938365" y="1157760"/>
                <a:ext cx="807805" cy="807805"/>
              </a:xfrm>
              <a:prstGeom prst="rect">
                <a:avLst/>
              </a:prstGeom>
            </p:spPr>
          </p:pic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2EA2976-DF9E-F7C7-DB71-4A66F5AA78CF}"/>
                  </a:ext>
                </a:extLst>
              </p:cNvPr>
              <p:cNvSpPr txBox="1"/>
              <p:nvPr/>
            </p:nvSpPr>
            <p:spPr>
              <a:xfrm>
                <a:off x="1238072" y="1447210"/>
                <a:ext cx="193853" cy="10772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700" dirty="0">
                    <a:solidFill>
                      <a:schemeClr val="accent5"/>
                    </a:solidFill>
                  </a:rPr>
                  <a:t>EPD</a:t>
                </a:r>
              </a:p>
            </p:txBody>
          </p:sp>
        </p:grpSp>
        <p:cxnSp>
          <p:nvCxnSpPr>
            <p:cNvPr id="59" name="Connector: Elbow 58">
              <a:extLst>
                <a:ext uri="{FF2B5EF4-FFF2-40B4-BE49-F238E27FC236}">
                  <a16:creationId xmlns:a16="http://schemas.microsoft.com/office/drawing/2014/main" id="{6A63B6BC-0F2A-ABCE-7636-97EE4586E90A}"/>
                </a:ext>
              </a:extLst>
            </p:cNvPr>
            <p:cNvCxnSpPr>
              <a:cxnSpLocks/>
            </p:cNvCxnSpPr>
            <p:nvPr/>
          </p:nvCxnSpPr>
          <p:spPr>
            <a:xfrm>
              <a:off x="2298312" y="1513191"/>
              <a:ext cx="949155" cy="518527"/>
            </a:xfrm>
            <a:prstGeom prst="bentConnector3">
              <a:avLst/>
            </a:prstGeom>
            <a:grpFill/>
            <a:ln w="3175">
              <a:solidFill>
                <a:srgbClr val="FF885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Connector: Elbow 61">
              <a:extLst>
                <a:ext uri="{FF2B5EF4-FFF2-40B4-BE49-F238E27FC236}">
                  <a16:creationId xmlns:a16="http://schemas.microsoft.com/office/drawing/2014/main" id="{E2850E38-2885-DB74-392F-51B1F25556C7}"/>
                </a:ext>
              </a:extLst>
            </p:cNvPr>
            <p:cNvCxnSpPr>
              <a:cxnSpLocks/>
            </p:cNvCxnSpPr>
            <p:nvPr/>
          </p:nvCxnSpPr>
          <p:spPr>
            <a:xfrm>
              <a:off x="1687383" y="1997332"/>
              <a:ext cx="1553000" cy="152312"/>
            </a:xfrm>
            <a:prstGeom prst="bentConnector3">
              <a:avLst/>
            </a:prstGeom>
            <a:grpFill/>
            <a:ln w="3175">
              <a:solidFill>
                <a:srgbClr val="FF885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03A3AAD-6EDB-4C89-F300-2D5942928BD6}"/>
              </a:ext>
            </a:extLst>
          </p:cNvPr>
          <p:cNvGrpSpPr/>
          <p:nvPr/>
        </p:nvGrpSpPr>
        <p:grpSpPr>
          <a:xfrm>
            <a:off x="225754" y="2211591"/>
            <a:ext cx="3395539" cy="2098345"/>
            <a:chOff x="225754" y="2211591"/>
            <a:chExt cx="3395539" cy="2098345"/>
          </a:xfrm>
          <a:solidFill>
            <a:schemeClr val="accent3"/>
          </a:solidFill>
        </p:grpSpPr>
        <p:pic>
          <p:nvPicPr>
            <p:cNvPr id="19" name="Graphic 16">
              <a:extLst>
                <a:ext uri="{FF2B5EF4-FFF2-40B4-BE49-F238E27FC236}">
                  <a16:creationId xmlns:a16="http://schemas.microsoft.com/office/drawing/2014/main" id="{8169DA6C-1E6C-2E56-4B40-CCA28C7C2517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3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1"/>
                </a:ext>
              </a:extLst>
            </a:blip>
            <a:srcRect/>
            <a:stretch>
              <a:fillRect/>
            </a:stretch>
          </p:blipFill>
          <p:spPr>
            <a:xfrm>
              <a:off x="1522948" y="2211591"/>
              <a:ext cx="2098345" cy="2098345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19BE161-DD7B-B6C9-4BE8-B9CCCB6CADE6}"/>
                </a:ext>
              </a:extLst>
            </p:cNvPr>
            <p:cNvGrpSpPr/>
            <p:nvPr/>
          </p:nvGrpSpPr>
          <p:grpSpPr>
            <a:xfrm>
              <a:off x="225754" y="2806431"/>
              <a:ext cx="807805" cy="807805"/>
              <a:chOff x="938365" y="1157760"/>
              <a:chExt cx="807805" cy="807805"/>
            </a:xfrm>
            <a:grpFill/>
          </p:grpSpPr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id="{644B5D72-FBB6-B28E-97E6-A7889D39986E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3"/>
                </p:custDataLst>
              </p:nvPr>
            </p:nvPicPr>
            <p:blipFill>
              <a:blip r:embed="rId3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3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938365" y="1157760"/>
                <a:ext cx="807805" cy="807805"/>
              </a:xfrm>
              <a:prstGeom prst="rect">
                <a:avLst/>
              </a:prstGeom>
            </p:spPr>
          </p:pic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9EC21D5E-1827-DE1B-7501-0E1167B47133}"/>
                  </a:ext>
                </a:extLst>
              </p:cNvPr>
              <p:cNvSpPr txBox="1"/>
              <p:nvPr/>
            </p:nvSpPr>
            <p:spPr>
              <a:xfrm>
                <a:off x="1238072" y="1447210"/>
                <a:ext cx="221456" cy="10772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700" dirty="0">
                    <a:solidFill>
                      <a:schemeClr val="accent3"/>
                    </a:solidFill>
                  </a:rPr>
                  <a:t>EPD</a:t>
                </a:r>
              </a:p>
            </p:txBody>
          </p:sp>
        </p:grp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520BFC58-020B-73B5-DAF9-9ABDD09455C2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rcRect/>
            <a:stretch>
              <a:fillRect/>
            </a:stretch>
          </p:blipFill>
          <p:spPr>
            <a:xfrm>
              <a:off x="788024" y="2489338"/>
              <a:ext cx="690563" cy="690563"/>
            </a:xfrm>
            <a:prstGeom prst="rect">
              <a:avLst/>
            </a:prstGeom>
          </p:spPr>
        </p:pic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1B3E0617-BD03-4551-7FCF-4DDF37136F31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3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7"/>
                </a:ext>
              </a:extLst>
            </a:blip>
            <a:srcRect/>
            <a:stretch>
              <a:fillRect/>
            </a:stretch>
          </p:blipFill>
          <p:spPr>
            <a:xfrm>
              <a:off x="996819" y="3179901"/>
              <a:ext cx="690564" cy="690564"/>
            </a:xfrm>
            <a:prstGeom prst="rect">
              <a:avLst/>
            </a:prstGeom>
          </p:spPr>
        </p:pic>
        <p:cxnSp>
          <p:nvCxnSpPr>
            <p:cNvPr id="65" name="Connector: Elbow 64">
              <a:extLst>
                <a:ext uri="{FF2B5EF4-FFF2-40B4-BE49-F238E27FC236}">
                  <a16:creationId xmlns:a16="http://schemas.microsoft.com/office/drawing/2014/main" id="{BB18BD49-9447-9690-221C-D705F1609F44}"/>
                </a:ext>
              </a:extLst>
            </p:cNvPr>
            <p:cNvCxnSpPr>
              <a:cxnSpLocks/>
            </p:cNvCxnSpPr>
            <p:nvPr/>
          </p:nvCxnSpPr>
          <p:spPr>
            <a:xfrm>
              <a:off x="1419257" y="2832548"/>
              <a:ext cx="803864" cy="136969"/>
            </a:xfrm>
            <a:prstGeom prst="bentConnector3">
              <a:avLst/>
            </a:prstGeom>
            <a:grpFill/>
            <a:ln w="3175">
              <a:solidFill>
                <a:srgbClr val="ADD09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Connector: Elbow 66">
              <a:extLst>
                <a:ext uri="{FF2B5EF4-FFF2-40B4-BE49-F238E27FC236}">
                  <a16:creationId xmlns:a16="http://schemas.microsoft.com/office/drawing/2014/main" id="{2CC7CE54-2A80-EEED-7A8C-DDE38B3D27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33078" y="3217808"/>
              <a:ext cx="689043" cy="264490"/>
            </a:xfrm>
            <a:prstGeom prst="bentConnector3">
              <a:avLst/>
            </a:prstGeom>
            <a:grpFill/>
            <a:ln w="3175">
              <a:solidFill>
                <a:srgbClr val="ADD09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nector: Elbow 69">
              <a:extLst>
                <a:ext uri="{FF2B5EF4-FFF2-40B4-BE49-F238E27FC236}">
                  <a16:creationId xmlns:a16="http://schemas.microsoft.com/office/drawing/2014/main" id="{DBBE75CE-0CCC-4217-DBBC-18F79505A2C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0591" y="3095690"/>
              <a:ext cx="1321530" cy="131097"/>
            </a:xfrm>
            <a:prstGeom prst="bentConnector3">
              <a:avLst/>
            </a:prstGeom>
            <a:grpFill/>
            <a:ln w="3175">
              <a:solidFill>
                <a:srgbClr val="ADD09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84ECC97-BD3D-6318-625E-6F7766521E81}"/>
              </a:ext>
            </a:extLst>
          </p:cNvPr>
          <p:cNvGrpSpPr/>
          <p:nvPr/>
        </p:nvGrpSpPr>
        <p:grpSpPr>
          <a:xfrm>
            <a:off x="162763" y="3611977"/>
            <a:ext cx="3585077" cy="2018545"/>
            <a:chOff x="162763" y="3611977"/>
            <a:chExt cx="3585077" cy="2018545"/>
          </a:xfrm>
          <a:solidFill>
            <a:schemeClr val="accent4">
              <a:lumMod val="60000"/>
              <a:lumOff val="40000"/>
            </a:schemeClr>
          </a:solidFill>
        </p:grpSpPr>
        <p:pic>
          <p:nvPicPr>
            <p:cNvPr id="26" name="Graphic 16">
              <a:extLst>
                <a:ext uri="{FF2B5EF4-FFF2-40B4-BE49-F238E27FC236}">
                  <a16:creationId xmlns:a16="http://schemas.microsoft.com/office/drawing/2014/main" id="{0AB7CF00-184B-4F29-3114-409E615A5529}"/>
                </a:ext>
              </a:extLst>
            </p:cNvPr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3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rcRect/>
            <a:stretch>
              <a:fillRect/>
            </a:stretch>
          </p:blipFill>
          <p:spPr>
            <a:xfrm>
              <a:off x="2020101" y="3611977"/>
              <a:ext cx="1727739" cy="1727739"/>
            </a:xfrm>
            <a:prstGeom prst="rect">
              <a:avLst/>
            </a:prstGeom>
          </p:spPr>
        </p:pic>
        <p:pic>
          <p:nvPicPr>
            <p:cNvPr id="33" name="Graphic 32">
              <a:extLst>
                <a:ext uri="{FF2B5EF4-FFF2-40B4-BE49-F238E27FC236}">
                  <a16:creationId xmlns:a16="http://schemas.microsoft.com/office/drawing/2014/main" id="{871067E9-A992-0507-5A6F-5F9C45ABD514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4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rcRect/>
            <a:stretch>
              <a:fillRect/>
            </a:stretch>
          </p:blipFill>
          <p:spPr>
            <a:xfrm>
              <a:off x="162763" y="4458932"/>
              <a:ext cx="807805" cy="807805"/>
            </a:xfrm>
            <a:prstGeom prst="rect">
              <a:avLst/>
            </a:prstGeom>
          </p:spPr>
        </p:pic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C5E28704-74D8-3847-49E2-0603E0504329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4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rcRect/>
            <a:stretch>
              <a:fillRect/>
            </a:stretch>
          </p:blipFill>
          <p:spPr>
            <a:xfrm>
              <a:off x="790519" y="3837135"/>
              <a:ext cx="1069306" cy="1069306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42C0F052-FCD0-DAE0-9815-2F02AD12973E}"/>
                </a:ext>
              </a:extLst>
            </p:cNvPr>
            <p:cNvGrpSpPr/>
            <p:nvPr/>
          </p:nvGrpSpPr>
          <p:grpSpPr>
            <a:xfrm>
              <a:off x="914547" y="4822717"/>
              <a:ext cx="807805" cy="807805"/>
              <a:chOff x="938365" y="1157760"/>
              <a:chExt cx="807805" cy="807805"/>
            </a:xfrm>
            <a:grpFill/>
          </p:grpSpPr>
          <p:pic>
            <p:nvPicPr>
              <p:cNvPr id="44" name="Graphic 43">
                <a:extLst>
                  <a:ext uri="{FF2B5EF4-FFF2-40B4-BE49-F238E27FC236}">
                    <a16:creationId xmlns:a16="http://schemas.microsoft.com/office/drawing/2014/main" id="{D3EE4918-1A44-5CBA-8CC0-9CFCAC982BC0}"/>
                  </a:ext>
                </a:extLst>
              </p:cNvPr>
              <p:cNvPicPr>
                <a:picLocks noChangeAspect="1"/>
              </p:cNvPicPr>
              <p:nvPr>
                <p:custDataLst>
                  <p:tags r:id="rId9"/>
                </p:custDataLst>
              </p:nvPr>
            </p:nvPicPr>
            <p:blipFill>
              <a:blip r:embed="rId4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5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938365" y="1157760"/>
                <a:ext cx="807805" cy="807805"/>
              </a:xfrm>
              <a:prstGeom prst="rect">
                <a:avLst/>
              </a:prstGeom>
            </p:spPr>
          </p:pic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C4E80ABE-9007-3A49-B0D6-DD8CF8BA7F1B}"/>
                  </a:ext>
                </a:extLst>
              </p:cNvPr>
              <p:cNvSpPr txBox="1"/>
              <p:nvPr/>
            </p:nvSpPr>
            <p:spPr>
              <a:xfrm>
                <a:off x="1238072" y="1447210"/>
                <a:ext cx="221456" cy="10772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en-GB" sz="700" dirty="0">
                    <a:solidFill>
                      <a:schemeClr val="accent4">
                        <a:lumMod val="60000"/>
                        <a:lumOff val="40000"/>
                      </a:schemeClr>
                    </a:solidFill>
                  </a:rPr>
                  <a:t>EPD</a:t>
                </a:r>
              </a:p>
            </p:txBody>
          </p:sp>
        </p:grpSp>
        <p:cxnSp>
          <p:nvCxnSpPr>
            <p:cNvPr id="73" name="Connector: Elbow 72">
              <a:extLst>
                <a:ext uri="{FF2B5EF4-FFF2-40B4-BE49-F238E27FC236}">
                  <a16:creationId xmlns:a16="http://schemas.microsoft.com/office/drawing/2014/main" id="{049DD6E8-391A-6473-3440-64BF13DF09E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656927" y="4268546"/>
              <a:ext cx="935327" cy="90751"/>
            </a:xfrm>
            <a:prstGeom prst="bentConnector3">
              <a:avLst/>
            </a:prstGeom>
            <a:grpFill/>
            <a:ln w="3175">
              <a:solidFill>
                <a:schemeClr val="accent4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nector: Elbow 73">
              <a:extLst>
                <a:ext uri="{FF2B5EF4-FFF2-40B4-BE49-F238E27FC236}">
                  <a16:creationId xmlns:a16="http://schemas.microsoft.com/office/drawing/2014/main" id="{41E167AE-FF4F-6855-C1F8-4FF8CB4C16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61356" y="4625516"/>
              <a:ext cx="1019037" cy="620611"/>
            </a:xfrm>
            <a:prstGeom prst="bentConnector3">
              <a:avLst/>
            </a:prstGeom>
            <a:grpFill/>
            <a:ln w="3175">
              <a:solidFill>
                <a:schemeClr val="accent4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nector: Elbow 79">
              <a:extLst>
                <a:ext uri="{FF2B5EF4-FFF2-40B4-BE49-F238E27FC236}">
                  <a16:creationId xmlns:a16="http://schemas.microsoft.com/office/drawing/2014/main" id="{7871A109-272B-E384-9FB3-A2796AE9DB6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00591" y="4458932"/>
              <a:ext cx="1679802" cy="370772"/>
            </a:xfrm>
            <a:prstGeom prst="bentConnector3">
              <a:avLst/>
            </a:prstGeom>
            <a:grpFill/>
            <a:ln w="3175">
              <a:solidFill>
                <a:schemeClr val="accent4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7472D574-CBCC-541D-67EE-1B9E9D27B320}"/>
              </a:ext>
            </a:extLst>
          </p:cNvPr>
          <p:cNvGrpSpPr/>
          <p:nvPr/>
        </p:nvGrpSpPr>
        <p:grpSpPr>
          <a:xfrm>
            <a:off x="484994" y="5097999"/>
            <a:ext cx="3026635" cy="1679541"/>
            <a:chOff x="484994" y="5097999"/>
            <a:chExt cx="3026635" cy="1679541"/>
          </a:xfrm>
          <a:solidFill>
            <a:schemeClr val="bg1">
              <a:lumMod val="50000"/>
            </a:schemeClr>
          </a:solidFill>
        </p:grpSpPr>
        <p:pic>
          <p:nvPicPr>
            <p:cNvPr id="27" name="Graphic 16">
              <a:extLst>
                <a:ext uri="{FF2B5EF4-FFF2-40B4-BE49-F238E27FC236}">
                  <a16:creationId xmlns:a16="http://schemas.microsoft.com/office/drawing/2014/main" id="{2858020A-2B26-4623-B89D-F652A6F3CE52}"/>
                </a:ext>
              </a:extLst>
            </p:cNvPr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7"/>
                </a:ext>
              </a:extLst>
            </a:blip>
            <a:srcRect/>
            <a:stretch>
              <a:fillRect/>
            </a:stretch>
          </p:blipFill>
          <p:spPr>
            <a:xfrm>
              <a:off x="2022259" y="5097999"/>
              <a:ext cx="1489370" cy="1489370"/>
            </a:xfrm>
            <a:prstGeom prst="rect">
              <a:avLst/>
            </a:prstGeom>
          </p:spPr>
        </p:pic>
        <p:pic>
          <p:nvPicPr>
            <p:cNvPr id="38" name="Graphic 37">
              <a:extLst>
                <a:ext uri="{FF2B5EF4-FFF2-40B4-BE49-F238E27FC236}">
                  <a16:creationId xmlns:a16="http://schemas.microsoft.com/office/drawing/2014/main" id="{0CC07152-7DF3-9097-E94C-3AA6B396AC1F}"/>
                </a:ext>
              </a:extLst>
            </p:cNvPr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4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9"/>
                </a:ext>
              </a:extLst>
            </a:blip>
            <a:srcRect/>
            <a:stretch>
              <a:fillRect/>
            </a:stretch>
          </p:blipFill>
          <p:spPr>
            <a:xfrm>
              <a:off x="484994" y="5453593"/>
              <a:ext cx="848472" cy="848472"/>
            </a:xfrm>
            <a:prstGeom prst="rect">
              <a:avLst/>
            </a:prstGeom>
          </p:spPr>
        </p:pic>
        <p:pic>
          <p:nvPicPr>
            <p:cNvPr id="55" name="Graphic 54">
              <a:extLst>
                <a:ext uri="{FF2B5EF4-FFF2-40B4-BE49-F238E27FC236}">
                  <a16:creationId xmlns:a16="http://schemas.microsoft.com/office/drawing/2014/main" id="{9B783C86-FC0A-0132-AA4D-925BE6F88A93}"/>
                </a:ext>
              </a:extLst>
            </p:cNvPr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5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1"/>
                </a:ext>
              </a:extLst>
            </a:blip>
            <a:srcRect/>
            <a:stretch>
              <a:fillRect/>
            </a:stretch>
          </p:blipFill>
          <p:spPr>
            <a:xfrm>
              <a:off x="1145441" y="5994307"/>
              <a:ext cx="783233" cy="783233"/>
            </a:xfrm>
            <a:prstGeom prst="rect">
              <a:avLst/>
            </a:prstGeom>
          </p:spPr>
        </p:pic>
        <p:cxnSp>
          <p:nvCxnSpPr>
            <p:cNvPr id="86" name="Connector: Elbow 85">
              <a:extLst>
                <a:ext uri="{FF2B5EF4-FFF2-40B4-BE49-F238E27FC236}">
                  <a16:creationId xmlns:a16="http://schemas.microsoft.com/office/drawing/2014/main" id="{5D38D137-BAE5-B538-10FD-DA5CAE5A1EE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782695" y="5928183"/>
              <a:ext cx="681188" cy="470018"/>
            </a:xfrm>
            <a:prstGeom prst="bentConnector3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Connector: Elbow 87">
              <a:extLst>
                <a:ext uri="{FF2B5EF4-FFF2-40B4-BE49-F238E27FC236}">
                  <a16:creationId xmlns:a16="http://schemas.microsoft.com/office/drawing/2014/main" id="{26358D3C-4724-FEE1-F9F0-2D8EF01F6F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214254" y="5733885"/>
              <a:ext cx="1247309" cy="143944"/>
            </a:xfrm>
            <a:prstGeom prst="bentConnector3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35DBBC6-A45E-39C4-7028-F1B6B1D84E0F}"/>
              </a:ext>
            </a:extLst>
          </p:cNvPr>
          <p:cNvGrpSpPr/>
          <p:nvPr/>
        </p:nvGrpSpPr>
        <p:grpSpPr>
          <a:xfrm>
            <a:off x="5729381" y="3217808"/>
            <a:ext cx="4816240" cy="3331451"/>
            <a:chOff x="4876800" y="3077221"/>
            <a:chExt cx="4816240" cy="3331451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AA229DD9-B4AB-6383-A76A-162ED8EED05A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3077221"/>
              <a:ext cx="0" cy="3244066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E9B9868-22F7-10B5-7EB4-D921CC45F0D3}"/>
                </a:ext>
              </a:extLst>
            </p:cNvPr>
            <p:cNvCxnSpPr>
              <a:cxnSpLocks/>
            </p:cNvCxnSpPr>
            <p:nvPr/>
          </p:nvCxnSpPr>
          <p:spPr>
            <a:xfrm>
              <a:off x="5054340" y="3077221"/>
              <a:ext cx="0" cy="2966685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E9BBD5C-D31B-7124-77E8-94F58569E9CA}"/>
                </a:ext>
              </a:extLst>
            </p:cNvPr>
            <p:cNvCxnSpPr>
              <a:cxnSpLocks/>
            </p:cNvCxnSpPr>
            <p:nvPr/>
          </p:nvCxnSpPr>
          <p:spPr>
            <a:xfrm>
              <a:off x="5231880" y="3077221"/>
              <a:ext cx="0" cy="2709641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23DDDC29-D89D-2C88-7442-7118E8B51B95}"/>
                </a:ext>
              </a:extLst>
            </p:cNvPr>
            <p:cNvCxnSpPr>
              <a:cxnSpLocks/>
            </p:cNvCxnSpPr>
            <p:nvPr/>
          </p:nvCxnSpPr>
          <p:spPr>
            <a:xfrm>
              <a:off x="5409421" y="3077221"/>
              <a:ext cx="0" cy="2452597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E4EF3CC8-FAC1-9F45-1EBB-A1E690747955}"/>
                </a:ext>
              </a:extLst>
            </p:cNvPr>
            <p:cNvCxnSpPr>
              <a:cxnSpLocks/>
            </p:cNvCxnSpPr>
            <p:nvPr/>
          </p:nvCxnSpPr>
          <p:spPr>
            <a:xfrm>
              <a:off x="4876800" y="6321287"/>
              <a:ext cx="809625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6C16E0C-6397-5715-E0CA-897741510787}"/>
                </a:ext>
              </a:extLst>
            </p:cNvPr>
            <p:cNvSpPr txBox="1"/>
            <p:nvPr/>
          </p:nvSpPr>
          <p:spPr>
            <a:xfrm>
              <a:off x="5726086" y="5422096"/>
              <a:ext cx="395577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400" dirty="0">
                  <a:solidFill>
                    <a:srgbClr val="47525A"/>
                  </a:solidFill>
                  <a:latin typeface="Gotham Rounded Medium" panose="02000000000000000000" pitchFamily="50" charset="0"/>
                </a:rPr>
                <a:t>Lifecycle scope mapping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C01F8CE-778E-A9B1-65F7-C58C91A2D884}"/>
                </a:ext>
              </a:extLst>
            </p:cNvPr>
            <p:cNvSpPr txBox="1"/>
            <p:nvPr/>
          </p:nvSpPr>
          <p:spPr>
            <a:xfrm>
              <a:off x="5726086" y="5679140"/>
              <a:ext cx="395577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400" dirty="0">
                  <a:solidFill>
                    <a:srgbClr val="47525A"/>
                  </a:solidFill>
                  <a:latin typeface="Gotham Rounded Medium" panose="02000000000000000000" pitchFamily="50" charset="0"/>
                </a:rPr>
                <a:t>Building element scope mapping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A6EE38C-6782-239B-E632-B34C1F41DD0E}"/>
                </a:ext>
              </a:extLst>
            </p:cNvPr>
            <p:cNvSpPr txBox="1"/>
            <p:nvPr/>
          </p:nvSpPr>
          <p:spPr>
            <a:xfrm>
              <a:off x="5726086" y="5936184"/>
              <a:ext cx="395577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400" dirty="0">
                  <a:solidFill>
                    <a:srgbClr val="47525A"/>
                  </a:solidFill>
                  <a:latin typeface="Gotham Rounded Medium" panose="02000000000000000000" pitchFamily="50" charset="0"/>
                </a:rPr>
                <a:t>Reference period normalisation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E8C945D-8E7A-E0FA-A7EE-A7D2F236AA2F}"/>
                </a:ext>
              </a:extLst>
            </p:cNvPr>
            <p:cNvSpPr txBox="1"/>
            <p:nvPr/>
          </p:nvSpPr>
          <p:spPr>
            <a:xfrm>
              <a:off x="5737266" y="6193228"/>
              <a:ext cx="3955774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1400" dirty="0">
                  <a:solidFill>
                    <a:srgbClr val="47525A"/>
                  </a:solidFill>
                  <a:latin typeface="Gotham Rounded Medium" panose="02000000000000000000" pitchFamily="50" charset="0"/>
                </a:rPr>
                <a:t>Floor area normalisation</a:t>
              </a:r>
            </a:p>
          </p:txBody>
        </p: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B7E5BBA7-F836-30BC-6FEB-56B0AF7CF584}"/>
                </a:ext>
              </a:extLst>
            </p:cNvPr>
            <p:cNvCxnSpPr>
              <a:cxnSpLocks/>
            </p:cNvCxnSpPr>
            <p:nvPr/>
          </p:nvCxnSpPr>
          <p:spPr>
            <a:xfrm>
              <a:off x="5054340" y="6043906"/>
              <a:ext cx="632085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901CCC5B-A87E-C617-018F-C8283FEE530C}"/>
                </a:ext>
              </a:extLst>
            </p:cNvPr>
            <p:cNvCxnSpPr>
              <a:cxnSpLocks/>
            </p:cNvCxnSpPr>
            <p:nvPr/>
          </p:nvCxnSpPr>
          <p:spPr>
            <a:xfrm>
              <a:off x="5231880" y="5786862"/>
              <a:ext cx="440257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8D9F5DEF-37BD-10F7-E6E3-251394058EF8}"/>
                </a:ext>
              </a:extLst>
            </p:cNvPr>
            <p:cNvCxnSpPr>
              <a:cxnSpLocks/>
            </p:cNvCxnSpPr>
            <p:nvPr/>
          </p:nvCxnSpPr>
          <p:spPr>
            <a:xfrm>
              <a:off x="5409421" y="5529818"/>
              <a:ext cx="262716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942ECF29-99D7-6B86-FA0A-22F8CCEBC62F}"/>
              </a:ext>
            </a:extLst>
          </p:cNvPr>
          <p:cNvCxnSpPr>
            <a:cxnSpLocks/>
          </p:cNvCxnSpPr>
          <p:nvPr/>
        </p:nvCxnSpPr>
        <p:spPr>
          <a:xfrm>
            <a:off x="6262002" y="3524250"/>
            <a:ext cx="738873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00EBDCF7-11B1-D253-007E-F09BA786A351}"/>
              </a:ext>
            </a:extLst>
          </p:cNvPr>
          <p:cNvCxnSpPr>
            <a:cxnSpLocks/>
          </p:cNvCxnSpPr>
          <p:nvPr/>
        </p:nvCxnSpPr>
        <p:spPr>
          <a:xfrm>
            <a:off x="6262002" y="3690938"/>
            <a:ext cx="738873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29753843-A5DE-2FE9-FB55-244965CAA04A}"/>
              </a:ext>
            </a:extLst>
          </p:cNvPr>
          <p:cNvCxnSpPr>
            <a:cxnSpLocks/>
          </p:cNvCxnSpPr>
          <p:nvPr/>
        </p:nvCxnSpPr>
        <p:spPr>
          <a:xfrm>
            <a:off x="6262002" y="3870465"/>
            <a:ext cx="738873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Arrow Connector 67">
            <a:extLst>
              <a:ext uri="{FF2B5EF4-FFF2-40B4-BE49-F238E27FC236}">
                <a16:creationId xmlns:a16="http://schemas.microsoft.com/office/drawing/2014/main" id="{D1789430-9FFE-E004-1099-806E3387A24E}"/>
              </a:ext>
            </a:extLst>
          </p:cNvPr>
          <p:cNvCxnSpPr>
            <a:cxnSpLocks/>
          </p:cNvCxnSpPr>
          <p:nvPr/>
        </p:nvCxnSpPr>
        <p:spPr>
          <a:xfrm>
            <a:off x="6262002" y="4029075"/>
            <a:ext cx="738873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21D2B219-41F3-4BEE-884B-6FFC1B1D897C}"/>
              </a:ext>
            </a:extLst>
          </p:cNvPr>
          <p:cNvCxnSpPr/>
          <p:nvPr/>
        </p:nvCxnSpPr>
        <p:spPr>
          <a:xfrm flipH="1">
            <a:off x="5729381" y="3524250"/>
            <a:ext cx="532621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E1538969-389D-EBB5-BCC9-6B793BBA607F}"/>
              </a:ext>
            </a:extLst>
          </p:cNvPr>
          <p:cNvCxnSpPr/>
          <p:nvPr/>
        </p:nvCxnSpPr>
        <p:spPr>
          <a:xfrm flipH="1">
            <a:off x="5729381" y="3690938"/>
            <a:ext cx="532621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26AA4467-302B-6AC1-54E3-196D86DEFF09}"/>
              </a:ext>
            </a:extLst>
          </p:cNvPr>
          <p:cNvCxnSpPr/>
          <p:nvPr/>
        </p:nvCxnSpPr>
        <p:spPr>
          <a:xfrm flipH="1">
            <a:off x="5730802" y="3870465"/>
            <a:ext cx="532621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482CF1F9-A64D-A83B-BCBB-70A6DA97A191}"/>
              </a:ext>
            </a:extLst>
          </p:cNvPr>
          <p:cNvCxnSpPr/>
          <p:nvPr/>
        </p:nvCxnSpPr>
        <p:spPr>
          <a:xfrm flipH="1">
            <a:off x="5729381" y="4029075"/>
            <a:ext cx="532621" cy="0"/>
          </a:xfrm>
          <a:prstGeom prst="line">
            <a:avLst/>
          </a:prstGeom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6">
            <a:extLst>
              <a:ext uri="{FF2B5EF4-FFF2-40B4-BE49-F238E27FC236}">
                <a16:creationId xmlns:a16="http://schemas.microsoft.com/office/drawing/2014/main" id="{CEC3121C-B574-DA2B-649B-FF2A6808E916}"/>
              </a:ext>
            </a:extLst>
          </p:cNvPr>
          <p:cNvGrpSpPr/>
          <p:nvPr/>
        </p:nvGrpSpPr>
        <p:grpSpPr>
          <a:xfrm>
            <a:off x="9173837" y="2543397"/>
            <a:ext cx="2424113" cy="2424113"/>
            <a:chOff x="9232492" y="2556507"/>
            <a:chExt cx="2424113" cy="2424113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EF4B4C61-7EF8-BCB0-CC4C-972E989D17FD}"/>
                </a:ext>
              </a:extLst>
            </p:cNvPr>
            <p:cNvGrpSpPr/>
            <p:nvPr/>
          </p:nvGrpSpPr>
          <p:grpSpPr>
            <a:xfrm>
              <a:off x="9232492" y="2556507"/>
              <a:ext cx="2424113" cy="2424113"/>
              <a:chOff x="8419087" y="2540791"/>
              <a:chExt cx="2424113" cy="2424113"/>
            </a:xfrm>
          </p:grpSpPr>
          <p:pic>
            <p:nvPicPr>
              <p:cNvPr id="82" name="Graphic 81">
                <a:extLst>
                  <a:ext uri="{FF2B5EF4-FFF2-40B4-BE49-F238E27FC236}">
                    <a16:creationId xmlns:a16="http://schemas.microsoft.com/office/drawing/2014/main" id="{63AE4DE2-522D-7A04-2AE8-3FA93CDBD370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"/>
                </p:custDataLst>
              </p:nvPr>
            </p:nvPicPr>
            <p:blipFill>
              <a:blip r:embed="rId5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3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8419087" y="2540791"/>
                <a:ext cx="2424113" cy="2424113"/>
              </a:xfrm>
              <a:prstGeom prst="rect">
                <a:avLst/>
              </a:prstGeom>
            </p:spPr>
          </p:pic>
          <p:pic>
            <p:nvPicPr>
              <p:cNvPr id="83" name="Picture 82">
                <a:extLst>
                  <a:ext uri="{FF2B5EF4-FFF2-40B4-BE49-F238E27FC236}">
                    <a16:creationId xmlns:a16="http://schemas.microsoft.com/office/drawing/2014/main" id="{35FDD2A9-4FBE-C55D-E8B7-8AB700F30E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4"/>
              <a:stretch>
                <a:fillRect/>
              </a:stretch>
            </p:blipFill>
            <p:spPr>
              <a:xfrm>
                <a:off x="9164829" y="4706266"/>
                <a:ext cx="932627" cy="215444"/>
              </a:xfrm>
              <a:prstGeom prst="rect">
                <a:avLst/>
              </a:prstGeom>
            </p:spPr>
          </p:pic>
          <p:pic>
            <p:nvPicPr>
              <p:cNvPr id="84" name="Graphic 83">
                <a:extLst>
                  <a:ext uri="{FF2B5EF4-FFF2-40B4-BE49-F238E27FC236}">
                    <a16:creationId xmlns:a16="http://schemas.microsoft.com/office/drawing/2014/main" id="{0A77E299-1703-F7F5-2991-4DC996A14C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9153584" y="4473241"/>
                <a:ext cx="914400" cy="189831"/>
              </a:xfrm>
              <a:prstGeom prst="rect">
                <a:avLst/>
              </a:prstGeom>
            </p:spPr>
          </p:pic>
        </p:grp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C38F4708-6D97-B9EB-93A0-4EEC3D80F167}"/>
                </a:ext>
              </a:extLst>
            </p:cNvPr>
            <p:cNvSpPr/>
            <p:nvPr/>
          </p:nvSpPr>
          <p:spPr>
            <a:xfrm>
              <a:off x="9893688" y="3350053"/>
              <a:ext cx="775364" cy="5932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/>
            </a:p>
          </p:txBody>
        </p:sp>
        <p:pic>
          <p:nvPicPr>
            <p:cNvPr id="81" name="Graphic 80">
              <a:extLst>
                <a:ext uri="{FF2B5EF4-FFF2-40B4-BE49-F238E27FC236}">
                  <a16:creationId xmlns:a16="http://schemas.microsoft.com/office/drawing/2014/main" id="{9A691B50-8A64-E233-2DEA-B648E001EA5D}"/>
                </a:ext>
              </a:extLst>
            </p:cNvPr>
            <p:cNvPicPr>
              <a:picLocks noChangeAspect="1"/>
            </p:cNvPicPr>
            <p:nvPr>
              <p:custDataLst>
                <p:tags r:id="rId1"/>
              </p:custDataLst>
            </p:nvPr>
          </p:nvPicPr>
          <p:blipFill>
            <a:blip r:embed="rId5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6"/>
                </a:ext>
              </a:extLst>
            </a:blip>
            <a:srcRect/>
            <a:stretch>
              <a:fillRect/>
            </a:stretch>
          </p:blipFill>
          <p:spPr>
            <a:xfrm>
              <a:off x="9856787" y="3044575"/>
              <a:ext cx="1134803" cy="1134803"/>
            </a:xfrm>
            <a:prstGeom prst="rect">
              <a:avLst/>
            </a:prstGeom>
          </p:spPr>
        </p:pic>
      </p:grpSp>
      <p:sp>
        <p:nvSpPr>
          <p:cNvPr id="47" name="Title 1">
            <a:extLst>
              <a:ext uri="{FF2B5EF4-FFF2-40B4-BE49-F238E27FC236}">
                <a16:creationId xmlns:a16="http://schemas.microsoft.com/office/drawing/2014/main" id="{98E46BE2-37C7-2613-896C-8A4ED0384DA0}"/>
              </a:ext>
            </a:extLst>
          </p:cNvPr>
          <p:cNvSpPr txBox="1">
            <a:spLocks/>
          </p:cNvSpPr>
          <p:nvPr/>
        </p:nvSpPr>
        <p:spPr>
          <a:xfrm>
            <a:off x="360000" y="425876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latin typeface="Gotham Rounded Book" pitchFamily="50" charset="0"/>
              </a:rPr>
              <a:t>Ramboll’s Carbon Benchmarking Database</a:t>
            </a:r>
          </a:p>
        </p:txBody>
      </p:sp>
    </p:spTree>
    <p:extLst>
      <p:ext uri="{BB962C8B-B14F-4D97-AF65-F5344CB8AC3E}">
        <p14:creationId xmlns:p14="http://schemas.microsoft.com/office/powerpoint/2010/main" val="26948679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0EA02FA-C8EE-F6A7-93D0-4CA186EFC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3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78374D-5C9A-7935-E95C-9FB39859D22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205"/>
          <a:stretch/>
        </p:blipFill>
        <p:spPr>
          <a:xfrm>
            <a:off x="1530013" y="809171"/>
            <a:ext cx="9021873" cy="523965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F19D87D-7C20-765A-3C14-E9DD998CA60F}"/>
              </a:ext>
            </a:extLst>
          </p:cNvPr>
          <p:cNvSpPr txBox="1"/>
          <p:nvPr/>
        </p:nvSpPr>
        <p:spPr>
          <a:xfrm>
            <a:off x="8338457" y="5166877"/>
            <a:ext cx="2583543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400" dirty="0">
                <a:solidFill>
                  <a:schemeClr val="bg1"/>
                </a:solidFill>
                <a:latin typeface="Gotham Rounded Medium" panose="02000000000000000000" pitchFamily="50" charset="0"/>
              </a:rPr>
              <a:t>More data</a:t>
            </a:r>
          </a:p>
          <a:p>
            <a:r>
              <a:rPr lang="en-GB" sz="1400" dirty="0">
                <a:solidFill>
                  <a:schemeClr val="bg1"/>
                </a:solidFill>
                <a:latin typeface="Gotham Rounded Medium" panose="02000000000000000000" pitchFamily="50" charset="0"/>
              </a:rPr>
              <a:t>More scopes</a:t>
            </a:r>
          </a:p>
          <a:p>
            <a:r>
              <a:rPr lang="en-GB" sz="1400" dirty="0">
                <a:solidFill>
                  <a:schemeClr val="bg1"/>
                </a:solidFill>
                <a:latin typeface="Gotham Rounded Medium" panose="02000000000000000000" pitchFamily="50" charset="0"/>
              </a:rPr>
              <a:t>More insigh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E97BAC-9984-AA54-9D8E-806548E0C237}"/>
              </a:ext>
            </a:extLst>
          </p:cNvPr>
          <p:cNvSpPr txBox="1"/>
          <p:nvPr/>
        </p:nvSpPr>
        <p:spPr>
          <a:xfrm>
            <a:off x="6469743" y="5028378"/>
            <a:ext cx="258354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6000" dirty="0">
                <a:solidFill>
                  <a:schemeClr val="bg1"/>
                </a:solidFill>
                <a:latin typeface="Gotham Rounded Medium" panose="02000000000000000000" pitchFamily="50" charset="0"/>
              </a:rPr>
              <a:t>V2.0</a:t>
            </a:r>
          </a:p>
        </p:txBody>
      </p:sp>
    </p:spTree>
    <p:extLst>
      <p:ext uri="{BB962C8B-B14F-4D97-AF65-F5344CB8AC3E}">
        <p14:creationId xmlns:p14="http://schemas.microsoft.com/office/powerpoint/2010/main" val="21002711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C56BF4-4D49-AA61-91B0-73405C141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52F631D-F805-869C-03FA-A13DA24B3D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87" y="0"/>
            <a:ext cx="11858625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1CC6A9F-9BF4-AE32-A0DB-27060F08979A}"/>
              </a:ext>
            </a:extLst>
          </p:cNvPr>
          <p:cNvSpPr/>
          <p:nvPr/>
        </p:nvSpPr>
        <p:spPr>
          <a:xfrm>
            <a:off x="377372" y="754744"/>
            <a:ext cx="11386004" cy="607332"/>
          </a:xfrm>
          <a:prstGeom prst="rect">
            <a:avLst/>
          </a:prstGeom>
          <a:noFill/>
          <a:ln w="19050">
            <a:solidFill>
              <a:srgbClr val="FF88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B4F9C33-12D3-1ECB-11B9-B8D91C72F96C}"/>
              </a:ext>
            </a:extLst>
          </p:cNvPr>
          <p:cNvSpPr txBox="1"/>
          <p:nvPr/>
        </p:nvSpPr>
        <p:spPr>
          <a:xfrm>
            <a:off x="809625" y="1809043"/>
            <a:ext cx="2011634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dirty="0">
                <a:solidFill>
                  <a:schemeClr val="accent5"/>
                </a:solidFill>
                <a:latin typeface="Gotham Rounded Medium" panose="02000000000000000000" pitchFamily="50" charset="0"/>
              </a:rPr>
              <a:t>Interactive filters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27A720E-AEE2-53BE-7909-66BF738B1C62}"/>
              </a:ext>
            </a:extLst>
          </p:cNvPr>
          <p:cNvCxnSpPr/>
          <p:nvPr/>
        </p:nvCxnSpPr>
        <p:spPr>
          <a:xfrm flipV="1">
            <a:off x="1762125" y="1362076"/>
            <a:ext cx="485775" cy="438149"/>
          </a:xfrm>
          <a:prstGeom prst="line">
            <a:avLst/>
          </a:prstGeom>
          <a:ln w="1270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3E8E166C-2A24-3957-F62C-07F9A377F592}"/>
              </a:ext>
            </a:extLst>
          </p:cNvPr>
          <p:cNvSpPr/>
          <p:nvPr/>
        </p:nvSpPr>
        <p:spPr>
          <a:xfrm>
            <a:off x="9505950" y="1581149"/>
            <a:ext cx="2257425" cy="4238625"/>
          </a:xfrm>
          <a:prstGeom prst="rect">
            <a:avLst/>
          </a:prstGeom>
          <a:noFill/>
          <a:ln w="19050">
            <a:solidFill>
              <a:srgbClr val="FF885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8C52C9-1986-19FB-56A5-E12A3A3BAD6D}"/>
              </a:ext>
            </a:extLst>
          </p:cNvPr>
          <p:cNvSpPr txBox="1"/>
          <p:nvPr/>
        </p:nvSpPr>
        <p:spPr>
          <a:xfrm>
            <a:off x="6682136" y="4644483"/>
            <a:ext cx="2257425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2800" dirty="0">
                <a:solidFill>
                  <a:schemeClr val="accent5"/>
                </a:solidFill>
                <a:latin typeface="Gotham Rounded Medium" panose="02000000000000000000" pitchFamily="50" charset="0"/>
              </a:rPr>
              <a:t>Scope Explanat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3C6C2F3-81B6-4962-418D-3690E6E34E19}"/>
              </a:ext>
            </a:extLst>
          </p:cNvPr>
          <p:cNvCxnSpPr/>
          <p:nvPr/>
        </p:nvCxnSpPr>
        <p:spPr>
          <a:xfrm flipV="1">
            <a:off x="9020175" y="4533194"/>
            <a:ext cx="485775" cy="438149"/>
          </a:xfrm>
          <a:prstGeom prst="line">
            <a:avLst/>
          </a:prstGeom>
          <a:ln w="19050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4142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9" grpId="0" animBg="1"/>
      <p:bldP spid="1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6D753B77-5E35-8D39-AD69-B0F8F82DD8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997" y="260420"/>
            <a:ext cx="11386004" cy="637138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8C56BF4-4D49-AA61-91B0-73405C141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321345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A33AFE-8032-6B89-7B83-C5FFA7CA0C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6</a:t>
            </a:fld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61C480-F988-EB60-979E-577B020D66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2253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38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78541-4C0B-34B0-DAF3-5EB8081524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Gotham Rounded Medium" panose="02000000000000000000" pitchFamily="50" charset="0"/>
              </a:rPr>
              <a:t>Concluding Though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FD2527-9424-2B6C-1BDF-14284EADA7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65662" y="1828800"/>
            <a:ext cx="10567537" cy="4294800"/>
          </a:xfrm>
        </p:spPr>
        <p:txBody>
          <a:bodyPr/>
          <a:lstStyle/>
          <a:p>
            <a:r>
              <a:rPr lang="en-GB" sz="2000" dirty="0">
                <a:solidFill>
                  <a:schemeClr val="bg1">
                    <a:lumMod val="95000"/>
                  </a:schemeClr>
                </a:solidFill>
                <a:latin typeface="Gotham Rounded Light" pitchFamily="50" charset="0"/>
              </a:rPr>
              <a:t>We are focusing on collecting quality data to support decarbonisation</a:t>
            </a:r>
          </a:p>
          <a:p>
            <a:endParaRPr lang="en-GB" sz="2000" dirty="0">
              <a:solidFill>
                <a:schemeClr val="bg1">
                  <a:lumMod val="95000"/>
                </a:schemeClr>
              </a:solidFill>
              <a:latin typeface="Gotham Rounded Light" pitchFamily="50" charset="0"/>
            </a:endParaRPr>
          </a:p>
          <a:p>
            <a:r>
              <a:rPr lang="en-GB" sz="2000" dirty="0">
                <a:solidFill>
                  <a:schemeClr val="bg1">
                    <a:lumMod val="95000"/>
                  </a:schemeClr>
                </a:solidFill>
                <a:latin typeface="Gotham Rounded Light" pitchFamily="50" charset="0"/>
              </a:rPr>
              <a:t>Consistency and granularity are needed to provide actionable insight</a:t>
            </a:r>
          </a:p>
          <a:p>
            <a:endParaRPr lang="en-GB" sz="2000" dirty="0">
              <a:solidFill>
                <a:schemeClr val="bg1">
                  <a:lumMod val="95000"/>
                </a:schemeClr>
              </a:solidFill>
              <a:latin typeface="Gotham Rounded Light" pitchFamily="50" charset="0"/>
            </a:endParaRPr>
          </a:p>
          <a:p>
            <a:r>
              <a:rPr lang="en-GB" sz="2000" dirty="0">
                <a:solidFill>
                  <a:schemeClr val="bg1">
                    <a:lumMod val="95000"/>
                  </a:schemeClr>
                </a:solidFill>
                <a:latin typeface="Gotham Rounded Light" pitchFamily="50" charset="0"/>
              </a:rPr>
              <a:t>Transparency is key for the industry and decision makers</a:t>
            </a:r>
          </a:p>
          <a:p>
            <a:endParaRPr lang="en-GB" sz="2000" dirty="0">
              <a:solidFill>
                <a:schemeClr val="bg1">
                  <a:lumMod val="95000"/>
                </a:schemeClr>
              </a:solidFill>
              <a:latin typeface="Gotham Rounded Light" pitchFamily="50" charset="0"/>
            </a:endParaRPr>
          </a:p>
          <a:p>
            <a:r>
              <a:rPr lang="en-GB" sz="2000" dirty="0">
                <a:solidFill>
                  <a:schemeClr val="bg1">
                    <a:lumMod val="95000"/>
                  </a:schemeClr>
                </a:solidFill>
                <a:latin typeface="Gotham Rounded Light" pitchFamily="50" charset="0"/>
              </a:rPr>
              <a:t>We see CO2mpare as a step to helping move the industry forwards</a:t>
            </a:r>
          </a:p>
          <a:p>
            <a:endParaRPr lang="en-GB" sz="2000" dirty="0">
              <a:solidFill>
                <a:schemeClr val="bg1">
                  <a:lumMod val="95000"/>
                </a:schemeClr>
              </a:solidFill>
              <a:latin typeface="Gotham Rounded Light" pitchFamily="50" charset="0"/>
            </a:endParaRPr>
          </a:p>
          <a:p>
            <a:r>
              <a:rPr lang="en-GB" sz="2000" dirty="0">
                <a:solidFill>
                  <a:schemeClr val="bg1">
                    <a:lumMod val="95000"/>
                  </a:schemeClr>
                </a:solidFill>
                <a:latin typeface="Gotham Rounded Light" pitchFamily="50" charset="0"/>
              </a:rPr>
              <a:t>Explore the data and see what you think…</a:t>
            </a:r>
          </a:p>
          <a:p>
            <a:endParaRPr lang="en-GB" sz="2000" dirty="0">
              <a:solidFill>
                <a:schemeClr val="bg1">
                  <a:lumMod val="95000"/>
                </a:schemeClr>
              </a:solidFill>
              <a:latin typeface="Gotham Rounded Light" pitchFamily="50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A4DA622-BBE5-CA43-FEA8-498DD308B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0123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38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1FAD2B-62C0-DE80-7453-F0B3C5F931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E04549-B7DC-0EDB-A5D1-DB830E3957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2880AA-509E-66A4-94AF-FAE5F4D0D3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18</a:t>
            </a:fld>
            <a:endParaRPr lang="en-GB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C6E7977-56B6-FFD5-F05F-9D34461579EC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DF1AB991-E43F-2DA3-9866-CF615B12A3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-1141"/>
            <a:stretch/>
          </p:blipFill>
          <p:spPr>
            <a:xfrm>
              <a:off x="0" y="0"/>
              <a:ext cx="9713466" cy="685800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724D459-DD90-3EB9-7681-E38C4A6E70F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67763" t="50000" r="500"/>
            <a:stretch/>
          </p:blipFill>
          <p:spPr>
            <a:xfrm>
              <a:off x="9143999" y="3429000"/>
              <a:ext cx="3048001" cy="3429000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505CD60-FF38-DC92-03FD-1767E7274B49}"/>
                </a:ext>
              </a:extLst>
            </p:cNvPr>
            <p:cNvSpPr/>
            <p:nvPr/>
          </p:nvSpPr>
          <p:spPr>
            <a:xfrm>
              <a:off x="9329351" y="0"/>
              <a:ext cx="2862649" cy="3558746"/>
            </a:xfrm>
            <a:prstGeom prst="rect">
              <a:avLst/>
            </a:prstGeom>
            <a:solidFill>
              <a:srgbClr val="0138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0AAD154-3FAE-02F8-E8EA-85476A27F3A2}"/>
                </a:ext>
              </a:extLst>
            </p:cNvPr>
            <p:cNvSpPr/>
            <p:nvPr/>
          </p:nvSpPr>
          <p:spPr>
            <a:xfrm>
              <a:off x="6348026" y="3848100"/>
              <a:ext cx="2862649" cy="2933700"/>
            </a:xfrm>
            <a:prstGeom prst="rect">
              <a:avLst/>
            </a:prstGeom>
            <a:solidFill>
              <a:srgbClr val="0138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/>
            </a:p>
          </p:txBody>
        </p:sp>
      </p:grpSp>
    </p:spTree>
    <p:extLst>
      <p:ext uri="{BB962C8B-B14F-4D97-AF65-F5344CB8AC3E}">
        <p14:creationId xmlns:p14="http://schemas.microsoft.com/office/powerpoint/2010/main" val="3356451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38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D881E4A4-44DA-8A08-930B-BB0CC59E15EA}"/>
              </a:ext>
            </a:extLst>
          </p:cNvPr>
          <p:cNvSpPr/>
          <p:nvPr/>
        </p:nvSpPr>
        <p:spPr>
          <a:xfrm>
            <a:off x="5290802" y="0"/>
            <a:ext cx="6899996" cy="6858000"/>
          </a:xfrm>
          <a:prstGeom prst="rect">
            <a:avLst/>
          </a:prstGeom>
          <a:solidFill>
            <a:srgbClr val="0138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dirty="0" err="1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1499A56-1C1D-3895-F399-D32AE57DE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41967" y="2951018"/>
            <a:ext cx="6184800" cy="3525382"/>
          </a:xfrm>
        </p:spPr>
        <p:txBody>
          <a:bodyPr anchor="t">
            <a:normAutofit/>
          </a:bodyPr>
          <a:lstStyle/>
          <a:p>
            <a:r>
              <a:rPr lang="en-GB" sz="2800" dirty="0">
                <a:latin typeface="Gotham Rounded Medium" panose="02000000000000000000" pitchFamily="50" charset="0"/>
              </a:rPr>
              <a:t>Andreas Sørensen</a:t>
            </a:r>
            <a:br>
              <a:rPr lang="en-GB" sz="2000" dirty="0">
                <a:latin typeface="Gotham Rounded Medium" panose="02000000000000000000" pitchFamily="50" charset="0"/>
              </a:rPr>
            </a:br>
            <a:r>
              <a:rPr lang="en-GB" sz="1100" dirty="0">
                <a:solidFill>
                  <a:schemeClr val="bg1"/>
                </a:solidFill>
                <a:latin typeface="Gotham Rounded Medium" panose="02000000000000000000" pitchFamily="50" charset="0"/>
              </a:rPr>
              <a:t>Digital Lead Sustainability</a:t>
            </a:r>
          </a:p>
          <a:p>
            <a:r>
              <a:rPr lang="en-GB" sz="1100" dirty="0">
                <a:solidFill>
                  <a:schemeClr val="bg1"/>
                </a:solidFill>
                <a:latin typeface="Gotham Rounded Medium" panose="02000000000000000000" pitchFamily="50" charset="0"/>
              </a:rPr>
              <a:t>Ramboll Buildings</a:t>
            </a:r>
          </a:p>
          <a:p>
            <a:endParaRPr lang="en-GB" sz="2000" dirty="0">
              <a:latin typeface="Gotham Rounded Medium" panose="02000000000000000000" pitchFamily="50" charset="0"/>
            </a:endParaRPr>
          </a:p>
          <a:p>
            <a:br>
              <a:rPr lang="en-GB" sz="2000" dirty="0">
                <a:latin typeface="Gotham Rounded Medium" panose="02000000000000000000" pitchFamily="50" charset="0"/>
              </a:rPr>
            </a:br>
            <a:endParaRPr lang="en-GB" sz="2000" dirty="0">
              <a:latin typeface="Gotham Rounded Medium" panose="02000000000000000000" pitchFamily="50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994B6B-D074-9193-2FBD-9D2CCFB222B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206800" y="6476400"/>
            <a:ext cx="626400" cy="1080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23AA811B-2EBD-4900-905E-5BE206449611}" type="slidenum">
              <a:rPr lang="en-GB" smtClean="0"/>
              <a:pPr>
                <a:spcAft>
                  <a:spcPts val="600"/>
                </a:spcAft>
              </a:pPr>
              <a:t>2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A49B864-D4A4-C9B2-26B0-295AD7BB639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72000"/>
                    </a14:imgEffect>
                    <a14:imgEffect>
                      <a14:brightnessContrast bright="6000" contrast="1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7255" y="2197678"/>
            <a:ext cx="2462644" cy="2462644"/>
          </a:xfrm>
          <a:prstGeom prst="ellipse">
            <a:avLst/>
          </a:prstGeom>
          <a:ln w="76200"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31365519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82" name="Object 1481" hidden="1">
            <a:extLst>
              <a:ext uri="{FF2B5EF4-FFF2-40B4-BE49-F238E27FC236}">
                <a16:creationId xmlns:a16="http://schemas.microsoft.com/office/drawing/2014/main" id="{4711FAF4-C728-4A02-8E2D-080A885BF5A3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32" imgH="533" progId="TCLayout.ActiveDocument.1">
                  <p:embed/>
                </p:oleObj>
              </mc:Choice>
              <mc:Fallback>
                <p:oleObj name="think-cell Slide" r:id="rId9" imgW="532" imgH="533" progId="TCLayout.ActiveDocument.1">
                  <p:embed/>
                  <p:pic>
                    <p:nvPicPr>
                      <p:cNvPr id="1482" name="Object 1481" hidden="1">
                        <a:extLst>
                          <a:ext uri="{FF2B5EF4-FFF2-40B4-BE49-F238E27FC236}">
                            <a16:creationId xmlns:a16="http://schemas.microsoft.com/office/drawing/2014/main" id="{4711FAF4-C728-4A02-8E2D-080A885BF5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41387CF7-CDAE-65F0-0134-DF7B1659BB89}"/>
              </a:ext>
            </a:extLst>
          </p:cNvPr>
          <p:cNvGrpSpPr/>
          <p:nvPr/>
        </p:nvGrpSpPr>
        <p:grpSpPr>
          <a:xfrm>
            <a:off x="1412066" y="1429648"/>
            <a:ext cx="9791968" cy="4821886"/>
            <a:chOff x="1412066" y="1429648"/>
            <a:chExt cx="9791968" cy="4821886"/>
          </a:xfrm>
        </p:grpSpPr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67B9CB1-AD96-AE6F-6046-1CC654814870}"/>
                </a:ext>
              </a:extLst>
            </p:cNvPr>
            <p:cNvSpPr/>
            <p:nvPr/>
          </p:nvSpPr>
          <p:spPr>
            <a:xfrm>
              <a:off x="3068493" y="2027331"/>
              <a:ext cx="66294" cy="48554"/>
            </a:xfrm>
            <a:custGeom>
              <a:avLst/>
              <a:gdLst>
                <a:gd name="connsiteX0" fmla="*/ 10478 w 67627"/>
                <a:gd name="connsiteY0" fmla="*/ 0 h 49530"/>
                <a:gd name="connsiteX1" fmla="*/ 39053 w 67627"/>
                <a:gd name="connsiteY1" fmla="*/ 0 h 49530"/>
                <a:gd name="connsiteX2" fmla="*/ 63817 w 67627"/>
                <a:gd name="connsiteY2" fmla="*/ 0 h 49530"/>
                <a:gd name="connsiteX3" fmla="*/ 67628 w 67627"/>
                <a:gd name="connsiteY3" fmla="*/ 14288 h 49530"/>
                <a:gd name="connsiteX4" fmla="*/ 60008 w 67627"/>
                <a:gd name="connsiteY4" fmla="*/ 35243 h 49530"/>
                <a:gd name="connsiteX5" fmla="*/ 49530 w 67627"/>
                <a:gd name="connsiteY5" fmla="*/ 49530 h 49530"/>
                <a:gd name="connsiteX6" fmla="*/ 39053 w 67627"/>
                <a:gd name="connsiteY6" fmla="*/ 42863 h 49530"/>
                <a:gd name="connsiteX7" fmla="*/ 24765 w 67627"/>
                <a:gd name="connsiteY7" fmla="*/ 24765 h 49530"/>
                <a:gd name="connsiteX8" fmla="*/ 10478 w 67627"/>
                <a:gd name="connsiteY8" fmla="*/ 18002 h 49530"/>
                <a:gd name="connsiteX9" fmla="*/ 0 w 67627"/>
                <a:gd name="connsiteY9" fmla="*/ 7525 h 49530"/>
                <a:gd name="connsiteX10" fmla="*/ 10478 w 67627"/>
                <a:gd name="connsiteY10" fmla="*/ 0 h 4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627" h="49530">
                  <a:moveTo>
                    <a:pt x="10478" y="0"/>
                  </a:moveTo>
                  <a:lnTo>
                    <a:pt x="39053" y="0"/>
                  </a:lnTo>
                  <a:lnTo>
                    <a:pt x="63817" y="0"/>
                  </a:lnTo>
                  <a:lnTo>
                    <a:pt x="67628" y="14288"/>
                  </a:lnTo>
                  <a:lnTo>
                    <a:pt x="60008" y="35243"/>
                  </a:lnTo>
                  <a:lnTo>
                    <a:pt x="49530" y="49530"/>
                  </a:lnTo>
                  <a:lnTo>
                    <a:pt x="39053" y="42863"/>
                  </a:lnTo>
                  <a:lnTo>
                    <a:pt x="24765" y="24765"/>
                  </a:lnTo>
                  <a:lnTo>
                    <a:pt x="10478" y="18002"/>
                  </a:lnTo>
                  <a:lnTo>
                    <a:pt x="0" y="7525"/>
                  </a:lnTo>
                  <a:lnTo>
                    <a:pt x="1047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73947F9-5095-4931-221F-7A398BED2A8A}"/>
                </a:ext>
              </a:extLst>
            </p:cNvPr>
            <p:cNvSpPr/>
            <p:nvPr/>
          </p:nvSpPr>
          <p:spPr>
            <a:xfrm>
              <a:off x="3786528" y="2030971"/>
              <a:ext cx="121383" cy="48647"/>
            </a:xfrm>
            <a:custGeom>
              <a:avLst/>
              <a:gdLst>
                <a:gd name="connsiteX0" fmla="*/ 7620 w 123824"/>
                <a:gd name="connsiteY0" fmla="*/ 0 h 49625"/>
                <a:gd name="connsiteX1" fmla="*/ 39052 w 123824"/>
                <a:gd name="connsiteY1" fmla="*/ 0 h 49625"/>
                <a:gd name="connsiteX2" fmla="*/ 74295 w 123824"/>
                <a:gd name="connsiteY2" fmla="*/ 3810 h 49625"/>
                <a:gd name="connsiteX3" fmla="*/ 109537 w 123824"/>
                <a:gd name="connsiteY3" fmla="*/ 21050 h 49625"/>
                <a:gd name="connsiteX4" fmla="*/ 123825 w 123824"/>
                <a:gd name="connsiteY4" fmla="*/ 39148 h 49625"/>
                <a:gd name="connsiteX5" fmla="*/ 105727 w 123824"/>
                <a:gd name="connsiteY5" fmla="*/ 42863 h 49625"/>
                <a:gd name="connsiteX6" fmla="*/ 80962 w 123824"/>
                <a:gd name="connsiteY6" fmla="*/ 42863 h 49625"/>
                <a:gd name="connsiteX7" fmla="*/ 57150 w 123824"/>
                <a:gd name="connsiteY7" fmla="*/ 42863 h 49625"/>
                <a:gd name="connsiteX8" fmla="*/ 45720 w 123824"/>
                <a:gd name="connsiteY8" fmla="*/ 49625 h 49625"/>
                <a:gd name="connsiteX9" fmla="*/ 24765 w 123824"/>
                <a:gd name="connsiteY9" fmla="*/ 45815 h 49625"/>
                <a:gd name="connsiteX10" fmla="*/ 18097 w 123824"/>
                <a:gd name="connsiteY10" fmla="*/ 28575 h 49625"/>
                <a:gd name="connsiteX11" fmla="*/ 0 w 123824"/>
                <a:gd name="connsiteY11" fmla="*/ 18098 h 49625"/>
                <a:gd name="connsiteX12" fmla="*/ 0 w 123824"/>
                <a:gd name="connsiteY12" fmla="*/ 0 h 49625"/>
                <a:gd name="connsiteX13" fmla="*/ 7620 w 123824"/>
                <a:gd name="connsiteY13" fmla="*/ 0 h 49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3824" h="49625">
                  <a:moveTo>
                    <a:pt x="7620" y="0"/>
                  </a:moveTo>
                  <a:lnTo>
                    <a:pt x="39052" y="0"/>
                  </a:lnTo>
                  <a:lnTo>
                    <a:pt x="74295" y="3810"/>
                  </a:lnTo>
                  <a:lnTo>
                    <a:pt x="109537" y="21050"/>
                  </a:lnTo>
                  <a:lnTo>
                    <a:pt x="123825" y="39148"/>
                  </a:lnTo>
                  <a:lnTo>
                    <a:pt x="105727" y="42863"/>
                  </a:lnTo>
                  <a:lnTo>
                    <a:pt x="80962" y="42863"/>
                  </a:lnTo>
                  <a:lnTo>
                    <a:pt x="57150" y="42863"/>
                  </a:lnTo>
                  <a:lnTo>
                    <a:pt x="45720" y="49625"/>
                  </a:lnTo>
                  <a:lnTo>
                    <a:pt x="24765" y="45815"/>
                  </a:lnTo>
                  <a:lnTo>
                    <a:pt x="18097" y="28575"/>
                  </a:lnTo>
                  <a:lnTo>
                    <a:pt x="0" y="18098"/>
                  </a:lnTo>
                  <a:lnTo>
                    <a:pt x="0" y="0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2295896-BE4B-65C4-0F9C-391EE16F9409}"/>
                </a:ext>
              </a:extLst>
            </p:cNvPr>
            <p:cNvSpPr/>
            <p:nvPr/>
          </p:nvSpPr>
          <p:spPr>
            <a:xfrm>
              <a:off x="4239383" y="3054436"/>
              <a:ext cx="65361" cy="30813"/>
            </a:xfrm>
            <a:custGeom>
              <a:avLst/>
              <a:gdLst>
                <a:gd name="connsiteX0" fmla="*/ 0 w 66675"/>
                <a:gd name="connsiteY0" fmla="*/ 3715 h 31432"/>
                <a:gd name="connsiteX1" fmla="*/ 14288 w 66675"/>
                <a:gd name="connsiteY1" fmla="*/ 14288 h 31432"/>
                <a:gd name="connsiteX2" fmla="*/ 31433 w 66675"/>
                <a:gd name="connsiteY2" fmla="*/ 24670 h 31432"/>
                <a:gd name="connsiteX3" fmla="*/ 60008 w 66675"/>
                <a:gd name="connsiteY3" fmla="*/ 31432 h 31432"/>
                <a:gd name="connsiteX4" fmla="*/ 66675 w 66675"/>
                <a:gd name="connsiteY4" fmla="*/ 20955 h 31432"/>
                <a:gd name="connsiteX5" fmla="*/ 52388 w 66675"/>
                <a:gd name="connsiteY5" fmla="*/ 10382 h 31432"/>
                <a:gd name="connsiteX6" fmla="*/ 38100 w 66675"/>
                <a:gd name="connsiteY6" fmla="*/ 3715 h 31432"/>
                <a:gd name="connsiteX7" fmla="*/ 24765 w 66675"/>
                <a:gd name="connsiteY7" fmla="*/ 0 h 31432"/>
                <a:gd name="connsiteX8" fmla="*/ 14288 w 66675"/>
                <a:gd name="connsiteY8" fmla="*/ 0 h 31432"/>
                <a:gd name="connsiteX9" fmla="*/ 0 w 66675"/>
                <a:gd name="connsiteY9" fmla="*/ 3715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6675" h="31432">
                  <a:moveTo>
                    <a:pt x="0" y="3715"/>
                  </a:moveTo>
                  <a:lnTo>
                    <a:pt x="14288" y="14288"/>
                  </a:lnTo>
                  <a:lnTo>
                    <a:pt x="31433" y="24670"/>
                  </a:lnTo>
                  <a:lnTo>
                    <a:pt x="60008" y="31432"/>
                  </a:lnTo>
                  <a:lnTo>
                    <a:pt x="66675" y="20955"/>
                  </a:lnTo>
                  <a:lnTo>
                    <a:pt x="52388" y="10382"/>
                  </a:lnTo>
                  <a:lnTo>
                    <a:pt x="38100" y="3715"/>
                  </a:lnTo>
                  <a:lnTo>
                    <a:pt x="24765" y="0"/>
                  </a:lnTo>
                  <a:lnTo>
                    <a:pt x="14288" y="0"/>
                  </a:lnTo>
                  <a:lnTo>
                    <a:pt x="0" y="371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B88A328-4745-018D-D798-FE7265AD4948}"/>
                </a:ext>
              </a:extLst>
            </p:cNvPr>
            <p:cNvSpPr/>
            <p:nvPr/>
          </p:nvSpPr>
          <p:spPr>
            <a:xfrm>
              <a:off x="2302839" y="2739768"/>
              <a:ext cx="27078" cy="52195"/>
            </a:xfrm>
            <a:custGeom>
              <a:avLst/>
              <a:gdLst>
                <a:gd name="connsiteX0" fmla="*/ 0 w 27622"/>
                <a:gd name="connsiteY0" fmla="*/ 0 h 53244"/>
                <a:gd name="connsiteX1" fmla="*/ 17145 w 27622"/>
                <a:gd name="connsiteY1" fmla="*/ 6668 h 53244"/>
                <a:gd name="connsiteX2" fmla="*/ 27623 w 27622"/>
                <a:gd name="connsiteY2" fmla="*/ 28575 h 53244"/>
                <a:gd name="connsiteX3" fmla="*/ 23813 w 27622"/>
                <a:gd name="connsiteY3" fmla="*/ 41910 h 53244"/>
                <a:gd name="connsiteX4" fmla="*/ 17145 w 27622"/>
                <a:gd name="connsiteY4" fmla="*/ 53245 h 53244"/>
                <a:gd name="connsiteX5" fmla="*/ 6668 w 27622"/>
                <a:gd name="connsiteY5" fmla="*/ 38957 h 53244"/>
                <a:gd name="connsiteX6" fmla="*/ 6668 w 27622"/>
                <a:gd name="connsiteY6" fmla="*/ 28575 h 53244"/>
                <a:gd name="connsiteX7" fmla="*/ 0 w 27622"/>
                <a:gd name="connsiteY7" fmla="*/ 14288 h 53244"/>
                <a:gd name="connsiteX8" fmla="*/ 0 w 27622"/>
                <a:gd name="connsiteY8" fmla="*/ 0 h 5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22" h="53244">
                  <a:moveTo>
                    <a:pt x="0" y="0"/>
                  </a:moveTo>
                  <a:lnTo>
                    <a:pt x="17145" y="6668"/>
                  </a:lnTo>
                  <a:lnTo>
                    <a:pt x="27623" y="28575"/>
                  </a:lnTo>
                  <a:lnTo>
                    <a:pt x="23813" y="41910"/>
                  </a:lnTo>
                  <a:lnTo>
                    <a:pt x="17145" y="53245"/>
                  </a:lnTo>
                  <a:lnTo>
                    <a:pt x="6668" y="38957"/>
                  </a:lnTo>
                  <a:lnTo>
                    <a:pt x="6668" y="28575"/>
                  </a:lnTo>
                  <a:lnTo>
                    <a:pt x="0" y="14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D07382F4-34A5-D10B-7208-B927E320C837}"/>
                </a:ext>
              </a:extLst>
            </p:cNvPr>
            <p:cNvSpPr/>
            <p:nvPr/>
          </p:nvSpPr>
          <p:spPr>
            <a:xfrm>
              <a:off x="2302839" y="2739768"/>
              <a:ext cx="27078" cy="52195"/>
            </a:xfrm>
            <a:custGeom>
              <a:avLst/>
              <a:gdLst>
                <a:gd name="connsiteX0" fmla="*/ 0 w 27622"/>
                <a:gd name="connsiteY0" fmla="*/ 0 h 53244"/>
                <a:gd name="connsiteX1" fmla="*/ 17145 w 27622"/>
                <a:gd name="connsiteY1" fmla="*/ 6668 h 53244"/>
                <a:gd name="connsiteX2" fmla="*/ 27623 w 27622"/>
                <a:gd name="connsiteY2" fmla="*/ 28575 h 53244"/>
                <a:gd name="connsiteX3" fmla="*/ 23813 w 27622"/>
                <a:gd name="connsiteY3" fmla="*/ 41910 h 53244"/>
                <a:gd name="connsiteX4" fmla="*/ 17145 w 27622"/>
                <a:gd name="connsiteY4" fmla="*/ 53245 h 53244"/>
                <a:gd name="connsiteX5" fmla="*/ 6668 w 27622"/>
                <a:gd name="connsiteY5" fmla="*/ 38957 h 53244"/>
                <a:gd name="connsiteX6" fmla="*/ 6668 w 27622"/>
                <a:gd name="connsiteY6" fmla="*/ 28575 h 53244"/>
                <a:gd name="connsiteX7" fmla="*/ 0 w 27622"/>
                <a:gd name="connsiteY7" fmla="*/ 14288 h 53244"/>
                <a:gd name="connsiteX8" fmla="*/ 0 w 27622"/>
                <a:gd name="connsiteY8" fmla="*/ 0 h 5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22" h="53244">
                  <a:moveTo>
                    <a:pt x="0" y="0"/>
                  </a:moveTo>
                  <a:lnTo>
                    <a:pt x="17145" y="6668"/>
                  </a:lnTo>
                  <a:lnTo>
                    <a:pt x="27623" y="28575"/>
                  </a:lnTo>
                  <a:lnTo>
                    <a:pt x="23813" y="41910"/>
                  </a:lnTo>
                  <a:lnTo>
                    <a:pt x="17145" y="53245"/>
                  </a:lnTo>
                  <a:lnTo>
                    <a:pt x="6668" y="38957"/>
                  </a:lnTo>
                  <a:lnTo>
                    <a:pt x="6668" y="28575"/>
                  </a:lnTo>
                  <a:lnTo>
                    <a:pt x="0" y="14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41FDDE02-A80E-A17B-B27C-53DF9217F05B}"/>
                </a:ext>
              </a:extLst>
            </p:cNvPr>
            <p:cNvSpPr/>
            <p:nvPr/>
          </p:nvSpPr>
          <p:spPr>
            <a:xfrm>
              <a:off x="2385008" y="2829313"/>
              <a:ext cx="24276" cy="34548"/>
            </a:xfrm>
            <a:custGeom>
              <a:avLst/>
              <a:gdLst>
                <a:gd name="connsiteX0" fmla="*/ 0 w 24764"/>
                <a:gd name="connsiteY0" fmla="*/ 0 h 35242"/>
                <a:gd name="connsiteX1" fmla="*/ 10477 w 24764"/>
                <a:gd name="connsiteY1" fmla="*/ 7715 h 35242"/>
                <a:gd name="connsiteX2" fmla="*/ 24765 w 24764"/>
                <a:gd name="connsiteY2" fmla="*/ 10573 h 35242"/>
                <a:gd name="connsiteX3" fmla="*/ 20955 w 24764"/>
                <a:gd name="connsiteY3" fmla="*/ 28575 h 35242"/>
                <a:gd name="connsiteX4" fmla="*/ 10477 w 24764"/>
                <a:gd name="connsiteY4" fmla="*/ 35242 h 35242"/>
                <a:gd name="connsiteX5" fmla="*/ 0 w 24764"/>
                <a:gd name="connsiteY5" fmla="*/ 22003 h 35242"/>
                <a:gd name="connsiteX6" fmla="*/ 0 w 24764"/>
                <a:gd name="connsiteY6" fmla="*/ 0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4" h="35242">
                  <a:moveTo>
                    <a:pt x="0" y="0"/>
                  </a:moveTo>
                  <a:lnTo>
                    <a:pt x="10477" y="7715"/>
                  </a:lnTo>
                  <a:lnTo>
                    <a:pt x="24765" y="10573"/>
                  </a:lnTo>
                  <a:lnTo>
                    <a:pt x="20955" y="28575"/>
                  </a:lnTo>
                  <a:lnTo>
                    <a:pt x="10477" y="35242"/>
                  </a:lnTo>
                  <a:lnTo>
                    <a:pt x="0" y="220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85EB264-E831-2A49-574F-E1B9B02C130E}"/>
                </a:ext>
              </a:extLst>
            </p:cNvPr>
            <p:cNvSpPr/>
            <p:nvPr/>
          </p:nvSpPr>
          <p:spPr>
            <a:xfrm>
              <a:off x="2385008" y="2829313"/>
              <a:ext cx="24276" cy="34548"/>
            </a:xfrm>
            <a:custGeom>
              <a:avLst/>
              <a:gdLst>
                <a:gd name="connsiteX0" fmla="*/ 0 w 24764"/>
                <a:gd name="connsiteY0" fmla="*/ 0 h 35242"/>
                <a:gd name="connsiteX1" fmla="*/ 10477 w 24764"/>
                <a:gd name="connsiteY1" fmla="*/ 7715 h 35242"/>
                <a:gd name="connsiteX2" fmla="*/ 24765 w 24764"/>
                <a:gd name="connsiteY2" fmla="*/ 10573 h 35242"/>
                <a:gd name="connsiteX3" fmla="*/ 20955 w 24764"/>
                <a:gd name="connsiteY3" fmla="*/ 28575 h 35242"/>
                <a:gd name="connsiteX4" fmla="*/ 10477 w 24764"/>
                <a:gd name="connsiteY4" fmla="*/ 35242 h 35242"/>
                <a:gd name="connsiteX5" fmla="*/ 0 w 24764"/>
                <a:gd name="connsiteY5" fmla="*/ 22003 h 35242"/>
                <a:gd name="connsiteX6" fmla="*/ 0 w 24764"/>
                <a:gd name="connsiteY6" fmla="*/ 0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4" h="35242">
                  <a:moveTo>
                    <a:pt x="0" y="0"/>
                  </a:moveTo>
                  <a:lnTo>
                    <a:pt x="10477" y="7715"/>
                  </a:lnTo>
                  <a:lnTo>
                    <a:pt x="24765" y="10573"/>
                  </a:lnTo>
                  <a:lnTo>
                    <a:pt x="20955" y="28575"/>
                  </a:lnTo>
                  <a:lnTo>
                    <a:pt x="10477" y="35242"/>
                  </a:lnTo>
                  <a:lnTo>
                    <a:pt x="0" y="220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679103EE-CED1-B757-1EE9-1C43E5BDDA0C}"/>
                </a:ext>
              </a:extLst>
            </p:cNvPr>
            <p:cNvSpPr/>
            <p:nvPr/>
          </p:nvSpPr>
          <p:spPr>
            <a:xfrm>
              <a:off x="7392571" y="3818228"/>
              <a:ext cx="17740" cy="44725"/>
            </a:xfrm>
            <a:custGeom>
              <a:avLst/>
              <a:gdLst>
                <a:gd name="connsiteX0" fmla="*/ 0 w 18097"/>
                <a:gd name="connsiteY0" fmla="*/ 39053 h 45624"/>
                <a:gd name="connsiteX1" fmla="*/ 0 w 18097"/>
                <a:gd name="connsiteY1" fmla="*/ 18097 h 45624"/>
                <a:gd name="connsiteX2" fmla="*/ 7620 w 18097"/>
                <a:gd name="connsiteY2" fmla="*/ 0 h 45624"/>
                <a:gd name="connsiteX3" fmla="*/ 14288 w 18097"/>
                <a:gd name="connsiteY3" fmla="*/ 0 h 45624"/>
                <a:gd name="connsiteX4" fmla="*/ 18098 w 18097"/>
                <a:gd name="connsiteY4" fmla="*/ 14288 h 45624"/>
                <a:gd name="connsiteX5" fmla="*/ 18098 w 18097"/>
                <a:gd name="connsiteY5" fmla="*/ 24765 h 45624"/>
                <a:gd name="connsiteX6" fmla="*/ 14288 w 18097"/>
                <a:gd name="connsiteY6" fmla="*/ 39053 h 45624"/>
                <a:gd name="connsiteX7" fmla="*/ 7620 w 18097"/>
                <a:gd name="connsiteY7" fmla="*/ 45625 h 45624"/>
                <a:gd name="connsiteX8" fmla="*/ 0 w 18097"/>
                <a:gd name="connsiteY8" fmla="*/ 39053 h 4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97" h="45624">
                  <a:moveTo>
                    <a:pt x="0" y="39053"/>
                  </a:moveTo>
                  <a:lnTo>
                    <a:pt x="0" y="18097"/>
                  </a:lnTo>
                  <a:lnTo>
                    <a:pt x="7620" y="0"/>
                  </a:lnTo>
                  <a:lnTo>
                    <a:pt x="14288" y="0"/>
                  </a:lnTo>
                  <a:lnTo>
                    <a:pt x="18098" y="14288"/>
                  </a:lnTo>
                  <a:lnTo>
                    <a:pt x="18098" y="24765"/>
                  </a:lnTo>
                  <a:lnTo>
                    <a:pt x="14288" y="39053"/>
                  </a:lnTo>
                  <a:lnTo>
                    <a:pt x="7620" y="45625"/>
                  </a:lnTo>
                  <a:lnTo>
                    <a:pt x="0" y="3905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E9B41C84-3138-0495-BDD0-CFEA3080E96C}"/>
                </a:ext>
              </a:extLst>
            </p:cNvPr>
            <p:cNvSpPr/>
            <p:nvPr/>
          </p:nvSpPr>
          <p:spPr>
            <a:xfrm>
              <a:off x="3952731" y="2307450"/>
              <a:ext cx="10270" cy="21382"/>
            </a:xfrm>
            <a:custGeom>
              <a:avLst/>
              <a:gdLst>
                <a:gd name="connsiteX0" fmla="*/ 10477 w 10477"/>
                <a:gd name="connsiteY0" fmla="*/ 21812 h 21812"/>
                <a:gd name="connsiteX1" fmla="*/ 0 w 10477"/>
                <a:gd name="connsiteY1" fmla="*/ 14288 h 21812"/>
                <a:gd name="connsiteX2" fmla="*/ 0 w 10477"/>
                <a:gd name="connsiteY2" fmla="*/ 0 h 21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77" h="21812">
                  <a:moveTo>
                    <a:pt x="10477" y="21812"/>
                  </a:moveTo>
                  <a:lnTo>
                    <a:pt x="0" y="14288"/>
                  </a:lnTo>
                  <a:lnTo>
                    <a:pt x="0" y="0"/>
                  </a:lnTo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CB01E54-5595-460B-6529-8AD970A86463}"/>
                </a:ext>
              </a:extLst>
            </p:cNvPr>
            <p:cNvSpPr/>
            <p:nvPr/>
          </p:nvSpPr>
          <p:spPr>
            <a:xfrm>
              <a:off x="4276732" y="3058078"/>
              <a:ext cx="28012" cy="16900"/>
            </a:xfrm>
            <a:custGeom>
              <a:avLst/>
              <a:gdLst>
                <a:gd name="connsiteX0" fmla="*/ 28575 w 28575"/>
                <a:gd name="connsiteY0" fmla="*/ 17240 h 17240"/>
                <a:gd name="connsiteX1" fmla="*/ 14288 w 28575"/>
                <a:gd name="connsiteY1" fmla="*/ 6667 h 17240"/>
                <a:gd name="connsiteX2" fmla="*/ 0 w 28575"/>
                <a:gd name="connsiteY2" fmla="*/ 0 h 1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75" h="17240">
                  <a:moveTo>
                    <a:pt x="28575" y="17240"/>
                  </a:moveTo>
                  <a:lnTo>
                    <a:pt x="14288" y="6667"/>
                  </a:lnTo>
                  <a:lnTo>
                    <a:pt x="0" y="0"/>
                  </a:lnTo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1014712E-11BF-679F-E7EB-0F1C9C883025}"/>
                </a:ext>
              </a:extLst>
            </p:cNvPr>
            <p:cNvSpPr/>
            <p:nvPr/>
          </p:nvSpPr>
          <p:spPr>
            <a:xfrm>
              <a:off x="2368200" y="2836876"/>
              <a:ext cx="14005" cy="30813"/>
            </a:xfrm>
            <a:custGeom>
              <a:avLst/>
              <a:gdLst>
                <a:gd name="connsiteX0" fmla="*/ 0 w 14287"/>
                <a:gd name="connsiteY0" fmla="*/ 0 h 31432"/>
                <a:gd name="connsiteX1" fmla="*/ 14288 w 14287"/>
                <a:gd name="connsiteY1" fmla="*/ 17145 h 31432"/>
                <a:gd name="connsiteX2" fmla="*/ 14288 w 14287"/>
                <a:gd name="connsiteY2" fmla="*/ 31433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87" h="31432">
                  <a:moveTo>
                    <a:pt x="0" y="0"/>
                  </a:moveTo>
                  <a:lnTo>
                    <a:pt x="14288" y="17145"/>
                  </a:lnTo>
                  <a:lnTo>
                    <a:pt x="14288" y="31433"/>
                  </a:lnTo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F82679A-5B1C-B0CE-9DCB-B555E55277D4}"/>
                </a:ext>
              </a:extLst>
            </p:cNvPr>
            <p:cNvSpPr/>
            <p:nvPr/>
          </p:nvSpPr>
          <p:spPr>
            <a:xfrm>
              <a:off x="7278657" y="3693949"/>
              <a:ext cx="48553" cy="48647"/>
            </a:xfrm>
            <a:custGeom>
              <a:avLst/>
              <a:gdLst>
                <a:gd name="connsiteX0" fmla="*/ 49530 w 49529"/>
                <a:gd name="connsiteY0" fmla="*/ 6763 h 49625"/>
                <a:gd name="connsiteX1" fmla="*/ 32385 w 49529"/>
                <a:gd name="connsiteY1" fmla="*/ 0 h 49625"/>
                <a:gd name="connsiteX2" fmla="*/ 24765 w 49529"/>
                <a:gd name="connsiteY2" fmla="*/ 0 h 49625"/>
                <a:gd name="connsiteX3" fmla="*/ 18097 w 49529"/>
                <a:gd name="connsiteY3" fmla="*/ 3905 h 49625"/>
                <a:gd name="connsiteX4" fmla="*/ 0 w 49529"/>
                <a:gd name="connsiteY4" fmla="*/ 17240 h 49625"/>
                <a:gd name="connsiteX5" fmla="*/ 0 w 49529"/>
                <a:gd name="connsiteY5" fmla="*/ 31528 h 49625"/>
                <a:gd name="connsiteX6" fmla="*/ 18097 w 49529"/>
                <a:gd name="connsiteY6" fmla="*/ 35338 h 49625"/>
                <a:gd name="connsiteX7" fmla="*/ 32385 w 49529"/>
                <a:gd name="connsiteY7" fmla="*/ 49625 h 49625"/>
                <a:gd name="connsiteX8" fmla="*/ 45720 w 49529"/>
                <a:gd name="connsiteY8" fmla="*/ 49625 h 49625"/>
                <a:gd name="connsiteX9" fmla="*/ 39052 w 49529"/>
                <a:gd name="connsiteY9" fmla="*/ 31528 h 49625"/>
                <a:gd name="connsiteX10" fmla="*/ 39052 w 49529"/>
                <a:gd name="connsiteY10" fmla="*/ 21050 h 49625"/>
                <a:gd name="connsiteX11" fmla="*/ 49530 w 49529"/>
                <a:gd name="connsiteY11" fmla="*/ 6763 h 49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529" h="49625">
                  <a:moveTo>
                    <a:pt x="49530" y="6763"/>
                  </a:moveTo>
                  <a:lnTo>
                    <a:pt x="32385" y="0"/>
                  </a:lnTo>
                  <a:lnTo>
                    <a:pt x="24765" y="0"/>
                  </a:lnTo>
                  <a:lnTo>
                    <a:pt x="18097" y="3905"/>
                  </a:lnTo>
                  <a:lnTo>
                    <a:pt x="0" y="17240"/>
                  </a:lnTo>
                  <a:lnTo>
                    <a:pt x="0" y="31528"/>
                  </a:lnTo>
                  <a:lnTo>
                    <a:pt x="18097" y="35338"/>
                  </a:lnTo>
                  <a:lnTo>
                    <a:pt x="32385" y="49625"/>
                  </a:lnTo>
                  <a:lnTo>
                    <a:pt x="45720" y="49625"/>
                  </a:lnTo>
                  <a:lnTo>
                    <a:pt x="39052" y="31528"/>
                  </a:lnTo>
                  <a:lnTo>
                    <a:pt x="39052" y="21050"/>
                  </a:lnTo>
                  <a:lnTo>
                    <a:pt x="49530" y="676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3AFABE0-935B-0731-7276-1AA6B00AEDD1}"/>
                </a:ext>
              </a:extLst>
            </p:cNvPr>
            <p:cNvSpPr/>
            <p:nvPr/>
          </p:nvSpPr>
          <p:spPr>
            <a:xfrm>
              <a:off x="1705255" y="3963891"/>
              <a:ext cx="20541" cy="16806"/>
            </a:xfrm>
            <a:custGeom>
              <a:avLst/>
              <a:gdLst>
                <a:gd name="connsiteX0" fmla="*/ 20955 w 20954"/>
                <a:gd name="connsiteY0" fmla="*/ 10382 h 17144"/>
                <a:gd name="connsiteX1" fmla="*/ 17145 w 20954"/>
                <a:gd name="connsiteY1" fmla="*/ 2857 h 17144"/>
                <a:gd name="connsiteX2" fmla="*/ 6667 w 20954"/>
                <a:gd name="connsiteY2" fmla="*/ 0 h 17144"/>
                <a:gd name="connsiteX3" fmla="*/ 0 w 20954"/>
                <a:gd name="connsiteY3" fmla="*/ 6572 h 17144"/>
                <a:gd name="connsiteX4" fmla="*/ 6667 w 20954"/>
                <a:gd name="connsiteY4" fmla="*/ 10382 h 17144"/>
                <a:gd name="connsiteX5" fmla="*/ 17145 w 20954"/>
                <a:gd name="connsiteY5" fmla="*/ 17145 h 17144"/>
                <a:gd name="connsiteX6" fmla="*/ 20955 w 20954"/>
                <a:gd name="connsiteY6" fmla="*/ 10382 h 1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4" h="17144">
                  <a:moveTo>
                    <a:pt x="20955" y="10382"/>
                  </a:moveTo>
                  <a:lnTo>
                    <a:pt x="17145" y="2857"/>
                  </a:lnTo>
                  <a:lnTo>
                    <a:pt x="6667" y="0"/>
                  </a:lnTo>
                  <a:lnTo>
                    <a:pt x="0" y="6572"/>
                  </a:lnTo>
                  <a:lnTo>
                    <a:pt x="6667" y="10382"/>
                  </a:lnTo>
                  <a:lnTo>
                    <a:pt x="17145" y="17145"/>
                  </a:lnTo>
                  <a:lnTo>
                    <a:pt x="20955" y="1038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B08AB257-C742-8180-4CC6-327677B52697}"/>
                </a:ext>
              </a:extLst>
            </p:cNvPr>
            <p:cNvSpPr/>
            <p:nvPr/>
          </p:nvSpPr>
          <p:spPr>
            <a:xfrm>
              <a:off x="1705255" y="3963891"/>
              <a:ext cx="20541" cy="16806"/>
            </a:xfrm>
            <a:custGeom>
              <a:avLst/>
              <a:gdLst>
                <a:gd name="connsiteX0" fmla="*/ 20955 w 20954"/>
                <a:gd name="connsiteY0" fmla="*/ 10382 h 17144"/>
                <a:gd name="connsiteX1" fmla="*/ 17145 w 20954"/>
                <a:gd name="connsiteY1" fmla="*/ 2857 h 17144"/>
                <a:gd name="connsiteX2" fmla="*/ 6667 w 20954"/>
                <a:gd name="connsiteY2" fmla="*/ 0 h 17144"/>
                <a:gd name="connsiteX3" fmla="*/ 0 w 20954"/>
                <a:gd name="connsiteY3" fmla="*/ 6572 h 17144"/>
                <a:gd name="connsiteX4" fmla="*/ 6667 w 20954"/>
                <a:gd name="connsiteY4" fmla="*/ 10382 h 17144"/>
                <a:gd name="connsiteX5" fmla="*/ 17145 w 20954"/>
                <a:gd name="connsiteY5" fmla="*/ 17145 h 17144"/>
                <a:gd name="connsiteX6" fmla="*/ 20955 w 20954"/>
                <a:gd name="connsiteY6" fmla="*/ 10382 h 17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4" h="17144">
                  <a:moveTo>
                    <a:pt x="20955" y="10382"/>
                  </a:moveTo>
                  <a:lnTo>
                    <a:pt x="17145" y="2857"/>
                  </a:lnTo>
                  <a:lnTo>
                    <a:pt x="6667" y="0"/>
                  </a:lnTo>
                  <a:lnTo>
                    <a:pt x="0" y="6572"/>
                  </a:lnTo>
                  <a:lnTo>
                    <a:pt x="6667" y="10382"/>
                  </a:lnTo>
                  <a:lnTo>
                    <a:pt x="17145" y="17145"/>
                  </a:lnTo>
                  <a:lnTo>
                    <a:pt x="20955" y="1038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B3602374-81DF-4FF9-044D-D041C905522E}"/>
                </a:ext>
              </a:extLst>
            </p:cNvPr>
            <p:cNvSpPr/>
            <p:nvPr/>
          </p:nvSpPr>
          <p:spPr>
            <a:xfrm>
              <a:off x="1732334" y="3988074"/>
              <a:ext cx="28012" cy="34641"/>
            </a:xfrm>
            <a:custGeom>
              <a:avLst/>
              <a:gdLst>
                <a:gd name="connsiteX0" fmla="*/ 28575 w 28575"/>
                <a:gd name="connsiteY0" fmla="*/ 23813 h 35337"/>
                <a:gd name="connsiteX1" fmla="*/ 14288 w 28575"/>
                <a:gd name="connsiteY1" fmla="*/ 27718 h 35337"/>
                <a:gd name="connsiteX2" fmla="*/ 7620 w 28575"/>
                <a:gd name="connsiteY2" fmla="*/ 35338 h 35337"/>
                <a:gd name="connsiteX3" fmla="*/ 0 w 28575"/>
                <a:gd name="connsiteY3" fmla="*/ 21050 h 35337"/>
                <a:gd name="connsiteX4" fmla="*/ 0 w 28575"/>
                <a:gd name="connsiteY4" fmla="*/ 10478 h 35337"/>
                <a:gd name="connsiteX5" fmla="*/ 7620 w 28575"/>
                <a:gd name="connsiteY5" fmla="*/ 0 h 35337"/>
                <a:gd name="connsiteX6" fmla="*/ 14288 w 28575"/>
                <a:gd name="connsiteY6" fmla="*/ 2953 h 35337"/>
                <a:gd name="connsiteX7" fmla="*/ 24765 w 28575"/>
                <a:gd name="connsiteY7" fmla="*/ 10478 h 35337"/>
                <a:gd name="connsiteX8" fmla="*/ 28575 w 28575"/>
                <a:gd name="connsiteY8" fmla="*/ 23813 h 35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75" h="35337">
                  <a:moveTo>
                    <a:pt x="28575" y="23813"/>
                  </a:moveTo>
                  <a:lnTo>
                    <a:pt x="14288" y="27718"/>
                  </a:lnTo>
                  <a:lnTo>
                    <a:pt x="7620" y="35338"/>
                  </a:lnTo>
                  <a:lnTo>
                    <a:pt x="0" y="21050"/>
                  </a:lnTo>
                  <a:lnTo>
                    <a:pt x="0" y="10478"/>
                  </a:lnTo>
                  <a:lnTo>
                    <a:pt x="7620" y="0"/>
                  </a:lnTo>
                  <a:lnTo>
                    <a:pt x="14288" y="2953"/>
                  </a:lnTo>
                  <a:lnTo>
                    <a:pt x="24765" y="10478"/>
                  </a:lnTo>
                  <a:lnTo>
                    <a:pt x="28575" y="2381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9B9EDAF1-E119-2CE5-F035-72473E649142}"/>
                </a:ext>
              </a:extLst>
            </p:cNvPr>
            <p:cNvSpPr/>
            <p:nvPr/>
          </p:nvSpPr>
          <p:spPr>
            <a:xfrm>
              <a:off x="1732334" y="3988074"/>
              <a:ext cx="28012" cy="34641"/>
            </a:xfrm>
            <a:custGeom>
              <a:avLst/>
              <a:gdLst>
                <a:gd name="connsiteX0" fmla="*/ 28575 w 28575"/>
                <a:gd name="connsiteY0" fmla="*/ 23813 h 35337"/>
                <a:gd name="connsiteX1" fmla="*/ 14288 w 28575"/>
                <a:gd name="connsiteY1" fmla="*/ 27718 h 35337"/>
                <a:gd name="connsiteX2" fmla="*/ 7620 w 28575"/>
                <a:gd name="connsiteY2" fmla="*/ 35338 h 35337"/>
                <a:gd name="connsiteX3" fmla="*/ 0 w 28575"/>
                <a:gd name="connsiteY3" fmla="*/ 21050 h 35337"/>
                <a:gd name="connsiteX4" fmla="*/ 0 w 28575"/>
                <a:gd name="connsiteY4" fmla="*/ 10478 h 35337"/>
                <a:gd name="connsiteX5" fmla="*/ 7620 w 28575"/>
                <a:gd name="connsiteY5" fmla="*/ 0 h 35337"/>
                <a:gd name="connsiteX6" fmla="*/ 14288 w 28575"/>
                <a:gd name="connsiteY6" fmla="*/ 2953 h 35337"/>
                <a:gd name="connsiteX7" fmla="*/ 24765 w 28575"/>
                <a:gd name="connsiteY7" fmla="*/ 10478 h 35337"/>
                <a:gd name="connsiteX8" fmla="*/ 28575 w 28575"/>
                <a:gd name="connsiteY8" fmla="*/ 23813 h 35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575" h="35337">
                  <a:moveTo>
                    <a:pt x="28575" y="23813"/>
                  </a:moveTo>
                  <a:lnTo>
                    <a:pt x="14288" y="27718"/>
                  </a:lnTo>
                  <a:lnTo>
                    <a:pt x="7620" y="35338"/>
                  </a:lnTo>
                  <a:lnTo>
                    <a:pt x="0" y="21050"/>
                  </a:lnTo>
                  <a:lnTo>
                    <a:pt x="0" y="10478"/>
                  </a:lnTo>
                  <a:lnTo>
                    <a:pt x="7620" y="0"/>
                  </a:lnTo>
                  <a:lnTo>
                    <a:pt x="14288" y="2953"/>
                  </a:lnTo>
                  <a:lnTo>
                    <a:pt x="24765" y="10478"/>
                  </a:lnTo>
                  <a:lnTo>
                    <a:pt x="28575" y="2381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A7C20D84-07AE-B5FA-11EF-B032737857BB}"/>
                </a:ext>
              </a:extLst>
            </p:cNvPr>
            <p:cNvSpPr/>
            <p:nvPr/>
          </p:nvSpPr>
          <p:spPr>
            <a:xfrm>
              <a:off x="1670708" y="3942321"/>
              <a:ext cx="10270" cy="14005"/>
            </a:xfrm>
            <a:custGeom>
              <a:avLst/>
              <a:gdLst>
                <a:gd name="connsiteX0" fmla="*/ 10477 w 10477"/>
                <a:gd name="connsiteY0" fmla="*/ 11525 h 14287"/>
                <a:gd name="connsiteX1" fmla="*/ 6667 w 10477"/>
                <a:gd name="connsiteY1" fmla="*/ 0 h 14287"/>
                <a:gd name="connsiteX2" fmla="*/ 0 w 10477"/>
                <a:gd name="connsiteY2" fmla="*/ 0 h 14287"/>
                <a:gd name="connsiteX3" fmla="*/ 0 w 10477"/>
                <a:gd name="connsiteY3" fmla="*/ 7715 h 14287"/>
                <a:gd name="connsiteX4" fmla="*/ 3810 w 10477"/>
                <a:gd name="connsiteY4" fmla="*/ 14288 h 14287"/>
                <a:gd name="connsiteX5" fmla="*/ 10477 w 10477"/>
                <a:gd name="connsiteY5" fmla="*/ 11525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7" h="14287">
                  <a:moveTo>
                    <a:pt x="10477" y="11525"/>
                  </a:moveTo>
                  <a:lnTo>
                    <a:pt x="6667" y="0"/>
                  </a:lnTo>
                  <a:lnTo>
                    <a:pt x="0" y="0"/>
                  </a:lnTo>
                  <a:lnTo>
                    <a:pt x="0" y="7715"/>
                  </a:lnTo>
                  <a:lnTo>
                    <a:pt x="3810" y="14288"/>
                  </a:lnTo>
                  <a:lnTo>
                    <a:pt x="10477" y="1152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357F1852-C8AB-E4FE-C5F8-AFE857AF865D}"/>
                </a:ext>
              </a:extLst>
            </p:cNvPr>
            <p:cNvSpPr/>
            <p:nvPr/>
          </p:nvSpPr>
          <p:spPr>
            <a:xfrm>
              <a:off x="1670708" y="3942321"/>
              <a:ext cx="10270" cy="14005"/>
            </a:xfrm>
            <a:custGeom>
              <a:avLst/>
              <a:gdLst>
                <a:gd name="connsiteX0" fmla="*/ 10477 w 10477"/>
                <a:gd name="connsiteY0" fmla="*/ 11525 h 14287"/>
                <a:gd name="connsiteX1" fmla="*/ 6667 w 10477"/>
                <a:gd name="connsiteY1" fmla="*/ 0 h 14287"/>
                <a:gd name="connsiteX2" fmla="*/ 0 w 10477"/>
                <a:gd name="connsiteY2" fmla="*/ 0 h 14287"/>
                <a:gd name="connsiteX3" fmla="*/ 0 w 10477"/>
                <a:gd name="connsiteY3" fmla="*/ 7715 h 14287"/>
                <a:gd name="connsiteX4" fmla="*/ 3810 w 10477"/>
                <a:gd name="connsiteY4" fmla="*/ 14288 h 14287"/>
                <a:gd name="connsiteX5" fmla="*/ 10477 w 10477"/>
                <a:gd name="connsiteY5" fmla="*/ 11525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7" h="14287">
                  <a:moveTo>
                    <a:pt x="10477" y="11525"/>
                  </a:moveTo>
                  <a:lnTo>
                    <a:pt x="6667" y="0"/>
                  </a:lnTo>
                  <a:lnTo>
                    <a:pt x="0" y="0"/>
                  </a:lnTo>
                  <a:lnTo>
                    <a:pt x="0" y="7715"/>
                  </a:lnTo>
                  <a:lnTo>
                    <a:pt x="3810" y="14288"/>
                  </a:lnTo>
                  <a:lnTo>
                    <a:pt x="10477" y="1152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A07CCAF7-A7E1-4968-9319-4439C1FCC49C}"/>
                </a:ext>
              </a:extLst>
            </p:cNvPr>
            <p:cNvSpPr/>
            <p:nvPr/>
          </p:nvSpPr>
          <p:spPr>
            <a:xfrm>
              <a:off x="1670708" y="3942321"/>
              <a:ext cx="10270" cy="14005"/>
            </a:xfrm>
            <a:custGeom>
              <a:avLst/>
              <a:gdLst>
                <a:gd name="connsiteX0" fmla="*/ 10477 w 10477"/>
                <a:gd name="connsiteY0" fmla="*/ 11525 h 14287"/>
                <a:gd name="connsiteX1" fmla="*/ 6667 w 10477"/>
                <a:gd name="connsiteY1" fmla="*/ 0 h 14287"/>
                <a:gd name="connsiteX2" fmla="*/ 0 w 10477"/>
                <a:gd name="connsiteY2" fmla="*/ 0 h 14287"/>
                <a:gd name="connsiteX3" fmla="*/ 0 w 10477"/>
                <a:gd name="connsiteY3" fmla="*/ 7715 h 14287"/>
                <a:gd name="connsiteX4" fmla="*/ 3810 w 10477"/>
                <a:gd name="connsiteY4" fmla="*/ 14288 h 14287"/>
                <a:gd name="connsiteX5" fmla="*/ 10477 w 10477"/>
                <a:gd name="connsiteY5" fmla="*/ 11525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7" h="14287">
                  <a:moveTo>
                    <a:pt x="10477" y="11525"/>
                  </a:moveTo>
                  <a:lnTo>
                    <a:pt x="6667" y="0"/>
                  </a:lnTo>
                  <a:lnTo>
                    <a:pt x="0" y="0"/>
                  </a:lnTo>
                  <a:lnTo>
                    <a:pt x="0" y="7715"/>
                  </a:lnTo>
                  <a:lnTo>
                    <a:pt x="3810" y="14288"/>
                  </a:lnTo>
                  <a:lnTo>
                    <a:pt x="10477" y="1152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3F648B5C-46D1-9E15-1C7C-C61C903A72AE}"/>
                </a:ext>
              </a:extLst>
            </p:cNvPr>
            <p:cNvSpPr/>
            <p:nvPr/>
          </p:nvSpPr>
          <p:spPr>
            <a:xfrm>
              <a:off x="1670708" y="3942321"/>
              <a:ext cx="10270" cy="14005"/>
            </a:xfrm>
            <a:custGeom>
              <a:avLst/>
              <a:gdLst>
                <a:gd name="connsiteX0" fmla="*/ 10477 w 10477"/>
                <a:gd name="connsiteY0" fmla="*/ 11525 h 14287"/>
                <a:gd name="connsiteX1" fmla="*/ 6667 w 10477"/>
                <a:gd name="connsiteY1" fmla="*/ 0 h 14287"/>
                <a:gd name="connsiteX2" fmla="*/ 0 w 10477"/>
                <a:gd name="connsiteY2" fmla="*/ 0 h 14287"/>
                <a:gd name="connsiteX3" fmla="*/ 0 w 10477"/>
                <a:gd name="connsiteY3" fmla="*/ 7715 h 14287"/>
                <a:gd name="connsiteX4" fmla="*/ 3810 w 10477"/>
                <a:gd name="connsiteY4" fmla="*/ 14288 h 14287"/>
                <a:gd name="connsiteX5" fmla="*/ 10477 w 10477"/>
                <a:gd name="connsiteY5" fmla="*/ 11525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477" h="14287">
                  <a:moveTo>
                    <a:pt x="10477" y="11525"/>
                  </a:moveTo>
                  <a:lnTo>
                    <a:pt x="6667" y="0"/>
                  </a:lnTo>
                  <a:lnTo>
                    <a:pt x="0" y="0"/>
                  </a:lnTo>
                  <a:lnTo>
                    <a:pt x="0" y="7715"/>
                  </a:lnTo>
                  <a:lnTo>
                    <a:pt x="3810" y="14288"/>
                  </a:lnTo>
                  <a:lnTo>
                    <a:pt x="10477" y="1152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17" name="Freeform: Shape 1416">
              <a:extLst>
                <a:ext uri="{FF2B5EF4-FFF2-40B4-BE49-F238E27FC236}">
                  <a16:creationId xmlns:a16="http://schemas.microsoft.com/office/drawing/2014/main" id="{801AD5DC-EED8-7FF9-9877-AAA8BDAEBDC2}"/>
                </a:ext>
              </a:extLst>
            </p:cNvPr>
            <p:cNvSpPr/>
            <p:nvPr/>
          </p:nvSpPr>
          <p:spPr>
            <a:xfrm>
              <a:off x="1629624" y="3929342"/>
              <a:ext cx="10270" cy="6536"/>
            </a:xfrm>
            <a:custGeom>
              <a:avLst/>
              <a:gdLst>
                <a:gd name="connsiteX0" fmla="*/ 6668 w 10477"/>
                <a:gd name="connsiteY0" fmla="*/ 0 h 6667"/>
                <a:gd name="connsiteX1" fmla="*/ 0 w 10477"/>
                <a:gd name="connsiteY1" fmla="*/ 0 h 6667"/>
                <a:gd name="connsiteX2" fmla="*/ 2858 w 10477"/>
                <a:gd name="connsiteY2" fmla="*/ 6668 h 6667"/>
                <a:gd name="connsiteX3" fmla="*/ 10478 w 10477"/>
                <a:gd name="connsiteY3" fmla="*/ 6668 h 6667"/>
                <a:gd name="connsiteX4" fmla="*/ 6668 w 10477"/>
                <a:gd name="connsiteY4" fmla="*/ 0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" h="6667">
                  <a:moveTo>
                    <a:pt x="6668" y="0"/>
                  </a:moveTo>
                  <a:lnTo>
                    <a:pt x="0" y="0"/>
                  </a:lnTo>
                  <a:lnTo>
                    <a:pt x="2858" y="6668"/>
                  </a:lnTo>
                  <a:lnTo>
                    <a:pt x="10478" y="6668"/>
                  </a:lnTo>
                  <a:lnTo>
                    <a:pt x="666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418" name="Freeform: Shape 1417">
              <a:extLst>
                <a:ext uri="{FF2B5EF4-FFF2-40B4-BE49-F238E27FC236}">
                  <a16:creationId xmlns:a16="http://schemas.microsoft.com/office/drawing/2014/main" id="{8B9DD362-ABE7-B199-6B03-8FDD23858C6B}"/>
                </a:ext>
              </a:extLst>
            </p:cNvPr>
            <p:cNvSpPr/>
            <p:nvPr/>
          </p:nvSpPr>
          <p:spPr>
            <a:xfrm>
              <a:off x="1629624" y="3929342"/>
              <a:ext cx="10270" cy="6536"/>
            </a:xfrm>
            <a:custGeom>
              <a:avLst/>
              <a:gdLst>
                <a:gd name="connsiteX0" fmla="*/ 6668 w 10477"/>
                <a:gd name="connsiteY0" fmla="*/ 0 h 6667"/>
                <a:gd name="connsiteX1" fmla="*/ 0 w 10477"/>
                <a:gd name="connsiteY1" fmla="*/ 0 h 6667"/>
                <a:gd name="connsiteX2" fmla="*/ 2858 w 10477"/>
                <a:gd name="connsiteY2" fmla="*/ 6668 h 6667"/>
                <a:gd name="connsiteX3" fmla="*/ 10478 w 10477"/>
                <a:gd name="connsiteY3" fmla="*/ 6668 h 6667"/>
                <a:gd name="connsiteX4" fmla="*/ 6668 w 10477"/>
                <a:gd name="connsiteY4" fmla="*/ 0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" h="6667">
                  <a:moveTo>
                    <a:pt x="6668" y="0"/>
                  </a:moveTo>
                  <a:lnTo>
                    <a:pt x="0" y="0"/>
                  </a:lnTo>
                  <a:lnTo>
                    <a:pt x="2858" y="6668"/>
                  </a:lnTo>
                  <a:lnTo>
                    <a:pt x="10478" y="6668"/>
                  </a:lnTo>
                  <a:lnTo>
                    <a:pt x="666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48" name="Freeform: Shape 2847">
              <a:extLst>
                <a:ext uri="{FF2B5EF4-FFF2-40B4-BE49-F238E27FC236}">
                  <a16:creationId xmlns:a16="http://schemas.microsoft.com/office/drawing/2014/main" id="{BCAFFC16-D148-A403-81BD-F26B3C57F160}"/>
                </a:ext>
              </a:extLst>
            </p:cNvPr>
            <p:cNvSpPr/>
            <p:nvPr/>
          </p:nvSpPr>
          <p:spPr>
            <a:xfrm>
              <a:off x="1629624" y="3929342"/>
              <a:ext cx="10270" cy="6536"/>
            </a:xfrm>
            <a:custGeom>
              <a:avLst/>
              <a:gdLst>
                <a:gd name="connsiteX0" fmla="*/ 6668 w 10477"/>
                <a:gd name="connsiteY0" fmla="*/ 0 h 6667"/>
                <a:gd name="connsiteX1" fmla="*/ 0 w 10477"/>
                <a:gd name="connsiteY1" fmla="*/ 0 h 6667"/>
                <a:gd name="connsiteX2" fmla="*/ 2858 w 10477"/>
                <a:gd name="connsiteY2" fmla="*/ 6668 h 6667"/>
                <a:gd name="connsiteX3" fmla="*/ 10478 w 10477"/>
                <a:gd name="connsiteY3" fmla="*/ 6668 h 6667"/>
                <a:gd name="connsiteX4" fmla="*/ 6668 w 10477"/>
                <a:gd name="connsiteY4" fmla="*/ 0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" h="6667">
                  <a:moveTo>
                    <a:pt x="6668" y="0"/>
                  </a:moveTo>
                  <a:lnTo>
                    <a:pt x="0" y="0"/>
                  </a:lnTo>
                  <a:lnTo>
                    <a:pt x="2858" y="6668"/>
                  </a:lnTo>
                  <a:lnTo>
                    <a:pt x="10478" y="6668"/>
                  </a:lnTo>
                  <a:lnTo>
                    <a:pt x="666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49" name="Freeform: Shape 2848">
              <a:extLst>
                <a:ext uri="{FF2B5EF4-FFF2-40B4-BE49-F238E27FC236}">
                  <a16:creationId xmlns:a16="http://schemas.microsoft.com/office/drawing/2014/main" id="{BF1028D7-A711-046D-D122-28129186B770}"/>
                </a:ext>
              </a:extLst>
            </p:cNvPr>
            <p:cNvSpPr/>
            <p:nvPr/>
          </p:nvSpPr>
          <p:spPr>
            <a:xfrm>
              <a:off x="1629624" y="3929342"/>
              <a:ext cx="10270" cy="6536"/>
            </a:xfrm>
            <a:custGeom>
              <a:avLst/>
              <a:gdLst>
                <a:gd name="connsiteX0" fmla="*/ 6668 w 10477"/>
                <a:gd name="connsiteY0" fmla="*/ 0 h 6667"/>
                <a:gd name="connsiteX1" fmla="*/ 0 w 10477"/>
                <a:gd name="connsiteY1" fmla="*/ 0 h 6667"/>
                <a:gd name="connsiteX2" fmla="*/ 2858 w 10477"/>
                <a:gd name="connsiteY2" fmla="*/ 6668 h 6667"/>
                <a:gd name="connsiteX3" fmla="*/ 10478 w 10477"/>
                <a:gd name="connsiteY3" fmla="*/ 6668 h 6667"/>
                <a:gd name="connsiteX4" fmla="*/ 6668 w 10477"/>
                <a:gd name="connsiteY4" fmla="*/ 0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" h="6667">
                  <a:moveTo>
                    <a:pt x="6668" y="0"/>
                  </a:moveTo>
                  <a:lnTo>
                    <a:pt x="0" y="0"/>
                  </a:lnTo>
                  <a:lnTo>
                    <a:pt x="2858" y="6668"/>
                  </a:lnTo>
                  <a:lnTo>
                    <a:pt x="10478" y="6668"/>
                  </a:lnTo>
                  <a:lnTo>
                    <a:pt x="666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50" name="Freeform: Shape 2849">
              <a:extLst>
                <a:ext uri="{FF2B5EF4-FFF2-40B4-BE49-F238E27FC236}">
                  <a16:creationId xmlns:a16="http://schemas.microsoft.com/office/drawing/2014/main" id="{40F45CF0-B13F-A316-E530-41D0D003EF15}"/>
                </a:ext>
              </a:extLst>
            </p:cNvPr>
            <p:cNvSpPr/>
            <p:nvPr/>
          </p:nvSpPr>
          <p:spPr>
            <a:xfrm>
              <a:off x="3838816" y="4205727"/>
              <a:ext cx="321200" cy="459302"/>
            </a:xfrm>
            <a:custGeom>
              <a:avLst/>
              <a:gdLst>
                <a:gd name="connsiteX0" fmla="*/ 49530 w 327659"/>
                <a:gd name="connsiteY0" fmla="*/ 116110 h 468534"/>
                <a:gd name="connsiteX1" fmla="*/ 52388 w 327659"/>
                <a:gd name="connsiteY1" fmla="*/ 126587 h 468534"/>
                <a:gd name="connsiteX2" fmla="*/ 60007 w 327659"/>
                <a:gd name="connsiteY2" fmla="*/ 120015 h 468534"/>
                <a:gd name="connsiteX3" fmla="*/ 60007 w 327659"/>
                <a:gd name="connsiteY3" fmla="*/ 101822 h 468534"/>
                <a:gd name="connsiteX4" fmla="*/ 77153 w 327659"/>
                <a:gd name="connsiteY4" fmla="*/ 87535 h 468534"/>
                <a:gd name="connsiteX5" fmla="*/ 87630 w 327659"/>
                <a:gd name="connsiteY5" fmla="*/ 74200 h 468534"/>
                <a:gd name="connsiteX6" fmla="*/ 91440 w 327659"/>
                <a:gd name="connsiteY6" fmla="*/ 62865 h 468534"/>
                <a:gd name="connsiteX7" fmla="*/ 95250 w 327659"/>
                <a:gd name="connsiteY7" fmla="*/ 49435 h 468534"/>
                <a:gd name="connsiteX8" fmla="*/ 120015 w 327659"/>
                <a:gd name="connsiteY8" fmla="*/ 35147 h 468534"/>
                <a:gd name="connsiteX9" fmla="*/ 130493 w 327659"/>
                <a:gd name="connsiteY9" fmla="*/ 35147 h 468534"/>
                <a:gd name="connsiteX10" fmla="*/ 137160 w 327659"/>
                <a:gd name="connsiteY10" fmla="*/ 27622 h 468534"/>
                <a:gd name="connsiteX11" fmla="*/ 155257 w 327659"/>
                <a:gd name="connsiteY11" fmla="*/ 27622 h 468534"/>
                <a:gd name="connsiteX12" fmla="*/ 168593 w 327659"/>
                <a:gd name="connsiteY12" fmla="*/ 20860 h 468534"/>
                <a:gd name="connsiteX13" fmla="*/ 182880 w 327659"/>
                <a:gd name="connsiteY13" fmla="*/ 10478 h 468534"/>
                <a:gd name="connsiteX14" fmla="*/ 193357 w 327659"/>
                <a:gd name="connsiteY14" fmla="*/ 0 h 468534"/>
                <a:gd name="connsiteX15" fmla="*/ 203835 w 327659"/>
                <a:gd name="connsiteY15" fmla="*/ 0 h 468534"/>
                <a:gd name="connsiteX16" fmla="*/ 211455 w 327659"/>
                <a:gd name="connsiteY16" fmla="*/ 2762 h 468534"/>
                <a:gd name="connsiteX17" fmla="*/ 207645 w 327659"/>
                <a:gd name="connsiteY17" fmla="*/ 17050 h 468534"/>
                <a:gd name="connsiteX18" fmla="*/ 197168 w 327659"/>
                <a:gd name="connsiteY18" fmla="*/ 24765 h 468534"/>
                <a:gd name="connsiteX19" fmla="*/ 186690 w 327659"/>
                <a:gd name="connsiteY19" fmla="*/ 31337 h 468534"/>
                <a:gd name="connsiteX20" fmla="*/ 168593 w 327659"/>
                <a:gd name="connsiteY20" fmla="*/ 45625 h 468534"/>
                <a:gd name="connsiteX21" fmla="*/ 161925 w 327659"/>
                <a:gd name="connsiteY21" fmla="*/ 59912 h 468534"/>
                <a:gd name="connsiteX22" fmla="*/ 158115 w 327659"/>
                <a:gd name="connsiteY22" fmla="*/ 84772 h 468534"/>
                <a:gd name="connsiteX23" fmla="*/ 161925 w 327659"/>
                <a:gd name="connsiteY23" fmla="*/ 95250 h 468534"/>
                <a:gd name="connsiteX24" fmla="*/ 168593 w 327659"/>
                <a:gd name="connsiteY24" fmla="*/ 105728 h 468534"/>
                <a:gd name="connsiteX25" fmla="*/ 176213 w 327659"/>
                <a:gd name="connsiteY25" fmla="*/ 112300 h 468534"/>
                <a:gd name="connsiteX26" fmla="*/ 179070 w 327659"/>
                <a:gd name="connsiteY26" fmla="*/ 120015 h 468534"/>
                <a:gd name="connsiteX27" fmla="*/ 179070 w 327659"/>
                <a:gd name="connsiteY27" fmla="*/ 144685 h 468534"/>
                <a:gd name="connsiteX28" fmla="*/ 190500 w 327659"/>
                <a:gd name="connsiteY28" fmla="*/ 151447 h 468534"/>
                <a:gd name="connsiteX29" fmla="*/ 239078 w 327659"/>
                <a:gd name="connsiteY29" fmla="*/ 147638 h 468534"/>
                <a:gd name="connsiteX30" fmla="*/ 260032 w 327659"/>
                <a:gd name="connsiteY30" fmla="*/ 172403 h 468534"/>
                <a:gd name="connsiteX31" fmla="*/ 309563 w 327659"/>
                <a:gd name="connsiteY31" fmla="*/ 168497 h 468534"/>
                <a:gd name="connsiteX32" fmla="*/ 320040 w 327659"/>
                <a:gd name="connsiteY32" fmla="*/ 180022 h 468534"/>
                <a:gd name="connsiteX33" fmla="*/ 309563 w 327659"/>
                <a:gd name="connsiteY33" fmla="*/ 193262 h 468534"/>
                <a:gd name="connsiteX34" fmla="*/ 309563 w 327659"/>
                <a:gd name="connsiteY34" fmla="*/ 211360 h 468534"/>
                <a:gd name="connsiteX35" fmla="*/ 309563 w 327659"/>
                <a:gd name="connsiteY35" fmla="*/ 225647 h 468534"/>
                <a:gd name="connsiteX36" fmla="*/ 309563 w 327659"/>
                <a:gd name="connsiteY36" fmla="*/ 239935 h 468534"/>
                <a:gd name="connsiteX37" fmla="*/ 313372 w 327659"/>
                <a:gd name="connsiteY37" fmla="*/ 239935 h 468534"/>
                <a:gd name="connsiteX38" fmla="*/ 317182 w 327659"/>
                <a:gd name="connsiteY38" fmla="*/ 242888 h 468534"/>
                <a:gd name="connsiteX39" fmla="*/ 317182 w 327659"/>
                <a:gd name="connsiteY39" fmla="*/ 263747 h 468534"/>
                <a:gd name="connsiteX40" fmla="*/ 317182 w 327659"/>
                <a:gd name="connsiteY40" fmla="*/ 281940 h 468534"/>
                <a:gd name="connsiteX41" fmla="*/ 323850 w 327659"/>
                <a:gd name="connsiteY41" fmla="*/ 285750 h 468534"/>
                <a:gd name="connsiteX42" fmla="*/ 327660 w 327659"/>
                <a:gd name="connsiteY42" fmla="*/ 302800 h 468534"/>
                <a:gd name="connsiteX43" fmla="*/ 313372 w 327659"/>
                <a:gd name="connsiteY43" fmla="*/ 296228 h 468534"/>
                <a:gd name="connsiteX44" fmla="*/ 306705 w 327659"/>
                <a:gd name="connsiteY44" fmla="*/ 296228 h 468534"/>
                <a:gd name="connsiteX45" fmla="*/ 295275 w 327659"/>
                <a:gd name="connsiteY45" fmla="*/ 299085 h 468534"/>
                <a:gd name="connsiteX46" fmla="*/ 263843 w 327659"/>
                <a:gd name="connsiteY46" fmla="*/ 299085 h 468534"/>
                <a:gd name="connsiteX47" fmla="*/ 246697 w 327659"/>
                <a:gd name="connsiteY47" fmla="*/ 302800 h 468534"/>
                <a:gd name="connsiteX48" fmla="*/ 246697 w 327659"/>
                <a:gd name="connsiteY48" fmla="*/ 306610 h 468534"/>
                <a:gd name="connsiteX49" fmla="*/ 242888 w 327659"/>
                <a:gd name="connsiteY49" fmla="*/ 310515 h 468534"/>
                <a:gd name="connsiteX50" fmla="*/ 246697 w 327659"/>
                <a:gd name="connsiteY50" fmla="*/ 313372 h 468534"/>
                <a:gd name="connsiteX51" fmla="*/ 257175 w 327659"/>
                <a:gd name="connsiteY51" fmla="*/ 317087 h 468534"/>
                <a:gd name="connsiteX52" fmla="*/ 267653 w 327659"/>
                <a:gd name="connsiteY52" fmla="*/ 320897 h 468534"/>
                <a:gd name="connsiteX53" fmla="*/ 267653 w 327659"/>
                <a:gd name="connsiteY53" fmla="*/ 331375 h 468534"/>
                <a:gd name="connsiteX54" fmla="*/ 257175 w 327659"/>
                <a:gd name="connsiteY54" fmla="*/ 327660 h 468534"/>
                <a:gd name="connsiteX55" fmla="*/ 249555 w 327659"/>
                <a:gd name="connsiteY55" fmla="*/ 327660 h 468534"/>
                <a:gd name="connsiteX56" fmla="*/ 246697 w 327659"/>
                <a:gd name="connsiteY56" fmla="*/ 331375 h 468534"/>
                <a:gd name="connsiteX57" fmla="*/ 246697 w 327659"/>
                <a:gd name="connsiteY57" fmla="*/ 352425 h 468534"/>
                <a:gd name="connsiteX58" fmla="*/ 257175 w 327659"/>
                <a:gd name="connsiteY58" fmla="*/ 366713 h 468534"/>
                <a:gd name="connsiteX59" fmla="*/ 260032 w 327659"/>
                <a:gd name="connsiteY59" fmla="*/ 387572 h 468534"/>
                <a:gd name="connsiteX60" fmla="*/ 257175 w 327659"/>
                <a:gd name="connsiteY60" fmla="*/ 412337 h 468534"/>
                <a:gd name="connsiteX61" fmla="*/ 253365 w 327659"/>
                <a:gd name="connsiteY61" fmla="*/ 443865 h 468534"/>
                <a:gd name="connsiteX62" fmla="*/ 242888 w 327659"/>
                <a:gd name="connsiteY62" fmla="*/ 468535 h 468534"/>
                <a:gd name="connsiteX63" fmla="*/ 232410 w 327659"/>
                <a:gd name="connsiteY63" fmla="*/ 461963 h 468534"/>
                <a:gd name="connsiteX64" fmla="*/ 232410 w 327659"/>
                <a:gd name="connsiteY64" fmla="*/ 443865 h 468534"/>
                <a:gd name="connsiteX65" fmla="*/ 239078 w 327659"/>
                <a:gd name="connsiteY65" fmla="*/ 433388 h 468534"/>
                <a:gd name="connsiteX66" fmla="*/ 236220 w 327659"/>
                <a:gd name="connsiteY66" fmla="*/ 422910 h 468534"/>
                <a:gd name="connsiteX67" fmla="*/ 232410 w 327659"/>
                <a:gd name="connsiteY67" fmla="*/ 412337 h 468534"/>
                <a:gd name="connsiteX68" fmla="*/ 158115 w 327659"/>
                <a:gd name="connsiteY68" fmla="*/ 408622 h 468534"/>
                <a:gd name="connsiteX69" fmla="*/ 151447 w 327659"/>
                <a:gd name="connsiteY69" fmla="*/ 394335 h 468534"/>
                <a:gd name="connsiteX70" fmla="*/ 130493 w 327659"/>
                <a:gd name="connsiteY70" fmla="*/ 373285 h 468534"/>
                <a:gd name="connsiteX71" fmla="*/ 112395 w 327659"/>
                <a:gd name="connsiteY71" fmla="*/ 352425 h 468534"/>
                <a:gd name="connsiteX72" fmla="*/ 87630 w 327659"/>
                <a:gd name="connsiteY72" fmla="*/ 345662 h 468534"/>
                <a:gd name="connsiteX73" fmla="*/ 66675 w 327659"/>
                <a:gd name="connsiteY73" fmla="*/ 338138 h 468534"/>
                <a:gd name="connsiteX74" fmla="*/ 45720 w 327659"/>
                <a:gd name="connsiteY74" fmla="*/ 338138 h 468534"/>
                <a:gd name="connsiteX75" fmla="*/ 27622 w 327659"/>
                <a:gd name="connsiteY75" fmla="*/ 327660 h 468534"/>
                <a:gd name="connsiteX76" fmla="*/ 0 w 327659"/>
                <a:gd name="connsiteY76" fmla="*/ 310515 h 468534"/>
                <a:gd name="connsiteX77" fmla="*/ 6668 w 327659"/>
                <a:gd name="connsiteY77" fmla="*/ 296228 h 468534"/>
                <a:gd name="connsiteX78" fmla="*/ 6668 w 327659"/>
                <a:gd name="connsiteY78" fmla="*/ 278035 h 468534"/>
                <a:gd name="connsiteX79" fmla="*/ 20955 w 327659"/>
                <a:gd name="connsiteY79" fmla="*/ 278035 h 468534"/>
                <a:gd name="connsiteX80" fmla="*/ 35243 w 327659"/>
                <a:gd name="connsiteY80" fmla="*/ 267653 h 468534"/>
                <a:gd name="connsiteX81" fmla="*/ 41910 w 327659"/>
                <a:gd name="connsiteY81" fmla="*/ 242888 h 468534"/>
                <a:gd name="connsiteX82" fmla="*/ 41910 w 327659"/>
                <a:gd name="connsiteY82" fmla="*/ 218122 h 468534"/>
                <a:gd name="connsiteX83" fmla="*/ 41910 w 327659"/>
                <a:gd name="connsiteY83" fmla="*/ 193262 h 468534"/>
                <a:gd name="connsiteX84" fmla="*/ 39053 w 327659"/>
                <a:gd name="connsiteY84" fmla="*/ 168497 h 468534"/>
                <a:gd name="connsiteX85" fmla="*/ 35243 w 327659"/>
                <a:gd name="connsiteY85" fmla="*/ 158115 h 468534"/>
                <a:gd name="connsiteX86" fmla="*/ 24765 w 327659"/>
                <a:gd name="connsiteY86" fmla="*/ 140875 h 468534"/>
                <a:gd name="connsiteX87" fmla="*/ 45720 w 327659"/>
                <a:gd name="connsiteY87" fmla="*/ 126587 h 468534"/>
                <a:gd name="connsiteX88" fmla="*/ 49530 w 327659"/>
                <a:gd name="connsiteY88" fmla="*/ 116110 h 468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327659" h="468534">
                  <a:moveTo>
                    <a:pt x="49530" y="116110"/>
                  </a:moveTo>
                  <a:lnTo>
                    <a:pt x="52388" y="126587"/>
                  </a:lnTo>
                  <a:lnTo>
                    <a:pt x="60007" y="120015"/>
                  </a:lnTo>
                  <a:lnTo>
                    <a:pt x="60007" y="101822"/>
                  </a:lnTo>
                  <a:lnTo>
                    <a:pt x="77153" y="87535"/>
                  </a:lnTo>
                  <a:lnTo>
                    <a:pt x="87630" y="74200"/>
                  </a:lnTo>
                  <a:lnTo>
                    <a:pt x="91440" y="62865"/>
                  </a:lnTo>
                  <a:lnTo>
                    <a:pt x="95250" y="49435"/>
                  </a:lnTo>
                  <a:lnTo>
                    <a:pt x="120015" y="35147"/>
                  </a:lnTo>
                  <a:lnTo>
                    <a:pt x="130493" y="35147"/>
                  </a:lnTo>
                  <a:lnTo>
                    <a:pt x="137160" y="27622"/>
                  </a:lnTo>
                  <a:lnTo>
                    <a:pt x="155257" y="27622"/>
                  </a:lnTo>
                  <a:lnTo>
                    <a:pt x="168593" y="20860"/>
                  </a:lnTo>
                  <a:lnTo>
                    <a:pt x="182880" y="10478"/>
                  </a:lnTo>
                  <a:lnTo>
                    <a:pt x="193357" y="0"/>
                  </a:lnTo>
                  <a:lnTo>
                    <a:pt x="203835" y="0"/>
                  </a:lnTo>
                  <a:lnTo>
                    <a:pt x="211455" y="2762"/>
                  </a:lnTo>
                  <a:lnTo>
                    <a:pt x="207645" y="17050"/>
                  </a:lnTo>
                  <a:lnTo>
                    <a:pt x="197168" y="24765"/>
                  </a:lnTo>
                  <a:lnTo>
                    <a:pt x="186690" y="31337"/>
                  </a:lnTo>
                  <a:lnTo>
                    <a:pt x="168593" y="45625"/>
                  </a:lnTo>
                  <a:lnTo>
                    <a:pt x="161925" y="59912"/>
                  </a:lnTo>
                  <a:lnTo>
                    <a:pt x="158115" y="84772"/>
                  </a:lnTo>
                  <a:lnTo>
                    <a:pt x="161925" y="95250"/>
                  </a:lnTo>
                  <a:lnTo>
                    <a:pt x="168593" y="105728"/>
                  </a:lnTo>
                  <a:lnTo>
                    <a:pt x="176213" y="112300"/>
                  </a:lnTo>
                  <a:lnTo>
                    <a:pt x="179070" y="120015"/>
                  </a:lnTo>
                  <a:lnTo>
                    <a:pt x="179070" y="144685"/>
                  </a:lnTo>
                  <a:lnTo>
                    <a:pt x="190500" y="151447"/>
                  </a:lnTo>
                  <a:lnTo>
                    <a:pt x="239078" y="147638"/>
                  </a:lnTo>
                  <a:lnTo>
                    <a:pt x="260032" y="172403"/>
                  </a:lnTo>
                  <a:lnTo>
                    <a:pt x="309563" y="168497"/>
                  </a:lnTo>
                  <a:lnTo>
                    <a:pt x="320040" y="180022"/>
                  </a:lnTo>
                  <a:lnTo>
                    <a:pt x="309563" y="193262"/>
                  </a:lnTo>
                  <a:lnTo>
                    <a:pt x="309563" y="211360"/>
                  </a:lnTo>
                  <a:lnTo>
                    <a:pt x="309563" y="225647"/>
                  </a:lnTo>
                  <a:lnTo>
                    <a:pt x="309563" y="239935"/>
                  </a:lnTo>
                  <a:lnTo>
                    <a:pt x="313372" y="239935"/>
                  </a:lnTo>
                  <a:lnTo>
                    <a:pt x="317182" y="242888"/>
                  </a:lnTo>
                  <a:lnTo>
                    <a:pt x="317182" y="263747"/>
                  </a:lnTo>
                  <a:lnTo>
                    <a:pt x="317182" y="281940"/>
                  </a:lnTo>
                  <a:lnTo>
                    <a:pt x="323850" y="285750"/>
                  </a:lnTo>
                  <a:lnTo>
                    <a:pt x="327660" y="302800"/>
                  </a:lnTo>
                  <a:lnTo>
                    <a:pt x="313372" y="296228"/>
                  </a:lnTo>
                  <a:lnTo>
                    <a:pt x="306705" y="296228"/>
                  </a:lnTo>
                  <a:lnTo>
                    <a:pt x="295275" y="299085"/>
                  </a:lnTo>
                  <a:lnTo>
                    <a:pt x="263843" y="299085"/>
                  </a:lnTo>
                  <a:lnTo>
                    <a:pt x="246697" y="302800"/>
                  </a:lnTo>
                  <a:lnTo>
                    <a:pt x="246697" y="306610"/>
                  </a:lnTo>
                  <a:lnTo>
                    <a:pt x="242888" y="310515"/>
                  </a:lnTo>
                  <a:lnTo>
                    <a:pt x="246697" y="313372"/>
                  </a:lnTo>
                  <a:lnTo>
                    <a:pt x="257175" y="317087"/>
                  </a:lnTo>
                  <a:lnTo>
                    <a:pt x="267653" y="320897"/>
                  </a:lnTo>
                  <a:lnTo>
                    <a:pt x="267653" y="331375"/>
                  </a:lnTo>
                  <a:lnTo>
                    <a:pt x="257175" y="327660"/>
                  </a:lnTo>
                  <a:lnTo>
                    <a:pt x="249555" y="327660"/>
                  </a:lnTo>
                  <a:lnTo>
                    <a:pt x="246697" y="331375"/>
                  </a:lnTo>
                  <a:lnTo>
                    <a:pt x="246697" y="352425"/>
                  </a:lnTo>
                  <a:lnTo>
                    <a:pt x="257175" y="366713"/>
                  </a:lnTo>
                  <a:lnTo>
                    <a:pt x="260032" y="387572"/>
                  </a:lnTo>
                  <a:lnTo>
                    <a:pt x="257175" y="412337"/>
                  </a:lnTo>
                  <a:lnTo>
                    <a:pt x="253365" y="443865"/>
                  </a:lnTo>
                  <a:lnTo>
                    <a:pt x="242888" y="468535"/>
                  </a:lnTo>
                  <a:lnTo>
                    <a:pt x="232410" y="461963"/>
                  </a:lnTo>
                  <a:lnTo>
                    <a:pt x="232410" y="443865"/>
                  </a:lnTo>
                  <a:lnTo>
                    <a:pt x="239078" y="433388"/>
                  </a:lnTo>
                  <a:lnTo>
                    <a:pt x="236220" y="422910"/>
                  </a:lnTo>
                  <a:lnTo>
                    <a:pt x="232410" y="412337"/>
                  </a:lnTo>
                  <a:lnTo>
                    <a:pt x="158115" y="408622"/>
                  </a:lnTo>
                  <a:lnTo>
                    <a:pt x="151447" y="394335"/>
                  </a:lnTo>
                  <a:lnTo>
                    <a:pt x="130493" y="373285"/>
                  </a:lnTo>
                  <a:lnTo>
                    <a:pt x="112395" y="352425"/>
                  </a:lnTo>
                  <a:lnTo>
                    <a:pt x="87630" y="345662"/>
                  </a:lnTo>
                  <a:lnTo>
                    <a:pt x="66675" y="338138"/>
                  </a:lnTo>
                  <a:lnTo>
                    <a:pt x="45720" y="338138"/>
                  </a:lnTo>
                  <a:lnTo>
                    <a:pt x="27622" y="327660"/>
                  </a:lnTo>
                  <a:lnTo>
                    <a:pt x="0" y="310515"/>
                  </a:lnTo>
                  <a:lnTo>
                    <a:pt x="6668" y="296228"/>
                  </a:lnTo>
                  <a:lnTo>
                    <a:pt x="6668" y="278035"/>
                  </a:lnTo>
                  <a:lnTo>
                    <a:pt x="20955" y="278035"/>
                  </a:lnTo>
                  <a:lnTo>
                    <a:pt x="35243" y="267653"/>
                  </a:lnTo>
                  <a:lnTo>
                    <a:pt x="41910" y="242888"/>
                  </a:lnTo>
                  <a:lnTo>
                    <a:pt x="41910" y="218122"/>
                  </a:lnTo>
                  <a:lnTo>
                    <a:pt x="41910" y="193262"/>
                  </a:lnTo>
                  <a:lnTo>
                    <a:pt x="39053" y="168497"/>
                  </a:lnTo>
                  <a:lnTo>
                    <a:pt x="35243" y="158115"/>
                  </a:lnTo>
                  <a:lnTo>
                    <a:pt x="24765" y="140875"/>
                  </a:lnTo>
                  <a:lnTo>
                    <a:pt x="45720" y="126587"/>
                  </a:lnTo>
                  <a:lnTo>
                    <a:pt x="49530" y="11611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51" name="Freeform: Shape 2850">
              <a:extLst>
                <a:ext uri="{FF2B5EF4-FFF2-40B4-BE49-F238E27FC236}">
                  <a16:creationId xmlns:a16="http://schemas.microsoft.com/office/drawing/2014/main" id="{0E9A8C7A-FC5D-3BD7-E299-BBA388383E87}"/>
                </a:ext>
              </a:extLst>
            </p:cNvPr>
            <p:cNvSpPr/>
            <p:nvPr/>
          </p:nvSpPr>
          <p:spPr>
            <a:xfrm>
              <a:off x="3783727" y="4510123"/>
              <a:ext cx="151262" cy="172740"/>
            </a:xfrm>
            <a:custGeom>
              <a:avLst/>
              <a:gdLst>
                <a:gd name="connsiteX0" fmla="*/ 45720 w 154304"/>
                <a:gd name="connsiteY0" fmla="*/ 176213 h 176212"/>
                <a:gd name="connsiteX1" fmla="*/ 35242 w 154304"/>
                <a:gd name="connsiteY1" fmla="*/ 165735 h 176212"/>
                <a:gd name="connsiteX2" fmla="*/ 13335 w 154304"/>
                <a:gd name="connsiteY2" fmla="*/ 154210 h 176212"/>
                <a:gd name="connsiteX3" fmla="*/ 13335 w 154304"/>
                <a:gd name="connsiteY3" fmla="*/ 133350 h 176212"/>
                <a:gd name="connsiteX4" fmla="*/ 24765 w 154304"/>
                <a:gd name="connsiteY4" fmla="*/ 126682 h 176212"/>
                <a:gd name="connsiteX5" fmla="*/ 31432 w 154304"/>
                <a:gd name="connsiteY5" fmla="*/ 112395 h 176212"/>
                <a:gd name="connsiteX6" fmla="*/ 31432 w 154304"/>
                <a:gd name="connsiteY6" fmla="*/ 101822 h 176212"/>
                <a:gd name="connsiteX7" fmla="*/ 24765 w 154304"/>
                <a:gd name="connsiteY7" fmla="*/ 101822 h 176212"/>
                <a:gd name="connsiteX8" fmla="*/ 17145 w 154304"/>
                <a:gd name="connsiteY8" fmla="*/ 108585 h 176212"/>
                <a:gd name="connsiteX9" fmla="*/ 10477 w 154304"/>
                <a:gd name="connsiteY9" fmla="*/ 108585 h 176212"/>
                <a:gd name="connsiteX10" fmla="*/ 0 w 154304"/>
                <a:gd name="connsiteY10" fmla="*/ 101822 h 176212"/>
                <a:gd name="connsiteX11" fmla="*/ 0 w 154304"/>
                <a:gd name="connsiteY11" fmla="*/ 83820 h 176212"/>
                <a:gd name="connsiteX12" fmla="*/ 2858 w 154304"/>
                <a:gd name="connsiteY12" fmla="*/ 66675 h 176212"/>
                <a:gd name="connsiteX13" fmla="*/ 10477 w 154304"/>
                <a:gd name="connsiteY13" fmla="*/ 45720 h 176212"/>
                <a:gd name="connsiteX14" fmla="*/ 17145 w 154304"/>
                <a:gd name="connsiteY14" fmla="*/ 31432 h 176212"/>
                <a:gd name="connsiteX15" fmla="*/ 24765 w 154304"/>
                <a:gd name="connsiteY15" fmla="*/ 20860 h 176212"/>
                <a:gd name="connsiteX16" fmla="*/ 38100 w 154304"/>
                <a:gd name="connsiteY16" fmla="*/ 10382 h 176212"/>
                <a:gd name="connsiteX17" fmla="*/ 56197 w 154304"/>
                <a:gd name="connsiteY17" fmla="*/ 0 h 176212"/>
                <a:gd name="connsiteX18" fmla="*/ 101917 w 154304"/>
                <a:gd name="connsiteY18" fmla="*/ 27622 h 176212"/>
                <a:gd name="connsiteX19" fmla="*/ 122872 w 154304"/>
                <a:gd name="connsiteY19" fmla="*/ 27622 h 176212"/>
                <a:gd name="connsiteX20" fmla="*/ 154305 w 154304"/>
                <a:gd name="connsiteY20" fmla="*/ 38100 h 176212"/>
                <a:gd name="connsiteX21" fmla="*/ 151447 w 154304"/>
                <a:gd name="connsiteY21" fmla="*/ 52388 h 176212"/>
                <a:gd name="connsiteX22" fmla="*/ 151447 w 154304"/>
                <a:gd name="connsiteY22" fmla="*/ 70485 h 176212"/>
                <a:gd name="connsiteX23" fmla="*/ 143828 w 154304"/>
                <a:gd name="connsiteY23" fmla="*/ 83820 h 176212"/>
                <a:gd name="connsiteX24" fmla="*/ 133350 w 154304"/>
                <a:gd name="connsiteY24" fmla="*/ 98107 h 176212"/>
                <a:gd name="connsiteX25" fmla="*/ 119063 w 154304"/>
                <a:gd name="connsiteY25" fmla="*/ 108585 h 176212"/>
                <a:gd name="connsiteX26" fmla="*/ 91440 w 154304"/>
                <a:gd name="connsiteY26" fmla="*/ 119063 h 176212"/>
                <a:gd name="connsiteX27" fmla="*/ 80963 w 154304"/>
                <a:gd name="connsiteY27" fmla="*/ 130397 h 176212"/>
                <a:gd name="connsiteX28" fmla="*/ 70485 w 154304"/>
                <a:gd name="connsiteY28" fmla="*/ 143732 h 176212"/>
                <a:gd name="connsiteX29" fmla="*/ 62865 w 154304"/>
                <a:gd name="connsiteY29" fmla="*/ 161925 h 176212"/>
                <a:gd name="connsiteX30" fmla="*/ 45720 w 154304"/>
                <a:gd name="connsiteY30" fmla="*/ 176213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54304" h="176212">
                  <a:moveTo>
                    <a:pt x="45720" y="176213"/>
                  </a:moveTo>
                  <a:lnTo>
                    <a:pt x="35242" y="165735"/>
                  </a:lnTo>
                  <a:lnTo>
                    <a:pt x="13335" y="154210"/>
                  </a:lnTo>
                  <a:lnTo>
                    <a:pt x="13335" y="133350"/>
                  </a:lnTo>
                  <a:lnTo>
                    <a:pt x="24765" y="126682"/>
                  </a:lnTo>
                  <a:lnTo>
                    <a:pt x="31432" y="112395"/>
                  </a:lnTo>
                  <a:lnTo>
                    <a:pt x="31432" y="101822"/>
                  </a:lnTo>
                  <a:lnTo>
                    <a:pt x="24765" y="101822"/>
                  </a:lnTo>
                  <a:lnTo>
                    <a:pt x="17145" y="108585"/>
                  </a:lnTo>
                  <a:lnTo>
                    <a:pt x="10477" y="108585"/>
                  </a:lnTo>
                  <a:lnTo>
                    <a:pt x="0" y="101822"/>
                  </a:lnTo>
                  <a:lnTo>
                    <a:pt x="0" y="83820"/>
                  </a:lnTo>
                  <a:lnTo>
                    <a:pt x="2858" y="66675"/>
                  </a:lnTo>
                  <a:lnTo>
                    <a:pt x="10477" y="45720"/>
                  </a:lnTo>
                  <a:lnTo>
                    <a:pt x="17145" y="31432"/>
                  </a:lnTo>
                  <a:lnTo>
                    <a:pt x="24765" y="20860"/>
                  </a:lnTo>
                  <a:lnTo>
                    <a:pt x="38100" y="10382"/>
                  </a:lnTo>
                  <a:lnTo>
                    <a:pt x="56197" y="0"/>
                  </a:lnTo>
                  <a:lnTo>
                    <a:pt x="101917" y="27622"/>
                  </a:lnTo>
                  <a:lnTo>
                    <a:pt x="122872" y="27622"/>
                  </a:lnTo>
                  <a:lnTo>
                    <a:pt x="154305" y="38100"/>
                  </a:lnTo>
                  <a:lnTo>
                    <a:pt x="151447" y="52388"/>
                  </a:lnTo>
                  <a:lnTo>
                    <a:pt x="151447" y="70485"/>
                  </a:lnTo>
                  <a:lnTo>
                    <a:pt x="143828" y="83820"/>
                  </a:lnTo>
                  <a:lnTo>
                    <a:pt x="133350" y="98107"/>
                  </a:lnTo>
                  <a:lnTo>
                    <a:pt x="119063" y="108585"/>
                  </a:lnTo>
                  <a:lnTo>
                    <a:pt x="91440" y="119063"/>
                  </a:lnTo>
                  <a:lnTo>
                    <a:pt x="80963" y="130397"/>
                  </a:lnTo>
                  <a:lnTo>
                    <a:pt x="70485" y="143732"/>
                  </a:lnTo>
                  <a:lnTo>
                    <a:pt x="62865" y="161925"/>
                  </a:lnTo>
                  <a:lnTo>
                    <a:pt x="45720" y="17621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9E7E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52" name="Freeform: Shape 2851">
              <a:extLst>
                <a:ext uri="{FF2B5EF4-FFF2-40B4-BE49-F238E27FC236}">
                  <a16:creationId xmlns:a16="http://schemas.microsoft.com/office/drawing/2014/main" id="{488314C7-BB79-308A-CD93-449D8213C149}"/>
                </a:ext>
              </a:extLst>
            </p:cNvPr>
            <p:cNvSpPr/>
            <p:nvPr/>
          </p:nvSpPr>
          <p:spPr>
            <a:xfrm>
              <a:off x="4298209" y="4246811"/>
              <a:ext cx="34547" cy="28012"/>
            </a:xfrm>
            <a:custGeom>
              <a:avLst/>
              <a:gdLst>
                <a:gd name="connsiteX0" fmla="*/ 20955 w 35242"/>
                <a:gd name="connsiteY0" fmla="*/ 0 h 28575"/>
                <a:gd name="connsiteX1" fmla="*/ 35242 w 35242"/>
                <a:gd name="connsiteY1" fmla="*/ 0 h 28575"/>
                <a:gd name="connsiteX2" fmla="*/ 31432 w 35242"/>
                <a:gd name="connsiteY2" fmla="*/ 18002 h 28575"/>
                <a:gd name="connsiteX3" fmla="*/ 24765 w 35242"/>
                <a:gd name="connsiteY3" fmla="*/ 28575 h 28575"/>
                <a:gd name="connsiteX4" fmla="*/ 0 w 35242"/>
                <a:gd name="connsiteY4" fmla="*/ 24765 h 28575"/>
                <a:gd name="connsiteX5" fmla="*/ 10477 w 35242"/>
                <a:gd name="connsiteY5" fmla="*/ 10478 h 28575"/>
                <a:gd name="connsiteX6" fmla="*/ 17145 w 35242"/>
                <a:gd name="connsiteY6" fmla="*/ 10478 h 28575"/>
                <a:gd name="connsiteX7" fmla="*/ 20955 w 35242"/>
                <a:gd name="connsiteY7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42" h="28575">
                  <a:moveTo>
                    <a:pt x="20955" y="0"/>
                  </a:moveTo>
                  <a:lnTo>
                    <a:pt x="35242" y="0"/>
                  </a:lnTo>
                  <a:lnTo>
                    <a:pt x="31432" y="18002"/>
                  </a:lnTo>
                  <a:lnTo>
                    <a:pt x="24765" y="28575"/>
                  </a:lnTo>
                  <a:lnTo>
                    <a:pt x="0" y="24765"/>
                  </a:lnTo>
                  <a:lnTo>
                    <a:pt x="10477" y="10478"/>
                  </a:lnTo>
                  <a:lnTo>
                    <a:pt x="17145" y="10478"/>
                  </a:lnTo>
                  <a:lnTo>
                    <a:pt x="20955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53" name="Freeform: Shape 2852">
              <a:extLst>
                <a:ext uri="{FF2B5EF4-FFF2-40B4-BE49-F238E27FC236}">
                  <a16:creationId xmlns:a16="http://schemas.microsoft.com/office/drawing/2014/main" id="{75C763E1-6BA9-C29C-3F15-C0096C2EA247}"/>
                </a:ext>
              </a:extLst>
            </p:cNvPr>
            <p:cNvSpPr/>
            <p:nvPr/>
          </p:nvSpPr>
          <p:spPr>
            <a:xfrm>
              <a:off x="4298209" y="4246811"/>
              <a:ext cx="34547" cy="28012"/>
            </a:xfrm>
            <a:custGeom>
              <a:avLst/>
              <a:gdLst>
                <a:gd name="connsiteX0" fmla="*/ 20955 w 35242"/>
                <a:gd name="connsiteY0" fmla="*/ 0 h 28575"/>
                <a:gd name="connsiteX1" fmla="*/ 35242 w 35242"/>
                <a:gd name="connsiteY1" fmla="*/ 0 h 28575"/>
                <a:gd name="connsiteX2" fmla="*/ 31432 w 35242"/>
                <a:gd name="connsiteY2" fmla="*/ 18002 h 28575"/>
                <a:gd name="connsiteX3" fmla="*/ 24765 w 35242"/>
                <a:gd name="connsiteY3" fmla="*/ 28575 h 28575"/>
                <a:gd name="connsiteX4" fmla="*/ 0 w 35242"/>
                <a:gd name="connsiteY4" fmla="*/ 24765 h 28575"/>
                <a:gd name="connsiteX5" fmla="*/ 10477 w 35242"/>
                <a:gd name="connsiteY5" fmla="*/ 10478 h 28575"/>
                <a:gd name="connsiteX6" fmla="*/ 17145 w 35242"/>
                <a:gd name="connsiteY6" fmla="*/ 10478 h 28575"/>
                <a:gd name="connsiteX7" fmla="*/ 20955 w 35242"/>
                <a:gd name="connsiteY7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42" h="28575">
                  <a:moveTo>
                    <a:pt x="20955" y="0"/>
                  </a:moveTo>
                  <a:lnTo>
                    <a:pt x="35242" y="0"/>
                  </a:lnTo>
                  <a:lnTo>
                    <a:pt x="31432" y="18002"/>
                  </a:lnTo>
                  <a:lnTo>
                    <a:pt x="24765" y="28575"/>
                  </a:lnTo>
                  <a:lnTo>
                    <a:pt x="0" y="24765"/>
                  </a:lnTo>
                  <a:lnTo>
                    <a:pt x="10477" y="10478"/>
                  </a:lnTo>
                  <a:lnTo>
                    <a:pt x="17145" y="10478"/>
                  </a:lnTo>
                  <a:lnTo>
                    <a:pt x="20955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854" name="Freeform: Shape 2853">
              <a:extLst>
                <a:ext uri="{FF2B5EF4-FFF2-40B4-BE49-F238E27FC236}">
                  <a16:creationId xmlns:a16="http://schemas.microsoft.com/office/drawing/2014/main" id="{15880928-774C-DE0C-6A22-68001413B7CE}"/>
                </a:ext>
              </a:extLst>
            </p:cNvPr>
            <p:cNvSpPr/>
            <p:nvPr/>
          </p:nvSpPr>
          <p:spPr>
            <a:xfrm>
              <a:off x="3993814" y="4208435"/>
              <a:ext cx="362284" cy="318495"/>
            </a:xfrm>
            <a:custGeom>
              <a:avLst/>
              <a:gdLst>
                <a:gd name="connsiteX0" fmla="*/ 78105 w 369569"/>
                <a:gd name="connsiteY0" fmla="*/ 24860 h 324897"/>
                <a:gd name="connsiteX1" fmla="*/ 80963 w 369569"/>
                <a:gd name="connsiteY1" fmla="*/ 14288 h 324897"/>
                <a:gd name="connsiteX2" fmla="*/ 80963 w 369569"/>
                <a:gd name="connsiteY2" fmla="*/ 3810 h 324897"/>
                <a:gd name="connsiteX3" fmla="*/ 88582 w 369569"/>
                <a:gd name="connsiteY3" fmla="*/ 0 h 324897"/>
                <a:gd name="connsiteX4" fmla="*/ 91440 w 369569"/>
                <a:gd name="connsiteY4" fmla="*/ 7715 h 324897"/>
                <a:gd name="connsiteX5" fmla="*/ 91440 w 369569"/>
                <a:gd name="connsiteY5" fmla="*/ 22003 h 324897"/>
                <a:gd name="connsiteX6" fmla="*/ 105728 w 369569"/>
                <a:gd name="connsiteY6" fmla="*/ 24860 h 324897"/>
                <a:gd name="connsiteX7" fmla="*/ 123825 w 369569"/>
                <a:gd name="connsiteY7" fmla="*/ 28575 h 324897"/>
                <a:gd name="connsiteX8" fmla="*/ 134303 w 369569"/>
                <a:gd name="connsiteY8" fmla="*/ 39148 h 324897"/>
                <a:gd name="connsiteX9" fmla="*/ 140970 w 369569"/>
                <a:gd name="connsiteY9" fmla="*/ 42863 h 324897"/>
                <a:gd name="connsiteX10" fmla="*/ 172403 w 369569"/>
                <a:gd name="connsiteY10" fmla="*/ 49625 h 324897"/>
                <a:gd name="connsiteX11" fmla="*/ 190500 w 369569"/>
                <a:gd name="connsiteY11" fmla="*/ 49625 h 324897"/>
                <a:gd name="connsiteX12" fmla="*/ 221932 w 369569"/>
                <a:gd name="connsiteY12" fmla="*/ 63913 h 324897"/>
                <a:gd name="connsiteX13" fmla="*/ 242888 w 369569"/>
                <a:gd name="connsiteY13" fmla="*/ 57150 h 324897"/>
                <a:gd name="connsiteX14" fmla="*/ 257175 w 369569"/>
                <a:gd name="connsiteY14" fmla="*/ 49625 h 324897"/>
                <a:gd name="connsiteX15" fmla="*/ 275272 w 369569"/>
                <a:gd name="connsiteY15" fmla="*/ 46672 h 324897"/>
                <a:gd name="connsiteX16" fmla="*/ 288607 w 369569"/>
                <a:gd name="connsiteY16" fmla="*/ 49625 h 324897"/>
                <a:gd name="connsiteX17" fmla="*/ 306705 w 369569"/>
                <a:gd name="connsiteY17" fmla="*/ 49625 h 324897"/>
                <a:gd name="connsiteX18" fmla="*/ 300038 w 369569"/>
                <a:gd name="connsiteY18" fmla="*/ 53435 h 324897"/>
                <a:gd name="connsiteX19" fmla="*/ 285750 w 369569"/>
                <a:gd name="connsiteY19" fmla="*/ 57150 h 324897"/>
                <a:gd name="connsiteX20" fmla="*/ 288607 w 369569"/>
                <a:gd name="connsiteY20" fmla="*/ 71438 h 324897"/>
                <a:gd name="connsiteX21" fmla="*/ 310515 w 369569"/>
                <a:gd name="connsiteY21" fmla="*/ 71438 h 324897"/>
                <a:gd name="connsiteX22" fmla="*/ 331470 w 369569"/>
                <a:gd name="connsiteY22" fmla="*/ 74390 h 324897"/>
                <a:gd name="connsiteX23" fmla="*/ 338138 w 369569"/>
                <a:gd name="connsiteY23" fmla="*/ 82010 h 324897"/>
                <a:gd name="connsiteX24" fmla="*/ 338138 w 369569"/>
                <a:gd name="connsiteY24" fmla="*/ 92488 h 324897"/>
                <a:gd name="connsiteX25" fmla="*/ 331470 w 369569"/>
                <a:gd name="connsiteY25" fmla="*/ 99060 h 324897"/>
                <a:gd name="connsiteX26" fmla="*/ 331470 w 369569"/>
                <a:gd name="connsiteY26" fmla="*/ 109538 h 324897"/>
                <a:gd name="connsiteX27" fmla="*/ 345757 w 369569"/>
                <a:gd name="connsiteY27" fmla="*/ 106775 h 324897"/>
                <a:gd name="connsiteX28" fmla="*/ 356235 w 369569"/>
                <a:gd name="connsiteY28" fmla="*/ 102965 h 324897"/>
                <a:gd name="connsiteX29" fmla="*/ 369570 w 369569"/>
                <a:gd name="connsiteY29" fmla="*/ 109538 h 324897"/>
                <a:gd name="connsiteX30" fmla="*/ 359092 w 369569"/>
                <a:gd name="connsiteY30" fmla="*/ 123825 h 324897"/>
                <a:gd name="connsiteX31" fmla="*/ 352425 w 369569"/>
                <a:gd name="connsiteY31" fmla="*/ 134398 h 324897"/>
                <a:gd name="connsiteX32" fmla="*/ 356235 w 369569"/>
                <a:gd name="connsiteY32" fmla="*/ 148685 h 324897"/>
                <a:gd name="connsiteX33" fmla="*/ 338138 w 369569"/>
                <a:gd name="connsiteY33" fmla="*/ 159163 h 324897"/>
                <a:gd name="connsiteX34" fmla="*/ 331470 w 369569"/>
                <a:gd name="connsiteY34" fmla="*/ 169640 h 324897"/>
                <a:gd name="connsiteX35" fmla="*/ 335280 w 369569"/>
                <a:gd name="connsiteY35" fmla="*/ 183928 h 324897"/>
                <a:gd name="connsiteX36" fmla="*/ 341947 w 369569"/>
                <a:gd name="connsiteY36" fmla="*/ 194310 h 324897"/>
                <a:gd name="connsiteX37" fmla="*/ 345757 w 369569"/>
                <a:gd name="connsiteY37" fmla="*/ 204788 h 324897"/>
                <a:gd name="connsiteX38" fmla="*/ 338138 w 369569"/>
                <a:gd name="connsiteY38" fmla="*/ 222885 h 324897"/>
                <a:gd name="connsiteX39" fmla="*/ 317182 w 369569"/>
                <a:gd name="connsiteY39" fmla="*/ 229648 h 324897"/>
                <a:gd name="connsiteX40" fmla="*/ 300038 w 369569"/>
                <a:gd name="connsiteY40" fmla="*/ 233363 h 324897"/>
                <a:gd name="connsiteX41" fmla="*/ 288607 w 369569"/>
                <a:gd name="connsiteY41" fmla="*/ 240125 h 324897"/>
                <a:gd name="connsiteX42" fmla="*/ 278130 w 369569"/>
                <a:gd name="connsiteY42" fmla="*/ 240125 h 324897"/>
                <a:gd name="connsiteX43" fmla="*/ 260985 w 369569"/>
                <a:gd name="connsiteY43" fmla="*/ 237172 h 324897"/>
                <a:gd name="connsiteX44" fmla="*/ 246697 w 369569"/>
                <a:gd name="connsiteY44" fmla="*/ 229648 h 324897"/>
                <a:gd name="connsiteX45" fmla="*/ 236220 w 369569"/>
                <a:gd name="connsiteY45" fmla="*/ 233363 h 324897"/>
                <a:gd name="connsiteX46" fmla="*/ 246697 w 369569"/>
                <a:gd name="connsiteY46" fmla="*/ 243935 h 324897"/>
                <a:gd name="connsiteX47" fmla="*/ 250507 w 369569"/>
                <a:gd name="connsiteY47" fmla="*/ 260985 h 324897"/>
                <a:gd name="connsiteX48" fmla="*/ 260985 w 369569"/>
                <a:gd name="connsiteY48" fmla="*/ 275272 h 324897"/>
                <a:gd name="connsiteX49" fmla="*/ 271463 w 369569"/>
                <a:gd name="connsiteY49" fmla="*/ 275272 h 324897"/>
                <a:gd name="connsiteX50" fmla="*/ 271463 w 369569"/>
                <a:gd name="connsiteY50" fmla="*/ 282988 h 324897"/>
                <a:gd name="connsiteX51" fmla="*/ 267653 w 369569"/>
                <a:gd name="connsiteY51" fmla="*/ 293465 h 324897"/>
                <a:gd name="connsiteX52" fmla="*/ 257175 w 369569"/>
                <a:gd name="connsiteY52" fmla="*/ 293465 h 324897"/>
                <a:gd name="connsiteX53" fmla="*/ 246697 w 369569"/>
                <a:gd name="connsiteY53" fmla="*/ 296323 h 324897"/>
                <a:gd name="connsiteX54" fmla="*/ 229553 w 369569"/>
                <a:gd name="connsiteY54" fmla="*/ 318135 h 324897"/>
                <a:gd name="connsiteX55" fmla="*/ 204788 w 369569"/>
                <a:gd name="connsiteY55" fmla="*/ 324898 h 324897"/>
                <a:gd name="connsiteX56" fmla="*/ 186690 w 369569"/>
                <a:gd name="connsiteY56" fmla="*/ 321088 h 324897"/>
                <a:gd name="connsiteX57" fmla="*/ 172403 w 369569"/>
                <a:gd name="connsiteY57" fmla="*/ 307753 h 324897"/>
                <a:gd name="connsiteX58" fmla="*/ 169545 w 369569"/>
                <a:gd name="connsiteY58" fmla="*/ 300038 h 324897"/>
                <a:gd name="connsiteX59" fmla="*/ 165735 w 369569"/>
                <a:gd name="connsiteY59" fmla="*/ 282988 h 324897"/>
                <a:gd name="connsiteX60" fmla="*/ 159067 w 369569"/>
                <a:gd name="connsiteY60" fmla="*/ 279178 h 324897"/>
                <a:gd name="connsiteX61" fmla="*/ 159067 w 369569"/>
                <a:gd name="connsiteY61" fmla="*/ 240125 h 324897"/>
                <a:gd name="connsiteX62" fmla="*/ 151447 w 369569"/>
                <a:gd name="connsiteY62" fmla="*/ 237172 h 324897"/>
                <a:gd name="connsiteX63" fmla="*/ 151447 w 369569"/>
                <a:gd name="connsiteY63" fmla="*/ 190500 h 324897"/>
                <a:gd name="connsiteX64" fmla="*/ 161925 w 369569"/>
                <a:gd name="connsiteY64" fmla="*/ 177260 h 324897"/>
                <a:gd name="connsiteX65" fmla="*/ 151447 w 369569"/>
                <a:gd name="connsiteY65" fmla="*/ 165735 h 324897"/>
                <a:gd name="connsiteX66" fmla="*/ 101917 w 369569"/>
                <a:gd name="connsiteY66" fmla="*/ 169640 h 324897"/>
                <a:gd name="connsiteX67" fmla="*/ 80963 w 369569"/>
                <a:gd name="connsiteY67" fmla="*/ 144875 h 324897"/>
                <a:gd name="connsiteX68" fmla="*/ 32385 w 369569"/>
                <a:gd name="connsiteY68" fmla="*/ 148685 h 324897"/>
                <a:gd name="connsiteX69" fmla="*/ 20955 w 369569"/>
                <a:gd name="connsiteY69" fmla="*/ 141922 h 324897"/>
                <a:gd name="connsiteX70" fmla="*/ 20955 w 369569"/>
                <a:gd name="connsiteY70" fmla="*/ 117253 h 324897"/>
                <a:gd name="connsiteX71" fmla="*/ 0 w 369569"/>
                <a:gd name="connsiteY71" fmla="*/ 82010 h 324897"/>
                <a:gd name="connsiteX72" fmla="*/ 3810 w 369569"/>
                <a:gd name="connsiteY72" fmla="*/ 57150 h 324897"/>
                <a:gd name="connsiteX73" fmla="*/ 14288 w 369569"/>
                <a:gd name="connsiteY73" fmla="*/ 39148 h 324897"/>
                <a:gd name="connsiteX74" fmla="*/ 32385 w 369569"/>
                <a:gd name="connsiteY74" fmla="*/ 24860 h 324897"/>
                <a:gd name="connsiteX75" fmla="*/ 39053 w 369569"/>
                <a:gd name="connsiteY75" fmla="*/ 28575 h 324897"/>
                <a:gd name="connsiteX76" fmla="*/ 39053 w 369569"/>
                <a:gd name="connsiteY76" fmla="*/ 35338 h 324897"/>
                <a:gd name="connsiteX77" fmla="*/ 39053 w 369569"/>
                <a:gd name="connsiteY77" fmla="*/ 53435 h 324897"/>
                <a:gd name="connsiteX78" fmla="*/ 28575 w 369569"/>
                <a:gd name="connsiteY78" fmla="*/ 60103 h 324897"/>
                <a:gd name="connsiteX79" fmla="*/ 32385 w 369569"/>
                <a:gd name="connsiteY79" fmla="*/ 82010 h 324897"/>
                <a:gd name="connsiteX80" fmla="*/ 39053 w 369569"/>
                <a:gd name="connsiteY80" fmla="*/ 92488 h 324897"/>
                <a:gd name="connsiteX81" fmla="*/ 53340 w 369569"/>
                <a:gd name="connsiteY81" fmla="*/ 84772 h 324897"/>
                <a:gd name="connsiteX82" fmla="*/ 60007 w 369569"/>
                <a:gd name="connsiteY82" fmla="*/ 71438 h 324897"/>
                <a:gd name="connsiteX83" fmla="*/ 53340 w 369569"/>
                <a:gd name="connsiteY83" fmla="*/ 57150 h 324897"/>
                <a:gd name="connsiteX84" fmla="*/ 49530 w 369569"/>
                <a:gd name="connsiteY84" fmla="*/ 46672 h 324897"/>
                <a:gd name="connsiteX85" fmla="*/ 56197 w 369569"/>
                <a:gd name="connsiteY85" fmla="*/ 35338 h 324897"/>
                <a:gd name="connsiteX86" fmla="*/ 66675 w 369569"/>
                <a:gd name="connsiteY86" fmla="*/ 32385 h 324897"/>
                <a:gd name="connsiteX87" fmla="*/ 78105 w 369569"/>
                <a:gd name="connsiteY87" fmla="*/ 24860 h 32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369569" h="324897">
                  <a:moveTo>
                    <a:pt x="78105" y="24860"/>
                  </a:moveTo>
                  <a:lnTo>
                    <a:pt x="80963" y="14288"/>
                  </a:lnTo>
                  <a:lnTo>
                    <a:pt x="80963" y="3810"/>
                  </a:lnTo>
                  <a:lnTo>
                    <a:pt x="88582" y="0"/>
                  </a:lnTo>
                  <a:lnTo>
                    <a:pt x="91440" y="7715"/>
                  </a:lnTo>
                  <a:lnTo>
                    <a:pt x="91440" y="22003"/>
                  </a:lnTo>
                  <a:lnTo>
                    <a:pt x="105728" y="24860"/>
                  </a:lnTo>
                  <a:lnTo>
                    <a:pt x="123825" y="28575"/>
                  </a:lnTo>
                  <a:lnTo>
                    <a:pt x="134303" y="39148"/>
                  </a:lnTo>
                  <a:lnTo>
                    <a:pt x="140970" y="42863"/>
                  </a:lnTo>
                  <a:lnTo>
                    <a:pt x="172403" y="49625"/>
                  </a:lnTo>
                  <a:lnTo>
                    <a:pt x="190500" y="49625"/>
                  </a:lnTo>
                  <a:lnTo>
                    <a:pt x="221932" y="63913"/>
                  </a:lnTo>
                  <a:lnTo>
                    <a:pt x="242888" y="57150"/>
                  </a:lnTo>
                  <a:lnTo>
                    <a:pt x="257175" y="49625"/>
                  </a:lnTo>
                  <a:lnTo>
                    <a:pt x="275272" y="46672"/>
                  </a:lnTo>
                  <a:lnTo>
                    <a:pt x="288607" y="49625"/>
                  </a:lnTo>
                  <a:lnTo>
                    <a:pt x="306705" y="49625"/>
                  </a:lnTo>
                  <a:lnTo>
                    <a:pt x="300038" y="53435"/>
                  </a:lnTo>
                  <a:lnTo>
                    <a:pt x="285750" y="57150"/>
                  </a:lnTo>
                  <a:lnTo>
                    <a:pt x="288607" y="71438"/>
                  </a:lnTo>
                  <a:lnTo>
                    <a:pt x="310515" y="71438"/>
                  </a:lnTo>
                  <a:lnTo>
                    <a:pt x="331470" y="74390"/>
                  </a:lnTo>
                  <a:lnTo>
                    <a:pt x="338138" y="82010"/>
                  </a:lnTo>
                  <a:lnTo>
                    <a:pt x="338138" y="92488"/>
                  </a:lnTo>
                  <a:lnTo>
                    <a:pt x="331470" y="99060"/>
                  </a:lnTo>
                  <a:lnTo>
                    <a:pt x="331470" y="109538"/>
                  </a:lnTo>
                  <a:lnTo>
                    <a:pt x="345757" y="106775"/>
                  </a:lnTo>
                  <a:lnTo>
                    <a:pt x="356235" y="102965"/>
                  </a:lnTo>
                  <a:lnTo>
                    <a:pt x="369570" y="109538"/>
                  </a:lnTo>
                  <a:lnTo>
                    <a:pt x="359092" y="123825"/>
                  </a:lnTo>
                  <a:lnTo>
                    <a:pt x="352425" y="134398"/>
                  </a:lnTo>
                  <a:lnTo>
                    <a:pt x="356235" y="148685"/>
                  </a:lnTo>
                  <a:lnTo>
                    <a:pt x="338138" y="159163"/>
                  </a:lnTo>
                  <a:lnTo>
                    <a:pt x="331470" y="169640"/>
                  </a:lnTo>
                  <a:lnTo>
                    <a:pt x="335280" y="183928"/>
                  </a:lnTo>
                  <a:lnTo>
                    <a:pt x="341947" y="194310"/>
                  </a:lnTo>
                  <a:lnTo>
                    <a:pt x="345757" y="204788"/>
                  </a:lnTo>
                  <a:lnTo>
                    <a:pt x="338138" y="222885"/>
                  </a:lnTo>
                  <a:lnTo>
                    <a:pt x="317182" y="229648"/>
                  </a:lnTo>
                  <a:lnTo>
                    <a:pt x="300038" y="233363"/>
                  </a:lnTo>
                  <a:lnTo>
                    <a:pt x="288607" y="240125"/>
                  </a:lnTo>
                  <a:lnTo>
                    <a:pt x="278130" y="240125"/>
                  </a:lnTo>
                  <a:lnTo>
                    <a:pt x="260985" y="237172"/>
                  </a:lnTo>
                  <a:lnTo>
                    <a:pt x="246697" y="229648"/>
                  </a:lnTo>
                  <a:lnTo>
                    <a:pt x="236220" y="233363"/>
                  </a:lnTo>
                  <a:lnTo>
                    <a:pt x="246697" y="243935"/>
                  </a:lnTo>
                  <a:lnTo>
                    <a:pt x="250507" y="260985"/>
                  </a:lnTo>
                  <a:lnTo>
                    <a:pt x="260985" y="275272"/>
                  </a:lnTo>
                  <a:lnTo>
                    <a:pt x="271463" y="275272"/>
                  </a:lnTo>
                  <a:lnTo>
                    <a:pt x="271463" y="282988"/>
                  </a:lnTo>
                  <a:lnTo>
                    <a:pt x="267653" y="293465"/>
                  </a:lnTo>
                  <a:lnTo>
                    <a:pt x="257175" y="293465"/>
                  </a:lnTo>
                  <a:lnTo>
                    <a:pt x="246697" y="296323"/>
                  </a:lnTo>
                  <a:lnTo>
                    <a:pt x="229553" y="318135"/>
                  </a:lnTo>
                  <a:lnTo>
                    <a:pt x="204788" y="324898"/>
                  </a:lnTo>
                  <a:lnTo>
                    <a:pt x="186690" y="321088"/>
                  </a:lnTo>
                  <a:lnTo>
                    <a:pt x="172403" y="307753"/>
                  </a:lnTo>
                  <a:lnTo>
                    <a:pt x="169545" y="300038"/>
                  </a:lnTo>
                  <a:lnTo>
                    <a:pt x="165735" y="282988"/>
                  </a:lnTo>
                  <a:lnTo>
                    <a:pt x="159067" y="279178"/>
                  </a:lnTo>
                  <a:lnTo>
                    <a:pt x="159067" y="240125"/>
                  </a:lnTo>
                  <a:lnTo>
                    <a:pt x="151447" y="237172"/>
                  </a:lnTo>
                  <a:lnTo>
                    <a:pt x="151447" y="190500"/>
                  </a:lnTo>
                  <a:lnTo>
                    <a:pt x="161925" y="177260"/>
                  </a:lnTo>
                  <a:lnTo>
                    <a:pt x="151447" y="165735"/>
                  </a:lnTo>
                  <a:lnTo>
                    <a:pt x="101917" y="169640"/>
                  </a:lnTo>
                  <a:lnTo>
                    <a:pt x="80963" y="144875"/>
                  </a:lnTo>
                  <a:lnTo>
                    <a:pt x="32385" y="148685"/>
                  </a:lnTo>
                  <a:lnTo>
                    <a:pt x="20955" y="141922"/>
                  </a:lnTo>
                  <a:lnTo>
                    <a:pt x="20955" y="117253"/>
                  </a:lnTo>
                  <a:lnTo>
                    <a:pt x="0" y="82010"/>
                  </a:lnTo>
                  <a:lnTo>
                    <a:pt x="3810" y="57150"/>
                  </a:lnTo>
                  <a:lnTo>
                    <a:pt x="14288" y="39148"/>
                  </a:lnTo>
                  <a:lnTo>
                    <a:pt x="32385" y="24860"/>
                  </a:lnTo>
                  <a:lnTo>
                    <a:pt x="39053" y="28575"/>
                  </a:lnTo>
                  <a:lnTo>
                    <a:pt x="39053" y="35338"/>
                  </a:lnTo>
                  <a:lnTo>
                    <a:pt x="39053" y="53435"/>
                  </a:lnTo>
                  <a:lnTo>
                    <a:pt x="28575" y="60103"/>
                  </a:lnTo>
                  <a:lnTo>
                    <a:pt x="32385" y="82010"/>
                  </a:lnTo>
                  <a:lnTo>
                    <a:pt x="39053" y="92488"/>
                  </a:lnTo>
                  <a:lnTo>
                    <a:pt x="53340" y="84772"/>
                  </a:lnTo>
                  <a:lnTo>
                    <a:pt x="60007" y="71438"/>
                  </a:lnTo>
                  <a:lnTo>
                    <a:pt x="53340" y="57150"/>
                  </a:lnTo>
                  <a:lnTo>
                    <a:pt x="49530" y="46672"/>
                  </a:lnTo>
                  <a:lnTo>
                    <a:pt x="56197" y="35338"/>
                  </a:lnTo>
                  <a:lnTo>
                    <a:pt x="66675" y="32385"/>
                  </a:lnTo>
                  <a:lnTo>
                    <a:pt x="78105" y="2486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103" name="Freeform: Shape 3102">
              <a:extLst>
                <a:ext uri="{FF2B5EF4-FFF2-40B4-BE49-F238E27FC236}">
                  <a16:creationId xmlns:a16="http://schemas.microsoft.com/office/drawing/2014/main" id="{E21644FE-1891-6495-B391-0BC2FC646EFD}"/>
                </a:ext>
              </a:extLst>
            </p:cNvPr>
            <p:cNvSpPr/>
            <p:nvPr/>
          </p:nvSpPr>
          <p:spPr>
            <a:xfrm>
              <a:off x="4318750" y="4315814"/>
              <a:ext cx="120450" cy="197110"/>
            </a:xfrm>
            <a:custGeom>
              <a:avLst/>
              <a:gdLst>
                <a:gd name="connsiteX0" fmla="*/ 73343 w 122872"/>
                <a:gd name="connsiteY0" fmla="*/ 53435 h 201072"/>
                <a:gd name="connsiteX1" fmla="*/ 87630 w 122872"/>
                <a:gd name="connsiteY1" fmla="*/ 42863 h 201072"/>
                <a:gd name="connsiteX2" fmla="*/ 101918 w 122872"/>
                <a:gd name="connsiteY2" fmla="*/ 53435 h 201072"/>
                <a:gd name="connsiteX3" fmla="*/ 116205 w 122872"/>
                <a:gd name="connsiteY3" fmla="*/ 70485 h 201072"/>
                <a:gd name="connsiteX4" fmla="*/ 112395 w 122872"/>
                <a:gd name="connsiteY4" fmla="*/ 84772 h 201072"/>
                <a:gd name="connsiteX5" fmla="*/ 105728 w 122872"/>
                <a:gd name="connsiteY5" fmla="*/ 95250 h 201072"/>
                <a:gd name="connsiteX6" fmla="*/ 95250 w 122872"/>
                <a:gd name="connsiteY6" fmla="*/ 109538 h 201072"/>
                <a:gd name="connsiteX7" fmla="*/ 91440 w 122872"/>
                <a:gd name="connsiteY7" fmla="*/ 127635 h 201072"/>
                <a:gd name="connsiteX8" fmla="*/ 98108 w 122872"/>
                <a:gd name="connsiteY8" fmla="*/ 134398 h 201072"/>
                <a:gd name="connsiteX9" fmla="*/ 105728 w 122872"/>
                <a:gd name="connsiteY9" fmla="*/ 144875 h 201072"/>
                <a:gd name="connsiteX10" fmla="*/ 112395 w 122872"/>
                <a:gd name="connsiteY10" fmla="*/ 151447 h 201072"/>
                <a:gd name="connsiteX11" fmla="*/ 116205 w 122872"/>
                <a:gd name="connsiteY11" fmla="*/ 159163 h 201072"/>
                <a:gd name="connsiteX12" fmla="*/ 122872 w 122872"/>
                <a:gd name="connsiteY12" fmla="*/ 176213 h 201072"/>
                <a:gd name="connsiteX13" fmla="*/ 116205 w 122872"/>
                <a:gd name="connsiteY13" fmla="*/ 183928 h 201072"/>
                <a:gd name="connsiteX14" fmla="*/ 101918 w 122872"/>
                <a:gd name="connsiteY14" fmla="*/ 190500 h 201072"/>
                <a:gd name="connsiteX15" fmla="*/ 91440 w 122872"/>
                <a:gd name="connsiteY15" fmla="*/ 198215 h 201072"/>
                <a:gd name="connsiteX16" fmla="*/ 73343 w 122872"/>
                <a:gd name="connsiteY16" fmla="*/ 201073 h 201072"/>
                <a:gd name="connsiteX17" fmla="*/ 60008 w 122872"/>
                <a:gd name="connsiteY17" fmla="*/ 201073 h 201072"/>
                <a:gd name="connsiteX18" fmla="*/ 45720 w 122872"/>
                <a:gd name="connsiteY18" fmla="*/ 186785 h 201072"/>
                <a:gd name="connsiteX19" fmla="*/ 35243 w 122872"/>
                <a:gd name="connsiteY19" fmla="*/ 173450 h 201072"/>
                <a:gd name="connsiteX20" fmla="*/ 35243 w 122872"/>
                <a:gd name="connsiteY20" fmla="*/ 159163 h 201072"/>
                <a:gd name="connsiteX21" fmla="*/ 35243 w 122872"/>
                <a:gd name="connsiteY21" fmla="*/ 138113 h 201072"/>
                <a:gd name="connsiteX22" fmla="*/ 45720 w 122872"/>
                <a:gd name="connsiteY22" fmla="*/ 127635 h 201072"/>
                <a:gd name="connsiteX23" fmla="*/ 38100 w 122872"/>
                <a:gd name="connsiteY23" fmla="*/ 109538 h 201072"/>
                <a:gd name="connsiteX24" fmla="*/ 31433 w 122872"/>
                <a:gd name="connsiteY24" fmla="*/ 88678 h 201072"/>
                <a:gd name="connsiteX25" fmla="*/ 10478 w 122872"/>
                <a:gd name="connsiteY25" fmla="*/ 88678 h 201072"/>
                <a:gd name="connsiteX26" fmla="*/ 3810 w 122872"/>
                <a:gd name="connsiteY26" fmla="*/ 74390 h 201072"/>
                <a:gd name="connsiteX27" fmla="*/ 0 w 122872"/>
                <a:gd name="connsiteY27" fmla="*/ 60103 h 201072"/>
                <a:gd name="connsiteX28" fmla="*/ 6668 w 122872"/>
                <a:gd name="connsiteY28" fmla="*/ 49625 h 201072"/>
                <a:gd name="connsiteX29" fmla="*/ 24765 w 122872"/>
                <a:gd name="connsiteY29" fmla="*/ 39148 h 201072"/>
                <a:gd name="connsiteX30" fmla="*/ 20955 w 122872"/>
                <a:gd name="connsiteY30" fmla="*/ 24860 h 201072"/>
                <a:gd name="connsiteX31" fmla="*/ 27622 w 122872"/>
                <a:gd name="connsiteY31" fmla="*/ 14288 h 201072"/>
                <a:gd name="connsiteX32" fmla="*/ 38100 w 122872"/>
                <a:gd name="connsiteY32" fmla="*/ 0 h 201072"/>
                <a:gd name="connsiteX33" fmla="*/ 49530 w 122872"/>
                <a:gd name="connsiteY33" fmla="*/ 3810 h 201072"/>
                <a:gd name="connsiteX34" fmla="*/ 60008 w 122872"/>
                <a:gd name="connsiteY34" fmla="*/ 10573 h 201072"/>
                <a:gd name="connsiteX35" fmla="*/ 73343 w 122872"/>
                <a:gd name="connsiteY35" fmla="*/ 21050 h 201072"/>
                <a:gd name="connsiteX36" fmla="*/ 77153 w 122872"/>
                <a:gd name="connsiteY36" fmla="*/ 28575 h 201072"/>
                <a:gd name="connsiteX37" fmla="*/ 77153 w 122872"/>
                <a:gd name="connsiteY37" fmla="*/ 39148 h 201072"/>
                <a:gd name="connsiteX38" fmla="*/ 73343 w 122872"/>
                <a:gd name="connsiteY38" fmla="*/ 53435 h 201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22872" h="201072">
                  <a:moveTo>
                    <a:pt x="73343" y="53435"/>
                  </a:moveTo>
                  <a:lnTo>
                    <a:pt x="87630" y="42863"/>
                  </a:lnTo>
                  <a:lnTo>
                    <a:pt x="101918" y="53435"/>
                  </a:lnTo>
                  <a:lnTo>
                    <a:pt x="116205" y="70485"/>
                  </a:lnTo>
                  <a:lnTo>
                    <a:pt x="112395" y="84772"/>
                  </a:lnTo>
                  <a:lnTo>
                    <a:pt x="105728" y="95250"/>
                  </a:lnTo>
                  <a:lnTo>
                    <a:pt x="95250" y="109538"/>
                  </a:lnTo>
                  <a:lnTo>
                    <a:pt x="91440" y="127635"/>
                  </a:lnTo>
                  <a:lnTo>
                    <a:pt x="98108" y="134398"/>
                  </a:lnTo>
                  <a:lnTo>
                    <a:pt x="105728" y="144875"/>
                  </a:lnTo>
                  <a:lnTo>
                    <a:pt x="112395" y="151447"/>
                  </a:lnTo>
                  <a:lnTo>
                    <a:pt x="116205" y="159163"/>
                  </a:lnTo>
                  <a:lnTo>
                    <a:pt x="122872" y="176213"/>
                  </a:lnTo>
                  <a:lnTo>
                    <a:pt x="116205" y="183928"/>
                  </a:lnTo>
                  <a:lnTo>
                    <a:pt x="101918" y="190500"/>
                  </a:lnTo>
                  <a:lnTo>
                    <a:pt x="91440" y="198215"/>
                  </a:lnTo>
                  <a:lnTo>
                    <a:pt x="73343" y="201073"/>
                  </a:lnTo>
                  <a:lnTo>
                    <a:pt x="60008" y="201073"/>
                  </a:lnTo>
                  <a:lnTo>
                    <a:pt x="45720" y="186785"/>
                  </a:lnTo>
                  <a:lnTo>
                    <a:pt x="35243" y="173450"/>
                  </a:lnTo>
                  <a:lnTo>
                    <a:pt x="35243" y="159163"/>
                  </a:lnTo>
                  <a:lnTo>
                    <a:pt x="35243" y="138113"/>
                  </a:lnTo>
                  <a:lnTo>
                    <a:pt x="45720" y="127635"/>
                  </a:lnTo>
                  <a:lnTo>
                    <a:pt x="38100" y="109538"/>
                  </a:lnTo>
                  <a:lnTo>
                    <a:pt x="31433" y="88678"/>
                  </a:lnTo>
                  <a:lnTo>
                    <a:pt x="10478" y="88678"/>
                  </a:lnTo>
                  <a:lnTo>
                    <a:pt x="3810" y="74390"/>
                  </a:lnTo>
                  <a:lnTo>
                    <a:pt x="0" y="60103"/>
                  </a:lnTo>
                  <a:lnTo>
                    <a:pt x="6668" y="49625"/>
                  </a:lnTo>
                  <a:lnTo>
                    <a:pt x="24765" y="39148"/>
                  </a:lnTo>
                  <a:lnTo>
                    <a:pt x="20955" y="24860"/>
                  </a:lnTo>
                  <a:lnTo>
                    <a:pt x="27622" y="14288"/>
                  </a:lnTo>
                  <a:lnTo>
                    <a:pt x="38100" y="0"/>
                  </a:lnTo>
                  <a:lnTo>
                    <a:pt x="49530" y="3810"/>
                  </a:lnTo>
                  <a:lnTo>
                    <a:pt x="60008" y="10573"/>
                  </a:lnTo>
                  <a:lnTo>
                    <a:pt x="73343" y="21050"/>
                  </a:lnTo>
                  <a:lnTo>
                    <a:pt x="77153" y="28575"/>
                  </a:lnTo>
                  <a:lnTo>
                    <a:pt x="77153" y="39148"/>
                  </a:lnTo>
                  <a:lnTo>
                    <a:pt x="73343" y="5343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88" name="Freeform: Shape 3387">
              <a:extLst>
                <a:ext uri="{FF2B5EF4-FFF2-40B4-BE49-F238E27FC236}">
                  <a16:creationId xmlns:a16="http://schemas.microsoft.com/office/drawing/2014/main" id="{AC5994A3-2CB8-3A1C-E5C9-B4143526FA2D}"/>
                </a:ext>
              </a:extLst>
            </p:cNvPr>
            <p:cNvSpPr/>
            <p:nvPr/>
          </p:nvSpPr>
          <p:spPr>
            <a:xfrm>
              <a:off x="4501760" y="4388738"/>
              <a:ext cx="82167" cy="103551"/>
            </a:xfrm>
            <a:custGeom>
              <a:avLst/>
              <a:gdLst>
                <a:gd name="connsiteX0" fmla="*/ 10478 w 83819"/>
                <a:gd name="connsiteY0" fmla="*/ 0 h 105632"/>
                <a:gd name="connsiteX1" fmla="*/ 27622 w 83819"/>
                <a:gd name="connsiteY1" fmla="*/ 3810 h 105632"/>
                <a:gd name="connsiteX2" fmla="*/ 49530 w 83819"/>
                <a:gd name="connsiteY2" fmla="*/ 10382 h 105632"/>
                <a:gd name="connsiteX3" fmla="*/ 66675 w 83819"/>
                <a:gd name="connsiteY3" fmla="*/ 20860 h 105632"/>
                <a:gd name="connsiteX4" fmla="*/ 77153 w 83819"/>
                <a:gd name="connsiteY4" fmla="*/ 35147 h 105632"/>
                <a:gd name="connsiteX5" fmla="*/ 83820 w 83819"/>
                <a:gd name="connsiteY5" fmla="*/ 45720 h 105632"/>
                <a:gd name="connsiteX6" fmla="*/ 73343 w 83819"/>
                <a:gd name="connsiteY6" fmla="*/ 60007 h 105632"/>
                <a:gd name="connsiteX7" fmla="*/ 62865 w 83819"/>
                <a:gd name="connsiteY7" fmla="*/ 80963 h 105632"/>
                <a:gd name="connsiteX8" fmla="*/ 52388 w 83819"/>
                <a:gd name="connsiteY8" fmla="*/ 105632 h 105632"/>
                <a:gd name="connsiteX9" fmla="*/ 41910 w 83819"/>
                <a:gd name="connsiteY9" fmla="*/ 99060 h 105632"/>
                <a:gd name="connsiteX10" fmla="*/ 24765 w 83819"/>
                <a:gd name="connsiteY10" fmla="*/ 95250 h 105632"/>
                <a:gd name="connsiteX11" fmla="*/ 14288 w 83819"/>
                <a:gd name="connsiteY11" fmla="*/ 101822 h 105632"/>
                <a:gd name="connsiteX12" fmla="*/ 2857 w 83819"/>
                <a:gd name="connsiteY12" fmla="*/ 101822 h 105632"/>
                <a:gd name="connsiteX13" fmla="*/ 2857 w 83819"/>
                <a:gd name="connsiteY13" fmla="*/ 88582 h 105632"/>
                <a:gd name="connsiteX14" fmla="*/ 10478 w 83819"/>
                <a:gd name="connsiteY14" fmla="*/ 63722 h 105632"/>
                <a:gd name="connsiteX15" fmla="*/ 17145 w 83819"/>
                <a:gd name="connsiteY15" fmla="*/ 49435 h 105632"/>
                <a:gd name="connsiteX16" fmla="*/ 6668 w 83819"/>
                <a:gd name="connsiteY16" fmla="*/ 41910 h 105632"/>
                <a:gd name="connsiteX17" fmla="*/ 0 w 83819"/>
                <a:gd name="connsiteY17" fmla="*/ 31432 h 105632"/>
                <a:gd name="connsiteX18" fmla="*/ 0 w 83819"/>
                <a:gd name="connsiteY18" fmla="*/ 20860 h 105632"/>
                <a:gd name="connsiteX19" fmla="*/ 2857 w 83819"/>
                <a:gd name="connsiteY19" fmla="*/ 10382 h 105632"/>
                <a:gd name="connsiteX20" fmla="*/ 10478 w 83819"/>
                <a:gd name="connsiteY20" fmla="*/ 0 h 105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83819" h="105632">
                  <a:moveTo>
                    <a:pt x="10478" y="0"/>
                  </a:moveTo>
                  <a:lnTo>
                    <a:pt x="27622" y="3810"/>
                  </a:lnTo>
                  <a:lnTo>
                    <a:pt x="49530" y="10382"/>
                  </a:lnTo>
                  <a:lnTo>
                    <a:pt x="66675" y="20860"/>
                  </a:lnTo>
                  <a:lnTo>
                    <a:pt x="77153" y="35147"/>
                  </a:lnTo>
                  <a:lnTo>
                    <a:pt x="83820" y="45720"/>
                  </a:lnTo>
                  <a:lnTo>
                    <a:pt x="73343" y="60007"/>
                  </a:lnTo>
                  <a:lnTo>
                    <a:pt x="62865" y="80963"/>
                  </a:lnTo>
                  <a:lnTo>
                    <a:pt x="52388" y="105632"/>
                  </a:lnTo>
                  <a:lnTo>
                    <a:pt x="41910" y="99060"/>
                  </a:lnTo>
                  <a:lnTo>
                    <a:pt x="24765" y="95250"/>
                  </a:lnTo>
                  <a:lnTo>
                    <a:pt x="14288" y="101822"/>
                  </a:lnTo>
                  <a:lnTo>
                    <a:pt x="2857" y="101822"/>
                  </a:lnTo>
                  <a:lnTo>
                    <a:pt x="2857" y="88582"/>
                  </a:lnTo>
                  <a:lnTo>
                    <a:pt x="10478" y="63722"/>
                  </a:lnTo>
                  <a:lnTo>
                    <a:pt x="17145" y="49435"/>
                  </a:lnTo>
                  <a:lnTo>
                    <a:pt x="6668" y="41910"/>
                  </a:lnTo>
                  <a:lnTo>
                    <a:pt x="0" y="31432"/>
                  </a:lnTo>
                  <a:lnTo>
                    <a:pt x="0" y="20860"/>
                  </a:lnTo>
                  <a:lnTo>
                    <a:pt x="2857" y="10382"/>
                  </a:lnTo>
                  <a:lnTo>
                    <a:pt x="1047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92" name="Freeform: Shape 3391">
              <a:extLst>
                <a:ext uri="{FF2B5EF4-FFF2-40B4-BE49-F238E27FC236}">
                  <a16:creationId xmlns:a16="http://schemas.microsoft.com/office/drawing/2014/main" id="{AFC45A04-8997-2EE7-4575-BA5BEA6502AC}"/>
                </a:ext>
              </a:extLst>
            </p:cNvPr>
            <p:cNvSpPr/>
            <p:nvPr/>
          </p:nvSpPr>
          <p:spPr>
            <a:xfrm>
              <a:off x="4408388" y="4384910"/>
              <a:ext cx="110178" cy="111207"/>
            </a:xfrm>
            <a:custGeom>
              <a:avLst/>
              <a:gdLst>
                <a:gd name="connsiteX0" fmla="*/ 24765 w 112394"/>
                <a:gd name="connsiteY0" fmla="*/ 0 h 113442"/>
                <a:gd name="connsiteX1" fmla="*/ 39053 w 112394"/>
                <a:gd name="connsiteY1" fmla="*/ 0 h 113442"/>
                <a:gd name="connsiteX2" fmla="*/ 56197 w 112394"/>
                <a:gd name="connsiteY2" fmla="*/ 3905 h 113442"/>
                <a:gd name="connsiteX3" fmla="*/ 62865 w 112394"/>
                <a:gd name="connsiteY3" fmla="*/ 3905 h 113442"/>
                <a:gd name="connsiteX4" fmla="*/ 74295 w 112394"/>
                <a:gd name="connsiteY4" fmla="*/ 3905 h 113442"/>
                <a:gd name="connsiteX5" fmla="*/ 84772 w 112394"/>
                <a:gd name="connsiteY5" fmla="*/ 3905 h 113442"/>
                <a:gd name="connsiteX6" fmla="*/ 95250 w 112394"/>
                <a:gd name="connsiteY6" fmla="*/ 3905 h 113442"/>
                <a:gd name="connsiteX7" fmla="*/ 105728 w 112394"/>
                <a:gd name="connsiteY7" fmla="*/ 3905 h 113442"/>
                <a:gd name="connsiteX8" fmla="*/ 95250 w 112394"/>
                <a:gd name="connsiteY8" fmla="*/ 24765 h 113442"/>
                <a:gd name="connsiteX9" fmla="*/ 95250 w 112394"/>
                <a:gd name="connsiteY9" fmla="*/ 35338 h 113442"/>
                <a:gd name="connsiteX10" fmla="*/ 101918 w 112394"/>
                <a:gd name="connsiteY10" fmla="*/ 45815 h 113442"/>
                <a:gd name="connsiteX11" fmla="*/ 112395 w 112394"/>
                <a:gd name="connsiteY11" fmla="*/ 53340 h 113442"/>
                <a:gd name="connsiteX12" fmla="*/ 98107 w 112394"/>
                <a:gd name="connsiteY12" fmla="*/ 92488 h 113442"/>
                <a:gd name="connsiteX13" fmla="*/ 98107 w 112394"/>
                <a:gd name="connsiteY13" fmla="*/ 105728 h 113442"/>
                <a:gd name="connsiteX14" fmla="*/ 87630 w 112394"/>
                <a:gd name="connsiteY14" fmla="*/ 102965 h 113442"/>
                <a:gd name="connsiteX15" fmla="*/ 74295 w 112394"/>
                <a:gd name="connsiteY15" fmla="*/ 99155 h 113442"/>
                <a:gd name="connsiteX16" fmla="*/ 62865 w 112394"/>
                <a:gd name="connsiteY16" fmla="*/ 95250 h 113442"/>
                <a:gd name="connsiteX17" fmla="*/ 56197 w 112394"/>
                <a:gd name="connsiteY17" fmla="*/ 95250 h 113442"/>
                <a:gd name="connsiteX18" fmla="*/ 56197 w 112394"/>
                <a:gd name="connsiteY18" fmla="*/ 105728 h 113442"/>
                <a:gd name="connsiteX19" fmla="*/ 52388 w 112394"/>
                <a:gd name="connsiteY19" fmla="*/ 113443 h 113442"/>
                <a:gd name="connsiteX20" fmla="*/ 49530 w 112394"/>
                <a:gd name="connsiteY20" fmla="*/ 113443 h 113442"/>
                <a:gd name="connsiteX21" fmla="*/ 39053 w 112394"/>
                <a:gd name="connsiteY21" fmla="*/ 113443 h 113442"/>
                <a:gd name="connsiteX22" fmla="*/ 31432 w 112394"/>
                <a:gd name="connsiteY22" fmla="*/ 105728 h 113442"/>
                <a:gd name="connsiteX23" fmla="*/ 20955 w 112394"/>
                <a:gd name="connsiteY23" fmla="*/ 80963 h 113442"/>
                <a:gd name="connsiteX24" fmla="*/ 0 w 112394"/>
                <a:gd name="connsiteY24" fmla="*/ 57150 h 113442"/>
                <a:gd name="connsiteX25" fmla="*/ 3810 w 112394"/>
                <a:gd name="connsiteY25" fmla="*/ 39053 h 113442"/>
                <a:gd name="connsiteX26" fmla="*/ 14288 w 112394"/>
                <a:gd name="connsiteY26" fmla="*/ 24765 h 113442"/>
                <a:gd name="connsiteX27" fmla="*/ 20955 w 112394"/>
                <a:gd name="connsiteY27" fmla="*/ 14288 h 113442"/>
                <a:gd name="connsiteX28" fmla="*/ 24765 w 112394"/>
                <a:gd name="connsiteY28" fmla="*/ 0 h 113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12394" h="113442">
                  <a:moveTo>
                    <a:pt x="24765" y="0"/>
                  </a:moveTo>
                  <a:lnTo>
                    <a:pt x="39053" y="0"/>
                  </a:lnTo>
                  <a:lnTo>
                    <a:pt x="56197" y="3905"/>
                  </a:lnTo>
                  <a:lnTo>
                    <a:pt x="62865" y="3905"/>
                  </a:lnTo>
                  <a:lnTo>
                    <a:pt x="74295" y="3905"/>
                  </a:lnTo>
                  <a:lnTo>
                    <a:pt x="84772" y="3905"/>
                  </a:lnTo>
                  <a:lnTo>
                    <a:pt x="95250" y="3905"/>
                  </a:lnTo>
                  <a:lnTo>
                    <a:pt x="105728" y="3905"/>
                  </a:lnTo>
                  <a:lnTo>
                    <a:pt x="95250" y="24765"/>
                  </a:lnTo>
                  <a:lnTo>
                    <a:pt x="95250" y="35338"/>
                  </a:lnTo>
                  <a:lnTo>
                    <a:pt x="101918" y="45815"/>
                  </a:lnTo>
                  <a:lnTo>
                    <a:pt x="112395" y="53340"/>
                  </a:lnTo>
                  <a:lnTo>
                    <a:pt x="98107" y="92488"/>
                  </a:lnTo>
                  <a:lnTo>
                    <a:pt x="98107" y="105728"/>
                  </a:lnTo>
                  <a:lnTo>
                    <a:pt x="87630" y="102965"/>
                  </a:lnTo>
                  <a:lnTo>
                    <a:pt x="74295" y="99155"/>
                  </a:lnTo>
                  <a:lnTo>
                    <a:pt x="62865" y="95250"/>
                  </a:lnTo>
                  <a:lnTo>
                    <a:pt x="56197" y="95250"/>
                  </a:lnTo>
                  <a:lnTo>
                    <a:pt x="56197" y="105728"/>
                  </a:lnTo>
                  <a:lnTo>
                    <a:pt x="52388" y="113443"/>
                  </a:lnTo>
                  <a:lnTo>
                    <a:pt x="49530" y="113443"/>
                  </a:lnTo>
                  <a:lnTo>
                    <a:pt x="39053" y="113443"/>
                  </a:lnTo>
                  <a:lnTo>
                    <a:pt x="31432" y="105728"/>
                  </a:lnTo>
                  <a:lnTo>
                    <a:pt x="20955" y="80963"/>
                  </a:lnTo>
                  <a:lnTo>
                    <a:pt x="0" y="57150"/>
                  </a:lnTo>
                  <a:lnTo>
                    <a:pt x="3810" y="39053"/>
                  </a:lnTo>
                  <a:lnTo>
                    <a:pt x="14288" y="24765"/>
                  </a:lnTo>
                  <a:lnTo>
                    <a:pt x="20955" y="14288"/>
                  </a:lnTo>
                  <a:lnTo>
                    <a:pt x="24765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00" name="Freeform: Shape 3399">
              <a:extLst>
                <a:ext uri="{FF2B5EF4-FFF2-40B4-BE49-F238E27FC236}">
                  <a16:creationId xmlns:a16="http://schemas.microsoft.com/office/drawing/2014/main" id="{450729BF-7F16-820B-73FA-A9BA90AC7EFD}"/>
                </a:ext>
              </a:extLst>
            </p:cNvPr>
            <p:cNvSpPr/>
            <p:nvPr/>
          </p:nvSpPr>
          <p:spPr>
            <a:xfrm>
              <a:off x="3769721" y="4547473"/>
              <a:ext cx="341743" cy="505055"/>
            </a:xfrm>
            <a:custGeom>
              <a:avLst/>
              <a:gdLst>
                <a:gd name="connsiteX0" fmla="*/ 3810 w 348615"/>
                <a:gd name="connsiteY0" fmla="*/ 119920 h 515207"/>
                <a:gd name="connsiteX1" fmla="*/ 10477 w 348615"/>
                <a:gd name="connsiteY1" fmla="*/ 105632 h 515207"/>
                <a:gd name="connsiteX2" fmla="*/ 17145 w 348615"/>
                <a:gd name="connsiteY2" fmla="*/ 95250 h 515207"/>
                <a:gd name="connsiteX3" fmla="*/ 27622 w 348615"/>
                <a:gd name="connsiteY3" fmla="*/ 95250 h 515207"/>
                <a:gd name="connsiteX4" fmla="*/ 27622 w 348615"/>
                <a:gd name="connsiteY4" fmla="*/ 116110 h 515207"/>
                <a:gd name="connsiteX5" fmla="*/ 41910 w 348615"/>
                <a:gd name="connsiteY5" fmla="*/ 119920 h 515207"/>
                <a:gd name="connsiteX6" fmla="*/ 60007 w 348615"/>
                <a:gd name="connsiteY6" fmla="*/ 138113 h 515207"/>
                <a:gd name="connsiteX7" fmla="*/ 77153 w 348615"/>
                <a:gd name="connsiteY7" fmla="*/ 123825 h 515207"/>
                <a:gd name="connsiteX8" fmla="*/ 84772 w 348615"/>
                <a:gd name="connsiteY8" fmla="*/ 105632 h 515207"/>
                <a:gd name="connsiteX9" fmla="*/ 95250 w 348615"/>
                <a:gd name="connsiteY9" fmla="*/ 92297 h 515207"/>
                <a:gd name="connsiteX10" fmla="*/ 105728 w 348615"/>
                <a:gd name="connsiteY10" fmla="*/ 80963 h 515207"/>
                <a:gd name="connsiteX11" fmla="*/ 126682 w 348615"/>
                <a:gd name="connsiteY11" fmla="*/ 70485 h 515207"/>
                <a:gd name="connsiteX12" fmla="*/ 140970 w 348615"/>
                <a:gd name="connsiteY12" fmla="*/ 63722 h 515207"/>
                <a:gd name="connsiteX13" fmla="*/ 147638 w 348615"/>
                <a:gd name="connsiteY13" fmla="*/ 60007 h 515207"/>
                <a:gd name="connsiteX14" fmla="*/ 158115 w 348615"/>
                <a:gd name="connsiteY14" fmla="*/ 45720 h 515207"/>
                <a:gd name="connsiteX15" fmla="*/ 165735 w 348615"/>
                <a:gd name="connsiteY15" fmla="*/ 32385 h 515207"/>
                <a:gd name="connsiteX16" fmla="*/ 168592 w 348615"/>
                <a:gd name="connsiteY16" fmla="*/ 0 h 515207"/>
                <a:gd name="connsiteX17" fmla="*/ 182880 w 348615"/>
                <a:gd name="connsiteY17" fmla="*/ 3810 h 515207"/>
                <a:gd name="connsiteX18" fmla="*/ 193357 w 348615"/>
                <a:gd name="connsiteY18" fmla="*/ 18097 h 515207"/>
                <a:gd name="connsiteX19" fmla="*/ 200978 w 348615"/>
                <a:gd name="connsiteY19" fmla="*/ 24670 h 515207"/>
                <a:gd name="connsiteX20" fmla="*/ 211455 w 348615"/>
                <a:gd name="connsiteY20" fmla="*/ 35147 h 515207"/>
                <a:gd name="connsiteX21" fmla="*/ 221932 w 348615"/>
                <a:gd name="connsiteY21" fmla="*/ 45720 h 515207"/>
                <a:gd name="connsiteX22" fmla="*/ 228600 w 348615"/>
                <a:gd name="connsiteY22" fmla="*/ 60007 h 515207"/>
                <a:gd name="connsiteX23" fmla="*/ 302895 w 348615"/>
                <a:gd name="connsiteY23" fmla="*/ 63722 h 515207"/>
                <a:gd name="connsiteX24" fmla="*/ 306705 w 348615"/>
                <a:gd name="connsiteY24" fmla="*/ 74295 h 515207"/>
                <a:gd name="connsiteX25" fmla="*/ 309563 w 348615"/>
                <a:gd name="connsiteY25" fmla="*/ 84772 h 515207"/>
                <a:gd name="connsiteX26" fmla="*/ 302895 w 348615"/>
                <a:gd name="connsiteY26" fmla="*/ 95250 h 515207"/>
                <a:gd name="connsiteX27" fmla="*/ 302895 w 348615"/>
                <a:gd name="connsiteY27" fmla="*/ 113347 h 515207"/>
                <a:gd name="connsiteX28" fmla="*/ 313372 w 348615"/>
                <a:gd name="connsiteY28" fmla="*/ 119920 h 515207"/>
                <a:gd name="connsiteX29" fmla="*/ 302895 w 348615"/>
                <a:gd name="connsiteY29" fmla="*/ 119920 h 515207"/>
                <a:gd name="connsiteX30" fmla="*/ 274320 w 348615"/>
                <a:gd name="connsiteY30" fmla="*/ 123825 h 515207"/>
                <a:gd name="connsiteX31" fmla="*/ 249555 w 348615"/>
                <a:gd name="connsiteY31" fmla="*/ 134207 h 515207"/>
                <a:gd name="connsiteX32" fmla="*/ 232410 w 348615"/>
                <a:gd name="connsiteY32" fmla="*/ 155257 h 515207"/>
                <a:gd name="connsiteX33" fmla="*/ 228600 w 348615"/>
                <a:gd name="connsiteY33" fmla="*/ 173260 h 515207"/>
                <a:gd name="connsiteX34" fmla="*/ 218122 w 348615"/>
                <a:gd name="connsiteY34" fmla="*/ 183832 h 515207"/>
                <a:gd name="connsiteX35" fmla="*/ 203835 w 348615"/>
                <a:gd name="connsiteY35" fmla="*/ 204788 h 515207"/>
                <a:gd name="connsiteX36" fmla="*/ 211455 w 348615"/>
                <a:gd name="connsiteY36" fmla="*/ 222885 h 515207"/>
                <a:gd name="connsiteX37" fmla="*/ 218122 w 348615"/>
                <a:gd name="connsiteY37" fmla="*/ 243745 h 515207"/>
                <a:gd name="connsiteX38" fmla="*/ 236220 w 348615"/>
                <a:gd name="connsiteY38" fmla="*/ 260985 h 515207"/>
                <a:gd name="connsiteX39" fmla="*/ 253365 w 348615"/>
                <a:gd name="connsiteY39" fmla="*/ 279082 h 515207"/>
                <a:gd name="connsiteX40" fmla="*/ 267653 w 348615"/>
                <a:gd name="connsiteY40" fmla="*/ 281845 h 515207"/>
                <a:gd name="connsiteX41" fmla="*/ 284797 w 348615"/>
                <a:gd name="connsiteY41" fmla="*/ 275272 h 515207"/>
                <a:gd name="connsiteX42" fmla="*/ 299085 w 348615"/>
                <a:gd name="connsiteY42" fmla="*/ 260985 h 515207"/>
                <a:gd name="connsiteX43" fmla="*/ 302895 w 348615"/>
                <a:gd name="connsiteY43" fmla="*/ 271463 h 515207"/>
                <a:gd name="connsiteX44" fmla="*/ 295275 w 348615"/>
                <a:gd name="connsiteY44" fmla="*/ 293370 h 515207"/>
                <a:gd name="connsiteX45" fmla="*/ 299085 w 348615"/>
                <a:gd name="connsiteY45" fmla="*/ 303847 h 515207"/>
                <a:gd name="connsiteX46" fmla="*/ 309563 w 348615"/>
                <a:gd name="connsiteY46" fmla="*/ 303847 h 515207"/>
                <a:gd name="connsiteX47" fmla="*/ 330517 w 348615"/>
                <a:gd name="connsiteY47" fmla="*/ 306610 h 515207"/>
                <a:gd name="connsiteX48" fmla="*/ 348615 w 348615"/>
                <a:gd name="connsiteY48" fmla="*/ 353282 h 515207"/>
                <a:gd name="connsiteX49" fmla="*/ 348615 w 348615"/>
                <a:gd name="connsiteY49" fmla="*/ 366713 h 515207"/>
                <a:gd name="connsiteX50" fmla="*/ 344805 w 348615"/>
                <a:gd name="connsiteY50" fmla="*/ 391382 h 515207"/>
                <a:gd name="connsiteX51" fmla="*/ 344805 w 348615"/>
                <a:gd name="connsiteY51" fmla="*/ 401860 h 515207"/>
                <a:gd name="connsiteX52" fmla="*/ 341947 w 348615"/>
                <a:gd name="connsiteY52" fmla="*/ 405670 h 515207"/>
                <a:gd name="connsiteX53" fmla="*/ 334328 w 348615"/>
                <a:gd name="connsiteY53" fmla="*/ 423863 h 515207"/>
                <a:gd name="connsiteX54" fmla="*/ 330517 w 348615"/>
                <a:gd name="connsiteY54" fmla="*/ 441007 h 515207"/>
                <a:gd name="connsiteX55" fmla="*/ 338138 w 348615"/>
                <a:gd name="connsiteY55" fmla="*/ 451485 h 515207"/>
                <a:gd name="connsiteX56" fmla="*/ 348615 w 348615"/>
                <a:gd name="connsiteY56" fmla="*/ 461963 h 515207"/>
                <a:gd name="connsiteX57" fmla="*/ 341947 w 348615"/>
                <a:gd name="connsiteY57" fmla="*/ 472345 h 515207"/>
                <a:gd name="connsiteX58" fmla="*/ 327660 w 348615"/>
                <a:gd name="connsiteY58" fmla="*/ 486632 h 515207"/>
                <a:gd name="connsiteX59" fmla="*/ 323850 w 348615"/>
                <a:gd name="connsiteY59" fmla="*/ 497110 h 515207"/>
                <a:gd name="connsiteX60" fmla="*/ 317182 w 348615"/>
                <a:gd name="connsiteY60" fmla="*/ 511397 h 515207"/>
                <a:gd name="connsiteX61" fmla="*/ 306705 w 348615"/>
                <a:gd name="connsiteY61" fmla="*/ 515207 h 515207"/>
                <a:gd name="connsiteX62" fmla="*/ 278130 w 348615"/>
                <a:gd name="connsiteY62" fmla="*/ 490538 h 515207"/>
                <a:gd name="connsiteX63" fmla="*/ 246697 w 348615"/>
                <a:gd name="connsiteY63" fmla="*/ 472345 h 515207"/>
                <a:gd name="connsiteX64" fmla="*/ 207645 w 348615"/>
                <a:gd name="connsiteY64" fmla="*/ 455295 h 515207"/>
                <a:gd name="connsiteX65" fmla="*/ 176213 w 348615"/>
                <a:gd name="connsiteY65" fmla="*/ 437197 h 515207"/>
                <a:gd name="connsiteX66" fmla="*/ 158115 w 348615"/>
                <a:gd name="connsiteY66" fmla="*/ 416147 h 515207"/>
                <a:gd name="connsiteX67" fmla="*/ 133350 w 348615"/>
                <a:gd name="connsiteY67" fmla="*/ 391382 h 515207"/>
                <a:gd name="connsiteX68" fmla="*/ 144780 w 348615"/>
                <a:gd name="connsiteY68" fmla="*/ 377095 h 515207"/>
                <a:gd name="connsiteX69" fmla="*/ 126682 w 348615"/>
                <a:gd name="connsiteY69" fmla="*/ 349472 h 515207"/>
                <a:gd name="connsiteX70" fmla="*/ 112395 w 348615"/>
                <a:gd name="connsiteY70" fmla="*/ 328613 h 515207"/>
                <a:gd name="connsiteX71" fmla="*/ 98107 w 348615"/>
                <a:gd name="connsiteY71" fmla="*/ 303847 h 515207"/>
                <a:gd name="connsiteX72" fmla="*/ 84772 w 348615"/>
                <a:gd name="connsiteY72" fmla="*/ 268510 h 515207"/>
                <a:gd name="connsiteX73" fmla="*/ 62865 w 348615"/>
                <a:gd name="connsiteY73" fmla="*/ 233363 h 515207"/>
                <a:gd name="connsiteX74" fmla="*/ 45720 w 348615"/>
                <a:gd name="connsiteY74" fmla="*/ 198120 h 515207"/>
                <a:gd name="connsiteX75" fmla="*/ 27622 w 348615"/>
                <a:gd name="connsiteY75" fmla="*/ 180022 h 515207"/>
                <a:gd name="connsiteX76" fmla="*/ 6667 w 348615"/>
                <a:gd name="connsiteY76" fmla="*/ 169545 h 515207"/>
                <a:gd name="connsiteX77" fmla="*/ 10477 w 348615"/>
                <a:gd name="connsiteY77" fmla="*/ 148495 h 515207"/>
                <a:gd name="connsiteX78" fmla="*/ 0 w 348615"/>
                <a:gd name="connsiteY78" fmla="*/ 138113 h 515207"/>
                <a:gd name="connsiteX79" fmla="*/ 3810 w 348615"/>
                <a:gd name="connsiteY79" fmla="*/ 119920 h 51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348615" h="515207">
                  <a:moveTo>
                    <a:pt x="3810" y="119920"/>
                  </a:moveTo>
                  <a:lnTo>
                    <a:pt x="10477" y="105632"/>
                  </a:lnTo>
                  <a:lnTo>
                    <a:pt x="17145" y="95250"/>
                  </a:lnTo>
                  <a:lnTo>
                    <a:pt x="27622" y="95250"/>
                  </a:lnTo>
                  <a:lnTo>
                    <a:pt x="27622" y="116110"/>
                  </a:lnTo>
                  <a:lnTo>
                    <a:pt x="41910" y="119920"/>
                  </a:lnTo>
                  <a:lnTo>
                    <a:pt x="60007" y="138113"/>
                  </a:lnTo>
                  <a:lnTo>
                    <a:pt x="77153" y="123825"/>
                  </a:lnTo>
                  <a:lnTo>
                    <a:pt x="84772" y="105632"/>
                  </a:lnTo>
                  <a:lnTo>
                    <a:pt x="95250" y="92297"/>
                  </a:lnTo>
                  <a:lnTo>
                    <a:pt x="105728" y="80963"/>
                  </a:lnTo>
                  <a:lnTo>
                    <a:pt x="126682" y="70485"/>
                  </a:lnTo>
                  <a:lnTo>
                    <a:pt x="140970" y="63722"/>
                  </a:lnTo>
                  <a:lnTo>
                    <a:pt x="147638" y="60007"/>
                  </a:lnTo>
                  <a:lnTo>
                    <a:pt x="158115" y="45720"/>
                  </a:lnTo>
                  <a:lnTo>
                    <a:pt x="165735" y="32385"/>
                  </a:lnTo>
                  <a:lnTo>
                    <a:pt x="168592" y="0"/>
                  </a:lnTo>
                  <a:lnTo>
                    <a:pt x="182880" y="3810"/>
                  </a:lnTo>
                  <a:lnTo>
                    <a:pt x="193357" y="18097"/>
                  </a:lnTo>
                  <a:lnTo>
                    <a:pt x="200978" y="24670"/>
                  </a:lnTo>
                  <a:lnTo>
                    <a:pt x="211455" y="35147"/>
                  </a:lnTo>
                  <a:lnTo>
                    <a:pt x="221932" y="45720"/>
                  </a:lnTo>
                  <a:lnTo>
                    <a:pt x="228600" y="60007"/>
                  </a:lnTo>
                  <a:lnTo>
                    <a:pt x="302895" y="63722"/>
                  </a:lnTo>
                  <a:lnTo>
                    <a:pt x="306705" y="74295"/>
                  </a:lnTo>
                  <a:lnTo>
                    <a:pt x="309563" y="84772"/>
                  </a:lnTo>
                  <a:lnTo>
                    <a:pt x="302895" y="95250"/>
                  </a:lnTo>
                  <a:lnTo>
                    <a:pt x="302895" y="113347"/>
                  </a:lnTo>
                  <a:lnTo>
                    <a:pt x="313372" y="119920"/>
                  </a:lnTo>
                  <a:lnTo>
                    <a:pt x="302895" y="119920"/>
                  </a:lnTo>
                  <a:lnTo>
                    <a:pt x="274320" y="123825"/>
                  </a:lnTo>
                  <a:lnTo>
                    <a:pt x="249555" y="134207"/>
                  </a:lnTo>
                  <a:lnTo>
                    <a:pt x="232410" y="155257"/>
                  </a:lnTo>
                  <a:lnTo>
                    <a:pt x="228600" y="173260"/>
                  </a:lnTo>
                  <a:lnTo>
                    <a:pt x="218122" y="183832"/>
                  </a:lnTo>
                  <a:lnTo>
                    <a:pt x="203835" y="204788"/>
                  </a:lnTo>
                  <a:lnTo>
                    <a:pt x="211455" y="222885"/>
                  </a:lnTo>
                  <a:lnTo>
                    <a:pt x="218122" y="243745"/>
                  </a:lnTo>
                  <a:lnTo>
                    <a:pt x="236220" y="260985"/>
                  </a:lnTo>
                  <a:lnTo>
                    <a:pt x="253365" y="279082"/>
                  </a:lnTo>
                  <a:lnTo>
                    <a:pt x="267653" y="281845"/>
                  </a:lnTo>
                  <a:lnTo>
                    <a:pt x="284797" y="275272"/>
                  </a:lnTo>
                  <a:lnTo>
                    <a:pt x="299085" y="260985"/>
                  </a:lnTo>
                  <a:lnTo>
                    <a:pt x="302895" y="271463"/>
                  </a:lnTo>
                  <a:lnTo>
                    <a:pt x="295275" y="293370"/>
                  </a:lnTo>
                  <a:lnTo>
                    <a:pt x="299085" y="303847"/>
                  </a:lnTo>
                  <a:lnTo>
                    <a:pt x="309563" y="303847"/>
                  </a:lnTo>
                  <a:lnTo>
                    <a:pt x="330517" y="306610"/>
                  </a:lnTo>
                  <a:lnTo>
                    <a:pt x="348615" y="353282"/>
                  </a:lnTo>
                  <a:lnTo>
                    <a:pt x="348615" y="366713"/>
                  </a:lnTo>
                  <a:lnTo>
                    <a:pt x="344805" y="391382"/>
                  </a:lnTo>
                  <a:lnTo>
                    <a:pt x="344805" y="401860"/>
                  </a:lnTo>
                  <a:lnTo>
                    <a:pt x="341947" y="405670"/>
                  </a:lnTo>
                  <a:lnTo>
                    <a:pt x="334328" y="423863"/>
                  </a:lnTo>
                  <a:lnTo>
                    <a:pt x="330517" y="441007"/>
                  </a:lnTo>
                  <a:lnTo>
                    <a:pt x="338138" y="451485"/>
                  </a:lnTo>
                  <a:lnTo>
                    <a:pt x="348615" y="461963"/>
                  </a:lnTo>
                  <a:lnTo>
                    <a:pt x="341947" y="472345"/>
                  </a:lnTo>
                  <a:lnTo>
                    <a:pt x="327660" y="486632"/>
                  </a:lnTo>
                  <a:lnTo>
                    <a:pt x="323850" y="497110"/>
                  </a:lnTo>
                  <a:lnTo>
                    <a:pt x="317182" y="511397"/>
                  </a:lnTo>
                  <a:lnTo>
                    <a:pt x="306705" y="515207"/>
                  </a:lnTo>
                  <a:lnTo>
                    <a:pt x="278130" y="490538"/>
                  </a:lnTo>
                  <a:lnTo>
                    <a:pt x="246697" y="472345"/>
                  </a:lnTo>
                  <a:lnTo>
                    <a:pt x="207645" y="455295"/>
                  </a:lnTo>
                  <a:lnTo>
                    <a:pt x="176213" y="437197"/>
                  </a:lnTo>
                  <a:lnTo>
                    <a:pt x="158115" y="416147"/>
                  </a:lnTo>
                  <a:lnTo>
                    <a:pt x="133350" y="391382"/>
                  </a:lnTo>
                  <a:lnTo>
                    <a:pt x="144780" y="377095"/>
                  </a:lnTo>
                  <a:lnTo>
                    <a:pt x="126682" y="349472"/>
                  </a:lnTo>
                  <a:lnTo>
                    <a:pt x="112395" y="328613"/>
                  </a:lnTo>
                  <a:lnTo>
                    <a:pt x="98107" y="303847"/>
                  </a:lnTo>
                  <a:lnTo>
                    <a:pt x="84772" y="268510"/>
                  </a:lnTo>
                  <a:lnTo>
                    <a:pt x="62865" y="233363"/>
                  </a:lnTo>
                  <a:lnTo>
                    <a:pt x="45720" y="198120"/>
                  </a:lnTo>
                  <a:lnTo>
                    <a:pt x="27622" y="180022"/>
                  </a:lnTo>
                  <a:lnTo>
                    <a:pt x="6667" y="169545"/>
                  </a:lnTo>
                  <a:lnTo>
                    <a:pt x="10477" y="148495"/>
                  </a:lnTo>
                  <a:lnTo>
                    <a:pt x="0" y="138113"/>
                  </a:lnTo>
                  <a:lnTo>
                    <a:pt x="3810" y="11992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54" name="Freeform: Shape 3453">
              <a:extLst>
                <a:ext uri="{FF2B5EF4-FFF2-40B4-BE49-F238E27FC236}">
                  <a16:creationId xmlns:a16="http://schemas.microsoft.com/office/drawing/2014/main" id="{667D8FB9-193E-3E8C-48F8-47966793E0C4}"/>
                </a:ext>
              </a:extLst>
            </p:cNvPr>
            <p:cNvSpPr/>
            <p:nvPr/>
          </p:nvSpPr>
          <p:spPr>
            <a:xfrm>
              <a:off x="4093722" y="4817322"/>
              <a:ext cx="324936" cy="369758"/>
            </a:xfrm>
            <a:custGeom>
              <a:avLst/>
              <a:gdLst>
                <a:gd name="connsiteX0" fmla="*/ 74295 w 331470"/>
                <a:gd name="connsiteY0" fmla="*/ 6572 h 377190"/>
                <a:gd name="connsiteX1" fmla="*/ 95250 w 331470"/>
                <a:gd name="connsiteY1" fmla="*/ 0 h 377190"/>
                <a:gd name="connsiteX2" fmla="*/ 116205 w 331470"/>
                <a:gd name="connsiteY2" fmla="*/ 0 h 377190"/>
                <a:gd name="connsiteX3" fmla="*/ 120015 w 331470"/>
                <a:gd name="connsiteY3" fmla="*/ 49435 h 377190"/>
                <a:gd name="connsiteX4" fmla="*/ 140970 w 331470"/>
                <a:gd name="connsiteY4" fmla="*/ 70485 h 377190"/>
                <a:gd name="connsiteX5" fmla="*/ 176213 w 331470"/>
                <a:gd name="connsiteY5" fmla="*/ 78010 h 377190"/>
                <a:gd name="connsiteX6" fmla="*/ 183833 w 331470"/>
                <a:gd name="connsiteY6" fmla="*/ 88487 h 377190"/>
                <a:gd name="connsiteX7" fmla="*/ 215265 w 331470"/>
                <a:gd name="connsiteY7" fmla="*/ 99060 h 377190"/>
                <a:gd name="connsiteX8" fmla="*/ 250508 w 331470"/>
                <a:gd name="connsiteY8" fmla="*/ 109538 h 377190"/>
                <a:gd name="connsiteX9" fmla="*/ 257175 w 331470"/>
                <a:gd name="connsiteY9" fmla="*/ 130397 h 377190"/>
                <a:gd name="connsiteX10" fmla="*/ 260985 w 331470"/>
                <a:gd name="connsiteY10" fmla="*/ 144685 h 377190"/>
                <a:gd name="connsiteX11" fmla="*/ 257175 w 331470"/>
                <a:gd name="connsiteY11" fmla="*/ 158972 h 377190"/>
                <a:gd name="connsiteX12" fmla="*/ 260985 w 331470"/>
                <a:gd name="connsiteY12" fmla="*/ 180022 h 377190"/>
                <a:gd name="connsiteX13" fmla="*/ 281940 w 331470"/>
                <a:gd name="connsiteY13" fmla="*/ 180022 h 377190"/>
                <a:gd name="connsiteX14" fmla="*/ 310515 w 331470"/>
                <a:gd name="connsiteY14" fmla="*/ 180022 h 377190"/>
                <a:gd name="connsiteX15" fmla="*/ 306705 w 331470"/>
                <a:gd name="connsiteY15" fmla="*/ 194310 h 377190"/>
                <a:gd name="connsiteX16" fmla="*/ 310515 w 331470"/>
                <a:gd name="connsiteY16" fmla="*/ 215265 h 377190"/>
                <a:gd name="connsiteX17" fmla="*/ 327660 w 331470"/>
                <a:gd name="connsiteY17" fmla="*/ 221837 h 377190"/>
                <a:gd name="connsiteX18" fmla="*/ 331470 w 331470"/>
                <a:gd name="connsiteY18" fmla="*/ 239935 h 377190"/>
                <a:gd name="connsiteX19" fmla="*/ 331470 w 331470"/>
                <a:gd name="connsiteY19" fmla="*/ 250412 h 377190"/>
                <a:gd name="connsiteX20" fmla="*/ 317183 w 331470"/>
                <a:gd name="connsiteY20" fmla="*/ 275272 h 377190"/>
                <a:gd name="connsiteX21" fmla="*/ 324803 w 331470"/>
                <a:gd name="connsiteY21" fmla="*/ 285750 h 377190"/>
                <a:gd name="connsiteX22" fmla="*/ 317183 w 331470"/>
                <a:gd name="connsiteY22" fmla="*/ 292322 h 377190"/>
                <a:gd name="connsiteX23" fmla="*/ 306705 w 331470"/>
                <a:gd name="connsiteY23" fmla="*/ 281940 h 377190"/>
                <a:gd name="connsiteX24" fmla="*/ 289560 w 331470"/>
                <a:gd name="connsiteY24" fmla="*/ 271463 h 377190"/>
                <a:gd name="connsiteX25" fmla="*/ 267653 w 331470"/>
                <a:gd name="connsiteY25" fmla="*/ 267653 h 377190"/>
                <a:gd name="connsiteX26" fmla="*/ 240030 w 331470"/>
                <a:gd name="connsiteY26" fmla="*/ 271463 h 377190"/>
                <a:gd name="connsiteX27" fmla="*/ 221933 w 331470"/>
                <a:gd name="connsiteY27" fmla="*/ 278987 h 377190"/>
                <a:gd name="connsiteX28" fmla="*/ 211455 w 331470"/>
                <a:gd name="connsiteY28" fmla="*/ 281940 h 377190"/>
                <a:gd name="connsiteX29" fmla="*/ 200978 w 331470"/>
                <a:gd name="connsiteY29" fmla="*/ 306610 h 377190"/>
                <a:gd name="connsiteX30" fmla="*/ 200978 w 331470"/>
                <a:gd name="connsiteY30" fmla="*/ 324803 h 377190"/>
                <a:gd name="connsiteX31" fmla="*/ 198120 w 331470"/>
                <a:gd name="connsiteY31" fmla="*/ 341947 h 377190"/>
                <a:gd name="connsiteX32" fmla="*/ 190500 w 331470"/>
                <a:gd name="connsiteY32" fmla="*/ 349472 h 377190"/>
                <a:gd name="connsiteX33" fmla="*/ 159068 w 331470"/>
                <a:gd name="connsiteY33" fmla="*/ 349472 h 377190"/>
                <a:gd name="connsiteX34" fmla="*/ 148590 w 331470"/>
                <a:gd name="connsiteY34" fmla="*/ 373285 h 377190"/>
                <a:gd name="connsiteX35" fmla="*/ 130493 w 331470"/>
                <a:gd name="connsiteY35" fmla="*/ 352425 h 377190"/>
                <a:gd name="connsiteX36" fmla="*/ 105728 w 331470"/>
                <a:gd name="connsiteY36" fmla="*/ 356235 h 377190"/>
                <a:gd name="connsiteX37" fmla="*/ 92393 w 331470"/>
                <a:gd name="connsiteY37" fmla="*/ 345662 h 377190"/>
                <a:gd name="connsiteX38" fmla="*/ 78105 w 331470"/>
                <a:gd name="connsiteY38" fmla="*/ 356235 h 377190"/>
                <a:gd name="connsiteX39" fmla="*/ 70485 w 331470"/>
                <a:gd name="connsiteY39" fmla="*/ 370522 h 377190"/>
                <a:gd name="connsiteX40" fmla="*/ 67628 w 331470"/>
                <a:gd name="connsiteY40" fmla="*/ 377190 h 377190"/>
                <a:gd name="connsiteX41" fmla="*/ 57150 w 331470"/>
                <a:gd name="connsiteY41" fmla="*/ 377190 h 377190"/>
                <a:gd name="connsiteX42" fmla="*/ 53340 w 331470"/>
                <a:gd name="connsiteY42" fmla="*/ 377190 h 377190"/>
                <a:gd name="connsiteX43" fmla="*/ 49530 w 331470"/>
                <a:gd name="connsiteY43" fmla="*/ 377190 h 377190"/>
                <a:gd name="connsiteX44" fmla="*/ 46673 w 331470"/>
                <a:gd name="connsiteY44" fmla="*/ 352425 h 377190"/>
                <a:gd name="connsiteX45" fmla="*/ 39053 w 331470"/>
                <a:gd name="connsiteY45" fmla="*/ 327660 h 377190"/>
                <a:gd name="connsiteX46" fmla="*/ 24765 w 331470"/>
                <a:gd name="connsiteY46" fmla="*/ 306610 h 377190"/>
                <a:gd name="connsiteX47" fmla="*/ 24765 w 331470"/>
                <a:gd name="connsiteY47" fmla="*/ 275272 h 377190"/>
                <a:gd name="connsiteX48" fmla="*/ 14288 w 331470"/>
                <a:gd name="connsiteY48" fmla="*/ 254222 h 377190"/>
                <a:gd name="connsiteX49" fmla="*/ 3810 w 331470"/>
                <a:gd name="connsiteY49" fmla="*/ 221837 h 377190"/>
                <a:gd name="connsiteX50" fmla="*/ 0 w 331470"/>
                <a:gd name="connsiteY50" fmla="*/ 207550 h 377190"/>
                <a:gd name="connsiteX51" fmla="*/ 11430 w 331470"/>
                <a:gd name="connsiteY51" fmla="*/ 197072 h 377190"/>
                <a:gd name="connsiteX52" fmla="*/ 18098 w 331470"/>
                <a:gd name="connsiteY52" fmla="*/ 186690 h 377190"/>
                <a:gd name="connsiteX53" fmla="*/ 7620 w 331470"/>
                <a:gd name="connsiteY53" fmla="*/ 176213 h 377190"/>
                <a:gd name="connsiteX54" fmla="*/ 0 w 331470"/>
                <a:gd name="connsiteY54" fmla="*/ 165735 h 377190"/>
                <a:gd name="connsiteX55" fmla="*/ 3810 w 331470"/>
                <a:gd name="connsiteY55" fmla="*/ 148590 h 377190"/>
                <a:gd name="connsiteX56" fmla="*/ 11430 w 331470"/>
                <a:gd name="connsiteY56" fmla="*/ 130397 h 377190"/>
                <a:gd name="connsiteX57" fmla="*/ 14288 w 331470"/>
                <a:gd name="connsiteY57" fmla="*/ 126587 h 377190"/>
                <a:gd name="connsiteX58" fmla="*/ 14288 w 331470"/>
                <a:gd name="connsiteY58" fmla="*/ 116110 h 377190"/>
                <a:gd name="connsiteX59" fmla="*/ 18098 w 331470"/>
                <a:gd name="connsiteY59" fmla="*/ 78010 h 377190"/>
                <a:gd name="connsiteX60" fmla="*/ 0 w 331470"/>
                <a:gd name="connsiteY60" fmla="*/ 31337 h 377190"/>
                <a:gd name="connsiteX61" fmla="*/ 18098 w 331470"/>
                <a:gd name="connsiteY61" fmla="*/ 31337 h 377190"/>
                <a:gd name="connsiteX62" fmla="*/ 35243 w 331470"/>
                <a:gd name="connsiteY62" fmla="*/ 28575 h 377190"/>
                <a:gd name="connsiteX63" fmla="*/ 60008 w 331470"/>
                <a:gd name="connsiteY63" fmla="*/ 18097 h 377190"/>
                <a:gd name="connsiteX64" fmla="*/ 74295 w 331470"/>
                <a:gd name="connsiteY64" fmla="*/ 6572 h 37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331470" h="377190">
                  <a:moveTo>
                    <a:pt x="74295" y="6572"/>
                  </a:moveTo>
                  <a:lnTo>
                    <a:pt x="95250" y="0"/>
                  </a:lnTo>
                  <a:lnTo>
                    <a:pt x="116205" y="0"/>
                  </a:lnTo>
                  <a:lnTo>
                    <a:pt x="120015" y="49435"/>
                  </a:lnTo>
                  <a:lnTo>
                    <a:pt x="140970" y="70485"/>
                  </a:lnTo>
                  <a:lnTo>
                    <a:pt x="176213" y="78010"/>
                  </a:lnTo>
                  <a:lnTo>
                    <a:pt x="183833" y="88487"/>
                  </a:lnTo>
                  <a:lnTo>
                    <a:pt x="215265" y="99060"/>
                  </a:lnTo>
                  <a:lnTo>
                    <a:pt x="250508" y="109538"/>
                  </a:lnTo>
                  <a:lnTo>
                    <a:pt x="257175" y="130397"/>
                  </a:lnTo>
                  <a:lnTo>
                    <a:pt x="260985" y="144685"/>
                  </a:lnTo>
                  <a:lnTo>
                    <a:pt x="257175" y="158972"/>
                  </a:lnTo>
                  <a:lnTo>
                    <a:pt x="260985" y="180022"/>
                  </a:lnTo>
                  <a:lnTo>
                    <a:pt x="281940" y="180022"/>
                  </a:lnTo>
                  <a:lnTo>
                    <a:pt x="310515" y="180022"/>
                  </a:lnTo>
                  <a:lnTo>
                    <a:pt x="306705" y="194310"/>
                  </a:lnTo>
                  <a:lnTo>
                    <a:pt x="310515" y="215265"/>
                  </a:lnTo>
                  <a:lnTo>
                    <a:pt x="327660" y="221837"/>
                  </a:lnTo>
                  <a:lnTo>
                    <a:pt x="331470" y="239935"/>
                  </a:lnTo>
                  <a:lnTo>
                    <a:pt x="331470" y="250412"/>
                  </a:lnTo>
                  <a:lnTo>
                    <a:pt x="317183" y="275272"/>
                  </a:lnTo>
                  <a:lnTo>
                    <a:pt x="324803" y="285750"/>
                  </a:lnTo>
                  <a:lnTo>
                    <a:pt x="317183" y="292322"/>
                  </a:lnTo>
                  <a:lnTo>
                    <a:pt x="306705" y="281940"/>
                  </a:lnTo>
                  <a:lnTo>
                    <a:pt x="289560" y="271463"/>
                  </a:lnTo>
                  <a:lnTo>
                    <a:pt x="267653" y="267653"/>
                  </a:lnTo>
                  <a:lnTo>
                    <a:pt x="240030" y="271463"/>
                  </a:lnTo>
                  <a:lnTo>
                    <a:pt x="221933" y="278987"/>
                  </a:lnTo>
                  <a:lnTo>
                    <a:pt x="211455" y="281940"/>
                  </a:lnTo>
                  <a:lnTo>
                    <a:pt x="200978" y="306610"/>
                  </a:lnTo>
                  <a:lnTo>
                    <a:pt x="200978" y="324803"/>
                  </a:lnTo>
                  <a:lnTo>
                    <a:pt x="198120" y="341947"/>
                  </a:lnTo>
                  <a:lnTo>
                    <a:pt x="190500" y="349472"/>
                  </a:lnTo>
                  <a:lnTo>
                    <a:pt x="159068" y="349472"/>
                  </a:lnTo>
                  <a:lnTo>
                    <a:pt x="148590" y="373285"/>
                  </a:lnTo>
                  <a:lnTo>
                    <a:pt x="130493" y="352425"/>
                  </a:lnTo>
                  <a:lnTo>
                    <a:pt x="105728" y="356235"/>
                  </a:lnTo>
                  <a:lnTo>
                    <a:pt x="92393" y="345662"/>
                  </a:lnTo>
                  <a:lnTo>
                    <a:pt x="78105" y="356235"/>
                  </a:lnTo>
                  <a:lnTo>
                    <a:pt x="70485" y="370522"/>
                  </a:lnTo>
                  <a:lnTo>
                    <a:pt x="67628" y="377190"/>
                  </a:lnTo>
                  <a:lnTo>
                    <a:pt x="57150" y="377190"/>
                  </a:lnTo>
                  <a:lnTo>
                    <a:pt x="53340" y="377190"/>
                  </a:lnTo>
                  <a:lnTo>
                    <a:pt x="49530" y="377190"/>
                  </a:lnTo>
                  <a:lnTo>
                    <a:pt x="46673" y="352425"/>
                  </a:lnTo>
                  <a:lnTo>
                    <a:pt x="39053" y="327660"/>
                  </a:lnTo>
                  <a:lnTo>
                    <a:pt x="24765" y="306610"/>
                  </a:lnTo>
                  <a:lnTo>
                    <a:pt x="24765" y="275272"/>
                  </a:lnTo>
                  <a:lnTo>
                    <a:pt x="14288" y="254222"/>
                  </a:lnTo>
                  <a:lnTo>
                    <a:pt x="3810" y="221837"/>
                  </a:lnTo>
                  <a:lnTo>
                    <a:pt x="0" y="207550"/>
                  </a:lnTo>
                  <a:lnTo>
                    <a:pt x="11430" y="197072"/>
                  </a:lnTo>
                  <a:lnTo>
                    <a:pt x="18098" y="186690"/>
                  </a:lnTo>
                  <a:lnTo>
                    <a:pt x="7620" y="176213"/>
                  </a:lnTo>
                  <a:lnTo>
                    <a:pt x="0" y="165735"/>
                  </a:lnTo>
                  <a:lnTo>
                    <a:pt x="3810" y="148590"/>
                  </a:lnTo>
                  <a:lnTo>
                    <a:pt x="11430" y="130397"/>
                  </a:lnTo>
                  <a:lnTo>
                    <a:pt x="14288" y="126587"/>
                  </a:lnTo>
                  <a:lnTo>
                    <a:pt x="14288" y="116110"/>
                  </a:lnTo>
                  <a:lnTo>
                    <a:pt x="18098" y="78010"/>
                  </a:lnTo>
                  <a:lnTo>
                    <a:pt x="0" y="31337"/>
                  </a:lnTo>
                  <a:lnTo>
                    <a:pt x="18098" y="31337"/>
                  </a:lnTo>
                  <a:lnTo>
                    <a:pt x="35243" y="28575"/>
                  </a:lnTo>
                  <a:lnTo>
                    <a:pt x="60008" y="18097"/>
                  </a:lnTo>
                  <a:lnTo>
                    <a:pt x="74295" y="657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79" name="Freeform: Shape 3478">
              <a:extLst>
                <a:ext uri="{FF2B5EF4-FFF2-40B4-BE49-F238E27FC236}">
                  <a16:creationId xmlns:a16="http://schemas.microsoft.com/office/drawing/2014/main" id="{E5229DEB-A60F-E550-DCD1-D3A748FC90C4}"/>
                </a:ext>
              </a:extLst>
            </p:cNvPr>
            <p:cNvSpPr/>
            <p:nvPr/>
          </p:nvSpPr>
          <p:spPr>
            <a:xfrm>
              <a:off x="4280467" y="5079700"/>
              <a:ext cx="231564" cy="242770"/>
            </a:xfrm>
            <a:custGeom>
              <a:avLst/>
              <a:gdLst>
                <a:gd name="connsiteX0" fmla="*/ 190500 w 236220"/>
                <a:gd name="connsiteY0" fmla="*/ 239935 h 247650"/>
                <a:gd name="connsiteX1" fmla="*/ 165735 w 236220"/>
                <a:gd name="connsiteY1" fmla="*/ 247650 h 247650"/>
                <a:gd name="connsiteX2" fmla="*/ 126683 w 236220"/>
                <a:gd name="connsiteY2" fmla="*/ 247650 h 247650"/>
                <a:gd name="connsiteX3" fmla="*/ 116205 w 236220"/>
                <a:gd name="connsiteY3" fmla="*/ 233363 h 247650"/>
                <a:gd name="connsiteX4" fmla="*/ 126683 w 236220"/>
                <a:gd name="connsiteY4" fmla="*/ 208597 h 247650"/>
                <a:gd name="connsiteX5" fmla="*/ 140970 w 236220"/>
                <a:gd name="connsiteY5" fmla="*/ 187547 h 247650"/>
                <a:gd name="connsiteX6" fmla="*/ 130493 w 236220"/>
                <a:gd name="connsiteY6" fmla="*/ 173260 h 247650"/>
                <a:gd name="connsiteX7" fmla="*/ 95250 w 236220"/>
                <a:gd name="connsiteY7" fmla="*/ 158972 h 247650"/>
                <a:gd name="connsiteX8" fmla="*/ 66675 w 236220"/>
                <a:gd name="connsiteY8" fmla="*/ 138113 h 247650"/>
                <a:gd name="connsiteX9" fmla="*/ 53340 w 236220"/>
                <a:gd name="connsiteY9" fmla="*/ 138113 h 247650"/>
                <a:gd name="connsiteX10" fmla="*/ 35243 w 236220"/>
                <a:gd name="connsiteY10" fmla="*/ 127635 h 247650"/>
                <a:gd name="connsiteX11" fmla="*/ 14288 w 236220"/>
                <a:gd name="connsiteY11" fmla="*/ 105632 h 247650"/>
                <a:gd name="connsiteX12" fmla="*/ 3810 w 236220"/>
                <a:gd name="connsiteY12" fmla="*/ 92297 h 247650"/>
                <a:gd name="connsiteX13" fmla="*/ 0 w 236220"/>
                <a:gd name="connsiteY13" fmla="*/ 81820 h 247650"/>
                <a:gd name="connsiteX14" fmla="*/ 7620 w 236220"/>
                <a:gd name="connsiteY14" fmla="*/ 74295 h 247650"/>
                <a:gd name="connsiteX15" fmla="*/ 10478 w 236220"/>
                <a:gd name="connsiteY15" fmla="*/ 57150 h 247650"/>
                <a:gd name="connsiteX16" fmla="*/ 10478 w 236220"/>
                <a:gd name="connsiteY16" fmla="*/ 38957 h 247650"/>
                <a:gd name="connsiteX17" fmla="*/ 20955 w 236220"/>
                <a:gd name="connsiteY17" fmla="*/ 14288 h 247650"/>
                <a:gd name="connsiteX18" fmla="*/ 49530 w 236220"/>
                <a:gd name="connsiteY18" fmla="*/ 3810 h 247650"/>
                <a:gd name="connsiteX19" fmla="*/ 77153 w 236220"/>
                <a:gd name="connsiteY19" fmla="*/ 0 h 247650"/>
                <a:gd name="connsiteX20" fmla="*/ 99060 w 236220"/>
                <a:gd name="connsiteY20" fmla="*/ 3810 h 247650"/>
                <a:gd name="connsiteX21" fmla="*/ 116205 w 236220"/>
                <a:gd name="connsiteY21" fmla="*/ 14288 h 247650"/>
                <a:gd name="connsiteX22" fmla="*/ 126683 w 236220"/>
                <a:gd name="connsiteY22" fmla="*/ 24670 h 247650"/>
                <a:gd name="connsiteX23" fmla="*/ 134303 w 236220"/>
                <a:gd name="connsiteY23" fmla="*/ 38957 h 247650"/>
                <a:gd name="connsiteX24" fmla="*/ 134303 w 236220"/>
                <a:gd name="connsiteY24" fmla="*/ 60007 h 247650"/>
                <a:gd name="connsiteX25" fmla="*/ 134303 w 236220"/>
                <a:gd name="connsiteY25" fmla="*/ 88582 h 247650"/>
                <a:gd name="connsiteX26" fmla="*/ 151448 w 236220"/>
                <a:gd name="connsiteY26" fmla="*/ 88582 h 247650"/>
                <a:gd name="connsiteX27" fmla="*/ 165735 w 236220"/>
                <a:gd name="connsiteY27" fmla="*/ 84772 h 247650"/>
                <a:gd name="connsiteX28" fmla="*/ 182880 w 236220"/>
                <a:gd name="connsiteY28" fmla="*/ 88582 h 247650"/>
                <a:gd name="connsiteX29" fmla="*/ 193358 w 236220"/>
                <a:gd name="connsiteY29" fmla="*/ 95250 h 247650"/>
                <a:gd name="connsiteX30" fmla="*/ 190500 w 236220"/>
                <a:gd name="connsiteY30" fmla="*/ 113347 h 247650"/>
                <a:gd name="connsiteX31" fmla="*/ 197168 w 236220"/>
                <a:gd name="connsiteY31" fmla="*/ 130397 h 247650"/>
                <a:gd name="connsiteX32" fmla="*/ 211455 w 236220"/>
                <a:gd name="connsiteY32" fmla="*/ 144685 h 247650"/>
                <a:gd name="connsiteX33" fmla="*/ 225743 w 236220"/>
                <a:gd name="connsiteY33" fmla="*/ 141922 h 247650"/>
                <a:gd name="connsiteX34" fmla="*/ 236220 w 236220"/>
                <a:gd name="connsiteY34" fmla="*/ 144685 h 247650"/>
                <a:gd name="connsiteX35" fmla="*/ 232410 w 236220"/>
                <a:gd name="connsiteY35" fmla="*/ 158972 h 247650"/>
                <a:gd name="connsiteX36" fmla="*/ 225743 w 236220"/>
                <a:gd name="connsiteY36" fmla="*/ 177070 h 247650"/>
                <a:gd name="connsiteX37" fmla="*/ 225743 w 236220"/>
                <a:gd name="connsiteY37" fmla="*/ 200882 h 247650"/>
                <a:gd name="connsiteX38" fmla="*/ 221933 w 236220"/>
                <a:gd name="connsiteY38" fmla="*/ 212407 h 247650"/>
                <a:gd name="connsiteX39" fmla="*/ 215265 w 236220"/>
                <a:gd name="connsiteY39" fmla="*/ 225647 h 247650"/>
                <a:gd name="connsiteX40" fmla="*/ 197168 w 236220"/>
                <a:gd name="connsiteY40" fmla="*/ 236220 h 247650"/>
                <a:gd name="connsiteX41" fmla="*/ 190500 w 236220"/>
                <a:gd name="connsiteY41" fmla="*/ 239935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6220" h="247650">
                  <a:moveTo>
                    <a:pt x="190500" y="239935"/>
                  </a:moveTo>
                  <a:lnTo>
                    <a:pt x="165735" y="247650"/>
                  </a:lnTo>
                  <a:lnTo>
                    <a:pt x="126683" y="247650"/>
                  </a:lnTo>
                  <a:lnTo>
                    <a:pt x="116205" y="233363"/>
                  </a:lnTo>
                  <a:lnTo>
                    <a:pt x="126683" y="208597"/>
                  </a:lnTo>
                  <a:lnTo>
                    <a:pt x="140970" y="187547"/>
                  </a:lnTo>
                  <a:lnTo>
                    <a:pt x="130493" y="173260"/>
                  </a:lnTo>
                  <a:lnTo>
                    <a:pt x="95250" y="158972"/>
                  </a:lnTo>
                  <a:lnTo>
                    <a:pt x="66675" y="138113"/>
                  </a:lnTo>
                  <a:lnTo>
                    <a:pt x="53340" y="138113"/>
                  </a:lnTo>
                  <a:lnTo>
                    <a:pt x="35243" y="127635"/>
                  </a:lnTo>
                  <a:lnTo>
                    <a:pt x="14288" y="105632"/>
                  </a:lnTo>
                  <a:lnTo>
                    <a:pt x="3810" y="92297"/>
                  </a:lnTo>
                  <a:lnTo>
                    <a:pt x="0" y="81820"/>
                  </a:lnTo>
                  <a:lnTo>
                    <a:pt x="7620" y="74295"/>
                  </a:lnTo>
                  <a:lnTo>
                    <a:pt x="10478" y="57150"/>
                  </a:lnTo>
                  <a:lnTo>
                    <a:pt x="10478" y="38957"/>
                  </a:lnTo>
                  <a:lnTo>
                    <a:pt x="20955" y="14288"/>
                  </a:lnTo>
                  <a:lnTo>
                    <a:pt x="49530" y="3810"/>
                  </a:lnTo>
                  <a:lnTo>
                    <a:pt x="77153" y="0"/>
                  </a:lnTo>
                  <a:lnTo>
                    <a:pt x="99060" y="3810"/>
                  </a:lnTo>
                  <a:lnTo>
                    <a:pt x="116205" y="14288"/>
                  </a:lnTo>
                  <a:lnTo>
                    <a:pt x="126683" y="24670"/>
                  </a:lnTo>
                  <a:lnTo>
                    <a:pt x="134303" y="38957"/>
                  </a:lnTo>
                  <a:lnTo>
                    <a:pt x="134303" y="60007"/>
                  </a:lnTo>
                  <a:lnTo>
                    <a:pt x="134303" y="88582"/>
                  </a:lnTo>
                  <a:lnTo>
                    <a:pt x="151448" y="88582"/>
                  </a:lnTo>
                  <a:lnTo>
                    <a:pt x="165735" y="84772"/>
                  </a:lnTo>
                  <a:lnTo>
                    <a:pt x="182880" y="88582"/>
                  </a:lnTo>
                  <a:lnTo>
                    <a:pt x="193358" y="95250"/>
                  </a:lnTo>
                  <a:lnTo>
                    <a:pt x="190500" y="113347"/>
                  </a:lnTo>
                  <a:lnTo>
                    <a:pt x="197168" y="130397"/>
                  </a:lnTo>
                  <a:lnTo>
                    <a:pt x="211455" y="144685"/>
                  </a:lnTo>
                  <a:lnTo>
                    <a:pt x="225743" y="141922"/>
                  </a:lnTo>
                  <a:lnTo>
                    <a:pt x="236220" y="144685"/>
                  </a:lnTo>
                  <a:lnTo>
                    <a:pt x="232410" y="158972"/>
                  </a:lnTo>
                  <a:lnTo>
                    <a:pt x="225743" y="177070"/>
                  </a:lnTo>
                  <a:lnTo>
                    <a:pt x="225743" y="200882"/>
                  </a:lnTo>
                  <a:lnTo>
                    <a:pt x="221933" y="212407"/>
                  </a:lnTo>
                  <a:lnTo>
                    <a:pt x="215265" y="225647"/>
                  </a:lnTo>
                  <a:lnTo>
                    <a:pt x="197168" y="236220"/>
                  </a:lnTo>
                  <a:lnTo>
                    <a:pt x="190500" y="23993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86" name="Freeform: Shape 3485">
              <a:extLst>
                <a:ext uri="{FF2B5EF4-FFF2-40B4-BE49-F238E27FC236}">
                  <a16:creationId xmlns:a16="http://schemas.microsoft.com/office/drawing/2014/main" id="{7B9D0F9C-5186-4A26-46B7-ED34FFA85497}"/>
                </a:ext>
              </a:extLst>
            </p:cNvPr>
            <p:cNvSpPr/>
            <p:nvPr/>
          </p:nvSpPr>
          <p:spPr>
            <a:xfrm>
              <a:off x="4398117" y="5391566"/>
              <a:ext cx="144727" cy="155000"/>
            </a:xfrm>
            <a:custGeom>
              <a:avLst/>
              <a:gdLst>
                <a:gd name="connsiteX0" fmla="*/ 35243 w 147637"/>
                <a:gd name="connsiteY0" fmla="*/ 0 h 158115"/>
                <a:gd name="connsiteX1" fmla="*/ 52388 w 147637"/>
                <a:gd name="connsiteY1" fmla="*/ 13335 h 158115"/>
                <a:gd name="connsiteX2" fmla="*/ 66675 w 147637"/>
                <a:gd name="connsiteY2" fmla="*/ 31337 h 158115"/>
                <a:gd name="connsiteX3" fmla="*/ 80963 w 147637"/>
                <a:gd name="connsiteY3" fmla="*/ 35147 h 158115"/>
                <a:gd name="connsiteX4" fmla="*/ 105728 w 147637"/>
                <a:gd name="connsiteY4" fmla="*/ 48578 h 158115"/>
                <a:gd name="connsiteX5" fmla="*/ 126683 w 147637"/>
                <a:gd name="connsiteY5" fmla="*/ 66675 h 158115"/>
                <a:gd name="connsiteX6" fmla="*/ 137160 w 147637"/>
                <a:gd name="connsiteY6" fmla="*/ 77153 h 158115"/>
                <a:gd name="connsiteX7" fmla="*/ 143828 w 147637"/>
                <a:gd name="connsiteY7" fmla="*/ 87535 h 158115"/>
                <a:gd name="connsiteX8" fmla="*/ 140970 w 147637"/>
                <a:gd name="connsiteY8" fmla="*/ 98012 h 158115"/>
                <a:gd name="connsiteX9" fmla="*/ 140970 w 147637"/>
                <a:gd name="connsiteY9" fmla="*/ 108585 h 158115"/>
                <a:gd name="connsiteX10" fmla="*/ 147638 w 147637"/>
                <a:gd name="connsiteY10" fmla="*/ 116110 h 158115"/>
                <a:gd name="connsiteX11" fmla="*/ 140970 w 147637"/>
                <a:gd name="connsiteY11" fmla="*/ 122872 h 158115"/>
                <a:gd name="connsiteX12" fmla="*/ 126683 w 147637"/>
                <a:gd name="connsiteY12" fmla="*/ 140875 h 158115"/>
                <a:gd name="connsiteX13" fmla="*/ 116205 w 147637"/>
                <a:gd name="connsiteY13" fmla="*/ 151447 h 158115"/>
                <a:gd name="connsiteX14" fmla="*/ 108585 w 147637"/>
                <a:gd name="connsiteY14" fmla="*/ 155162 h 158115"/>
                <a:gd name="connsiteX15" fmla="*/ 105728 w 147637"/>
                <a:gd name="connsiteY15" fmla="*/ 158115 h 158115"/>
                <a:gd name="connsiteX16" fmla="*/ 73343 w 147637"/>
                <a:gd name="connsiteY16" fmla="*/ 155162 h 158115"/>
                <a:gd name="connsiteX17" fmla="*/ 49530 w 147637"/>
                <a:gd name="connsiteY17" fmla="*/ 151447 h 158115"/>
                <a:gd name="connsiteX18" fmla="*/ 31433 w 147637"/>
                <a:gd name="connsiteY18" fmla="*/ 143828 h 158115"/>
                <a:gd name="connsiteX19" fmla="*/ 10478 w 147637"/>
                <a:gd name="connsiteY19" fmla="*/ 140875 h 158115"/>
                <a:gd name="connsiteX20" fmla="*/ 0 w 147637"/>
                <a:gd name="connsiteY20" fmla="*/ 133350 h 158115"/>
                <a:gd name="connsiteX21" fmla="*/ 0 w 147637"/>
                <a:gd name="connsiteY21" fmla="*/ 105728 h 158115"/>
                <a:gd name="connsiteX22" fmla="*/ 6668 w 147637"/>
                <a:gd name="connsiteY22" fmla="*/ 70485 h 158115"/>
                <a:gd name="connsiteX23" fmla="*/ 10478 w 147637"/>
                <a:gd name="connsiteY23" fmla="*/ 41910 h 158115"/>
                <a:gd name="connsiteX24" fmla="*/ 17145 w 147637"/>
                <a:gd name="connsiteY24" fmla="*/ 13335 h 158115"/>
                <a:gd name="connsiteX25" fmla="*/ 20955 w 147637"/>
                <a:gd name="connsiteY25" fmla="*/ 2762 h 158115"/>
                <a:gd name="connsiteX26" fmla="*/ 35243 w 147637"/>
                <a:gd name="connsiteY26" fmla="*/ 0 h 158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7637" h="158115">
                  <a:moveTo>
                    <a:pt x="35243" y="0"/>
                  </a:moveTo>
                  <a:lnTo>
                    <a:pt x="52388" y="13335"/>
                  </a:lnTo>
                  <a:lnTo>
                    <a:pt x="66675" y="31337"/>
                  </a:lnTo>
                  <a:lnTo>
                    <a:pt x="80963" y="35147"/>
                  </a:lnTo>
                  <a:lnTo>
                    <a:pt x="105728" y="48578"/>
                  </a:lnTo>
                  <a:lnTo>
                    <a:pt x="126683" y="66675"/>
                  </a:lnTo>
                  <a:lnTo>
                    <a:pt x="137160" y="77153"/>
                  </a:lnTo>
                  <a:lnTo>
                    <a:pt x="143828" y="87535"/>
                  </a:lnTo>
                  <a:lnTo>
                    <a:pt x="140970" y="98012"/>
                  </a:lnTo>
                  <a:lnTo>
                    <a:pt x="140970" y="108585"/>
                  </a:lnTo>
                  <a:lnTo>
                    <a:pt x="147638" y="116110"/>
                  </a:lnTo>
                  <a:lnTo>
                    <a:pt x="140970" y="122872"/>
                  </a:lnTo>
                  <a:lnTo>
                    <a:pt x="126683" y="140875"/>
                  </a:lnTo>
                  <a:lnTo>
                    <a:pt x="116205" y="151447"/>
                  </a:lnTo>
                  <a:lnTo>
                    <a:pt x="108585" y="155162"/>
                  </a:lnTo>
                  <a:lnTo>
                    <a:pt x="105728" y="158115"/>
                  </a:lnTo>
                  <a:lnTo>
                    <a:pt x="73343" y="155162"/>
                  </a:lnTo>
                  <a:lnTo>
                    <a:pt x="49530" y="151447"/>
                  </a:lnTo>
                  <a:lnTo>
                    <a:pt x="31433" y="143828"/>
                  </a:lnTo>
                  <a:lnTo>
                    <a:pt x="10478" y="140875"/>
                  </a:lnTo>
                  <a:lnTo>
                    <a:pt x="0" y="133350"/>
                  </a:lnTo>
                  <a:lnTo>
                    <a:pt x="0" y="105728"/>
                  </a:lnTo>
                  <a:lnTo>
                    <a:pt x="6668" y="70485"/>
                  </a:lnTo>
                  <a:lnTo>
                    <a:pt x="10478" y="41910"/>
                  </a:lnTo>
                  <a:lnTo>
                    <a:pt x="17145" y="13335"/>
                  </a:lnTo>
                  <a:lnTo>
                    <a:pt x="20955" y="2762"/>
                  </a:lnTo>
                  <a:lnTo>
                    <a:pt x="35243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99" name="Freeform: Shape 3498">
              <a:extLst>
                <a:ext uri="{FF2B5EF4-FFF2-40B4-BE49-F238E27FC236}">
                  <a16:creationId xmlns:a16="http://schemas.microsoft.com/office/drawing/2014/main" id="{3650CF6D-0D1C-7FB3-BDF3-7FCF0C163315}"/>
                </a:ext>
              </a:extLst>
            </p:cNvPr>
            <p:cNvSpPr/>
            <p:nvPr/>
          </p:nvSpPr>
          <p:spPr>
            <a:xfrm>
              <a:off x="4398117" y="5391566"/>
              <a:ext cx="144727" cy="155000"/>
            </a:xfrm>
            <a:custGeom>
              <a:avLst/>
              <a:gdLst>
                <a:gd name="connsiteX0" fmla="*/ 35243 w 147637"/>
                <a:gd name="connsiteY0" fmla="*/ 0 h 158115"/>
                <a:gd name="connsiteX1" fmla="*/ 52388 w 147637"/>
                <a:gd name="connsiteY1" fmla="*/ 13335 h 158115"/>
                <a:gd name="connsiteX2" fmla="*/ 66675 w 147637"/>
                <a:gd name="connsiteY2" fmla="*/ 31337 h 158115"/>
                <a:gd name="connsiteX3" fmla="*/ 80963 w 147637"/>
                <a:gd name="connsiteY3" fmla="*/ 35147 h 158115"/>
                <a:gd name="connsiteX4" fmla="*/ 105728 w 147637"/>
                <a:gd name="connsiteY4" fmla="*/ 48578 h 158115"/>
                <a:gd name="connsiteX5" fmla="*/ 126683 w 147637"/>
                <a:gd name="connsiteY5" fmla="*/ 66675 h 158115"/>
                <a:gd name="connsiteX6" fmla="*/ 137160 w 147637"/>
                <a:gd name="connsiteY6" fmla="*/ 77153 h 158115"/>
                <a:gd name="connsiteX7" fmla="*/ 143828 w 147637"/>
                <a:gd name="connsiteY7" fmla="*/ 87535 h 158115"/>
                <a:gd name="connsiteX8" fmla="*/ 140970 w 147637"/>
                <a:gd name="connsiteY8" fmla="*/ 98012 h 158115"/>
                <a:gd name="connsiteX9" fmla="*/ 140970 w 147637"/>
                <a:gd name="connsiteY9" fmla="*/ 108585 h 158115"/>
                <a:gd name="connsiteX10" fmla="*/ 147638 w 147637"/>
                <a:gd name="connsiteY10" fmla="*/ 116110 h 158115"/>
                <a:gd name="connsiteX11" fmla="*/ 140970 w 147637"/>
                <a:gd name="connsiteY11" fmla="*/ 122872 h 158115"/>
                <a:gd name="connsiteX12" fmla="*/ 126683 w 147637"/>
                <a:gd name="connsiteY12" fmla="*/ 140875 h 158115"/>
                <a:gd name="connsiteX13" fmla="*/ 116205 w 147637"/>
                <a:gd name="connsiteY13" fmla="*/ 151447 h 158115"/>
                <a:gd name="connsiteX14" fmla="*/ 108585 w 147637"/>
                <a:gd name="connsiteY14" fmla="*/ 155162 h 158115"/>
                <a:gd name="connsiteX15" fmla="*/ 105728 w 147637"/>
                <a:gd name="connsiteY15" fmla="*/ 158115 h 158115"/>
                <a:gd name="connsiteX16" fmla="*/ 73343 w 147637"/>
                <a:gd name="connsiteY16" fmla="*/ 155162 h 158115"/>
                <a:gd name="connsiteX17" fmla="*/ 49530 w 147637"/>
                <a:gd name="connsiteY17" fmla="*/ 151447 h 158115"/>
                <a:gd name="connsiteX18" fmla="*/ 31433 w 147637"/>
                <a:gd name="connsiteY18" fmla="*/ 143828 h 158115"/>
                <a:gd name="connsiteX19" fmla="*/ 10478 w 147637"/>
                <a:gd name="connsiteY19" fmla="*/ 140875 h 158115"/>
                <a:gd name="connsiteX20" fmla="*/ 0 w 147637"/>
                <a:gd name="connsiteY20" fmla="*/ 133350 h 158115"/>
                <a:gd name="connsiteX21" fmla="*/ 0 w 147637"/>
                <a:gd name="connsiteY21" fmla="*/ 105728 h 158115"/>
                <a:gd name="connsiteX22" fmla="*/ 6668 w 147637"/>
                <a:gd name="connsiteY22" fmla="*/ 70485 h 158115"/>
                <a:gd name="connsiteX23" fmla="*/ 10478 w 147637"/>
                <a:gd name="connsiteY23" fmla="*/ 41910 h 158115"/>
                <a:gd name="connsiteX24" fmla="*/ 17145 w 147637"/>
                <a:gd name="connsiteY24" fmla="*/ 13335 h 158115"/>
                <a:gd name="connsiteX25" fmla="*/ 20955 w 147637"/>
                <a:gd name="connsiteY25" fmla="*/ 2762 h 158115"/>
                <a:gd name="connsiteX26" fmla="*/ 35243 w 147637"/>
                <a:gd name="connsiteY26" fmla="*/ 0 h 158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47637" h="158115">
                  <a:moveTo>
                    <a:pt x="35243" y="0"/>
                  </a:moveTo>
                  <a:lnTo>
                    <a:pt x="52388" y="13335"/>
                  </a:lnTo>
                  <a:lnTo>
                    <a:pt x="66675" y="31337"/>
                  </a:lnTo>
                  <a:lnTo>
                    <a:pt x="80963" y="35147"/>
                  </a:lnTo>
                  <a:lnTo>
                    <a:pt x="105728" y="48578"/>
                  </a:lnTo>
                  <a:lnTo>
                    <a:pt x="126683" y="66675"/>
                  </a:lnTo>
                  <a:lnTo>
                    <a:pt x="137160" y="77153"/>
                  </a:lnTo>
                  <a:lnTo>
                    <a:pt x="143828" y="87535"/>
                  </a:lnTo>
                  <a:lnTo>
                    <a:pt x="140970" y="98012"/>
                  </a:lnTo>
                  <a:lnTo>
                    <a:pt x="140970" y="108585"/>
                  </a:lnTo>
                  <a:lnTo>
                    <a:pt x="147638" y="116110"/>
                  </a:lnTo>
                  <a:lnTo>
                    <a:pt x="140970" y="122872"/>
                  </a:lnTo>
                  <a:lnTo>
                    <a:pt x="126683" y="140875"/>
                  </a:lnTo>
                  <a:lnTo>
                    <a:pt x="116205" y="151447"/>
                  </a:lnTo>
                  <a:lnTo>
                    <a:pt x="108585" y="155162"/>
                  </a:lnTo>
                  <a:lnTo>
                    <a:pt x="105728" y="158115"/>
                  </a:lnTo>
                  <a:lnTo>
                    <a:pt x="73343" y="155162"/>
                  </a:lnTo>
                  <a:lnTo>
                    <a:pt x="49530" y="151447"/>
                  </a:lnTo>
                  <a:lnTo>
                    <a:pt x="31433" y="143828"/>
                  </a:lnTo>
                  <a:lnTo>
                    <a:pt x="10478" y="140875"/>
                  </a:lnTo>
                  <a:lnTo>
                    <a:pt x="0" y="133350"/>
                  </a:lnTo>
                  <a:lnTo>
                    <a:pt x="0" y="105728"/>
                  </a:lnTo>
                  <a:lnTo>
                    <a:pt x="6668" y="70485"/>
                  </a:lnTo>
                  <a:lnTo>
                    <a:pt x="10478" y="41910"/>
                  </a:lnTo>
                  <a:lnTo>
                    <a:pt x="17145" y="13335"/>
                  </a:lnTo>
                  <a:lnTo>
                    <a:pt x="20955" y="2762"/>
                  </a:lnTo>
                  <a:lnTo>
                    <a:pt x="35243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9E7E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88" name="Freeform: Shape 3587">
              <a:extLst>
                <a:ext uri="{FF2B5EF4-FFF2-40B4-BE49-F238E27FC236}">
                  <a16:creationId xmlns:a16="http://schemas.microsoft.com/office/drawing/2014/main" id="{195C6BC1-C0DE-5294-BF12-ED06BA2E2428}"/>
                </a:ext>
              </a:extLst>
            </p:cNvPr>
            <p:cNvSpPr/>
            <p:nvPr/>
          </p:nvSpPr>
          <p:spPr>
            <a:xfrm>
              <a:off x="3983543" y="5156173"/>
              <a:ext cx="545294" cy="971174"/>
            </a:xfrm>
            <a:custGeom>
              <a:avLst/>
              <a:gdLst>
                <a:gd name="connsiteX0" fmla="*/ 180022 w 556259"/>
                <a:gd name="connsiteY0" fmla="*/ 31528 h 990695"/>
                <a:gd name="connsiteX1" fmla="*/ 182880 w 556259"/>
                <a:gd name="connsiteY1" fmla="*/ 17240 h 990695"/>
                <a:gd name="connsiteX2" fmla="*/ 190500 w 556259"/>
                <a:gd name="connsiteY2" fmla="*/ 10573 h 990695"/>
                <a:gd name="connsiteX3" fmla="*/ 204788 w 556259"/>
                <a:gd name="connsiteY3" fmla="*/ 0 h 990695"/>
                <a:gd name="connsiteX4" fmla="*/ 218122 w 556259"/>
                <a:gd name="connsiteY4" fmla="*/ 10573 h 990695"/>
                <a:gd name="connsiteX5" fmla="*/ 242888 w 556259"/>
                <a:gd name="connsiteY5" fmla="*/ 6763 h 990695"/>
                <a:gd name="connsiteX6" fmla="*/ 260985 w 556259"/>
                <a:gd name="connsiteY6" fmla="*/ 27622 h 990695"/>
                <a:gd name="connsiteX7" fmla="*/ 271463 w 556259"/>
                <a:gd name="connsiteY7" fmla="*/ 3810 h 990695"/>
                <a:gd name="connsiteX8" fmla="*/ 302895 w 556259"/>
                <a:gd name="connsiteY8" fmla="*/ 3810 h 990695"/>
                <a:gd name="connsiteX9" fmla="*/ 306705 w 556259"/>
                <a:gd name="connsiteY9" fmla="*/ 14288 h 990695"/>
                <a:gd name="connsiteX10" fmla="*/ 317182 w 556259"/>
                <a:gd name="connsiteY10" fmla="*/ 27622 h 990695"/>
                <a:gd name="connsiteX11" fmla="*/ 334328 w 556259"/>
                <a:gd name="connsiteY11" fmla="*/ 45815 h 990695"/>
                <a:gd name="connsiteX12" fmla="*/ 338138 w 556259"/>
                <a:gd name="connsiteY12" fmla="*/ 49625 h 990695"/>
                <a:gd name="connsiteX13" fmla="*/ 356235 w 556259"/>
                <a:gd name="connsiteY13" fmla="*/ 60103 h 990695"/>
                <a:gd name="connsiteX14" fmla="*/ 369570 w 556259"/>
                <a:gd name="connsiteY14" fmla="*/ 60103 h 990695"/>
                <a:gd name="connsiteX15" fmla="*/ 387668 w 556259"/>
                <a:gd name="connsiteY15" fmla="*/ 70485 h 990695"/>
                <a:gd name="connsiteX16" fmla="*/ 398145 w 556259"/>
                <a:gd name="connsiteY16" fmla="*/ 80963 h 990695"/>
                <a:gd name="connsiteX17" fmla="*/ 415290 w 556259"/>
                <a:gd name="connsiteY17" fmla="*/ 87725 h 990695"/>
                <a:gd name="connsiteX18" fmla="*/ 433388 w 556259"/>
                <a:gd name="connsiteY18" fmla="*/ 95250 h 990695"/>
                <a:gd name="connsiteX19" fmla="*/ 443865 w 556259"/>
                <a:gd name="connsiteY19" fmla="*/ 109538 h 990695"/>
                <a:gd name="connsiteX20" fmla="*/ 433388 w 556259"/>
                <a:gd name="connsiteY20" fmla="*/ 126778 h 990695"/>
                <a:gd name="connsiteX21" fmla="*/ 419100 w 556259"/>
                <a:gd name="connsiteY21" fmla="*/ 155353 h 990695"/>
                <a:gd name="connsiteX22" fmla="*/ 429578 w 556259"/>
                <a:gd name="connsiteY22" fmla="*/ 169640 h 990695"/>
                <a:gd name="connsiteX23" fmla="*/ 468630 w 556259"/>
                <a:gd name="connsiteY23" fmla="*/ 169640 h 990695"/>
                <a:gd name="connsiteX24" fmla="*/ 493395 w 556259"/>
                <a:gd name="connsiteY24" fmla="*/ 161925 h 990695"/>
                <a:gd name="connsiteX25" fmla="*/ 507682 w 556259"/>
                <a:gd name="connsiteY25" fmla="*/ 151447 h 990695"/>
                <a:gd name="connsiteX26" fmla="*/ 518160 w 556259"/>
                <a:gd name="connsiteY26" fmla="*/ 147638 h 990695"/>
                <a:gd name="connsiteX27" fmla="*/ 528638 w 556259"/>
                <a:gd name="connsiteY27" fmla="*/ 122872 h 990695"/>
                <a:gd name="connsiteX28" fmla="*/ 528638 w 556259"/>
                <a:gd name="connsiteY28" fmla="*/ 105823 h 990695"/>
                <a:gd name="connsiteX29" fmla="*/ 545782 w 556259"/>
                <a:gd name="connsiteY29" fmla="*/ 109538 h 990695"/>
                <a:gd name="connsiteX30" fmla="*/ 553403 w 556259"/>
                <a:gd name="connsiteY30" fmla="*/ 116300 h 990695"/>
                <a:gd name="connsiteX31" fmla="*/ 556260 w 556259"/>
                <a:gd name="connsiteY31" fmla="*/ 134398 h 990695"/>
                <a:gd name="connsiteX32" fmla="*/ 549593 w 556259"/>
                <a:gd name="connsiteY32" fmla="*/ 155353 h 990695"/>
                <a:gd name="connsiteX33" fmla="*/ 542925 w 556259"/>
                <a:gd name="connsiteY33" fmla="*/ 165735 h 990695"/>
                <a:gd name="connsiteX34" fmla="*/ 528638 w 556259"/>
                <a:gd name="connsiteY34" fmla="*/ 172498 h 990695"/>
                <a:gd name="connsiteX35" fmla="*/ 514350 w 556259"/>
                <a:gd name="connsiteY35" fmla="*/ 182975 h 990695"/>
                <a:gd name="connsiteX36" fmla="*/ 496253 w 556259"/>
                <a:gd name="connsiteY36" fmla="*/ 197263 h 990695"/>
                <a:gd name="connsiteX37" fmla="*/ 482918 w 556259"/>
                <a:gd name="connsiteY37" fmla="*/ 207740 h 990695"/>
                <a:gd name="connsiteX38" fmla="*/ 472440 w 556259"/>
                <a:gd name="connsiteY38" fmla="*/ 225838 h 990695"/>
                <a:gd name="connsiteX39" fmla="*/ 461963 w 556259"/>
                <a:gd name="connsiteY39" fmla="*/ 232410 h 990695"/>
                <a:gd name="connsiteX40" fmla="*/ 458153 w 556259"/>
                <a:gd name="connsiteY40" fmla="*/ 240125 h 990695"/>
                <a:gd name="connsiteX41" fmla="*/ 443865 w 556259"/>
                <a:gd name="connsiteY41" fmla="*/ 242888 h 990695"/>
                <a:gd name="connsiteX42" fmla="*/ 433388 w 556259"/>
                <a:gd name="connsiteY42" fmla="*/ 282035 h 990695"/>
                <a:gd name="connsiteX43" fmla="*/ 429578 w 556259"/>
                <a:gd name="connsiteY43" fmla="*/ 306800 h 990695"/>
                <a:gd name="connsiteX44" fmla="*/ 422910 w 556259"/>
                <a:gd name="connsiteY44" fmla="*/ 338138 h 990695"/>
                <a:gd name="connsiteX45" fmla="*/ 422910 w 556259"/>
                <a:gd name="connsiteY45" fmla="*/ 373475 h 990695"/>
                <a:gd name="connsiteX46" fmla="*/ 415290 w 556259"/>
                <a:gd name="connsiteY46" fmla="*/ 381000 h 990695"/>
                <a:gd name="connsiteX47" fmla="*/ 412432 w 556259"/>
                <a:gd name="connsiteY47" fmla="*/ 391573 h 990695"/>
                <a:gd name="connsiteX48" fmla="*/ 429578 w 556259"/>
                <a:gd name="connsiteY48" fmla="*/ 395288 h 990695"/>
                <a:gd name="connsiteX49" fmla="*/ 447675 w 556259"/>
                <a:gd name="connsiteY49" fmla="*/ 402050 h 990695"/>
                <a:gd name="connsiteX50" fmla="*/ 454343 w 556259"/>
                <a:gd name="connsiteY50" fmla="*/ 416338 h 990695"/>
                <a:gd name="connsiteX51" fmla="*/ 450532 w 556259"/>
                <a:gd name="connsiteY51" fmla="*/ 430625 h 990695"/>
                <a:gd name="connsiteX52" fmla="*/ 454343 w 556259"/>
                <a:gd name="connsiteY52" fmla="*/ 437197 h 990695"/>
                <a:gd name="connsiteX53" fmla="*/ 468630 w 556259"/>
                <a:gd name="connsiteY53" fmla="*/ 447675 h 990695"/>
                <a:gd name="connsiteX54" fmla="*/ 468630 w 556259"/>
                <a:gd name="connsiteY54" fmla="*/ 472535 h 990695"/>
                <a:gd name="connsiteX55" fmla="*/ 447675 w 556259"/>
                <a:gd name="connsiteY55" fmla="*/ 501110 h 990695"/>
                <a:gd name="connsiteX56" fmla="*/ 422910 w 556259"/>
                <a:gd name="connsiteY56" fmla="*/ 518160 h 990695"/>
                <a:gd name="connsiteX57" fmla="*/ 387668 w 556259"/>
                <a:gd name="connsiteY57" fmla="*/ 522065 h 990695"/>
                <a:gd name="connsiteX58" fmla="*/ 362903 w 556259"/>
                <a:gd name="connsiteY58" fmla="*/ 524923 h 990695"/>
                <a:gd name="connsiteX59" fmla="*/ 334328 w 556259"/>
                <a:gd name="connsiteY59" fmla="*/ 528638 h 990695"/>
                <a:gd name="connsiteX60" fmla="*/ 317182 w 556259"/>
                <a:gd name="connsiteY60" fmla="*/ 524923 h 990695"/>
                <a:gd name="connsiteX61" fmla="*/ 313372 w 556259"/>
                <a:gd name="connsiteY61" fmla="*/ 536353 h 990695"/>
                <a:gd name="connsiteX62" fmla="*/ 317182 w 556259"/>
                <a:gd name="connsiteY62" fmla="*/ 553498 h 990695"/>
                <a:gd name="connsiteX63" fmla="*/ 313372 w 556259"/>
                <a:gd name="connsiteY63" fmla="*/ 582073 h 990695"/>
                <a:gd name="connsiteX64" fmla="*/ 299085 w 556259"/>
                <a:gd name="connsiteY64" fmla="*/ 596360 h 990695"/>
                <a:gd name="connsiteX65" fmla="*/ 285750 w 556259"/>
                <a:gd name="connsiteY65" fmla="*/ 603028 h 990695"/>
                <a:gd name="connsiteX66" fmla="*/ 260985 w 556259"/>
                <a:gd name="connsiteY66" fmla="*/ 592550 h 990695"/>
                <a:gd name="connsiteX67" fmla="*/ 250507 w 556259"/>
                <a:gd name="connsiteY67" fmla="*/ 588740 h 990695"/>
                <a:gd name="connsiteX68" fmla="*/ 240030 w 556259"/>
                <a:gd name="connsiteY68" fmla="*/ 584835 h 990695"/>
                <a:gd name="connsiteX69" fmla="*/ 236220 w 556259"/>
                <a:gd name="connsiteY69" fmla="*/ 596360 h 990695"/>
                <a:gd name="connsiteX70" fmla="*/ 240030 w 556259"/>
                <a:gd name="connsiteY70" fmla="*/ 623888 h 990695"/>
                <a:gd name="connsiteX71" fmla="*/ 240030 w 556259"/>
                <a:gd name="connsiteY71" fmla="*/ 638175 h 990695"/>
                <a:gd name="connsiteX72" fmla="*/ 250507 w 556259"/>
                <a:gd name="connsiteY72" fmla="*/ 641985 h 990695"/>
                <a:gd name="connsiteX73" fmla="*/ 263843 w 556259"/>
                <a:gd name="connsiteY73" fmla="*/ 641985 h 990695"/>
                <a:gd name="connsiteX74" fmla="*/ 263843 w 556259"/>
                <a:gd name="connsiteY74" fmla="*/ 638175 h 990695"/>
                <a:gd name="connsiteX75" fmla="*/ 271463 w 556259"/>
                <a:gd name="connsiteY75" fmla="*/ 634460 h 990695"/>
                <a:gd name="connsiteX76" fmla="*/ 278130 w 556259"/>
                <a:gd name="connsiteY76" fmla="*/ 641985 h 990695"/>
                <a:gd name="connsiteX77" fmla="*/ 278130 w 556259"/>
                <a:gd name="connsiteY77" fmla="*/ 652463 h 990695"/>
                <a:gd name="connsiteX78" fmla="*/ 267653 w 556259"/>
                <a:gd name="connsiteY78" fmla="*/ 659225 h 990695"/>
                <a:gd name="connsiteX79" fmla="*/ 260985 w 556259"/>
                <a:gd name="connsiteY79" fmla="*/ 655415 h 990695"/>
                <a:gd name="connsiteX80" fmla="*/ 257175 w 556259"/>
                <a:gd name="connsiteY80" fmla="*/ 648748 h 990695"/>
                <a:gd name="connsiteX81" fmla="*/ 250507 w 556259"/>
                <a:gd name="connsiteY81" fmla="*/ 648748 h 990695"/>
                <a:gd name="connsiteX82" fmla="*/ 242888 w 556259"/>
                <a:gd name="connsiteY82" fmla="*/ 652463 h 990695"/>
                <a:gd name="connsiteX83" fmla="*/ 246697 w 556259"/>
                <a:gd name="connsiteY83" fmla="*/ 663035 h 990695"/>
                <a:gd name="connsiteX84" fmla="*/ 240030 w 556259"/>
                <a:gd name="connsiteY84" fmla="*/ 673513 h 990695"/>
                <a:gd name="connsiteX85" fmla="*/ 228600 w 556259"/>
                <a:gd name="connsiteY85" fmla="*/ 677323 h 990695"/>
                <a:gd name="connsiteX86" fmla="*/ 232410 w 556259"/>
                <a:gd name="connsiteY86" fmla="*/ 698278 h 990695"/>
                <a:gd name="connsiteX87" fmla="*/ 221932 w 556259"/>
                <a:gd name="connsiteY87" fmla="*/ 719138 h 990695"/>
                <a:gd name="connsiteX88" fmla="*/ 218122 w 556259"/>
                <a:gd name="connsiteY88" fmla="*/ 722947 h 990695"/>
                <a:gd name="connsiteX89" fmla="*/ 207645 w 556259"/>
                <a:gd name="connsiteY89" fmla="*/ 729710 h 990695"/>
                <a:gd name="connsiteX90" fmla="*/ 186690 w 556259"/>
                <a:gd name="connsiteY90" fmla="*/ 740188 h 990695"/>
                <a:gd name="connsiteX91" fmla="*/ 165735 w 556259"/>
                <a:gd name="connsiteY91" fmla="*/ 762000 h 990695"/>
                <a:gd name="connsiteX92" fmla="*/ 169545 w 556259"/>
                <a:gd name="connsiteY92" fmla="*/ 783050 h 990695"/>
                <a:gd name="connsiteX93" fmla="*/ 186690 w 556259"/>
                <a:gd name="connsiteY93" fmla="*/ 800100 h 990695"/>
                <a:gd name="connsiteX94" fmla="*/ 186690 w 556259"/>
                <a:gd name="connsiteY94" fmla="*/ 803910 h 990695"/>
                <a:gd name="connsiteX95" fmla="*/ 197168 w 556259"/>
                <a:gd name="connsiteY95" fmla="*/ 803910 h 990695"/>
                <a:gd name="connsiteX96" fmla="*/ 215265 w 556259"/>
                <a:gd name="connsiteY96" fmla="*/ 807815 h 990695"/>
                <a:gd name="connsiteX97" fmla="*/ 215265 w 556259"/>
                <a:gd name="connsiteY97" fmla="*/ 821055 h 990695"/>
                <a:gd name="connsiteX98" fmla="*/ 207645 w 556259"/>
                <a:gd name="connsiteY98" fmla="*/ 835343 h 990695"/>
                <a:gd name="connsiteX99" fmla="*/ 182880 w 556259"/>
                <a:gd name="connsiteY99" fmla="*/ 856297 h 990695"/>
                <a:gd name="connsiteX100" fmla="*/ 165735 w 556259"/>
                <a:gd name="connsiteY100" fmla="*/ 874490 h 990695"/>
                <a:gd name="connsiteX101" fmla="*/ 159068 w 556259"/>
                <a:gd name="connsiteY101" fmla="*/ 899160 h 990695"/>
                <a:gd name="connsiteX102" fmla="*/ 155257 w 556259"/>
                <a:gd name="connsiteY102" fmla="*/ 909733 h 990695"/>
                <a:gd name="connsiteX103" fmla="*/ 134303 w 556259"/>
                <a:gd name="connsiteY103" fmla="*/ 913447 h 990695"/>
                <a:gd name="connsiteX104" fmla="*/ 123825 w 556259"/>
                <a:gd name="connsiteY104" fmla="*/ 924020 h 990695"/>
                <a:gd name="connsiteX105" fmla="*/ 116205 w 556259"/>
                <a:gd name="connsiteY105" fmla="*/ 948785 h 990695"/>
                <a:gd name="connsiteX106" fmla="*/ 120015 w 556259"/>
                <a:gd name="connsiteY106" fmla="*/ 963073 h 990695"/>
                <a:gd name="connsiteX107" fmla="*/ 126682 w 556259"/>
                <a:gd name="connsiteY107" fmla="*/ 973455 h 990695"/>
                <a:gd name="connsiteX108" fmla="*/ 137160 w 556259"/>
                <a:gd name="connsiteY108" fmla="*/ 986885 h 990695"/>
                <a:gd name="connsiteX109" fmla="*/ 134303 w 556259"/>
                <a:gd name="connsiteY109" fmla="*/ 990695 h 990695"/>
                <a:gd name="connsiteX110" fmla="*/ 105728 w 556259"/>
                <a:gd name="connsiteY110" fmla="*/ 984028 h 990695"/>
                <a:gd name="connsiteX111" fmla="*/ 60007 w 556259"/>
                <a:gd name="connsiteY111" fmla="*/ 984028 h 990695"/>
                <a:gd name="connsiteX112" fmla="*/ 42863 w 556259"/>
                <a:gd name="connsiteY112" fmla="*/ 980122 h 990695"/>
                <a:gd name="connsiteX113" fmla="*/ 31432 w 556259"/>
                <a:gd name="connsiteY113" fmla="*/ 959168 h 990695"/>
                <a:gd name="connsiteX114" fmla="*/ 31432 w 556259"/>
                <a:gd name="connsiteY114" fmla="*/ 930593 h 990695"/>
                <a:gd name="connsiteX115" fmla="*/ 10478 w 556259"/>
                <a:gd name="connsiteY115" fmla="*/ 927735 h 990695"/>
                <a:gd name="connsiteX116" fmla="*/ 3810 w 556259"/>
                <a:gd name="connsiteY116" fmla="*/ 916305 h 990695"/>
                <a:gd name="connsiteX117" fmla="*/ 0 w 556259"/>
                <a:gd name="connsiteY117" fmla="*/ 899160 h 990695"/>
                <a:gd name="connsiteX118" fmla="*/ 3810 w 556259"/>
                <a:gd name="connsiteY118" fmla="*/ 881158 h 990695"/>
                <a:gd name="connsiteX119" fmla="*/ 18097 w 556259"/>
                <a:gd name="connsiteY119" fmla="*/ 867823 h 990695"/>
                <a:gd name="connsiteX120" fmla="*/ 31432 w 556259"/>
                <a:gd name="connsiteY120" fmla="*/ 845915 h 990695"/>
                <a:gd name="connsiteX121" fmla="*/ 35243 w 556259"/>
                <a:gd name="connsiteY121" fmla="*/ 814483 h 990695"/>
                <a:gd name="connsiteX122" fmla="*/ 49530 w 556259"/>
                <a:gd name="connsiteY122" fmla="*/ 793528 h 990695"/>
                <a:gd name="connsiteX123" fmla="*/ 49530 w 556259"/>
                <a:gd name="connsiteY123" fmla="*/ 747713 h 990695"/>
                <a:gd name="connsiteX124" fmla="*/ 53340 w 556259"/>
                <a:gd name="connsiteY124" fmla="*/ 726853 h 990695"/>
                <a:gd name="connsiteX125" fmla="*/ 45720 w 556259"/>
                <a:gd name="connsiteY125" fmla="*/ 704850 h 990695"/>
                <a:gd name="connsiteX126" fmla="*/ 45720 w 556259"/>
                <a:gd name="connsiteY126" fmla="*/ 669703 h 990695"/>
                <a:gd name="connsiteX127" fmla="*/ 39053 w 556259"/>
                <a:gd name="connsiteY127" fmla="*/ 663035 h 990695"/>
                <a:gd name="connsiteX128" fmla="*/ 42863 w 556259"/>
                <a:gd name="connsiteY128" fmla="*/ 634460 h 990695"/>
                <a:gd name="connsiteX129" fmla="*/ 45720 w 556259"/>
                <a:gd name="connsiteY129" fmla="*/ 613410 h 990695"/>
                <a:gd name="connsiteX130" fmla="*/ 49530 w 556259"/>
                <a:gd name="connsiteY130" fmla="*/ 561022 h 990695"/>
                <a:gd name="connsiteX131" fmla="*/ 63818 w 556259"/>
                <a:gd name="connsiteY131" fmla="*/ 532447 h 990695"/>
                <a:gd name="connsiteX132" fmla="*/ 66675 w 556259"/>
                <a:gd name="connsiteY132" fmla="*/ 522065 h 990695"/>
                <a:gd name="connsiteX133" fmla="*/ 70485 w 556259"/>
                <a:gd name="connsiteY133" fmla="*/ 514350 h 990695"/>
                <a:gd name="connsiteX134" fmla="*/ 70485 w 556259"/>
                <a:gd name="connsiteY134" fmla="*/ 489585 h 990695"/>
                <a:gd name="connsiteX135" fmla="*/ 66675 w 556259"/>
                <a:gd name="connsiteY135" fmla="*/ 447675 h 990695"/>
                <a:gd name="connsiteX136" fmla="*/ 77153 w 556259"/>
                <a:gd name="connsiteY136" fmla="*/ 437197 h 990695"/>
                <a:gd name="connsiteX137" fmla="*/ 84772 w 556259"/>
                <a:gd name="connsiteY137" fmla="*/ 430625 h 990695"/>
                <a:gd name="connsiteX138" fmla="*/ 88582 w 556259"/>
                <a:gd name="connsiteY138" fmla="*/ 395288 h 990695"/>
                <a:gd name="connsiteX139" fmla="*/ 95250 w 556259"/>
                <a:gd name="connsiteY139" fmla="*/ 381000 h 990695"/>
                <a:gd name="connsiteX140" fmla="*/ 99060 w 556259"/>
                <a:gd name="connsiteY140" fmla="*/ 345853 h 990695"/>
                <a:gd name="connsiteX141" fmla="*/ 91440 w 556259"/>
                <a:gd name="connsiteY141" fmla="*/ 317278 h 990695"/>
                <a:gd name="connsiteX142" fmla="*/ 84772 w 556259"/>
                <a:gd name="connsiteY142" fmla="*/ 302990 h 990695"/>
                <a:gd name="connsiteX143" fmla="*/ 84772 w 556259"/>
                <a:gd name="connsiteY143" fmla="*/ 275272 h 990695"/>
                <a:gd name="connsiteX144" fmla="*/ 91440 w 556259"/>
                <a:gd name="connsiteY144" fmla="*/ 260985 h 990695"/>
                <a:gd name="connsiteX145" fmla="*/ 99060 w 556259"/>
                <a:gd name="connsiteY145" fmla="*/ 211550 h 990695"/>
                <a:gd name="connsiteX146" fmla="*/ 112395 w 556259"/>
                <a:gd name="connsiteY146" fmla="*/ 186785 h 990695"/>
                <a:gd name="connsiteX147" fmla="*/ 130493 w 556259"/>
                <a:gd name="connsiteY147" fmla="*/ 161925 h 990695"/>
                <a:gd name="connsiteX148" fmla="*/ 140970 w 556259"/>
                <a:gd name="connsiteY148" fmla="*/ 144875 h 990695"/>
                <a:gd name="connsiteX149" fmla="*/ 134303 w 556259"/>
                <a:gd name="connsiteY149" fmla="*/ 91535 h 990695"/>
                <a:gd name="connsiteX150" fmla="*/ 144780 w 556259"/>
                <a:gd name="connsiteY150" fmla="*/ 80963 h 990695"/>
                <a:gd name="connsiteX151" fmla="*/ 159068 w 556259"/>
                <a:gd name="connsiteY151" fmla="*/ 74390 h 990695"/>
                <a:gd name="connsiteX152" fmla="*/ 176213 w 556259"/>
                <a:gd name="connsiteY152" fmla="*/ 52388 h 990695"/>
                <a:gd name="connsiteX153" fmla="*/ 180022 w 556259"/>
                <a:gd name="connsiteY153" fmla="*/ 31528 h 990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</a:cxnLst>
              <a:rect l="l" t="t" r="r" b="b"/>
              <a:pathLst>
                <a:path w="556259" h="990695">
                  <a:moveTo>
                    <a:pt x="180022" y="31528"/>
                  </a:moveTo>
                  <a:lnTo>
                    <a:pt x="182880" y="17240"/>
                  </a:lnTo>
                  <a:lnTo>
                    <a:pt x="190500" y="10573"/>
                  </a:lnTo>
                  <a:lnTo>
                    <a:pt x="204788" y="0"/>
                  </a:lnTo>
                  <a:lnTo>
                    <a:pt x="218122" y="10573"/>
                  </a:lnTo>
                  <a:lnTo>
                    <a:pt x="242888" y="6763"/>
                  </a:lnTo>
                  <a:lnTo>
                    <a:pt x="260985" y="27622"/>
                  </a:lnTo>
                  <a:lnTo>
                    <a:pt x="271463" y="3810"/>
                  </a:lnTo>
                  <a:lnTo>
                    <a:pt x="302895" y="3810"/>
                  </a:lnTo>
                  <a:lnTo>
                    <a:pt x="306705" y="14288"/>
                  </a:lnTo>
                  <a:lnTo>
                    <a:pt x="317182" y="27622"/>
                  </a:lnTo>
                  <a:lnTo>
                    <a:pt x="334328" y="45815"/>
                  </a:lnTo>
                  <a:lnTo>
                    <a:pt x="338138" y="49625"/>
                  </a:lnTo>
                  <a:lnTo>
                    <a:pt x="356235" y="60103"/>
                  </a:lnTo>
                  <a:lnTo>
                    <a:pt x="369570" y="60103"/>
                  </a:lnTo>
                  <a:lnTo>
                    <a:pt x="387668" y="70485"/>
                  </a:lnTo>
                  <a:lnTo>
                    <a:pt x="398145" y="80963"/>
                  </a:lnTo>
                  <a:lnTo>
                    <a:pt x="415290" y="87725"/>
                  </a:lnTo>
                  <a:lnTo>
                    <a:pt x="433388" y="95250"/>
                  </a:lnTo>
                  <a:lnTo>
                    <a:pt x="443865" y="109538"/>
                  </a:lnTo>
                  <a:lnTo>
                    <a:pt x="433388" y="126778"/>
                  </a:lnTo>
                  <a:lnTo>
                    <a:pt x="419100" y="155353"/>
                  </a:lnTo>
                  <a:lnTo>
                    <a:pt x="429578" y="169640"/>
                  </a:lnTo>
                  <a:lnTo>
                    <a:pt x="468630" y="169640"/>
                  </a:lnTo>
                  <a:lnTo>
                    <a:pt x="493395" y="161925"/>
                  </a:lnTo>
                  <a:lnTo>
                    <a:pt x="507682" y="151447"/>
                  </a:lnTo>
                  <a:lnTo>
                    <a:pt x="518160" y="147638"/>
                  </a:lnTo>
                  <a:lnTo>
                    <a:pt x="528638" y="122872"/>
                  </a:lnTo>
                  <a:lnTo>
                    <a:pt x="528638" y="105823"/>
                  </a:lnTo>
                  <a:lnTo>
                    <a:pt x="545782" y="109538"/>
                  </a:lnTo>
                  <a:lnTo>
                    <a:pt x="553403" y="116300"/>
                  </a:lnTo>
                  <a:lnTo>
                    <a:pt x="556260" y="134398"/>
                  </a:lnTo>
                  <a:lnTo>
                    <a:pt x="549593" y="155353"/>
                  </a:lnTo>
                  <a:lnTo>
                    <a:pt x="542925" y="165735"/>
                  </a:lnTo>
                  <a:lnTo>
                    <a:pt x="528638" y="172498"/>
                  </a:lnTo>
                  <a:lnTo>
                    <a:pt x="514350" y="182975"/>
                  </a:lnTo>
                  <a:lnTo>
                    <a:pt x="496253" y="197263"/>
                  </a:lnTo>
                  <a:lnTo>
                    <a:pt x="482918" y="207740"/>
                  </a:lnTo>
                  <a:lnTo>
                    <a:pt x="472440" y="225838"/>
                  </a:lnTo>
                  <a:lnTo>
                    <a:pt x="461963" y="232410"/>
                  </a:lnTo>
                  <a:lnTo>
                    <a:pt x="458153" y="240125"/>
                  </a:lnTo>
                  <a:lnTo>
                    <a:pt x="443865" y="242888"/>
                  </a:lnTo>
                  <a:lnTo>
                    <a:pt x="433388" y="282035"/>
                  </a:lnTo>
                  <a:lnTo>
                    <a:pt x="429578" y="306800"/>
                  </a:lnTo>
                  <a:lnTo>
                    <a:pt x="422910" y="338138"/>
                  </a:lnTo>
                  <a:lnTo>
                    <a:pt x="422910" y="373475"/>
                  </a:lnTo>
                  <a:lnTo>
                    <a:pt x="415290" y="381000"/>
                  </a:lnTo>
                  <a:lnTo>
                    <a:pt x="412432" y="391573"/>
                  </a:lnTo>
                  <a:lnTo>
                    <a:pt x="429578" y="395288"/>
                  </a:lnTo>
                  <a:lnTo>
                    <a:pt x="447675" y="402050"/>
                  </a:lnTo>
                  <a:lnTo>
                    <a:pt x="454343" y="416338"/>
                  </a:lnTo>
                  <a:lnTo>
                    <a:pt x="450532" y="430625"/>
                  </a:lnTo>
                  <a:lnTo>
                    <a:pt x="454343" y="437197"/>
                  </a:lnTo>
                  <a:lnTo>
                    <a:pt x="468630" y="447675"/>
                  </a:lnTo>
                  <a:lnTo>
                    <a:pt x="468630" y="472535"/>
                  </a:lnTo>
                  <a:lnTo>
                    <a:pt x="447675" y="501110"/>
                  </a:lnTo>
                  <a:lnTo>
                    <a:pt x="422910" y="518160"/>
                  </a:lnTo>
                  <a:lnTo>
                    <a:pt x="387668" y="522065"/>
                  </a:lnTo>
                  <a:lnTo>
                    <a:pt x="362903" y="524923"/>
                  </a:lnTo>
                  <a:lnTo>
                    <a:pt x="334328" y="528638"/>
                  </a:lnTo>
                  <a:lnTo>
                    <a:pt x="317182" y="524923"/>
                  </a:lnTo>
                  <a:lnTo>
                    <a:pt x="313372" y="536353"/>
                  </a:lnTo>
                  <a:lnTo>
                    <a:pt x="317182" y="553498"/>
                  </a:lnTo>
                  <a:lnTo>
                    <a:pt x="313372" y="582073"/>
                  </a:lnTo>
                  <a:lnTo>
                    <a:pt x="299085" y="596360"/>
                  </a:lnTo>
                  <a:lnTo>
                    <a:pt x="285750" y="603028"/>
                  </a:lnTo>
                  <a:lnTo>
                    <a:pt x="260985" y="592550"/>
                  </a:lnTo>
                  <a:lnTo>
                    <a:pt x="250507" y="588740"/>
                  </a:lnTo>
                  <a:lnTo>
                    <a:pt x="240030" y="584835"/>
                  </a:lnTo>
                  <a:lnTo>
                    <a:pt x="236220" y="596360"/>
                  </a:lnTo>
                  <a:lnTo>
                    <a:pt x="240030" y="623888"/>
                  </a:lnTo>
                  <a:lnTo>
                    <a:pt x="240030" y="638175"/>
                  </a:lnTo>
                  <a:lnTo>
                    <a:pt x="250507" y="641985"/>
                  </a:lnTo>
                  <a:lnTo>
                    <a:pt x="263843" y="641985"/>
                  </a:lnTo>
                  <a:lnTo>
                    <a:pt x="263843" y="638175"/>
                  </a:lnTo>
                  <a:lnTo>
                    <a:pt x="271463" y="634460"/>
                  </a:lnTo>
                  <a:lnTo>
                    <a:pt x="278130" y="641985"/>
                  </a:lnTo>
                  <a:lnTo>
                    <a:pt x="278130" y="652463"/>
                  </a:lnTo>
                  <a:lnTo>
                    <a:pt x="267653" y="659225"/>
                  </a:lnTo>
                  <a:lnTo>
                    <a:pt x="260985" y="655415"/>
                  </a:lnTo>
                  <a:lnTo>
                    <a:pt x="257175" y="648748"/>
                  </a:lnTo>
                  <a:lnTo>
                    <a:pt x="250507" y="648748"/>
                  </a:lnTo>
                  <a:lnTo>
                    <a:pt x="242888" y="652463"/>
                  </a:lnTo>
                  <a:lnTo>
                    <a:pt x="246697" y="663035"/>
                  </a:lnTo>
                  <a:lnTo>
                    <a:pt x="240030" y="673513"/>
                  </a:lnTo>
                  <a:lnTo>
                    <a:pt x="228600" y="677323"/>
                  </a:lnTo>
                  <a:lnTo>
                    <a:pt x="232410" y="698278"/>
                  </a:lnTo>
                  <a:lnTo>
                    <a:pt x="221932" y="719138"/>
                  </a:lnTo>
                  <a:lnTo>
                    <a:pt x="218122" y="722947"/>
                  </a:lnTo>
                  <a:lnTo>
                    <a:pt x="207645" y="729710"/>
                  </a:lnTo>
                  <a:lnTo>
                    <a:pt x="186690" y="740188"/>
                  </a:lnTo>
                  <a:lnTo>
                    <a:pt x="165735" y="762000"/>
                  </a:lnTo>
                  <a:lnTo>
                    <a:pt x="169545" y="783050"/>
                  </a:lnTo>
                  <a:lnTo>
                    <a:pt x="186690" y="800100"/>
                  </a:lnTo>
                  <a:lnTo>
                    <a:pt x="186690" y="803910"/>
                  </a:lnTo>
                  <a:lnTo>
                    <a:pt x="197168" y="803910"/>
                  </a:lnTo>
                  <a:lnTo>
                    <a:pt x="215265" y="807815"/>
                  </a:lnTo>
                  <a:lnTo>
                    <a:pt x="215265" y="821055"/>
                  </a:lnTo>
                  <a:lnTo>
                    <a:pt x="207645" y="835343"/>
                  </a:lnTo>
                  <a:lnTo>
                    <a:pt x="182880" y="856297"/>
                  </a:lnTo>
                  <a:lnTo>
                    <a:pt x="165735" y="874490"/>
                  </a:lnTo>
                  <a:lnTo>
                    <a:pt x="159068" y="899160"/>
                  </a:lnTo>
                  <a:lnTo>
                    <a:pt x="155257" y="909733"/>
                  </a:lnTo>
                  <a:lnTo>
                    <a:pt x="134303" y="913447"/>
                  </a:lnTo>
                  <a:lnTo>
                    <a:pt x="123825" y="924020"/>
                  </a:lnTo>
                  <a:lnTo>
                    <a:pt x="116205" y="948785"/>
                  </a:lnTo>
                  <a:lnTo>
                    <a:pt x="120015" y="963073"/>
                  </a:lnTo>
                  <a:lnTo>
                    <a:pt x="126682" y="973455"/>
                  </a:lnTo>
                  <a:lnTo>
                    <a:pt x="137160" y="986885"/>
                  </a:lnTo>
                  <a:lnTo>
                    <a:pt x="134303" y="990695"/>
                  </a:lnTo>
                  <a:lnTo>
                    <a:pt x="105728" y="984028"/>
                  </a:lnTo>
                  <a:lnTo>
                    <a:pt x="60007" y="984028"/>
                  </a:lnTo>
                  <a:lnTo>
                    <a:pt x="42863" y="980122"/>
                  </a:lnTo>
                  <a:lnTo>
                    <a:pt x="31432" y="959168"/>
                  </a:lnTo>
                  <a:lnTo>
                    <a:pt x="31432" y="930593"/>
                  </a:lnTo>
                  <a:lnTo>
                    <a:pt x="10478" y="927735"/>
                  </a:lnTo>
                  <a:lnTo>
                    <a:pt x="3810" y="916305"/>
                  </a:lnTo>
                  <a:lnTo>
                    <a:pt x="0" y="899160"/>
                  </a:lnTo>
                  <a:lnTo>
                    <a:pt x="3810" y="881158"/>
                  </a:lnTo>
                  <a:lnTo>
                    <a:pt x="18097" y="867823"/>
                  </a:lnTo>
                  <a:lnTo>
                    <a:pt x="31432" y="845915"/>
                  </a:lnTo>
                  <a:lnTo>
                    <a:pt x="35243" y="814483"/>
                  </a:lnTo>
                  <a:lnTo>
                    <a:pt x="49530" y="793528"/>
                  </a:lnTo>
                  <a:lnTo>
                    <a:pt x="49530" y="747713"/>
                  </a:lnTo>
                  <a:lnTo>
                    <a:pt x="53340" y="726853"/>
                  </a:lnTo>
                  <a:lnTo>
                    <a:pt x="45720" y="704850"/>
                  </a:lnTo>
                  <a:lnTo>
                    <a:pt x="45720" y="669703"/>
                  </a:lnTo>
                  <a:lnTo>
                    <a:pt x="39053" y="663035"/>
                  </a:lnTo>
                  <a:lnTo>
                    <a:pt x="42863" y="634460"/>
                  </a:lnTo>
                  <a:lnTo>
                    <a:pt x="45720" y="613410"/>
                  </a:lnTo>
                  <a:lnTo>
                    <a:pt x="49530" y="561022"/>
                  </a:lnTo>
                  <a:lnTo>
                    <a:pt x="63818" y="532447"/>
                  </a:lnTo>
                  <a:lnTo>
                    <a:pt x="66675" y="522065"/>
                  </a:lnTo>
                  <a:lnTo>
                    <a:pt x="70485" y="514350"/>
                  </a:lnTo>
                  <a:lnTo>
                    <a:pt x="70485" y="489585"/>
                  </a:lnTo>
                  <a:lnTo>
                    <a:pt x="66675" y="447675"/>
                  </a:lnTo>
                  <a:lnTo>
                    <a:pt x="77153" y="437197"/>
                  </a:lnTo>
                  <a:lnTo>
                    <a:pt x="84772" y="430625"/>
                  </a:lnTo>
                  <a:lnTo>
                    <a:pt x="88582" y="395288"/>
                  </a:lnTo>
                  <a:lnTo>
                    <a:pt x="95250" y="381000"/>
                  </a:lnTo>
                  <a:lnTo>
                    <a:pt x="99060" y="345853"/>
                  </a:lnTo>
                  <a:lnTo>
                    <a:pt x="91440" y="317278"/>
                  </a:lnTo>
                  <a:lnTo>
                    <a:pt x="84772" y="302990"/>
                  </a:lnTo>
                  <a:lnTo>
                    <a:pt x="84772" y="275272"/>
                  </a:lnTo>
                  <a:lnTo>
                    <a:pt x="91440" y="260985"/>
                  </a:lnTo>
                  <a:lnTo>
                    <a:pt x="99060" y="211550"/>
                  </a:lnTo>
                  <a:lnTo>
                    <a:pt x="112395" y="186785"/>
                  </a:lnTo>
                  <a:lnTo>
                    <a:pt x="130493" y="161925"/>
                  </a:lnTo>
                  <a:lnTo>
                    <a:pt x="140970" y="144875"/>
                  </a:lnTo>
                  <a:lnTo>
                    <a:pt x="134303" y="91535"/>
                  </a:lnTo>
                  <a:lnTo>
                    <a:pt x="144780" y="80963"/>
                  </a:lnTo>
                  <a:lnTo>
                    <a:pt x="159068" y="74390"/>
                  </a:lnTo>
                  <a:lnTo>
                    <a:pt x="176213" y="52388"/>
                  </a:lnTo>
                  <a:lnTo>
                    <a:pt x="180022" y="3152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22" name="Freeform: Shape 3621">
              <a:extLst>
                <a:ext uri="{FF2B5EF4-FFF2-40B4-BE49-F238E27FC236}">
                  <a16:creationId xmlns:a16="http://schemas.microsoft.com/office/drawing/2014/main" id="{9A589D4F-565D-B939-F9B7-43D3F2C60054}"/>
                </a:ext>
              </a:extLst>
            </p:cNvPr>
            <p:cNvSpPr/>
            <p:nvPr/>
          </p:nvSpPr>
          <p:spPr>
            <a:xfrm>
              <a:off x="3924719" y="5020782"/>
              <a:ext cx="235298" cy="1161562"/>
            </a:xfrm>
            <a:custGeom>
              <a:avLst/>
              <a:gdLst>
                <a:gd name="connsiteX0" fmla="*/ 148590 w 240029"/>
                <a:gd name="connsiteY0" fmla="*/ 32385 h 1184909"/>
                <a:gd name="connsiteX1" fmla="*/ 159067 w 240029"/>
                <a:gd name="connsiteY1" fmla="*/ 28575 h 1184909"/>
                <a:gd name="connsiteX2" fmla="*/ 169545 w 240029"/>
                <a:gd name="connsiteY2" fmla="*/ 3810 h 1184909"/>
                <a:gd name="connsiteX3" fmla="*/ 172402 w 240029"/>
                <a:gd name="connsiteY3" fmla="*/ 0 h 1184909"/>
                <a:gd name="connsiteX4" fmla="*/ 180022 w 240029"/>
                <a:gd name="connsiteY4" fmla="*/ 22003 h 1184909"/>
                <a:gd name="connsiteX5" fmla="*/ 197167 w 240029"/>
                <a:gd name="connsiteY5" fmla="*/ 67723 h 1184909"/>
                <a:gd name="connsiteX6" fmla="*/ 197167 w 240029"/>
                <a:gd name="connsiteY6" fmla="*/ 99060 h 1184909"/>
                <a:gd name="connsiteX7" fmla="*/ 211455 w 240029"/>
                <a:gd name="connsiteY7" fmla="*/ 120110 h 1184909"/>
                <a:gd name="connsiteX8" fmla="*/ 219075 w 240029"/>
                <a:gd name="connsiteY8" fmla="*/ 144875 h 1184909"/>
                <a:gd name="connsiteX9" fmla="*/ 221932 w 240029"/>
                <a:gd name="connsiteY9" fmla="*/ 169640 h 1184909"/>
                <a:gd name="connsiteX10" fmla="*/ 240030 w 240029"/>
                <a:gd name="connsiteY10" fmla="*/ 169640 h 1184909"/>
                <a:gd name="connsiteX11" fmla="*/ 236220 w 240029"/>
                <a:gd name="connsiteY11" fmla="*/ 190500 h 1184909"/>
                <a:gd name="connsiteX12" fmla="*/ 219075 w 240029"/>
                <a:gd name="connsiteY12" fmla="*/ 212503 h 1184909"/>
                <a:gd name="connsiteX13" fmla="*/ 204788 w 240029"/>
                <a:gd name="connsiteY13" fmla="*/ 219075 h 1184909"/>
                <a:gd name="connsiteX14" fmla="*/ 194310 w 240029"/>
                <a:gd name="connsiteY14" fmla="*/ 229648 h 1184909"/>
                <a:gd name="connsiteX15" fmla="*/ 200977 w 240029"/>
                <a:gd name="connsiteY15" fmla="*/ 282988 h 1184909"/>
                <a:gd name="connsiteX16" fmla="*/ 169545 w 240029"/>
                <a:gd name="connsiteY16" fmla="*/ 328613 h 1184909"/>
                <a:gd name="connsiteX17" fmla="*/ 159067 w 240029"/>
                <a:gd name="connsiteY17" fmla="*/ 349663 h 1184909"/>
                <a:gd name="connsiteX18" fmla="*/ 151447 w 240029"/>
                <a:gd name="connsiteY18" fmla="*/ 391573 h 1184909"/>
                <a:gd name="connsiteX19" fmla="*/ 144780 w 240029"/>
                <a:gd name="connsiteY19" fmla="*/ 413385 h 1184909"/>
                <a:gd name="connsiteX20" fmla="*/ 144780 w 240029"/>
                <a:gd name="connsiteY20" fmla="*/ 441103 h 1184909"/>
                <a:gd name="connsiteX21" fmla="*/ 159067 w 240029"/>
                <a:gd name="connsiteY21" fmla="*/ 483965 h 1184909"/>
                <a:gd name="connsiteX22" fmla="*/ 155257 w 240029"/>
                <a:gd name="connsiteY22" fmla="*/ 515398 h 1184909"/>
                <a:gd name="connsiteX23" fmla="*/ 148590 w 240029"/>
                <a:gd name="connsiteY23" fmla="*/ 533400 h 1184909"/>
                <a:gd name="connsiteX24" fmla="*/ 144780 w 240029"/>
                <a:gd name="connsiteY24" fmla="*/ 568738 h 1184909"/>
                <a:gd name="connsiteX25" fmla="*/ 126682 w 240029"/>
                <a:gd name="connsiteY25" fmla="*/ 585788 h 1184909"/>
                <a:gd name="connsiteX26" fmla="*/ 130492 w 240029"/>
                <a:gd name="connsiteY26" fmla="*/ 624935 h 1184909"/>
                <a:gd name="connsiteX27" fmla="*/ 130492 w 240029"/>
                <a:gd name="connsiteY27" fmla="*/ 652463 h 1184909"/>
                <a:gd name="connsiteX28" fmla="*/ 109538 w 240029"/>
                <a:gd name="connsiteY28" fmla="*/ 699135 h 1184909"/>
                <a:gd name="connsiteX29" fmla="*/ 105727 w 240029"/>
                <a:gd name="connsiteY29" fmla="*/ 751522 h 1184909"/>
                <a:gd name="connsiteX30" fmla="*/ 102870 w 240029"/>
                <a:gd name="connsiteY30" fmla="*/ 772573 h 1184909"/>
                <a:gd name="connsiteX31" fmla="*/ 99060 w 240029"/>
                <a:gd name="connsiteY31" fmla="*/ 801148 h 1184909"/>
                <a:gd name="connsiteX32" fmla="*/ 105727 w 240029"/>
                <a:gd name="connsiteY32" fmla="*/ 807815 h 1184909"/>
                <a:gd name="connsiteX33" fmla="*/ 105727 w 240029"/>
                <a:gd name="connsiteY33" fmla="*/ 842963 h 1184909"/>
                <a:gd name="connsiteX34" fmla="*/ 113347 w 240029"/>
                <a:gd name="connsiteY34" fmla="*/ 864965 h 1184909"/>
                <a:gd name="connsiteX35" fmla="*/ 109538 w 240029"/>
                <a:gd name="connsiteY35" fmla="*/ 885825 h 1184909"/>
                <a:gd name="connsiteX36" fmla="*/ 109538 w 240029"/>
                <a:gd name="connsiteY36" fmla="*/ 931640 h 1184909"/>
                <a:gd name="connsiteX37" fmla="*/ 95250 w 240029"/>
                <a:gd name="connsiteY37" fmla="*/ 952595 h 1184909"/>
                <a:gd name="connsiteX38" fmla="*/ 91440 w 240029"/>
                <a:gd name="connsiteY38" fmla="*/ 984028 h 1184909"/>
                <a:gd name="connsiteX39" fmla="*/ 78105 w 240029"/>
                <a:gd name="connsiteY39" fmla="*/ 1005935 h 1184909"/>
                <a:gd name="connsiteX40" fmla="*/ 63817 w 240029"/>
                <a:gd name="connsiteY40" fmla="*/ 1019270 h 1184909"/>
                <a:gd name="connsiteX41" fmla="*/ 60007 w 240029"/>
                <a:gd name="connsiteY41" fmla="*/ 1037272 h 1184909"/>
                <a:gd name="connsiteX42" fmla="*/ 63817 w 240029"/>
                <a:gd name="connsiteY42" fmla="*/ 1051560 h 1184909"/>
                <a:gd name="connsiteX43" fmla="*/ 70485 w 240029"/>
                <a:gd name="connsiteY43" fmla="*/ 1065848 h 1184909"/>
                <a:gd name="connsiteX44" fmla="*/ 91440 w 240029"/>
                <a:gd name="connsiteY44" fmla="*/ 1068705 h 1184909"/>
                <a:gd name="connsiteX45" fmla="*/ 91440 w 240029"/>
                <a:gd name="connsiteY45" fmla="*/ 1097280 h 1184909"/>
                <a:gd name="connsiteX46" fmla="*/ 102870 w 240029"/>
                <a:gd name="connsiteY46" fmla="*/ 1118235 h 1184909"/>
                <a:gd name="connsiteX47" fmla="*/ 120015 w 240029"/>
                <a:gd name="connsiteY47" fmla="*/ 1122140 h 1184909"/>
                <a:gd name="connsiteX48" fmla="*/ 165735 w 240029"/>
                <a:gd name="connsiteY48" fmla="*/ 1122140 h 1184909"/>
                <a:gd name="connsiteX49" fmla="*/ 169545 w 240029"/>
                <a:gd name="connsiteY49" fmla="*/ 1136428 h 1184909"/>
                <a:gd name="connsiteX50" fmla="*/ 155257 w 240029"/>
                <a:gd name="connsiteY50" fmla="*/ 1143095 h 1184909"/>
                <a:gd name="connsiteX51" fmla="*/ 140970 w 240029"/>
                <a:gd name="connsiteY51" fmla="*/ 1146810 h 1184909"/>
                <a:gd name="connsiteX52" fmla="*/ 130492 w 240029"/>
                <a:gd name="connsiteY52" fmla="*/ 1157383 h 1184909"/>
                <a:gd name="connsiteX53" fmla="*/ 130492 w 240029"/>
                <a:gd name="connsiteY53" fmla="*/ 1174528 h 1184909"/>
                <a:gd name="connsiteX54" fmla="*/ 126682 w 240029"/>
                <a:gd name="connsiteY54" fmla="*/ 1184910 h 1184909"/>
                <a:gd name="connsiteX55" fmla="*/ 113347 w 240029"/>
                <a:gd name="connsiteY55" fmla="*/ 1184910 h 1184909"/>
                <a:gd name="connsiteX56" fmla="*/ 102870 w 240029"/>
                <a:gd name="connsiteY56" fmla="*/ 1178243 h 1184909"/>
                <a:gd name="connsiteX57" fmla="*/ 105727 w 240029"/>
                <a:gd name="connsiteY57" fmla="*/ 1171670 h 1184909"/>
                <a:gd name="connsiteX58" fmla="*/ 116205 w 240029"/>
                <a:gd name="connsiteY58" fmla="*/ 1163955 h 1184909"/>
                <a:gd name="connsiteX59" fmla="*/ 123825 w 240029"/>
                <a:gd name="connsiteY59" fmla="*/ 1149668 h 1184909"/>
                <a:gd name="connsiteX60" fmla="*/ 113347 w 240029"/>
                <a:gd name="connsiteY60" fmla="*/ 1143095 h 1184909"/>
                <a:gd name="connsiteX61" fmla="*/ 99060 w 240029"/>
                <a:gd name="connsiteY61" fmla="*/ 1153573 h 1184909"/>
                <a:gd name="connsiteX62" fmla="*/ 91440 w 240029"/>
                <a:gd name="connsiteY62" fmla="*/ 1167860 h 1184909"/>
                <a:gd name="connsiteX63" fmla="*/ 78105 w 240029"/>
                <a:gd name="connsiteY63" fmla="*/ 1163955 h 1184909"/>
                <a:gd name="connsiteX64" fmla="*/ 67627 w 240029"/>
                <a:gd name="connsiteY64" fmla="*/ 1153573 h 1184909"/>
                <a:gd name="connsiteX65" fmla="*/ 80963 w 240029"/>
                <a:gd name="connsiteY65" fmla="*/ 1143095 h 1184909"/>
                <a:gd name="connsiteX66" fmla="*/ 84772 w 240029"/>
                <a:gd name="connsiteY66" fmla="*/ 1136428 h 1184909"/>
                <a:gd name="connsiteX67" fmla="*/ 80963 w 240029"/>
                <a:gd name="connsiteY67" fmla="*/ 1128808 h 1184909"/>
                <a:gd name="connsiteX68" fmla="*/ 67627 w 240029"/>
                <a:gd name="connsiteY68" fmla="*/ 1139285 h 1184909"/>
                <a:gd name="connsiteX69" fmla="*/ 49530 w 240029"/>
                <a:gd name="connsiteY69" fmla="*/ 1139285 h 1184909"/>
                <a:gd name="connsiteX70" fmla="*/ 53340 w 240029"/>
                <a:gd name="connsiteY70" fmla="*/ 1124998 h 1184909"/>
                <a:gd name="connsiteX71" fmla="*/ 74295 w 240029"/>
                <a:gd name="connsiteY71" fmla="*/ 1114520 h 1184909"/>
                <a:gd name="connsiteX72" fmla="*/ 74295 w 240029"/>
                <a:gd name="connsiteY72" fmla="*/ 1107853 h 1184909"/>
                <a:gd name="connsiteX73" fmla="*/ 60007 w 240029"/>
                <a:gd name="connsiteY73" fmla="*/ 1111568 h 1184909"/>
                <a:gd name="connsiteX74" fmla="*/ 45720 w 240029"/>
                <a:gd name="connsiteY74" fmla="*/ 1111568 h 1184909"/>
                <a:gd name="connsiteX75" fmla="*/ 49530 w 240029"/>
                <a:gd name="connsiteY75" fmla="*/ 1097280 h 1184909"/>
                <a:gd name="connsiteX76" fmla="*/ 39052 w 240029"/>
                <a:gd name="connsiteY76" fmla="*/ 1089660 h 1184909"/>
                <a:gd name="connsiteX77" fmla="*/ 35242 w 240029"/>
                <a:gd name="connsiteY77" fmla="*/ 1068705 h 1184909"/>
                <a:gd name="connsiteX78" fmla="*/ 35242 w 240029"/>
                <a:gd name="connsiteY78" fmla="*/ 1062133 h 1184909"/>
                <a:gd name="connsiteX79" fmla="*/ 35242 w 240029"/>
                <a:gd name="connsiteY79" fmla="*/ 1047845 h 1184909"/>
                <a:gd name="connsiteX80" fmla="*/ 28575 w 240029"/>
                <a:gd name="connsiteY80" fmla="*/ 1041178 h 1184909"/>
                <a:gd name="connsiteX81" fmla="*/ 18097 w 240029"/>
                <a:gd name="connsiteY81" fmla="*/ 1026890 h 1184909"/>
                <a:gd name="connsiteX82" fmla="*/ 10477 w 240029"/>
                <a:gd name="connsiteY82" fmla="*/ 1012603 h 1184909"/>
                <a:gd name="connsiteX83" fmla="*/ 14288 w 240029"/>
                <a:gd name="connsiteY83" fmla="*/ 984028 h 1184909"/>
                <a:gd name="connsiteX84" fmla="*/ 24765 w 240029"/>
                <a:gd name="connsiteY84" fmla="*/ 984028 h 1184909"/>
                <a:gd name="connsiteX85" fmla="*/ 28575 w 240029"/>
                <a:gd name="connsiteY85" fmla="*/ 987743 h 1184909"/>
                <a:gd name="connsiteX86" fmla="*/ 32385 w 240029"/>
                <a:gd name="connsiteY86" fmla="*/ 1002030 h 1184909"/>
                <a:gd name="connsiteX87" fmla="*/ 42863 w 240029"/>
                <a:gd name="connsiteY87" fmla="*/ 998315 h 1184909"/>
                <a:gd name="connsiteX88" fmla="*/ 42863 w 240029"/>
                <a:gd name="connsiteY88" fmla="*/ 981170 h 1184909"/>
                <a:gd name="connsiteX89" fmla="*/ 49530 w 240029"/>
                <a:gd name="connsiteY89" fmla="*/ 981170 h 1184909"/>
                <a:gd name="connsiteX90" fmla="*/ 56197 w 240029"/>
                <a:gd name="connsiteY90" fmla="*/ 977360 h 1184909"/>
                <a:gd name="connsiteX91" fmla="*/ 56197 w 240029"/>
                <a:gd name="connsiteY91" fmla="*/ 963073 h 1184909"/>
                <a:gd name="connsiteX92" fmla="*/ 49530 w 240029"/>
                <a:gd name="connsiteY92" fmla="*/ 966883 h 1184909"/>
                <a:gd name="connsiteX93" fmla="*/ 35242 w 240029"/>
                <a:gd name="connsiteY93" fmla="*/ 970597 h 1184909"/>
                <a:gd name="connsiteX94" fmla="*/ 32385 w 240029"/>
                <a:gd name="connsiteY94" fmla="*/ 959168 h 1184909"/>
                <a:gd name="connsiteX95" fmla="*/ 32385 w 240029"/>
                <a:gd name="connsiteY95" fmla="*/ 945928 h 1184909"/>
                <a:gd name="connsiteX96" fmla="*/ 42863 w 240029"/>
                <a:gd name="connsiteY96" fmla="*/ 942022 h 1184909"/>
                <a:gd name="connsiteX97" fmla="*/ 42863 w 240029"/>
                <a:gd name="connsiteY97" fmla="*/ 935450 h 1184909"/>
                <a:gd name="connsiteX98" fmla="*/ 28575 w 240029"/>
                <a:gd name="connsiteY98" fmla="*/ 935450 h 1184909"/>
                <a:gd name="connsiteX99" fmla="*/ 0 w 240029"/>
                <a:gd name="connsiteY99" fmla="*/ 935450 h 1184909"/>
                <a:gd name="connsiteX100" fmla="*/ 10477 w 240029"/>
                <a:gd name="connsiteY100" fmla="*/ 921163 h 1184909"/>
                <a:gd name="connsiteX101" fmla="*/ 18097 w 240029"/>
                <a:gd name="connsiteY101" fmla="*/ 906875 h 1184909"/>
                <a:gd name="connsiteX102" fmla="*/ 28575 w 240029"/>
                <a:gd name="connsiteY102" fmla="*/ 892588 h 1184909"/>
                <a:gd name="connsiteX103" fmla="*/ 39052 w 240029"/>
                <a:gd name="connsiteY103" fmla="*/ 885825 h 1184909"/>
                <a:gd name="connsiteX104" fmla="*/ 42863 w 240029"/>
                <a:gd name="connsiteY104" fmla="*/ 892588 h 1184909"/>
                <a:gd name="connsiteX105" fmla="*/ 49530 w 240029"/>
                <a:gd name="connsiteY105" fmla="*/ 913447 h 1184909"/>
                <a:gd name="connsiteX106" fmla="*/ 63817 w 240029"/>
                <a:gd name="connsiteY106" fmla="*/ 896398 h 1184909"/>
                <a:gd name="connsiteX107" fmla="*/ 74295 w 240029"/>
                <a:gd name="connsiteY107" fmla="*/ 871538 h 1184909"/>
                <a:gd name="connsiteX108" fmla="*/ 70485 w 240029"/>
                <a:gd name="connsiteY108" fmla="*/ 853535 h 1184909"/>
                <a:gd name="connsiteX109" fmla="*/ 67627 w 240029"/>
                <a:gd name="connsiteY109" fmla="*/ 832485 h 1184909"/>
                <a:gd name="connsiteX110" fmla="*/ 78105 w 240029"/>
                <a:gd name="connsiteY110" fmla="*/ 815435 h 1184909"/>
                <a:gd name="connsiteX111" fmla="*/ 74295 w 240029"/>
                <a:gd name="connsiteY111" fmla="*/ 797338 h 1184909"/>
                <a:gd name="connsiteX112" fmla="*/ 78105 w 240029"/>
                <a:gd name="connsiteY112" fmla="*/ 786860 h 1184909"/>
                <a:gd name="connsiteX113" fmla="*/ 80963 w 240029"/>
                <a:gd name="connsiteY113" fmla="*/ 776288 h 1184909"/>
                <a:gd name="connsiteX114" fmla="*/ 80963 w 240029"/>
                <a:gd name="connsiteY114" fmla="*/ 755428 h 1184909"/>
                <a:gd name="connsiteX115" fmla="*/ 70485 w 240029"/>
                <a:gd name="connsiteY115" fmla="*/ 751522 h 1184909"/>
                <a:gd name="connsiteX116" fmla="*/ 63817 w 240029"/>
                <a:gd name="connsiteY116" fmla="*/ 755428 h 1184909"/>
                <a:gd name="connsiteX117" fmla="*/ 60007 w 240029"/>
                <a:gd name="connsiteY117" fmla="*/ 772573 h 1184909"/>
                <a:gd name="connsiteX118" fmla="*/ 56197 w 240029"/>
                <a:gd name="connsiteY118" fmla="*/ 783050 h 1184909"/>
                <a:gd name="connsiteX119" fmla="*/ 56197 w 240029"/>
                <a:gd name="connsiteY119" fmla="*/ 804863 h 1184909"/>
                <a:gd name="connsiteX120" fmla="*/ 49530 w 240029"/>
                <a:gd name="connsiteY120" fmla="*/ 815435 h 1184909"/>
                <a:gd name="connsiteX121" fmla="*/ 39052 w 240029"/>
                <a:gd name="connsiteY121" fmla="*/ 807815 h 1184909"/>
                <a:gd name="connsiteX122" fmla="*/ 39052 w 240029"/>
                <a:gd name="connsiteY122" fmla="*/ 793528 h 1184909"/>
                <a:gd name="connsiteX123" fmla="*/ 39052 w 240029"/>
                <a:gd name="connsiteY123" fmla="*/ 772573 h 1184909"/>
                <a:gd name="connsiteX124" fmla="*/ 45720 w 240029"/>
                <a:gd name="connsiteY124" fmla="*/ 758285 h 1184909"/>
                <a:gd name="connsiteX125" fmla="*/ 49530 w 240029"/>
                <a:gd name="connsiteY125" fmla="*/ 751522 h 1184909"/>
                <a:gd name="connsiteX126" fmla="*/ 49530 w 240029"/>
                <a:gd name="connsiteY126" fmla="*/ 734473 h 1184909"/>
                <a:gd name="connsiteX127" fmla="*/ 53340 w 240029"/>
                <a:gd name="connsiteY127" fmla="*/ 709613 h 1184909"/>
                <a:gd name="connsiteX128" fmla="*/ 56197 w 240029"/>
                <a:gd name="connsiteY128" fmla="*/ 695325 h 1184909"/>
                <a:gd name="connsiteX129" fmla="*/ 70485 w 240029"/>
                <a:gd name="connsiteY129" fmla="*/ 681038 h 1184909"/>
                <a:gd name="connsiteX130" fmla="*/ 63817 w 240029"/>
                <a:gd name="connsiteY130" fmla="*/ 663035 h 1184909"/>
                <a:gd name="connsiteX131" fmla="*/ 60007 w 240029"/>
                <a:gd name="connsiteY131" fmla="*/ 645890 h 1184909"/>
                <a:gd name="connsiteX132" fmla="*/ 60007 w 240029"/>
                <a:gd name="connsiteY132" fmla="*/ 631603 h 1184909"/>
                <a:gd name="connsiteX133" fmla="*/ 56197 w 240029"/>
                <a:gd name="connsiteY133" fmla="*/ 610648 h 1184909"/>
                <a:gd name="connsiteX134" fmla="*/ 67627 w 240029"/>
                <a:gd name="connsiteY134" fmla="*/ 610648 h 1184909"/>
                <a:gd name="connsiteX135" fmla="*/ 74295 w 240029"/>
                <a:gd name="connsiteY135" fmla="*/ 585788 h 1184909"/>
                <a:gd name="connsiteX136" fmla="*/ 84772 w 240029"/>
                <a:gd name="connsiteY136" fmla="*/ 564928 h 1184909"/>
                <a:gd name="connsiteX137" fmla="*/ 91440 w 240029"/>
                <a:gd name="connsiteY137" fmla="*/ 543973 h 1184909"/>
                <a:gd name="connsiteX138" fmla="*/ 102870 w 240029"/>
                <a:gd name="connsiteY138" fmla="*/ 515398 h 1184909"/>
                <a:gd name="connsiteX139" fmla="*/ 105727 w 240029"/>
                <a:gd name="connsiteY139" fmla="*/ 490538 h 1184909"/>
                <a:gd name="connsiteX140" fmla="*/ 113347 w 240029"/>
                <a:gd name="connsiteY140" fmla="*/ 476250 h 1184909"/>
                <a:gd name="connsiteX141" fmla="*/ 109538 w 240029"/>
                <a:gd name="connsiteY141" fmla="*/ 409575 h 1184909"/>
                <a:gd name="connsiteX142" fmla="*/ 109538 w 240029"/>
                <a:gd name="connsiteY142" fmla="*/ 388715 h 1184909"/>
                <a:gd name="connsiteX143" fmla="*/ 123825 w 240029"/>
                <a:gd name="connsiteY143" fmla="*/ 378238 h 1184909"/>
                <a:gd name="connsiteX144" fmla="*/ 123825 w 240029"/>
                <a:gd name="connsiteY144" fmla="*/ 363950 h 1184909"/>
                <a:gd name="connsiteX145" fmla="*/ 116205 w 240029"/>
                <a:gd name="connsiteY145" fmla="*/ 353473 h 1184909"/>
                <a:gd name="connsiteX146" fmla="*/ 123825 w 240029"/>
                <a:gd name="connsiteY146" fmla="*/ 342900 h 1184909"/>
                <a:gd name="connsiteX147" fmla="*/ 130492 w 240029"/>
                <a:gd name="connsiteY147" fmla="*/ 307753 h 1184909"/>
                <a:gd name="connsiteX148" fmla="*/ 140970 w 240029"/>
                <a:gd name="connsiteY148" fmla="*/ 254413 h 1184909"/>
                <a:gd name="connsiteX149" fmla="*/ 144780 w 240029"/>
                <a:gd name="connsiteY149" fmla="*/ 173450 h 1184909"/>
                <a:gd name="connsiteX150" fmla="*/ 155257 w 240029"/>
                <a:gd name="connsiteY150" fmla="*/ 92488 h 1184909"/>
                <a:gd name="connsiteX151" fmla="*/ 151447 w 240029"/>
                <a:gd name="connsiteY151" fmla="*/ 49625 h 1184909"/>
                <a:gd name="connsiteX152" fmla="*/ 148590 w 240029"/>
                <a:gd name="connsiteY152" fmla="*/ 32385 h 118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240029" h="1184909">
                  <a:moveTo>
                    <a:pt x="148590" y="32385"/>
                  </a:moveTo>
                  <a:lnTo>
                    <a:pt x="159067" y="28575"/>
                  </a:lnTo>
                  <a:lnTo>
                    <a:pt x="169545" y="3810"/>
                  </a:lnTo>
                  <a:lnTo>
                    <a:pt x="172402" y="0"/>
                  </a:lnTo>
                  <a:lnTo>
                    <a:pt x="180022" y="22003"/>
                  </a:lnTo>
                  <a:lnTo>
                    <a:pt x="197167" y="67723"/>
                  </a:lnTo>
                  <a:lnTo>
                    <a:pt x="197167" y="99060"/>
                  </a:lnTo>
                  <a:lnTo>
                    <a:pt x="211455" y="120110"/>
                  </a:lnTo>
                  <a:lnTo>
                    <a:pt x="219075" y="144875"/>
                  </a:lnTo>
                  <a:lnTo>
                    <a:pt x="221932" y="169640"/>
                  </a:lnTo>
                  <a:lnTo>
                    <a:pt x="240030" y="169640"/>
                  </a:lnTo>
                  <a:lnTo>
                    <a:pt x="236220" y="190500"/>
                  </a:lnTo>
                  <a:lnTo>
                    <a:pt x="219075" y="212503"/>
                  </a:lnTo>
                  <a:lnTo>
                    <a:pt x="204788" y="219075"/>
                  </a:lnTo>
                  <a:lnTo>
                    <a:pt x="194310" y="229648"/>
                  </a:lnTo>
                  <a:lnTo>
                    <a:pt x="200977" y="282988"/>
                  </a:lnTo>
                  <a:lnTo>
                    <a:pt x="169545" y="328613"/>
                  </a:lnTo>
                  <a:lnTo>
                    <a:pt x="159067" y="349663"/>
                  </a:lnTo>
                  <a:lnTo>
                    <a:pt x="151447" y="391573"/>
                  </a:lnTo>
                  <a:lnTo>
                    <a:pt x="144780" y="413385"/>
                  </a:lnTo>
                  <a:lnTo>
                    <a:pt x="144780" y="441103"/>
                  </a:lnTo>
                  <a:lnTo>
                    <a:pt x="159067" y="483965"/>
                  </a:lnTo>
                  <a:lnTo>
                    <a:pt x="155257" y="515398"/>
                  </a:lnTo>
                  <a:lnTo>
                    <a:pt x="148590" y="533400"/>
                  </a:lnTo>
                  <a:lnTo>
                    <a:pt x="144780" y="568738"/>
                  </a:lnTo>
                  <a:lnTo>
                    <a:pt x="126682" y="585788"/>
                  </a:lnTo>
                  <a:lnTo>
                    <a:pt x="130492" y="624935"/>
                  </a:lnTo>
                  <a:lnTo>
                    <a:pt x="130492" y="652463"/>
                  </a:lnTo>
                  <a:lnTo>
                    <a:pt x="109538" y="699135"/>
                  </a:lnTo>
                  <a:lnTo>
                    <a:pt x="105727" y="751522"/>
                  </a:lnTo>
                  <a:lnTo>
                    <a:pt x="102870" y="772573"/>
                  </a:lnTo>
                  <a:lnTo>
                    <a:pt x="99060" y="801148"/>
                  </a:lnTo>
                  <a:lnTo>
                    <a:pt x="105727" y="807815"/>
                  </a:lnTo>
                  <a:lnTo>
                    <a:pt x="105727" y="842963"/>
                  </a:lnTo>
                  <a:lnTo>
                    <a:pt x="113347" y="864965"/>
                  </a:lnTo>
                  <a:lnTo>
                    <a:pt x="109538" y="885825"/>
                  </a:lnTo>
                  <a:lnTo>
                    <a:pt x="109538" y="931640"/>
                  </a:lnTo>
                  <a:lnTo>
                    <a:pt x="95250" y="952595"/>
                  </a:lnTo>
                  <a:lnTo>
                    <a:pt x="91440" y="984028"/>
                  </a:lnTo>
                  <a:lnTo>
                    <a:pt x="78105" y="1005935"/>
                  </a:lnTo>
                  <a:lnTo>
                    <a:pt x="63817" y="1019270"/>
                  </a:lnTo>
                  <a:lnTo>
                    <a:pt x="60007" y="1037272"/>
                  </a:lnTo>
                  <a:lnTo>
                    <a:pt x="63817" y="1051560"/>
                  </a:lnTo>
                  <a:lnTo>
                    <a:pt x="70485" y="1065848"/>
                  </a:lnTo>
                  <a:lnTo>
                    <a:pt x="91440" y="1068705"/>
                  </a:lnTo>
                  <a:lnTo>
                    <a:pt x="91440" y="1097280"/>
                  </a:lnTo>
                  <a:lnTo>
                    <a:pt x="102870" y="1118235"/>
                  </a:lnTo>
                  <a:lnTo>
                    <a:pt x="120015" y="1122140"/>
                  </a:lnTo>
                  <a:lnTo>
                    <a:pt x="165735" y="1122140"/>
                  </a:lnTo>
                  <a:lnTo>
                    <a:pt x="169545" y="1136428"/>
                  </a:lnTo>
                  <a:lnTo>
                    <a:pt x="155257" y="1143095"/>
                  </a:lnTo>
                  <a:lnTo>
                    <a:pt x="140970" y="1146810"/>
                  </a:lnTo>
                  <a:lnTo>
                    <a:pt x="130492" y="1157383"/>
                  </a:lnTo>
                  <a:lnTo>
                    <a:pt x="130492" y="1174528"/>
                  </a:lnTo>
                  <a:lnTo>
                    <a:pt x="126682" y="1184910"/>
                  </a:lnTo>
                  <a:lnTo>
                    <a:pt x="113347" y="1184910"/>
                  </a:lnTo>
                  <a:lnTo>
                    <a:pt x="102870" y="1178243"/>
                  </a:lnTo>
                  <a:lnTo>
                    <a:pt x="105727" y="1171670"/>
                  </a:lnTo>
                  <a:lnTo>
                    <a:pt x="116205" y="1163955"/>
                  </a:lnTo>
                  <a:lnTo>
                    <a:pt x="123825" y="1149668"/>
                  </a:lnTo>
                  <a:lnTo>
                    <a:pt x="113347" y="1143095"/>
                  </a:lnTo>
                  <a:lnTo>
                    <a:pt x="99060" y="1153573"/>
                  </a:lnTo>
                  <a:lnTo>
                    <a:pt x="91440" y="1167860"/>
                  </a:lnTo>
                  <a:lnTo>
                    <a:pt x="78105" y="1163955"/>
                  </a:lnTo>
                  <a:lnTo>
                    <a:pt x="67627" y="1153573"/>
                  </a:lnTo>
                  <a:lnTo>
                    <a:pt x="80963" y="1143095"/>
                  </a:lnTo>
                  <a:lnTo>
                    <a:pt x="84772" y="1136428"/>
                  </a:lnTo>
                  <a:lnTo>
                    <a:pt x="80963" y="1128808"/>
                  </a:lnTo>
                  <a:lnTo>
                    <a:pt x="67627" y="1139285"/>
                  </a:lnTo>
                  <a:lnTo>
                    <a:pt x="49530" y="1139285"/>
                  </a:lnTo>
                  <a:lnTo>
                    <a:pt x="53340" y="1124998"/>
                  </a:lnTo>
                  <a:lnTo>
                    <a:pt x="74295" y="1114520"/>
                  </a:lnTo>
                  <a:lnTo>
                    <a:pt x="74295" y="1107853"/>
                  </a:lnTo>
                  <a:lnTo>
                    <a:pt x="60007" y="1111568"/>
                  </a:lnTo>
                  <a:lnTo>
                    <a:pt x="45720" y="1111568"/>
                  </a:lnTo>
                  <a:lnTo>
                    <a:pt x="49530" y="1097280"/>
                  </a:lnTo>
                  <a:lnTo>
                    <a:pt x="39052" y="1089660"/>
                  </a:lnTo>
                  <a:lnTo>
                    <a:pt x="35242" y="1068705"/>
                  </a:lnTo>
                  <a:lnTo>
                    <a:pt x="35242" y="1062133"/>
                  </a:lnTo>
                  <a:lnTo>
                    <a:pt x="35242" y="1047845"/>
                  </a:lnTo>
                  <a:lnTo>
                    <a:pt x="28575" y="1041178"/>
                  </a:lnTo>
                  <a:lnTo>
                    <a:pt x="18097" y="1026890"/>
                  </a:lnTo>
                  <a:lnTo>
                    <a:pt x="10477" y="1012603"/>
                  </a:lnTo>
                  <a:lnTo>
                    <a:pt x="14288" y="984028"/>
                  </a:lnTo>
                  <a:lnTo>
                    <a:pt x="24765" y="984028"/>
                  </a:lnTo>
                  <a:lnTo>
                    <a:pt x="28575" y="987743"/>
                  </a:lnTo>
                  <a:lnTo>
                    <a:pt x="32385" y="1002030"/>
                  </a:lnTo>
                  <a:lnTo>
                    <a:pt x="42863" y="998315"/>
                  </a:lnTo>
                  <a:lnTo>
                    <a:pt x="42863" y="981170"/>
                  </a:lnTo>
                  <a:lnTo>
                    <a:pt x="49530" y="981170"/>
                  </a:lnTo>
                  <a:lnTo>
                    <a:pt x="56197" y="977360"/>
                  </a:lnTo>
                  <a:lnTo>
                    <a:pt x="56197" y="963073"/>
                  </a:lnTo>
                  <a:lnTo>
                    <a:pt x="49530" y="966883"/>
                  </a:lnTo>
                  <a:lnTo>
                    <a:pt x="35242" y="970597"/>
                  </a:lnTo>
                  <a:lnTo>
                    <a:pt x="32385" y="959168"/>
                  </a:lnTo>
                  <a:lnTo>
                    <a:pt x="32385" y="945928"/>
                  </a:lnTo>
                  <a:lnTo>
                    <a:pt x="42863" y="942022"/>
                  </a:lnTo>
                  <a:lnTo>
                    <a:pt x="42863" y="935450"/>
                  </a:lnTo>
                  <a:lnTo>
                    <a:pt x="28575" y="935450"/>
                  </a:lnTo>
                  <a:lnTo>
                    <a:pt x="0" y="935450"/>
                  </a:lnTo>
                  <a:lnTo>
                    <a:pt x="10477" y="921163"/>
                  </a:lnTo>
                  <a:lnTo>
                    <a:pt x="18097" y="906875"/>
                  </a:lnTo>
                  <a:lnTo>
                    <a:pt x="28575" y="892588"/>
                  </a:lnTo>
                  <a:lnTo>
                    <a:pt x="39052" y="885825"/>
                  </a:lnTo>
                  <a:lnTo>
                    <a:pt x="42863" y="892588"/>
                  </a:lnTo>
                  <a:lnTo>
                    <a:pt x="49530" y="913447"/>
                  </a:lnTo>
                  <a:lnTo>
                    <a:pt x="63817" y="896398"/>
                  </a:lnTo>
                  <a:lnTo>
                    <a:pt x="74295" y="871538"/>
                  </a:lnTo>
                  <a:lnTo>
                    <a:pt x="70485" y="853535"/>
                  </a:lnTo>
                  <a:lnTo>
                    <a:pt x="67627" y="832485"/>
                  </a:lnTo>
                  <a:lnTo>
                    <a:pt x="78105" y="815435"/>
                  </a:lnTo>
                  <a:lnTo>
                    <a:pt x="74295" y="797338"/>
                  </a:lnTo>
                  <a:lnTo>
                    <a:pt x="78105" y="786860"/>
                  </a:lnTo>
                  <a:lnTo>
                    <a:pt x="80963" y="776288"/>
                  </a:lnTo>
                  <a:lnTo>
                    <a:pt x="80963" y="755428"/>
                  </a:lnTo>
                  <a:lnTo>
                    <a:pt x="70485" y="751522"/>
                  </a:lnTo>
                  <a:lnTo>
                    <a:pt x="63817" y="755428"/>
                  </a:lnTo>
                  <a:lnTo>
                    <a:pt x="60007" y="772573"/>
                  </a:lnTo>
                  <a:lnTo>
                    <a:pt x="56197" y="783050"/>
                  </a:lnTo>
                  <a:lnTo>
                    <a:pt x="56197" y="804863"/>
                  </a:lnTo>
                  <a:lnTo>
                    <a:pt x="49530" y="815435"/>
                  </a:lnTo>
                  <a:lnTo>
                    <a:pt x="39052" y="807815"/>
                  </a:lnTo>
                  <a:lnTo>
                    <a:pt x="39052" y="793528"/>
                  </a:lnTo>
                  <a:lnTo>
                    <a:pt x="39052" y="772573"/>
                  </a:lnTo>
                  <a:lnTo>
                    <a:pt x="45720" y="758285"/>
                  </a:lnTo>
                  <a:lnTo>
                    <a:pt x="49530" y="751522"/>
                  </a:lnTo>
                  <a:lnTo>
                    <a:pt x="49530" y="734473"/>
                  </a:lnTo>
                  <a:lnTo>
                    <a:pt x="53340" y="709613"/>
                  </a:lnTo>
                  <a:lnTo>
                    <a:pt x="56197" y="695325"/>
                  </a:lnTo>
                  <a:lnTo>
                    <a:pt x="70485" y="681038"/>
                  </a:lnTo>
                  <a:lnTo>
                    <a:pt x="63817" y="663035"/>
                  </a:lnTo>
                  <a:lnTo>
                    <a:pt x="60007" y="645890"/>
                  </a:lnTo>
                  <a:lnTo>
                    <a:pt x="60007" y="631603"/>
                  </a:lnTo>
                  <a:lnTo>
                    <a:pt x="56197" y="610648"/>
                  </a:lnTo>
                  <a:lnTo>
                    <a:pt x="67627" y="610648"/>
                  </a:lnTo>
                  <a:lnTo>
                    <a:pt x="74295" y="585788"/>
                  </a:lnTo>
                  <a:lnTo>
                    <a:pt x="84772" y="564928"/>
                  </a:lnTo>
                  <a:lnTo>
                    <a:pt x="91440" y="543973"/>
                  </a:lnTo>
                  <a:lnTo>
                    <a:pt x="102870" y="515398"/>
                  </a:lnTo>
                  <a:lnTo>
                    <a:pt x="105727" y="490538"/>
                  </a:lnTo>
                  <a:lnTo>
                    <a:pt x="113347" y="476250"/>
                  </a:lnTo>
                  <a:lnTo>
                    <a:pt x="109538" y="409575"/>
                  </a:lnTo>
                  <a:lnTo>
                    <a:pt x="109538" y="388715"/>
                  </a:lnTo>
                  <a:lnTo>
                    <a:pt x="123825" y="378238"/>
                  </a:lnTo>
                  <a:lnTo>
                    <a:pt x="123825" y="363950"/>
                  </a:lnTo>
                  <a:lnTo>
                    <a:pt x="116205" y="353473"/>
                  </a:lnTo>
                  <a:lnTo>
                    <a:pt x="123825" y="342900"/>
                  </a:lnTo>
                  <a:lnTo>
                    <a:pt x="130492" y="307753"/>
                  </a:lnTo>
                  <a:lnTo>
                    <a:pt x="140970" y="254413"/>
                  </a:lnTo>
                  <a:lnTo>
                    <a:pt x="144780" y="173450"/>
                  </a:lnTo>
                  <a:lnTo>
                    <a:pt x="155257" y="92488"/>
                  </a:lnTo>
                  <a:lnTo>
                    <a:pt x="151447" y="49625"/>
                  </a:lnTo>
                  <a:lnTo>
                    <a:pt x="148590" y="3238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27" name="Freeform: Shape 3626">
              <a:extLst>
                <a:ext uri="{FF2B5EF4-FFF2-40B4-BE49-F238E27FC236}">
                  <a16:creationId xmlns:a16="http://schemas.microsoft.com/office/drawing/2014/main" id="{81C45E8B-3CD7-57A0-83E3-602C2DEED7E6}"/>
                </a:ext>
              </a:extLst>
            </p:cNvPr>
            <p:cNvSpPr/>
            <p:nvPr/>
          </p:nvSpPr>
          <p:spPr>
            <a:xfrm>
              <a:off x="3924719" y="5020782"/>
              <a:ext cx="235298" cy="1161562"/>
            </a:xfrm>
            <a:custGeom>
              <a:avLst/>
              <a:gdLst>
                <a:gd name="connsiteX0" fmla="*/ 148590 w 240029"/>
                <a:gd name="connsiteY0" fmla="*/ 32385 h 1184909"/>
                <a:gd name="connsiteX1" fmla="*/ 159067 w 240029"/>
                <a:gd name="connsiteY1" fmla="*/ 28575 h 1184909"/>
                <a:gd name="connsiteX2" fmla="*/ 169545 w 240029"/>
                <a:gd name="connsiteY2" fmla="*/ 3810 h 1184909"/>
                <a:gd name="connsiteX3" fmla="*/ 172402 w 240029"/>
                <a:gd name="connsiteY3" fmla="*/ 0 h 1184909"/>
                <a:gd name="connsiteX4" fmla="*/ 180022 w 240029"/>
                <a:gd name="connsiteY4" fmla="*/ 22003 h 1184909"/>
                <a:gd name="connsiteX5" fmla="*/ 197167 w 240029"/>
                <a:gd name="connsiteY5" fmla="*/ 67723 h 1184909"/>
                <a:gd name="connsiteX6" fmla="*/ 197167 w 240029"/>
                <a:gd name="connsiteY6" fmla="*/ 99060 h 1184909"/>
                <a:gd name="connsiteX7" fmla="*/ 211455 w 240029"/>
                <a:gd name="connsiteY7" fmla="*/ 120110 h 1184909"/>
                <a:gd name="connsiteX8" fmla="*/ 219075 w 240029"/>
                <a:gd name="connsiteY8" fmla="*/ 144875 h 1184909"/>
                <a:gd name="connsiteX9" fmla="*/ 221932 w 240029"/>
                <a:gd name="connsiteY9" fmla="*/ 169640 h 1184909"/>
                <a:gd name="connsiteX10" fmla="*/ 240030 w 240029"/>
                <a:gd name="connsiteY10" fmla="*/ 169640 h 1184909"/>
                <a:gd name="connsiteX11" fmla="*/ 236220 w 240029"/>
                <a:gd name="connsiteY11" fmla="*/ 190500 h 1184909"/>
                <a:gd name="connsiteX12" fmla="*/ 219075 w 240029"/>
                <a:gd name="connsiteY12" fmla="*/ 212503 h 1184909"/>
                <a:gd name="connsiteX13" fmla="*/ 204788 w 240029"/>
                <a:gd name="connsiteY13" fmla="*/ 219075 h 1184909"/>
                <a:gd name="connsiteX14" fmla="*/ 194310 w 240029"/>
                <a:gd name="connsiteY14" fmla="*/ 229648 h 1184909"/>
                <a:gd name="connsiteX15" fmla="*/ 200977 w 240029"/>
                <a:gd name="connsiteY15" fmla="*/ 282988 h 1184909"/>
                <a:gd name="connsiteX16" fmla="*/ 169545 w 240029"/>
                <a:gd name="connsiteY16" fmla="*/ 328613 h 1184909"/>
                <a:gd name="connsiteX17" fmla="*/ 159067 w 240029"/>
                <a:gd name="connsiteY17" fmla="*/ 349663 h 1184909"/>
                <a:gd name="connsiteX18" fmla="*/ 151447 w 240029"/>
                <a:gd name="connsiteY18" fmla="*/ 391573 h 1184909"/>
                <a:gd name="connsiteX19" fmla="*/ 144780 w 240029"/>
                <a:gd name="connsiteY19" fmla="*/ 413385 h 1184909"/>
                <a:gd name="connsiteX20" fmla="*/ 144780 w 240029"/>
                <a:gd name="connsiteY20" fmla="*/ 441103 h 1184909"/>
                <a:gd name="connsiteX21" fmla="*/ 159067 w 240029"/>
                <a:gd name="connsiteY21" fmla="*/ 483965 h 1184909"/>
                <a:gd name="connsiteX22" fmla="*/ 155257 w 240029"/>
                <a:gd name="connsiteY22" fmla="*/ 515398 h 1184909"/>
                <a:gd name="connsiteX23" fmla="*/ 148590 w 240029"/>
                <a:gd name="connsiteY23" fmla="*/ 533400 h 1184909"/>
                <a:gd name="connsiteX24" fmla="*/ 144780 w 240029"/>
                <a:gd name="connsiteY24" fmla="*/ 568738 h 1184909"/>
                <a:gd name="connsiteX25" fmla="*/ 126682 w 240029"/>
                <a:gd name="connsiteY25" fmla="*/ 585788 h 1184909"/>
                <a:gd name="connsiteX26" fmla="*/ 130492 w 240029"/>
                <a:gd name="connsiteY26" fmla="*/ 624935 h 1184909"/>
                <a:gd name="connsiteX27" fmla="*/ 130492 w 240029"/>
                <a:gd name="connsiteY27" fmla="*/ 652463 h 1184909"/>
                <a:gd name="connsiteX28" fmla="*/ 109538 w 240029"/>
                <a:gd name="connsiteY28" fmla="*/ 699135 h 1184909"/>
                <a:gd name="connsiteX29" fmla="*/ 105727 w 240029"/>
                <a:gd name="connsiteY29" fmla="*/ 751522 h 1184909"/>
                <a:gd name="connsiteX30" fmla="*/ 102870 w 240029"/>
                <a:gd name="connsiteY30" fmla="*/ 772573 h 1184909"/>
                <a:gd name="connsiteX31" fmla="*/ 99060 w 240029"/>
                <a:gd name="connsiteY31" fmla="*/ 801148 h 1184909"/>
                <a:gd name="connsiteX32" fmla="*/ 105727 w 240029"/>
                <a:gd name="connsiteY32" fmla="*/ 807815 h 1184909"/>
                <a:gd name="connsiteX33" fmla="*/ 105727 w 240029"/>
                <a:gd name="connsiteY33" fmla="*/ 842963 h 1184909"/>
                <a:gd name="connsiteX34" fmla="*/ 113347 w 240029"/>
                <a:gd name="connsiteY34" fmla="*/ 864965 h 1184909"/>
                <a:gd name="connsiteX35" fmla="*/ 109538 w 240029"/>
                <a:gd name="connsiteY35" fmla="*/ 885825 h 1184909"/>
                <a:gd name="connsiteX36" fmla="*/ 109538 w 240029"/>
                <a:gd name="connsiteY36" fmla="*/ 931640 h 1184909"/>
                <a:gd name="connsiteX37" fmla="*/ 95250 w 240029"/>
                <a:gd name="connsiteY37" fmla="*/ 952595 h 1184909"/>
                <a:gd name="connsiteX38" fmla="*/ 91440 w 240029"/>
                <a:gd name="connsiteY38" fmla="*/ 984028 h 1184909"/>
                <a:gd name="connsiteX39" fmla="*/ 78105 w 240029"/>
                <a:gd name="connsiteY39" fmla="*/ 1005935 h 1184909"/>
                <a:gd name="connsiteX40" fmla="*/ 63817 w 240029"/>
                <a:gd name="connsiteY40" fmla="*/ 1019270 h 1184909"/>
                <a:gd name="connsiteX41" fmla="*/ 60007 w 240029"/>
                <a:gd name="connsiteY41" fmla="*/ 1037272 h 1184909"/>
                <a:gd name="connsiteX42" fmla="*/ 63817 w 240029"/>
                <a:gd name="connsiteY42" fmla="*/ 1051560 h 1184909"/>
                <a:gd name="connsiteX43" fmla="*/ 70485 w 240029"/>
                <a:gd name="connsiteY43" fmla="*/ 1065848 h 1184909"/>
                <a:gd name="connsiteX44" fmla="*/ 91440 w 240029"/>
                <a:gd name="connsiteY44" fmla="*/ 1068705 h 1184909"/>
                <a:gd name="connsiteX45" fmla="*/ 91440 w 240029"/>
                <a:gd name="connsiteY45" fmla="*/ 1097280 h 1184909"/>
                <a:gd name="connsiteX46" fmla="*/ 102870 w 240029"/>
                <a:gd name="connsiteY46" fmla="*/ 1118235 h 1184909"/>
                <a:gd name="connsiteX47" fmla="*/ 120015 w 240029"/>
                <a:gd name="connsiteY47" fmla="*/ 1122140 h 1184909"/>
                <a:gd name="connsiteX48" fmla="*/ 165735 w 240029"/>
                <a:gd name="connsiteY48" fmla="*/ 1122140 h 1184909"/>
                <a:gd name="connsiteX49" fmla="*/ 169545 w 240029"/>
                <a:gd name="connsiteY49" fmla="*/ 1136428 h 1184909"/>
                <a:gd name="connsiteX50" fmla="*/ 155257 w 240029"/>
                <a:gd name="connsiteY50" fmla="*/ 1143095 h 1184909"/>
                <a:gd name="connsiteX51" fmla="*/ 140970 w 240029"/>
                <a:gd name="connsiteY51" fmla="*/ 1146810 h 1184909"/>
                <a:gd name="connsiteX52" fmla="*/ 130492 w 240029"/>
                <a:gd name="connsiteY52" fmla="*/ 1157383 h 1184909"/>
                <a:gd name="connsiteX53" fmla="*/ 130492 w 240029"/>
                <a:gd name="connsiteY53" fmla="*/ 1174528 h 1184909"/>
                <a:gd name="connsiteX54" fmla="*/ 126682 w 240029"/>
                <a:gd name="connsiteY54" fmla="*/ 1184910 h 1184909"/>
                <a:gd name="connsiteX55" fmla="*/ 113347 w 240029"/>
                <a:gd name="connsiteY55" fmla="*/ 1184910 h 1184909"/>
                <a:gd name="connsiteX56" fmla="*/ 102870 w 240029"/>
                <a:gd name="connsiteY56" fmla="*/ 1178243 h 1184909"/>
                <a:gd name="connsiteX57" fmla="*/ 105727 w 240029"/>
                <a:gd name="connsiteY57" fmla="*/ 1171670 h 1184909"/>
                <a:gd name="connsiteX58" fmla="*/ 116205 w 240029"/>
                <a:gd name="connsiteY58" fmla="*/ 1163955 h 1184909"/>
                <a:gd name="connsiteX59" fmla="*/ 123825 w 240029"/>
                <a:gd name="connsiteY59" fmla="*/ 1149668 h 1184909"/>
                <a:gd name="connsiteX60" fmla="*/ 113347 w 240029"/>
                <a:gd name="connsiteY60" fmla="*/ 1143095 h 1184909"/>
                <a:gd name="connsiteX61" fmla="*/ 99060 w 240029"/>
                <a:gd name="connsiteY61" fmla="*/ 1153573 h 1184909"/>
                <a:gd name="connsiteX62" fmla="*/ 91440 w 240029"/>
                <a:gd name="connsiteY62" fmla="*/ 1167860 h 1184909"/>
                <a:gd name="connsiteX63" fmla="*/ 78105 w 240029"/>
                <a:gd name="connsiteY63" fmla="*/ 1163955 h 1184909"/>
                <a:gd name="connsiteX64" fmla="*/ 67627 w 240029"/>
                <a:gd name="connsiteY64" fmla="*/ 1153573 h 1184909"/>
                <a:gd name="connsiteX65" fmla="*/ 80963 w 240029"/>
                <a:gd name="connsiteY65" fmla="*/ 1143095 h 1184909"/>
                <a:gd name="connsiteX66" fmla="*/ 84772 w 240029"/>
                <a:gd name="connsiteY66" fmla="*/ 1136428 h 1184909"/>
                <a:gd name="connsiteX67" fmla="*/ 80963 w 240029"/>
                <a:gd name="connsiteY67" fmla="*/ 1128808 h 1184909"/>
                <a:gd name="connsiteX68" fmla="*/ 67627 w 240029"/>
                <a:gd name="connsiteY68" fmla="*/ 1139285 h 1184909"/>
                <a:gd name="connsiteX69" fmla="*/ 49530 w 240029"/>
                <a:gd name="connsiteY69" fmla="*/ 1139285 h 1184909"/>
                <a:gd name="connsiteX70" fmla="*/ 53340 w 240029"/>
                <a:gd name="connsiteY70" fmla="*/ 1124998 h 1184909"/>
                <a:gd name="connsiteX71" fmla="*/ 74295 w 240029"/>
                <a:gd name="connsiteY71" fmla="*/ 1114520 h 1184909"/>
                <a:gd name="connsiteX72" fmla="*/ 74295 w 240029"/>
                <a:gd name="connsiteY72" fmla="*/ 1107853 h 1184909"/>
                <a:gd name="connsiteX73" fmla="*/ 60007 w 240029"/>
                <a:gd name="connsiteY73" fmla="*/ 1111568 h 1184909"/>
                <a:gd name="connsiteX74" fmla="*/ 45720 w 240029"/>
                <a:gd name="connsiteY74" fmla="*/ 1111568 h 1184909"/>
                <a:gd name="connsiteX75" fmla="*/ 49530 w 240029"/>
                <a:gd name="connsiteY75" fmla="*/ 1097280 h 1184909"/>
                <a:gd name="connsiteX76" fmla="*/ 39052 w 240029"/>
                <a:gd name="connsiteY76" fmla="*/ 1089660 h 1184909"/>
                <a:gd name="connsiteX77" fmla="*/ 35242 w 240029"/>
                <a:gd name="connsiteY77" fmla="*/ 1068705 h 1184909"/>
                <a:gd name="connsiteX78" fmla="*/ 35242 w 240029"/>
                <a:gd name="connsiteY78" fmla="*/ 1062133 h 1184909"/>
                <a:gd name="connsiteX79" fmla="*/ 35242 w 240029"/>
                <a:gd name="connsiteY79" fmla="*/ 1047845 h 1184909"/>
                <a:gd name="connsiteX80" fmla="*/ 28575 w 240029"/>
                <a:gd name="connsiteY80" fmla="*/ 1041178 h 1184909"/>
                <a:gd name="connsiteX81" fmla="*/ 18097 w 240029"/>
                <a:gd name="connsiteY81" fmla="*/ 1026890 h 1184909"/>
                <a:gd name="connsiteX82" fmla="*/ 10477 w 240029"/>
                <a:gd name="connsiteY82" fmla="*/ 1012603 h 1184909"/>
                <a:gd name="connsiteX83" fmla="*/ 14288 w 240029"/>
                <a:gd name="connsiteY83" fmla="*/ 984028 h 1184909"/>
                <a:gd name="connsiteX84" fmla="*/ 24765 w 240029"/>
                <a:gd name="connsiteY84" fmla="*/ 984028 h 1184909"/>
                <a:gd name="connsiteX85" fmla="*/ 28575 w 240029"/>
                <a:gd name="connsiteY85" fmla="*/ 987743 h 1184909"/>
                <a:gd name="connsiteX86" fmla="*/ 32385 w 240029"/>
                <a:gd name="connsiteY86" fmla="*/ 1002030 h 1184909"/>
                <a:gd name="connsiteX87" fmla="*/ 42863 w 240029"/>
                <a:gd name="connsiteY87" fmla="*/ 998315 h 1184909"/>
                <a:gd name="connsiteX88" fmla="*/ 42863 w 240029"/>
                <a:gd name="connsiteY88" fmla="*/ 981170 h 1184909"/>
                <a:gd name="connsiteX89" fmla="*/ 49530 w 240029"/>
                <a:gd name="connsiteY89" fmla="*/ 981170 h 1184909"/>
                <a:gd name="connsiteX90" fmla="*/ 56197 w 240029"/>
                <a:gd name="connsiteY90" fmla="*/ 977360 h 1184909"/>
                <a:gd name="connsiteX91" fmla="*/ 56197 w 240029"/>
                <a:gd name="connsiteY91" fmla="*/ 963073 h 1184909"/>
                <a:gd name="connsiteX92" fmla="*/ 49530 w 240029"/>
                <a:gd name="connsiteY92" fmla="*/ 966883 h 1184909"/>
                <a:gd name="connsiteX93" fmla="*/ 35242 w 240029"/>
                <a:gd name="connsiteY93" fmla="*/ 970597 h 1184909"/>
                <a:gd name="connsiteX94" fmla="*/ 32385 w 240029"/>
                <a:gd name="connsiteY94" fmla="*/ 959168 h 1184909"/>
                <a:gd name="connsiteX95" fmla="*/ 32385 w 240029"/>
                <a:gd name="connsiteY95" fmla="*/ 945928 h 1184909"/>
                <a:gd name="connsiteX96" fmla="*/ 42863 w 240029"/>
                <a:gd name="connsiteY96" fmla="*/ 942022 h 1184909"/>
                <a:gd name="connsiteX97" fmla="*/ 42863 w 240029"/>
                <a:gd name="connsiteY97" fmla="*/ 935450 h 1184909"/>
                <a:gd name="connsiteX98" fmla="*/ 28575 w 240029"/>
                <a:gd name="connsiteY98" fmla="*/ 935450 h 1184909"/>
                <a:gd name="connsiteX99" fmla="*/ 0 w 240029"/>
                <a:gd name="connsiteY99" fmla="*/ 935450 h 1184909"/>
                <a:gd name="connsiteX100" fmla="*/ 10477 w 240029"/>
                <a:gd name="connsiteY100" fmla="*/ 921163 h 1184909"/>
                <a:gd name="connsiteX101" fmla="*/ 18097 w 240029"/>
                <a:gd name="connsiteY101" fmla="*/ 906875 h 1184909"/>
                <a:gd name="connsiteX102" fmla="*/ 28575 w 240029"/>
                <a:gd name="connsiteY102" fmla="*/ 892588 h 1184909"/>
                <a:gd name="connsiteX103" fmla="*/ 39052 w 240029"/>
                <a:gd name="connsiteY103" fmla="*/ 885825 h 1184909"/>
                <a:gd name="connsiteX104" fmla="*/ 42863 w 240029"/>
                <a:gd name="connsiteY104" fmla="*/ 892588 h 1184909"/>
                <a:gd name="connsiteX105" fmla="*/ 49530 w 240029"/>
                <a:gd name="connsiteY105" fmla="*/ 913447 h 1184909"/>
                <a:gd name="connsiteX106" fmla="*/ 63817 w 240029"/>
                <a:gd name="connsiteY106" fmla="*/ 896398 h 1184909"/>
                <a:gd name="connsiteX107" fmla="*/ 74295 w 240029"/>
                <a:gd name="connsiteY107" fmla="*/ 871538 h 1184909"/>
                <a:gd name="connsiteX108" fmla="*/ 70485 w 240029"/>
                <a:gd name="connsiteY108" fmla="*/ 853535 h 1184909"/>
                <a:gd name="connsiteX109" fmla="*/ 67627 w 240029"/>
                <a:gd name="connsiteY109" fmla="*/ 832485 h 1184909"/>
                <a:gd name="connsiteX110" fmla="*/ 78105 w 240029"/>
                <a:gd name="connsiteY110" fmla="*/ 815435 h 1184909"/>
                <a:gd name="connsiteX111" fmla="*/ 74295 w 240029"/>
                <a:gd name="connsiteY111" fmla="*/ 797338 h 1184909"/>
                <a:gd name="connsiteX112" fmla="*/ 78105 w 240029"/>
                <a:gd name="connsiteY112" fmla="*/ 786860 h 1184909"/>
                <a:gd name="connsiteX113" fmla="*/ 80963 w 240029"/>
                <a:gd name="connsiteY113" fmla="*/ 776288 h 1184909"/>
                <a:gd name="connsiteX114" fmla="*/ 80963 w 240029"/>
                <a:gd name="connsiteY114" fmla="*/ 755428 h 1184909"/>
                <a:gd name="connsiteX115" fmla="*/ 70485 w 240029"/>
                <a:gd name="connsiteY115" fmla="*/ 751522 h 1184909"/>
                <a:gd name="connsiteX116" fmla="*/ 63817 w 240029"/>
                <a:gd name="connsiteY116" fmla="*/ 755428 h 1184909"/>
                <a:gd name="connsiteX117" fmla="*/ 60007 w 240029"/>
                <a:gd name="connsiteY117" fmla="*/ 772573 h 1184909"/>
                <a:gd name="connsiteX118" fmla="*/ 56197 w 240029"/>
                <a:gd name="connsiteY118" fmla="*/ 783050 h 1184909"/>
                <a:gd name="connsiteX119" fmla="*/ 56197 w 240029"/>
                <a:gd name="connsiteY119" fmla="*/ 804863 h 1184909"/>
                <a:gd name="connsiteX120" fmla="*/ 49530 w 240029"/>
                <a:gd name="connsiteY120" fmla="*/ 815435 h 1184909"/>
                <a:gd name="connsiteX121" fmla="*/ 39052 w 240029"/>
                <a:gd name="connsiteY121" fmla="*/ 807815 h 1184909"/>
                <a:gd name="connsiteX122" fmla="*/ 39052 w 240029"/>
                <a:gd name="connsiteY122" fmla="*/ 793528 h 1184909"/>
                <a:gd name="connsiteX123" fmla="*/ 39052 w 240029"/>
                <a:gd name="connsiteY123" fmla="*/ 772573 h 1184909"/>
                <a:gd name="connsiteX124" fmla="*/ 45720 w 240029"/>
                <a:gd name="connsiteY124" fmla="*/ 758285 h 1184909"/>
                <a:gd name="connsiteX125" fmla="*/ 49530 w 240029"/>
                <a:gd name="connsiteY125" fmla="*/ 751522 h 1184909"/>
                <a:gd name="connsiteX126" fmla="*/ 49530 w 240029"/>
                <a:gd name="connsiteY126" fmla="*/ 734473 h 1184909"/>
                <a:gd name="connsiteX127" fmla="*/ 53340 w 240029"/>
                <a:gd name="connsiteY127" fmla="*/ 709613 h 1184909"/>
                <a:gd name="connsiteX128" fmla="*/ 56197 w 240029"/>
                <a:gd name="connsiteY128" fmla="*/ 695325 h 1184909"/>
                <a:gd name="connsiteX129" fmla="*/ 70485 w 240029"/>
                <a:gd name="connsiteY129" fmla="*/ 681038 h 1184909"/>
                <a:gd name="connsiteX130" fmla="*/ 63817 w 240029"/>
                <a:gd name="connsiteY130" fmla="*/ 663035 h 1184909"/>
                <a:gd name="connsiteX131" fmla="*/ 60007 w 240029"/>
                <a:gd name="connsiteY131" fmla="*/ 645890 h 1184909"/>
                <a:gd name="connsiteX132" fmla="*/ 60007 w 240029"/>
                <a:gd name="connsiteY132" fmla="*/ 631603 h 1184909"/>
                <a:gd name="connsiteX133" fmla="*/ 56197 w 240029"/>
                <a:gd name="connsiteY133" fmla="*/ 610648 h 1184909"/>
                <a:gd name="connsiteX134" fmla="*/ 67627 w 240029"/>
                <a:gd name="connsiteY134" fmla="*/ 610648 h 1184909"/>
                <a:gd name="connsiteX135" fmla="*/ 74295 w 240029"/>
                <a:gd name="connsiteY135" fmla="*/ 585788 h 1184909"/>
                <a:gd name="connsiteX136" fmla="*/ 84772 w 240029"/>
                <a:gd name="connsiteY136" fmla="*/ 564928 h 1184909"/>
                <a:gd name="connsiteX137" fmla="*/ 91440 w 240029"/>
                <a:gd name="connsiteY137" fmla="*/ 543973 h 1184909"/>
                <a:gd name="connsiteX138" fmla="*/ 102870 w 240029"/>
                <a:gd name="connsiteY138" fmla="*/ 515398 h 1184909"/>
                <a:gd name="connsiteX139" fmla="*/ 105727 w 240029"/>
                <a:gd name="connsiteY139" fmla="*/ 490538 h 1184909"/>
                <a:gd name="connsiteX140" fmla="*/ 113347 w 240029"/>
                <a:gd name="connsiteY140" fmla="*/ 476250 h 1184909"/>
                <a:gd name="connsiteX141" fmla="*/ 109538 w 240029"/>
                <a:gd name="connsiteY141" fmla="*/ 409575 h 1184909"/>
                <a:gd name="connsiteX142" fmla="*/ 109538 w 240029"/>
                <a:gd name="connsiteY142" fmla="*/ 388715 h 1184909"/>
                <a:gd name="connsiteX143" fmla="*/ 123825 w 240029"/>
                <a:gd name="connsiteY143" fmla="*/ 378238 h 1184909"/>
                <a:gd name="connsiteX144" fmla="*/ 123825 w 240029"/>
                <a:gd name="connsiteY144" fmla="*/ 363950 h 1184909"/>
                <a:gd name="connsiteX145" fmla="*/ 116205 w 240029"/>
                <a:gd name="connsiteY145" fmla="*/ 353473 h 1184909"/>
                <a:gd name="connsiteX146" fmla="*/ 123825 w 240029"/>
                <a:gd name="connsiteY146" fmla="*/ 342900 h 1184909"/>
                <a:gd name="connsiteX147" fmla="*/ 130492 w 240029"/>
                <a:gd name="connsiteY147" fmla="*/ 307753 h 1184909"/>
                <a:gd name="connsiteX148" fmla="*/ 140970 w 240029"/>
                <a:gd name="connsiteY148" fmla="*/ 254413 h 1184909"/>
                <a:gd name="connsiteX149" fmla="*/ 144780 w 240029"/>
                <a:gd name="connsiteY149" fmla="*/ 173450 h 1184909"/>
                <a:gd name="connsiteX150" fmla="*/ 155257 w 240029"/>
                <a:gd name="connsiteY150" fmla="*/ 92488 h 1184909"/>
                <a:gd name="connsiteX151" fmla="*/ 151447 w 240029"/>
                <a:gd name="connsiteY151" fmla="*/ 49625 h 1184909"/>
                <a:gd name="connsiteX152" fmla="*/ 148590 w 240029"/>
                <a:gd name="connsiteY152" fmla="*/ 32385 h 1184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</a:cxnLst>
              <a:rect l="l" t="t" r="r" b="b"/>
              <a:pathLst>
                <a:path w="240029" h="1184909">
                  <a:moveTo>
                    <a:pt x="148590" y="32385"/>
                  </a:moveTo>
                  <a:lnTo>
                    <a:pt x="159067" y="28575"/>
                  </a:lnTo>
                  <a:lnTo>
                    <a:pt x="169545" y="3810"/>
                  </a:lnTo>
                  <a:lnTo>
                    <a:pt x="172402" y="0"/>
                  </a:lnTo>
                  <a:lnTo>
                    <a:pt x="180022" y="22003"/>
                  </a:lnTo>
                  <a:lnTo>
                    <a:pt x="197167" y="67723"/>
                  </a:lnTo>
                  <a:lnTo>
                    <a:pt x="197167" y="99060"/>
                  </a:lnTo>
                  <a:lnTo>
                    <a:pt x="211455" y="120110"/>
                  </a:lnTo>
                  <a:lnTo>
                    <a:pt x="219075" y="144875"/>
                  </a:lnTo>
                  <a:lnTo>
                    <a:pt x="221932" y="169640"/>
                  </a:lnTo>
                  <a:lnTo>
                    <a:pt x="240030" y="169640"/>
                  </a:lnTo>
                  <a:lnTo>
                    <a:pt x="236220" y="190500"/>
                  </a:lnTo>
                  <a:lnTo>
                    <a:pt x="219075" y="212503"/>
                  </a:lnTo>
                  <a:lnTo>
                    <a:pt x="204788" y="219075"/>
                  </a:lnTo>
                  <a:lnTo>
                    <a:pt x="194310" y="229648"/>
                  </a:lnTo>
                  <a:lnTo>
                    <a:pt x="200977" y="282988"/>
                  </a:lnTo>
                  <a:lnTo>
                    <a:pt x="169545" y="328613"/>
                  </a:lnTo>
                  <a:lnTo>
                    <a:pt x="159067" y="349663"/>
                  </a:lnTo>
                  <a:lnTo>
                    <a:pt x="151447" y="391573"/>
                  </a:lnTo>
                  <a:lnTo>
                    <a:pt x="144780" y="413385"/>
                  </a:lnTo>
                  <a:lnTo>
                    <a:pt x="144780" y="441103"/>
                  </a:lnTo>
                  <a:lnTo>
                    <a:pt x="159067" y="483965"/>
                  </a:lnTo>
                  <a:lnTo>
                    <a:pt x="155257" y="515398"/>
                  </a:lnTo>
                  <a:lnTo>
                    <a:pt x="148590" y="533400"/>
                  </a:lnTo>
                  <a:lnTo>
                    <a:pt x="144780" y="568738"/>
                  </a:lnTo>
                  <a:lnTo>
                    <a:pt x="126682" y="585788"/>
                  </a:lnTo>
                  <a:lnTo>
                    <a:pt x="130492" y="624935"/>
                  </a:lnTo>
                  <a:lnTo>
                    <a:pt x="130492" y="652463"/>
                  </a:lnTo>
                  <a:lnTo>
                    <a:pt x="109538" y="699135"/>
                  </a:lnTo>
                  <a:lnTo>
                    <a:pt x="105727" y="751522"/>
                  </a:lnTo>
                  <a:lnTo>
                    <a:pt x="102870" y="772573"/>
                  </a:lnTo>
                  <a:lnTo>
                    <a:pt x="99060" y="801148"/>
                  </a:lnTo>
                  <a:lnTo>
                    <a:pt x="105727" y="807815"/>
                  </a:lnTo>
                  <a:lnTo>
                    <a:pt x="105727" y="842963"/>
                  </a:lnTo>
                  <a:lnTo>
                    <a:pt x="113347" y="864965"/>
                  </a:lnTo>
                  <a:lnTo>
                    <a:pt x="109538" y="885825"/>
                  </a:lnTo>
                  <a:lnTo>
                    <a:pt x="109538" y="931640"/>
                  </a:lnTo>
                  <a:lnTo>
                    <a:pt x="95250" y="952595"/>
                  </a:lnTo>
                  <a:lnTo>
                    <a:pt x="91440" y="984028"/>
                  </a:lnTo>
                  <a:lnTo>
                    <a:pt x="78105" y="1005935"/>
                  </a:lnTo>
                  <a:lnTo>
                    <a:pt x="63817" y="1019270"/>
                  </a:lnTo>
                  <a:lnTo>
                    <a:pt x="60007" y="1037272"/>
                  </a:lnTo>
                  <a:lnTo>
                    <a:pt x="63817" y="1051560"/>
                  </a:lnTo>
                  <a:lnTo>
                    <a:pt x="70485" y="1065848"/>
                  </a:lnTo>
                  <a:lnTo>
                    <a:pt x="91440" y="1068705"/>
                  </a:lnTo>
                  <a:lnTo>
                    <a:pt x="91440" y="1097280"/>
                  </a:lnTo>
                  <a:lnTo>
                    <a:pt x="102870" y="1118235"/>
                  </a:lnTo>
                  <a:lnTo>
                    <a:pt x="120015" y="1122140"/>
                  </a:lnTo>
                  <a:lnTo>
                    <a:pt x="165735" y="1122140"/>
                  </a:lnTo>
                  <a:lnTo>
                    <a:pt x="169545" y="1136428"/>
                  </a:lnTo>
                  <a:lnTo>
                    <a:pt x="155257" y="1143095"/>
                  </a:lnTo>
                  <a:lnTo>
                    <a:pt x="140970" y="1146810"/>
                  </a:lnTo>
                  <a:lnTo>
                    <a:pt x="130492" y="1157383"/>
                  </a:lnTo>
                  <a:lnTo>
                    <a:pt x="130492" y="1174528"/>
                  </a:lnTo>
                  <a:lnTo>
                    <a:pt x="126682" y="1184910"/>
                  </a:lnTo>
                  <a:lnTo>
                    <a:pt x="113347" y="1184910"/>
                  </a:lnTo>
                  <a:lnTo>
                    <a:pt x="102870" y="1178243"/>
                  </a:lnTo>
                  <a:lnTo>
                    <a:pt x="105727" y="1171670"/>
                  </a:lnTo>
                  <a:lnTo>
                    <a:pt x="116205" y="1163955"/>
                  </a:lnTo>
                  <a:lnTo>
                    <a:pt x="123825" y="1149668"/>
                  </a:lnTo>
                  <a:lnTo>
                    <a:pt x="113347" y="1143095"/>
                  </a:lnTo>
                  <a:lnTo>
                    <a:pt x="99060" y="1153573"/>
                  </a:lnTo>
                  <a:lnTo>
                    <a:pt x="91440" y="1167860"/>
                  </a:lnTo>
                  <a:lnTo>
                    <a:pt x="78105" y="1163955"/>
                  </a:lnTo>
                  <a:lnTo>
                    <a:pt x="67627" y="1153573"/>
                  </a:lnTo>
                  <a:lnTo>
                    <a:pt x="80963" y="1143095"/>
                  </a:lnTo>
                  <a:lnTo>
                    <a:pt x="84772" y="1136428"/>
                  </a:lnTo>
                  <a:lnTo>
                    <a:pt x="80963" y="1128808"/>
                  </a:lnTo>
                  <a:lnTo>
                    <a:pt x="67627" y="1139285"/>
                  </a:lnTo>
                  <a:lnTo>
                    <a:pt x="49530" y="1139285"/>
                  </a:lnTo>
                  <a:lnTo>
                    <a:pt x="53340" y="1124998"/>
                  </a:lnTo>
                  <a:lnTo>
                    <a:pt x="74295" y="1114520"/>
                  </a:lnTo>
                  <a:lnTo>
                    <a:pt x="74295" y="1107853"/>
                  </a:lnTo>
                  <a:lnTo>
                    <a:pt x="60007" y="1111568"/>
                  </a:lnTo>
                  <a:lnTo>
                    <a:pt x="45720" y="1111568"/>
                  </a:lnTo>
                  <a:lnTo>
                    <a:pt x="49530" y="1097280"/>
                  </a:lnTo>
                  <a:lnTo>
                    <a:pt x="39052" y="1089660"/>
                  </a:lnTo>
                  <a:lnTo>
                    <a:pt x="35242" y="1068705"/>
                  </a:lnTo>
                  <a:lnTo>
                    <a:pt x="35242" y="1062133"/>
                  </a:lnTo>
                  <a:lnTo>
                    <a:pt x="35242" y="1047845"/>
                  </a:lnTo>
                  <a:lnTo>
                    <a:pt x="28575" y="1041178"/>
                  </a:lnTo>
                  <a:lnTo>
                    <a:pt x="18097" y="1026890"/>
                  </a:lnTo>
                  <a:lnTo>
                    <a:pt x="10477" y="1012603"/>
                  </a:lnTo>
                  <a:lnTo>
                    <a:pt x="14288" y="984028"/>
                  </a:lnTo>
                  <a:lnTo>
                    <a:pt x="24765" y="984028"/>
                  </a:lnTo>
                  <a:lnTo>
                    <a:pt x="28575" y="987743"/>
                  </a:lnTo>
                  <a:lnTo>
                    <a:pt x="32385" y="1002030"/>
                  </a:lnTo>
                  <a:lnTo>
                    <a:pt x="42863" y="998315"/>
                  </a:lnTo>
                  <a:lnTo>
                    <a:pt x="42863" y="981170"/>
                  </a:lnTo>
                  <a:lnTo>
                    <a:pt x="49530" y="981170"/>
                  </a:lnTo>
                  <a:lnTo>
                    <a:pt x="56197" y="977360"/>
                  </a:lnTo>
                  <a:lnTo>
                    <a:pt x="56197" y="963073"/>
                  </a:lnTo>
                  <a:lnTo>
                    <a:pt x="49530" y="966883"/>
                  </a:lnTo>
                  <a:lnTo>
                    <a:pt x="35242" y="970597"/>
                  </a:lnTo>
                  <a:lnTo>
                    <a:pt x="32385" y="959168"/>
                  </a:lnTo>
                  <a:lnTo>
                    <a:pt x="32385" y="945928"/>
                  </a:lnTo>
                  <a:lnTo>
                    <a:pt x="42863" y="942022"/>
                  </a:lnTo>
                  <a:lnTo>
                    <a:pt x="42863" y="935450"/>
                  </a:lnTo>
                  <a:lnTo>
                    <a:pt x="28575" y="935450"/>
                  </a:lnTo>
                  <a:lnTo>
                    <a:pt x="0" y="935450"/>
                  </a:lnTo>
                  <a:lnTo>
                    <a:pt x="10477" y="921163"/>
                  </a:lnTo>
                  <a:lnTo>
                    <a:pt x="18097" y="906875"/>
                  </a:lnTo>
                  <a:lnTo>
                    <a:pt x="28575" y="892588"/>
                  </a:lnTo>
                  <a:lnTo>
                    <a:pt x="39052" y="885825"/>
                  </a:lnTo>
                  <a:lnTo>
                    <a:pt x="42863" y="892588"/>
                  </a:lnTo>
                  <a:lnTo>
                    <a:pt x="49530" y="913447"/>
                  </a:lnTo>
                  <a:lnTo>
                    <a:pt x="63817" y="896398"/>
                  </a:lnTo>
                  <a:lnTo>
                    <a:pt x="74295" y="871538"/>
                  </a:lnTo>
                  <a:lnTo>
                    <a:pt x="70485" y="853535"/>
                  </a:lnTo>
                  <a:lnTo>
                    <a:pt x="67627" y="832485"/>
                  </a:lnTo>
                  <a:lnTo>
                    <a:pt x="78105" y="815435"/>
                  </a:lnTo>
                  <a:lnTo>
                    <a:pt x="74295" y="797338"/>
                  </a:lnTo>
                  <a:lnTo>
                    <a:pt x="78105" y="786860"/>
                  </a:lnTo>
                  <a:lnTo>
                    <a:pt x="80963" y="776288"/>
                  </a:lnTo>
                  <a:lnTo>
                    <a:pt x="80963" y="755428"/>
                  </a:lnTo>
                  <a:lnTo>
                    <a:pt x="70485" y="751522"/>
                  </a:lnTo>
                  <a:lnTo>
                    <a:pt x="63817" y="755428"/>
                  </a:lnTo>
                  <a:lnTo>
                    <a:pt x="60007" y="772573"/>
                  </a:lnTo>
                  <a:lnTo>
                    <a:pt x="56197" y="783050"/>
                  </a:lnTo>
                  <a:lnTo>
                    <a:pt x="56197" y="804863"/>
                  </a:lnTo>
                  <a:lnTo>
                    <a:pt x="49530" y="815435"/>
                  </a:lnTo>
                  <a:lnTo>
                    <a:pt x="39052" y="807815"/>
                  </a:lnTo>
                  <a:lnTo>
                    <a:pt x="39052" y="793528"/>
                  </a:lnTo>
                  <a:lnTo>
                    <a:pt x="39052" y="772573"/>
                  </a:lnTo>
                  <a:lnTo>
                    <a:pt x="45720" y="758285"/>
                  </a:lnTo>
                  <a:lnTo>
                    <a:pt x="49530" y="751522"/>
                  </a:lnTo>
                  <a:lnTo>
                    <a:pt x="49530" y="734473"/>
                  </a:lnTo>
                  <a:lnTo>
                    <a:pt x="53340" y="709613"/>
                  </a:lnTo>
                  <a:lnTo>
                    <a:pt x="56197" y="695325"/>
                  </a:lnTo>
                  <a:lnTo>
                    <a:pt x="70485" y="681038"/>
                  </a:lnTo>
                  <a:lnTo>
                    <a:pt x="63817" y="663035"/>
                  </a:lnTo>
                  <a:lnTo>
                    <a:pt x="60007" y="645890"/>
                  </a:lnTo>
                  <a:lnTo>
                    <a:pt x="60007" y="631603"/>
                  </a:lnTo>
                  <a:lnTo>
                    <a:pt x="56197" y="610648"/>
                  </a:lnTo>
                  <a:lnTo>
                    <a:pt x="67627" y="610648"/>
                  </a:lnTo>
                  <a:lnTo>
                    <a:pt x="74295" y="585788"/>
                  </a:lnTo>
                  <a:lnTo>
                    <a:pt x="84772" y="564928"/>
                  </a:lnTo>
                  <a:lnTo>
                    <a:pt x="91440" y="543973"/>
                  </a:lnTo>
                  <a:lnTo>
                    <a:pt x="102870" y="515398"/>
                  </a:lnTo>
                  <a:lnTo>
                    <a:pt x="105727" y="490538"/>
                  </a:lnTo>
                  <a:lnTo>
                    <a:pt x="113347" y="476250"/>
                  </a:lnTo>
                  <a:lnTo>
                    <a:pt x="109538" y="409575"/>
                  </a:lnTo>
                  <a:lnTo>
                    <a:pt x="109538" y="388715"/>
                  </a:lnTo>
                  <a:lnTo>
                    <a:pt x="123825" y="378238"/>
                  </a:lnTo>
                  <a:lnTo>
                    <a:pt x="123825" y="363950"/>
                  </a:lnTo>
                  <a:lnTo>
                    <a:pt x="116205" y="353473"/>
                  </a:lnTo>
                  <a:lnTo>
                    <a:pt x="123825" y="342900"/>
                  </a:lnTo>
                  <a:lnTo>
                    <a:pt x="130492" y="307753"/>
                  </a:lnTo>
                  <a:lnTo>
                    <a:pt x="140970" y="254413"/>
                  </a:lnTo>
                  <a:lnTo>
                    <a:pt x="144780" y="173450"/>
                  </a:lnTo>
                  <a:lnTo>
                    <a:pt x="155257" y="92488"/>
                  </a:lnTo>
                  <a:lnTo>
                    <a:pt x="151447" y="49625"/>
                  </a:lnTo>
                  <a:lnTo>
                    <a:pt x="148590" y="3238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28" name="Freeform: Shape 3627">
              <a:extLst>
                <a:ext uri="{FF2B5EF4-FFF2-40B4-BE49-F238E27FC236}">
                  <a16:creationId xmlns:a16="http://schemas.microsoft.com/office/drawing/2014/main" id="{12B2D786-65E4-6EF7-4AB5-2F54C7F5A603}"/>
                </a:ext>
              </a:extLst>
            </p:cNvPr>
            <p:cNvSpPr/>
            <p:nvPr/>
          </p:nvSpPr>
          <p:spPr>
            <a:xfrm>
              <a:off x="4117999" y="6151624"/>
              <a:ext cx="97106" cy="79367"/>
            </a:xfrm>
            <a:custGeom>
              <a:avLst/>
              <a:gdLst>
                <a:gd name="connsiteX0" fmla="*/ 0 w 99059"/>
                <a:gd name="connsiteY0" fmla="*/ 0 h 80962"/>
                <a:gd name="connsiteX1" fmla="*/ 0 w 99059"/>
                <a:gd name="connsiteY1" fmla="*/ 74200 h 80962"/>
                <a:gd name="connsiteX2" fmla="*/ 21908 w 99059"/>
                <a:gd name="connsiteY2" fmla="*/ 74200 h 80962"/>
                <a:gd name="connsiteX3" fmla="*/ 39053 w 99059"/>
                <a:gd name="connsiteY3" fmla="*/ 74200 h 80962"/>
                <a:gd name="connsiteX4" fmla="*/ 63818 w 99059"/>
                <a:gd name="connsiteY4" fmla="*/ 80963 h 80962"/>
                <a:gd name="connsiteX5" fmla="*/ 88583 w 99059"/>
                <a:gd name="connsiteY5" fmla="*/ 78105 h 80962"/>
                <a:gd name="connsiteX6" fmla="*/ 99060 w 99059"/>
                <a:gd name="connsiteY6" fmla="*/ 74200 h 80962"/>
                <a:gd name="connsiteX7" fmla="*/ 84772 w 99059"/>
                <a:gd name="connsiteY7" fmla="*/ 70485 h 80962"/>
                <a:gd name="connsiteX8" fmla="*/ 57150 w 99059"/>
                <a:gd name="connsiteY8" fmla="*/ 63818 h 80962"/>
                <a:gd name="connsiteX9" fmla="*/ 35243 w 99059"/>
                <a:gd name="connsiteY9" fmla="*/ 49530 h 80962"/>
                <a:gd name="connsiteX10" fmla="*/ 14288 w 99059"/>
                <a:gd name="connsiteY10" fmla="*/ 28575 h 80962"/>
                <a:gd name="connsiteX11" fmla="*/ 10478 w 99059"/>
                <a:gd name="connsiteY11" fmla="*/ 14288 h 80962"/>
                <a:gd name="connsiteX12" fmla="*/ 7620 w 99059"/>
                <a:gd name="connsiteY12" fmla="*/ 3810 h 80962"/>
                <a:gd name="connsiteX13" fmla="*/ 0 w 99059"/>
                <a:gd name="connsiteY13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059" h="80962">
                  <a:moveTo>
                    <a:pt x="0" y="0"/>
                  </a:moveTo>
                  <a:lnTo>
                    <a:pt x="0" y="74200"/>
                  </a:lnTo>
                  <a:lnTo>
                    <a:pt x="21908" y="74200"/>
                  </a:lnTo>
                  <a:lnTo>
                    <a:pt x="39053" y="74200"/>
                  </a:lnTo>
                  <a:lnTo>
                    <a:pt x="63818" y="80963"/>
                  </a:lnTo>
                  <a:lnTo>
                    <a:pt x="88583" y="78105"/>
                  </a:lnTo>
                  <a:lnTo>
                    <a:pt x="99060" y="74200"/>
                  </a:lnTo>
                  <a:lnTo>
                    <a:pt x="84772" y="70485"/>
                  </a:lnTo>
                  <a:lnTo>
                    <a:pt x="57150" y="63818"/>
                  </a:lnTo>
                  <a:lnTo>
                    <a:pt x="35243" y="49530"/>
                  </a:lnTo>
                  <a:lnTo>
                    <a:pt x="14288" y="28575"/>
                  </a:lnTo>
                  <a:lnTo>
                    <a:pt x="10478" y="14288"/>
                  </a:lnTo>
                  <a:lnTo>
                    <a:pt x="7620" y="3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29" name="Freeform: Shape 3628">
              <a:extLst>
                <a:ext uri="{FF2B5EF4-FFF2-40B4-BE49-F238E27FC236}">
                  <a16:creationId xmlns:a16="http://schemas.microsoft.com/office/drawing/2014/main" id="{276D4771-2E0B-A863-13BC-BE8F31D2F0A9}"/>
                </a:ext>
              </a:extLst>
            </p:cNvPr>
            <p:cNvSpPr/>
            <p:nvPr/>
          </p:nvSpPr>
          <p:spPr>
            <a:xfrm>
              <a:off x="4117999" y="6151624"/>
              <a:ext cx="97106" cy="79367"/>
            </a:xfrm>
            <a:custGeom>
              <a:avLst/>
              <a:gdLst>
                <a:gd name="connsiteX0" fmla="*/ 0 w 99059"/>
                <a:gd name="connsiteY0" fmla="*/ 0 h 80962"/>
                <a:gd name="connsiteX1" fmla="*/ 0 w 99059"/>
                <a:gd name="connsiteY1" fmla="*/ 74200 h 80962"/>
                <a:gd name="connsiteX2" fmla="*/ 21908 w 99059"/>
                <a:gd name="connsiteY2" fmla="*/ 74200 h 80962"/>
                <a:gd name="connsiteX3" fmla="*/ 39053 w 99059"/>
                <a:gd name="connsiteY3" fmla="*/ 74200 h 80962"/>
                <a:gd name="connsiteX4" fmla="*/ 63818 w 99059"/>
                <a:gd name="connsiteY4" fmla="*/ 80963 h 80962"/>
                <a:gd name="connsiteX5" fmla="*/ 88583 w 99059"/>
                <a:gd name="connsiteY5" fmla="*/ 78105 h 80962"/>
                <a:gd name="connsiteX6" fmla="*/ 99060 w 99059"/>
                <a:gd name="connsiteY6" fmla="*/ 74200 h 80962"/>
                <a:gd name="connsiteX7" fmla="*/ 84772 w 99059"/>
                <a:gd name="connsiteY7" fmla="*/ 70485 h 80962"/>
                <a:gd name="connsiteX8" fmla="*/ 57150 w 99059"/>
                <a:gd name="connsiteY8" fmla="*/ 63818 h 80962"/>
                <a:gd name="connsiteX9" fmla="*/ 35243 w 99059"/>
                <a:gd name="connsiteY9" fmla="*/ 49530 h 80962"/>
                <a:gd name="connsiteX10" fmla="*/ 14288 w 99059"/>
                <a:gd name="connsiteY10" fmla="*/ 28575 h 80962"/>
                <a:gd name="connsiteX11" fmla="*/ 10478 w 99059"/>
                <a:gd name="connsiteY11" fmla="*/ 14288 h 80962"/>
                <a:gd name="connsiteX12" fmla="*/ 7620 w 99059"/>
                <a:gd name="connsiteY12" fmla="*/ 3810 h 80962"/>
                <a:gd name="connsiteX13" fmla="*/ 0 w 99059"/>
                <a:gd name="connsiteY13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9059" h="80962">
                  <a:moveTo>
                    <a:pt x="0" y="0"/>
                  </a:moveTo>
                  <a:lnTo>
                    <a:pt x="0" y="74200"/>
                  </a:lnTo>
                  <a:lnTo>
                    <a:pt x="21908" y="74200"/>
                  </a:lnTo>
                  <a:lnTo>
                    <a:pt x="39053" y="74200"/>
                  </a:lnTo>
                  <a:lnTo>
                    <a:pt x="63818" y="80963"/>
                  </a:lnTo>
                  <a:lnTo>
                    <a:pt x="88583" y="78105"/>
                  </a:lnTo>
                  <a:lnTo>
                    <a:pt x="99060" y="74200"/>
                  </a:lnTo>
                  <a:lnTo>
                    <a:pt x="84772" y="70485"/>
                  </a:lnTo>
                  <a:lnTo>
                    <a:pt x="57150" y="63818"/>
                  </a:lnTo>
                  <a:lnTo>
                    <a:pt x="35243" y="49530"/>
                  </a:lnTo>
                  <a:lnTo>
                    <a:pt x="14288" y="28575"/>
                  </a:lnTo>
                  <a:lnTo>
                    <a:pt x="10478" y="14288"/>
                  </a:lnTo>
                  <a:lnTo>
                    <a:pt x="7620" y="3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30" name="Freeform: Shape 3629">
              <a:extLst>
                <a:ext uri="{FF2B5EF4-FFF2-40B4-BE49-F238E27FC236}">
                  <a16:creationId xmlns:a16="http://schemas.microsoft.com/office/drawing/2014/main" id="{A2756C85-05AF-C0A4-43A2-6D621B2FA9C3}"/>
                </a:ext>
              </a:extLst>
            </p:cNvPr>
            <p:cNvSpPr/>
            <p:nvPr/>
          </p:nvSpPr>
          <p:spPr>
            <a:xfrm>
              <a:off x="4046103" y="6141354"/>
              <a:ext cx="116715" cy="110180"/>
            </a:xfrm>
            <a:custGeom>
              <a:avLst/>
              <a:gdLst>
                <a:gd name="connsiteX0" fmla="*/ 2857 w 119062"/>
                <a:gd name="connsiteY0" fmla="*/ 80962 h 112395"/>
                <a:gd name="connsiteX1" fmla="*/ 0 w 119062"/>
                <a:gd name="connsiteY1" fmla="*/ 70390 h 112395"/>
                <a:gd name="connsiteX2" fmla="*/ 10477 w 119062"/>
                <a:gd name="connsiteY2" fmla="*/ 66675 h 112395"/>
                <a:gd name="connsiteX3" fmla="*/ 17145 w 119062"/>
                <a:gd name="connsiteY3" fmla="*/ 66675 h 112395"/>
                <a:gd name="connsiteX4" fmla="*/ 35242 w 119062"/>
                <a:gd name="connsiteY4" fmla="*/ 66675 h 112395"/>
                <a:gd name="connsiteX5" fmla="*/ 45720 w 119062"/>
                <a:gd name="connsiteY5" fmla="*/ 70390 h 112395"/>
                <a:gd name="connsiteX6" fmla="*/ 52388 w 119062"/>
                <a:gd name="connsiteY6" fmla="*/ 66675 h 112395"/>
                <a:gd name="connsiteX7" fmla="*/ 38100 w 119062"/>
                <a:gd name="connsiteY7" fmla="*/ 56102 h 112395"/>
                <a:gd name="connsiteX8" fmla="*/ 27622 w 119062"/>
                <a:gd name="connsiteY8" fmla="*/ 49435 h 112395"/>
                <a:gd name="connsiteX9" fmla="*/ 31432 w 119062"/>
                <a:gd name="connsiteY9" fmla="*/ 39052 h 112395"/>
                <a:gd name="connsiteX10" fmla="*/ 38100 w 119062"/>
                <a:gd name="connsiteY10" fmla="*/ 39052 h 112395"/>
                <a:gd name="connsiteX11" fmla="*/ 48577 w 119062"/>
                <a:gd name="connsiteY11" fmla="*/ 35147 h 112395"/>
                <a:gd name="connsiteX12" fmla="*/ 45720 w 119062"/>
                <a:gd name="connsiteY12" fmla="*/ 24765 h 112395"/>
                <a:gd name="connsiteX13" fmla="*/ 35242 w 119062"/>
                <a:gd name="connsiteY13" fmla="*/ 28575 h 112395"/>
                <a:gd name="connsiteX14" fmla="*/ 24765 w 119062"/>
                <a:gd name="connsiteY14" fmla="*/ 31432 h 112395"/>
                <a:gd name="connsiteX15" fmla="*/ 20955 w 119062"/>
                <a:gd name="connsiteY15" fmla="*/ 20860 h 112395"/>
                <a:gd name="connsiteX16" fmla="*/ 24765 w 119062"/>
                <a:gd name="connsiteY16" fmla="*/ 14288 h 112395"/>
                <a:gd name="connsiteX17" fmla="*/ 35242 w 119062"/>
                <a:gd name="connsiteY17" fmla="*/ 10477 h 112395"/>
                <a:gd name="connsiteX18" fmla="*/ 41910 w 119062"/>
                <a:gd name="connsiteY18" fmla="*/ 3715 h 112395"/>
                <a:gd name="connsiteX19" fmla="*/ 56197 w 119062"/>
                <a:gd name="connsiteY19" fmla="*/ 0 h 112395"/>
                <a:gd name="connsiteX20" fmla="*/ 66675 w 119062"/>
                <a:gd name="connsiteY20" fmla="*/ 0 h 112395"/>
                <a:gd name="connsiteX21" fmla="*/ 73342 w 119062"/>
                <a:gd name="connsiteY21" fmla="*/ 10477 h 112395"/>
                <a:gd name="connsiteX22" fmla="*/ 73342 w 119062"/>
                <a:gd name="connsiteY22" fmla="*/ 84677 h 112395"/>
                <a:gd name="connsiteX23" fmla="*/ 112395 w 119062"/>
                <a:gd name="connsiteY23" fmla="*/ 84677 h 112395"/>
                <a:gd name="connsiteX24" fmla="*/ 119063 w 119062"/>
                <a:gd name="connsiteY24" fmla="*/ 91440 h 112395"/>
                <a:gd name="connsiteX25" fmla="*/ 119063 w 119062"/>
                <a:gd name="connsiteY25" fmla="*/ 98965 h 112395"/>
                <a:gd name="connsiteX26" fmla="*/ 105727 w 119062"/>
                <a:gd name="connsiteY26" fmla="*/ 101822 h 112395"/>
                <a:gd name="connsiteX27" fmla="*/ 91440 w 119062"/>
                <a:gd name="connsiteY27" fmla="*/ 101822 h 112395"/>
                <a:gd name="connsiteX28" fmla="*/ 77152 w 119062"/>
                <a:gd name="connsiteY28" fmla="*/ 105728 h 112395"/>
                <a:gd name="connsiteX29" fmla="*/ 73342 w 119062"/>
                <a:gd name="connsiteY29" fmla="*/ 112395 h 112395"/>
                <a:gd name="connsiteX30" fmla="*/ 60007 w 119062"/>
                <a:gd name="connsiteY30" fmla="*/ 109537 h 112395"/>
                <a:gd name="connsiteX31" fmla="*/ 41910 w 119062"/>
                <a:gd name="connsiteY31" fmla="*/ 105728 h 112395"/>
                <a:gd name="connsiteX32" fmla="*/ 35242 w 119062"/>
                <a:gd name="connsiteY32" fmla="*/ 98965 h 112395"/>
                <a:gd name="connsiteX33" fmla="*/ 35242 w 119062"/>
                <a:gd name="connsiteY33" fmla="*/ 88583 h 112395"/>
                <a:gd name="connsiteX34" fmla="*/ 27622 w 119062"/>
                <a:gd name="connsiteY34" fmla="*/ 88583 h 112395"/>
                <a:gd name="connsiteX35" fmla="*/ 20955 w 119062"/>
                <a:gd name="connsiteY35" fmla="*/ 88583 h 112395"/>
                <a:gd name="connsiteX36" fmla="*/ 20955 w 119062"/>
                <a:gd name="connsiteY36" fmla="*/ 98965 h 112395"/>
                <a:gd name="connsiteX37" fmla="*/ 2857 w 119062"/>
                <a:gd name="connsiteY37" fmla="*/ 91440 h 112395"/>
                <a:gd name="connsiteX38" fmla="*/ 2857 w 119062"/>
                <a:gd name="connsiteY38" fmla="*/ 80962 h 112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19062" h="112395">
                  <a:moveTo>
                    <a:pt x="2857" y="80962"/>
                  </a:moveTo>
                  <a:lnTo>
                    <a:pt x="0" y="70390"/>
                  </a:lnTo>
                  <a:lnTo>
                    <a:pt x="10477" y="66675"/>
                  </a:lnTo>
                  <a:lnTo>
                    <a:pt x="17145" y="66675"/>
                  </a:lnTo>
                  <a:lnTo>
                    <a:pt x="35242" y="66675"/>
                  </a:lnTo>
                  <a:lnTo>
                    <a:pt x="45720" y="70390"/>
                  </a:lnTo>
                  <a:lnTo>
                    <a:pt x="52388" y="66675"/>
                  </a:lnTo>
                  <a:lnTo>
                    <a:pt x="38100" y="56102"/>
                  </a:lnTo>
                  <a:lnTo>
                    <a:pt x="27622" y="49435"/>
                  </a:lnTo>
                  <a:lnTo>
                    <a:pt x="31432" y="39052"/>
                  </a:lnTo>
                  <a:lnTo>
                    <a:pt x="38100" y="39052"/>
                  </a:lnTo>
                  <a:lnTo>
                    <a:pt x="48577" y="35147"/>
                  </a:lnTo>
                  <a:lnTo>
                    <a:pt x="45720" y="24765"/>
                  </a:lnTo>
                  <a:lnTo>
                    <a:pt x="35242" y="28575"/>
                  </a:lnTo>
                  <a:lnTo>
                    <a:pt x="24765" y="31432"/>
                  </a:lnTo>
                  <a:lnTo>
                    <a:pt x="20955" y="20860"/>
                  </a:lnTo>
                  <a:lnTo>
                    <a:pt x="24765" y="14288"/>
                  </a:lnTo>
                  <a:lnTo>
                    <a:pt x="35242" y="10477"/>
                  </a:lnTo>
                  <a:lnTo>
                    <a:pt x="41910" y="3715"/>
                  </a:lnTo>
                  <a:lnTo>
                    <a:pt x="56197" y="0"/>
                  </a:lnTo>
                  <a:lnTo>
                    <a:pt x="66675" y="0"/>
                  </a:lnTo>
                  <a:lnTo>
                    <a:pt x="73342" y="10477"/>
                  </a:lnTo>
                  <a:lnTo>
                    <a:pt x="73342" y="84677"/>
                  </a:lnTo>
                  <a:lnTo>
                    <a:pt x="112395" y="84677"/>
                  </a:lnTo>
                  <a:lnTo>
                    <a:pt x="119063" y="91440"/>
                  </a:lnTo>
                  <a:lnTo>
                    <a:pt x="119063" y="98965"/>
                  </a:lnTo>
                  <a:lnTo>
                    <a:pt x="105727" y="101822"/>
                  </a:lnTo>
                  <a:lnTo>
                    <a:pt x="91440" y="101822"/>
                  </a:lnTo>
                  <a:lnTo>
                    <a:pt x="77152" y="105728"/>
                  </a:lnTo>
                  <a:lnTo>
                    <a:pt x="73342" y="112395"/>
                  </a:lnTo>
                  <a:lnTo>
                    <a:pt x="60007" y="109537"/>
                  </a:lnTo>
                  <a:lnTo>
                    <a:pt x="41910" y="105728"/>
                  </a:lnTo>
                  <a:lnTo>
                    <a:pt x="35242" y="98965"/>
                  </a:lnTo>
                  <a:lnTo>
                    <a:pt x="35242" y="88583"/>
                  </a:lnTo>
                  <a:lnTo>
                    <a:pt x="27622" y="88583"/>
                  </a:lnTo>
                  <a:lnTo>
                    <a:pt x="20955" y="88583"/>
                  </a:lnTo>
                  <a:lnTo>
                    <a:pt x="20955" y="98965"/>
                  </a:lnTo>
                  <a:lnTo>
                    <a:pt x="2857" y="91440"/>
                  </a:lnTo>
                  <a:lnTo>
                    <a:pt x="2857" y="8096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31" name="Freeform: Shape 3630">
              <a:extLst>
                <a:ext uri="{FF2B5EF4-FFF2-40B4-BE49-F238E27FC236}">
                  <a16:creationId xmlns:a16="http://schemas.microsoft.com/office/drawing/2014/main" id="{00D6AE5E-63CF-7E77-5B2B-696DBFFFF176}"/>
                </a:ext>
              </a:extLst>
            </p:cNvPr>
            <p:cNvSpPr/>
            <p:nvPr/>
          </p:nvSpPr>
          <p:spPr>
            <a:xfrm>
              <a:off x="4046103" y="6141354"/>
              <a:ext cx="116715" cy="110180"/>
            </a:xfrm>
            <a:custGeom>
              <a:avLst/>
              <a:gdLst>
                <a:gd name="connsiteX0" fmla="*/ 2857 w 119062"/>
                <a:gd name="connsiteY0" fmla="*/ 80962 h 112395"/>
                <a:gd name="connsiteX1" fmla="*/ 0 w 119062"/>
                <a:gd name="connsiteY1" fmla="*/ 70390 h 112395"/>
                <a:gd name="connsiteX2" fmla="*/ 10477 w 119062"/>
                <a:gd name="connsiteY2" fmla="*/ 66675 h 112395"/>
                <a:gd name="connsiteX3" fmla="*/ 17145 w 119062"/>
                <a:gd name="connsiteY3" fmla="*/ 66675 h 112395"/>
                <a:gd name="connsiteX4" fmla="*/ 35242 w 119062"/>
                <a:gd name="connsiteY4" fmla="*/ 66675 h 112395"/>
                <a:gd name="connsiteX5" fmla="*/ 45720 w 119062"/>
                <a:gd name="connsiteY5" fmla="*/ 70390 h 112395"/>
                <a:gd name="connsiteX6" fmla="*/ 52388 w 119062"/>
                <a:gd name="connsiteY6" fmla="*/ 66675 h 112395"/>
                <a:gd name="connsiteX7" fmla="*/ 38100 w 119062"/>
                <a:gd name="connsiteY7" fmla="*/ 56102 h 112395"/>
                <a:gd name="connsiteX8" fmla="*/ 27622 w 119062"/>
                <a:gd name="connsiteY8" fmla="*/ 49435 h 112395"/>
                <a:gd name="connsiteX9" fmla="*/ 31432 w 119062"/>
                <a:gd name="connsiteY9" fmla="*/ 39052 h 112395"/>
                <a:gd name="connsiteX10" fmla="*/ 38100 w 119062"/>
                <a:gd name="connsiteY10" fmla="*/ 39052 h 112395"/>
                <a:gd name="connsiteX11" fmla="*/ 48577 w 119062"/>
                <a:gd name="connsiteY11" fmla="*/ 35147 h 112395"/>
                <a:gd name="connsiteX12" fmla="*/ 45720 w 119062"/>
                <a:gd name="connsiteY12" fmla="*/ 24765 h 112395"/>
                <a:gd name="connsiteX13" fmla="*/ 35242 w 119062"/>
                <a:gd name="connsiteY13" fmla="*/ 28575 h 112395"/>
                <a:gd name="connsiteX14" fmla="*/ 24765 w 119062"/>
                <a:gd name="connsiteY14" fmla="*/ 31432 h 112395"/>
                <a:gd name="connsiteX15" fmla="*/ 20955 w 119062"/>
                <a:gd name="connsiteY15" fmla="*/ 20860 h 112395"/>
                <a:gd name="connsiteX16" fmla="*/ 24765 w 119062"/>
                <a:gd name="connsiteY16" fmla="*/ 14288 h 112395"/>
                <a:gd name="connsiteX17" fmla="*/ 35242 w 119062"/>
                <a:gd name="connsiteY17" fmla="*/ 10477 h 112395"/>
                <a:gd name="connsiteX18" fmla="*/ 41910 w 119062"/>
                <a:gd name="connsiteY18" fmla="*/ 3715 h 112395"/>
                <a:gd name="connsiteX19" fmla="*/ 56197 w 119062"/>
                <a:gd name="connsiteY19" fmla="*/ 0 h 112395"/>
                <a:gd name="connsiteX20" fmla="*/ 66675 w 119062"/>
                <a:gd name="connsiteY20" fmla="*/ 0 h 112395"/>
                <a:gd name="connsiteX21" fmla="*/ 73342 w 119062"/>
                <a:gd name="connsiteY21" fmla="*/ 10477 h 112395"/>
                <a:gd name="connsiteX22" fmla="*/ 73342 w 119062"/>
                <a:gd name="connsiteY22" fmla="*/ 84677 h 112395"/>
                <a:gd name="connsiteX23" fmla="*/ 112395 w 119062"/>
                <a:gd name="connsiteY23" fmla="*/ 84677 h 112395"/>
                <a:gd name="connsiteX24" fmla="*/ 119063 w 119062"/>
                <a:gd name="connsiteY24" fmla="*/ 91440 h 112395"/>
                <a:gd name="connsiteX25" fmla="*/ 119063 w 119062"/>
                <a:gd name="connsiteY25" fmla="*/ 98965 h 112395"/>
                <a:gd name="connsiteX26" fmla="*/ 105727 w 119062"/>
                <a:gd name="connsiteY26" fmla="*/ 101822 h 112395"/>
                <a:gd name="connsiteX27" fmla="*/ 91440 w 119062"/>
                <a:gd name="connsiteY27" fmla="*/ 101822 h 112395"/>
                <a:gd name="connsiteX28" fmla="*/ 77152 w 119062"/>
                <a:gd name="connsiteY28" fmla="*/ 105728 h 112395"/>
                <a:gd name="connsiteX29" fmla="*/ 73342 w 119062"/>
                <a:gd name="connsiteY29" fmla="*/ 112395 h 112395"/>
                <a:gd name="connsiteX30" fmla="*/ 60007 w 119062"/>
                <a:gd name="connsiteY30" fmla="*/ 109537 h 112395"/>
                <a:gd name="connsiteX31" fmla="*/ 41910 w 119062"/>
                <a:gd name="connsiteY31" fmla="*/ 105728 h 112395"/>
                <a:gd name="connsiteX32" fmla="*/ 35242 w 119062"/>
                <a:gd name="connsiteY32" fmla="*/ 98965 h 112395"/>
                <a:gd name="connsiteX33" fmla="*/ 35242 w 119062"/>
                <a:gd name="connsiteY33" fmla="*/ 88583 h 112395"/>
                <a:gd name="connsiteX34" fmla="*/ 27622 w 119062"/>
                <a:gd name="connsiteY34" fmla="*/ 88583 h 112395"/>
                <a:gd name="connsiteX35" fmla="*/ 20955 w 119062"/>
                <a:gd name="connsiteY35" fmla="*/ 88583 h 112395"/>
                <a:gd name="connsiteX36" fmla="*/ 20955 w 119062"/>
                <a:gd name="connsiteY36" fmla="*/ 98965 h 112395"/>
                <a:gd name="connsiteX37" fmla="*/ 2857 w 119062"/>
                <a:gd name="connsiteY37" fmla="*/ 91440 h 112395"/>
                <a:gd name="connsiteX38" fmla="*/ 2857 w 119062"/>
                <a:gd name="connsiteY38" fmla="*/ 80962 h 112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19062" h="112395">
                  <a:moveTo>
                    <a:pt x="2857" y="80962"/>
                  </a:moveTo>
                  <a:lnTo>
                    <a:pt x="0" y="70390"/>
                  </a:lnTo>
                  <a:lnTo>
                    <a:pt x="10477" y="66675"/>
                  </a:lnTo>
                  <a:lnTo>
                    <a:pt x="17145" y="66675"/>
                  </a:lnTo>
                  <a:lnTo>
                    <a:pt x="35242" y="66675"/>
                  </a:lnTo>
                  <a:lnTo>
                    <a:pt x="45720" y="70390"/>
                  </a:lnTo>
                  <a:lnTo>
                    <a:pt x="52388" y="66675"/>
                  </a:lnTo>
                  <a:lnTo>
                    <a:pt x="38100" y="56102"/>
                  </a:lnTo>
                  <a:lnTo>
                    <a:pt x="27622" y="49435"/>
                  </a:lnTo>
                  <a:lnTo>
                    <a:pt x="31432" y="39052"/>
                  </a:lnTo>
                  <a:lnTo>
                    <a:pt x="38100" y="39052"/>
                  </a:lnTo>
                  <a:lnTo>
                    <a:pt x="48577" y="35147"/>
                  </a:lnTo>
                  <a:lnTo>
                    <a:pt x="45720" y="24765"/>
                  </a:lnTo>
                  <a:lnTo>
                    <a:pt x="35242" y="28575"/>
                  </a:lnTo>
                  <a:lnTo>
                    <a:pt x="24765" y="31432"/>
                  </a:lnTo>
                  <a:lnTo>
                    <a:pt x="20955" y="20860"/>
                  </a:lnTo>
                  <a:lnTo>
                    <a:pt x="24765" y="14288"/>
                  </a:lnTo>
                  <a:lnTo>
                    <a:pt x="35242" y="10477"/>
                  </a:lnTo>
                  <a:lnTo>
                    <a:pt x="41910" y="3715"/>
                  </a:lnTo>
                  <a:lnTo>
                    <a:pt x="56197" y="0"/>
                  </a:lnTo>
                  <a:lnTo>
                    <a:pt x="66675" y="0"/>
                  </a:lnTo>
                  <a:lnTo>
                    <a:pt x="73342" y="10477"/>
                  </a:lnTo>
                  <a:lnTo>
                    <a:pt x="73342" y="84677"/>
                  </a:lnTo>
                  <a:lnTo>
                    <a:pt x="112395" y="84677"/>
                  </a:lnTo>
                  <a:lnTo>
                    <a:pt x="119063" y="91440"/>
                  </a:lnTo>
                  <a:lnTo>
                    <a:pt x="119063" y="98965"/>
                  </a:lnTo>
                  <a:lnTo>
                    <a:pt x="105727" y="101822"/>
                  </a:lnTo>
                  <a:lnTo>
                    <a:pt x="91440" y="101822"/>
                  </a:lnTo>
                  <a:lnTo>
                    <a:pt x="77152" y="105728"/>
                  </a:lnTo>
                  <a:lnTo>
                    <a:pt x="73342" y="112395"/>
                  </a:lnTo>
                  <a:lnTo>
                    <a:pt x="60007" y="109537"/>
                  </a:lnTo>
                  <a:lnTo>
                    <a:pt x="41910" y="105728"/>
                  </a:lnTo>
                  <a:lnTo>
                    <a:pt x="35242" y="98965"/>
                  </a:lnTo>
                  <a:lnTo>
                    <a:pt x="35242" y="88583"/>
                  </a:lnTo>
                  <a:lnTo>
                    <a:pt x="27622" y="88583"/>
                  </a:lnTo>
                  <a:lnTo>
                    <a:pt x="20955" y="88583"/>
                  </a:lnTo>
                  <a:lnTo>
                    <a:pt x="20955" y="98965"/>
                  </a:lnTo>
                  <a:lnTo>
                    <a:pt x="2857" y="91440"/>
                  </a:lnTo>
                  <a:lnTo>
                    <a:pt x="2857" y="8096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32" name="Freeform: Shape 3631">
              <a:extLst>
                <a:ext uri="{FF2B5EF4-FFF2-40B4-BE49-F238E27FC236}">
                  <a16:creationId xmlns:a16="http://schemas.microsoft.com/office/drawing/2014/main" id="{3718BF17-D21C-6232-EB6B-08AB6B86B3C0}"/>
                </a:ext>
              </a:extLst>
            </p:cNvPr>
            <p:cNvSpPr/>
            <p:nvPr/>
          </p:nvSpPr>
          <p:spPr>
            <a:xfrm>
              <a:off x="4335558" y="6092800"/>
              <a:ext cx="31746" cy="30813"/>
            </a:xfrm>
            <a:custGeom>
              <a:avLst/>
              <a:gdLst>
                <a:gd name="connsiteX0" fmla="*/ 10477 w 32384"/>
                <a:gd name="connsiteY0" fmla="*/ 7620 h 31432"/>
                <a:gd name="connsiteX1" fmla="*/ 20955 w 32384"/>
                <a:gd name="connsiteY1" fmla="*/ 0 h 31432"/>
                <a:gd name="connsiteX2" fmla="*/ 32385 w 32384"/>
                <a:gd name="connsiteY2" fmla="*/ 3715 h 31432"/>
                <a:gd name="connsiteX3" fmla="*/ 32385 w 32384"/>
                <a:gd name="connsiteY3" fmla="*/ 10382 h 31432"/>
                <a:gd name="connsiteX4" fmla="*/ 24765 w 32384"/>
                <a:gd name="connsiteY4" fmla="*/ 18002 h 31432"/>
                <a:gd name="connsiteX5" fmla="*/ 14288 w 32384"/>
                <a:gd name="connsiteY5" fmla="*/ 28575 h 31432"/>
                <a:gd name="connsiteX6" fmla="*/ 7620 w 32384"/>
                <a:gd name="connsiteY6" fmla="*/ 31432 h 31432"/>
                <a:gd name="connsiteX7" fmla="*/ 0 w 32384"/>
                <a:gd name="connsiteY7" fmla="*/ 28575 h 31432"/>
                <a:gd name="connsiteX8" fmla="*/ 0 w 32384"/>
                <a:gd name="connsiteY8" fmla="*/ 20955 h 31432"/>
                <a:gd name="connsiteX9" fmla="*/ 7620 w 32384"/>
                <a:gd name="connsiteY9" fmla="*/ 14288 h 31432"/>
                <a:gd name="connsiteX10" fmla="*/ 10477 w 32384"/>
                <a:gd name="connsiteY10" fmla="*/ 7620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384" h="31432">
                  <a:moveTo>
                    <a:pt x="10477" y="7620"/>
                  </a:moveTo>
                  <a:lnTo>
                    <a:pt x="20955" y="0"/>
                  </a:lnTo>
                  <a:lnTo>
                    <a:pt x="32385" y="3715"/>
                  </a:lnTo>
                  <a:lnTo>
                    <a:pt x="32385" y="10382"/>
                  </a:lnTo>
                  <a:lnTo>
                    <a:pt x="24765" y="18002"/>
                  </a:lnTo>
                  <a:lnTo>
                    <a:pt x="14288" y="28575"/>
                  </a:lnTo>
                  <a:lnTo>
                    <a:pt x="7620" y="31432"/>
                  </a:lnTo>
                  <a:lnTo>
                    <a:pt x="0" y="28575"/>
                  </a:lnTo>
                  <a:lnTo>
                    <a:pt x="0" y="20955"/>
                  </a:lnTo>
                  <a:lnTo>
                    <a:pt x="7620" y="14288"/>
                  </a:lnTo>
                  <a:lnTo>
                    <a:pt x="10477" y="762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33" name="Freeform: Shape 3632">
              <a:extLst>
                <a:ext uri="{FF2B5EF4-FFF2-40B4-BE49-F238E27FC236}">
                  <a16:creationId xmlns:a16="http://schemas.microsoft.com/office/drawing/2014/main" id="{3F337AF0-1CD4-E691-96F0-7B25712EC5CB}"/>
                </a:ext>
              </a:extLst>
            </p:cNvPr>
            <p:cNvSpPr/>
            <p:nvPr/>
          </p:nvSpPr>
          <p:spPr>
            <a:xfrm>
              <a:off x="4335558" y="6092800"/>
              <a:ext cx="31746" cy="30813"/>
            </a:xfrm>
            <a:custGeom>
              <a:avLst/>
              <a:gdLst>
                <a:gd name="connsiteX0" fmla="*/ 10477 w 32384"/>
                <a:gd name="connsiteY0" fmla="*/ 7620 h 31432"/>
                <a:gd name="connsiteX1" fmla="*/ 20955 w 32384"/>
                <a:gd name="connsiteY1" fmla="*/ 0 h 31432"/>
                <a:gd name="connsiteX2" fmla="*/ 32385 w 32384"/>
                <a:gd name="connsiteY2" fmla="*/ 3715 h 31432"/>
                <a:gd name="connsiteX3" fmla="*/ 32385 w 32384"/>
                <a:gd name="connsiteY3" fmla="*/ 10382 h 31432"/>
                <a:gd name="connsiteX4" fmla="*/ 24765 w 32384"/>
                <a:gd name="connsiteY4" fmla="*/ 18002 h 31432"/>
                <a:gd name="connsiteX5" fmla="*/ 14288 w 32384"/>
                <a:gd name="connsiteY5" fmla="*/ 28575 h 31432"/>
                <a:gd name="connsiteX6" fmla="*/ 7620 w 32384"/>
                <a:gd name="connsiteY6" fmla="*/ 31432 h 31432"/>
                <a:gd name="connsiteX7" fmla="*/ 0 w 32384"/>
                <a:gd name="connsiteY7" fmla="*/ 28575 h 31432"/>
                <a:gd name="connsiteX8" fmla="*/ 0 w 32384"/>
                <a:gd name="connsiteY8" fmla="*/ 20955 h 31432"/>
                <a:gd name="connsiteX9" fmla="*/ 7620 w 32384"/>
                <a:gd name="connsiteY9" fmla="*/ 14288 h 31432"/>
                <a:gd name="connsiteX10" fmla="*/ 10477 w 32384"/>
                <a:gd name="connsiteY10" fmla="*/ 7620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2384" h="31432">
                  <a:moveTo>
                    <a:pt x="10477" y="7620"/>
                  </a:moveTo>
                  <a:lnTo>
                    <a:pt x="20955" y="0"/>
                  </a:lnTo>
                  <a:lnTo>
                    <a:pt x="32385" y="3715"/>
                  </a:lnTo>
                  <a:lnTo>
                    <a:pt x="32385" y="10382"/>
                  </a:lnTo>
                  <a:lnTo>
                    <a:pt x="24765" y="18002"/>
                  </a:lnTo>
                  <a:lnTo>
                    <a:pt x="14288" y="28575"/>
                  </a:lnTo>
                  <a:lnTo>
                    <a:pt x="7620" y="31432"/>
                  </a:lnTo>
                  <a:lnTo>
                    <a:pt x="0" y="28575"/>
                  </a:lnTo>
                  <a:lnTo>
                    <a:pt x="0" y="20955"/>
                  </a:lnTo>
                  <a:lnTo>
                    <a:pt x="7620" y="14288"/>
                  </a:lnTo>
                  <a:lnTo>
                    <a:pt x="10477" y="762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34" name="Freeform: Shape 3633">
              <a:extLst>
                <a:ext uri="{FF2B5EF4-FFF2-40B4-BE49-F238E27FC236}">
                  <a16:creationId xmlns:a16="http://schemas.microsoft.com/office/drawing/2014/main" id="{D9AD6A86-E2FE-2584-7C9C-DD210FFF0785}"/>
                </a:ext>
              </a:extLst>
            </p:cNvPr>
            <p:cNvSpPr/>
            <p:nvPr/>
          </p:nvSpPr>
          <p:spPr>
            <a:xfrm>
              <a:off x="4363569" y="6096441"/>
              <a:ext cx="48553" cy="34548"/>
            </a:xfrm>
            <a:custGeom>
              <a:avLst/>
              <a:gdLst>
                <a:gd name="connsiteX0" fmla="*/ 10477 w 49529"/>
                <a:gd name="connsiteY0" fmla="*/ 14288 h 35242"/>
                <a:gd name="connsiteX1" fmla="*/ 17145 w 49529"/>
                <a:gd name="connsiteY1" fmla="*/ 0 h 35242"/>
                <a:gd name="connsiteX2" fmla="*/ 27622 w 49529"/>
                <a:gd name="connsiteY2" fmla="*/ 0 h 35242"/>
                <a:gd name="connsiteX3" fmla="*/ 39052 w 49529"/>
                <a:gd name="connsiteY3" fmla="*/ 0 h 35242"/>
                <a:gd name="connsiteX4" fmla="*/ 49530 w 49529"/>
                <a:gd name="connsiteY4" fmla="*/ 3905 h 35242"/>
                <a:gd name="connsiteX5" fmla="*/ 49530 w 49529"/>
                <a:gd name="connsiteY5" fmla="*/ 10573 h 35242"/>
                <a:gd name="connsiteX6" fmla="*/ 39052 w 49529"/>
                <a:gd name="connsiteY6" fmla="*/ 14288 h 35242"/>
                <a:gd name="connsiteX7" fmla="*/ 31432 w 49529"/>
                <a:gd name="connsiteY7" fmla="*/ 17240 h 35242"/>
                <a:gd name="connsiteX8" fmla="*/ 27622 w 49529"/>
                <a:gd name="connsiteY8" fmla="*/ 17240 h 35242"/>
                <a:gd name="connsiteX9" fmla="*/ 20955 w 49529"/>
                <a:gd name="connsiteY9" fmla="*/ 24860 h 35242"/>
                <a:gd name="connsiteX10" fmla="*/ 14288 w 49529"/>
                <a:gd name="connsiteY10" fmla="*/ 27717 h 35242"/>
                <a:gd name="connsiteX11" fmla="*/ 10477 w 49529"/>
                <a:gd name="connsiteY11" fmla="*/ 35242 h 35242"/>
                <a:gd name="connsiteX12" fmla="*/ 0 w 49529"/>
                <a:gd name="connsiteY12" fmla="*/ 31528 h 35242"/>
                <a:gd name="connsiteX13" fmla="*/ 0 w 49529"/>
                <a:gd name="connsiteY13" fmla="*/ 20955 h 35242"/>
                <a:gd name="connsiteX14" fmla="*/ 3810 w 49529"/>
                <a:gd name="connsiteY14" fmla="*/ 17240 h 35242"/>
                <a:gd name="connsiteX15" fmla="*/ 10477 w 49529"/>
                <a:gd name="connsiteY15" fmla="*/ 14288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529" h="35242">
                  <a:moveTo>
                    <a:pt x="10477" y="14288"/>
                  </a:moveTo>
                  <a:lnTo>
                    <a:pt x="17145" y="0"/>
                  </a:lnTo>
                  <a:lnTo>
                    <a:pt x="27622" y="0"/>
                  </a:lnTo>
                  <a:lnTo>
                    <a:pt x="39052" y="0"/>
                  </a:lnTo>
                  <a:lnTo>
                    <a:pt x="49530" y="3905"/>
                  </a:lnTo>
                  <a:lnTo>
                    <a:pt x="49530" y="10573"/>
                  </a:lnTo>
                  <a:lnTo>
                    <a:pt x="39052" y="14288"/>
                  </a:lnTo>
                  <a:lnTo>
                    <a:pt x="31432" y="17240"/>
                  </a:lnTo>
                  <a:lnTo>
                    <a:pt x="27622" y="17240"/>
                  </a:lnTo>
                  <a:lnTo>
                    <a:pt x="20955" y="24860"/>
                  </a:lnTo>
                  <a:lnTo>
                    <a:pt x="14288" y="27717"/>
                  </a:lnTo>
                  <a:lnTo>
                    <a:pt x="10477" y="35242"/>
                  </a:lnTo>
                  <a:lnTo>
                    <a:pt x="0" y="31528"/>
                  </a:lnTo>
                  <a:lnTo>
                    <a:pt x="0" y="20955"/>
                  </a:lnTo>
                  <a:lnTo>
                    <a:pt x="3810" y="17240"/>
                  </a:lnTo>
                  <a:lnTo>
                    <a:pt x="10477" y="1428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35" name="Freeform: Shape 3634">
              <a:extLst>
                <a:ext uri="{FF2B5EF4-FFF2-40B4-BE49-F238E27FC236}">
                  <a16:creationId xmlns:a16="http://schemas.microsoft.com/office/drawing/2014/main" id="{51DBD6D6-DE64-A524-1A11-2B3254CA4571}"/>
                </a:ext>
              </a:extLst>
            </p:cNvPr>
            <p:cNvSpPr/>
            <p:nvPr/>
          </p:nvSpPr>
          <p:spPr>
            <a:xfrm>
              <a:off x="4363569" y="6096441"/>
              <a:ext cx="48553" cy="34548"/>
            </a:xfrm>
            <a:custGeom>
              <a:avLst/>
              <a:gdLst>
                <a:gd name="connsiteX0" fmla="*/ 10477 w 49529"/>
                <a:gd name="connsiteY0" fmla="*/ 14288 h 35242"/>
                <a:gd name="connsiteX1" fmla="*/ 17145 w 49529"/>
                <a:gd name="connsiteY1" fmla="*/ 0 h 35242"/>
                <a:gd name="connsiteX2" fmla="*/ 27622 w 49529"/>
                <a:gd name="connsiteY2" fmla="*/ 0 h 35242"/>
                <a:gd name="connsiteX3" fmla="*/ 39052 w 49529"/>
                <a:gd name="connsiteY3" fmla="*/ 0 h 35242"/>
                <a:gd name="connsiteX4" fmla="*/ 49530 w 49529"/>
                <a:gd name="connsiteY4" fmla="*/ 3905 h 35242"/>
                <a:gd name="connsiteX5" fmla="*/ 49530 w 49529"/>
                <a:gd name="connsiteY5" fmla="*/ 10573 h 35242"/>
                <a:gd name="connsiteX6" fmla="*/ 39052 w 49529"/>
                <a:gd name="connsiteY6" fmla="*/ 14288 h 35242"/>
                <a:gd name="connsiteX7" fmla="*/ 31432 w 49529"/>
                <a:gd name="connsiteY7" fmla="*/ 17240 h 35242"/>
                <a:gd name="connsiteX8" fmla="*/ 27622 w 49529"/>
                <a:gd name="connsiteY8" fmla="*/ 17240 h 35242"/>
                <a:gd name="connsiteX9" fmla="*/ 20955 w 49529"/>
                <a:gd name="connsiteY9" fmla="*/ 24860 h 35242"/>
                <a:gd name="connsiteX10" fmla="*/ 14288 w 49529"/>
                <a:gd name="connsiteY10" fmla="*/ 27717 h 35242"/>
                <a:gd name="connsiteX11" fmla="*/ 10477 w 49529"/>
                <a:gd name="connsiteY11" fmla="*/ 35242 h 35242"/>
                <a:gd name="connsiteX12" fmla="*/ 0 w 49529"/>
                <a:gd name="connsiteY12" fmla="*/ 31528 h 35242"/>
                <a:gd name="connsiteX13" fmla="*/ 0 w 49529"/>
                <a:gd name="connsiteY13" fmla="*/ 20955 h 35242"/>
                <a:gd name="connsiteX14" fmla="*/ 3810 w 49529"/>
                <a:gd name="connsiteY14" fmla="*/ 17240 h 35242"/>
                <a:gd name="connsiteX15" fmla="*/ 10477 w 49529"/>
                <a:gd name="connsiteY15" fmla="*/ 14288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9529" h="35242">
                  <a:moveTo>
                    <a:pt x="10477" y="14288"/>
                  </a:moveTo>
                  <a:lnTo>
                    <a:pt x="17145" y="0"/>
                  </a:lnTo>
                  <a:lnTo>
                    <a:pt x="27622" y="0"/>
                  </a:lnTo>
                  <a:lnTo>
                    <a:pt x="39052" y="0"/>
                  </a:lnTo>
                  <a:lnTo>
                    <a:pt x="49530" y="3905"/>
                  </a:lnTo>
                  <a:lnTo>
                    <a:pt x="49530" y="10573"/>
                  </a:lnTo>
                  <a:lnTo>
                    <a:pt x="39052" y="14288"/>
                  </a:lnTo>
                  <a:lnTo>
                    <a:pt x="31432" y="17240"/>
                  </a:lnTo>
                  <a:lnTo>
                    <a:pt x="27622" y="17240"/>
                  </a:lnTo>
                  <a:lnTo>
                    <a:pt x="20955" y="24860"/>
                  </a:lnTo>
                  <a:lnTo>
                    <a:pt x="14288" y="27717"/>
                  </a:lnTo>
                  <a:lnTo>
                    <a:pt x="10477" y="35242"/>
                  </a:lnTo>
                  <a:lnTo>
                    <a:pt x="0" y="31528"/>
                  </a:lnTo>
                  <a:lnTo>
                    <a:pt x="0" y="20955"/>
                  </a:lnTo>
                  <a:lnTo>
                    <a:pt x="3810" y="17240"/>
                  </a:lnTo>
                  <a:lnTo>
                    <a:pt x="10477" y="1428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36" name="Freeform: Shape 3635">
              <a:extLst>
                <a:ext uri="{FF2B5EF4-FFF2-40B4-BE49-F238E27FC236}">
                  <a16:creationId xmlns:a16="http://schemas.microsoft.com/office/drawing/2014/main" id="{9CE42040-D269-DDB9-C70E-857D5DA5ACE1}"/>
                </a:ext>
              </a:extLst>
            </p:cNvPr>
            <p:cNvSpPr/>
            <p:nvPr/>
          </p:nvSpPr>
          <p:spPr>
            <a:xfrm>
              <a:off x="6674538" y="3645488"/>
              <a:ext cx="296923" cy="296833"/>
            </a:xfrm>
            <a:custGeom>
              <a:avLst/>
              <a:gdLst>
                <a:gd name="connsiteX0" fmla="*/ 10477 w 302894"/>
                <a:gd name="connsiteY0" fmla="*/ 0 h 302799"/>
                <a:gd name="connsiteX1" fmla="*/ 28575 w 302894"/>
                <a:gd name="connsiteY1" fmla="*/ 6572 h 302799"/>
                <a:gd name="connsiteX2" fmla="*/ 42863 w 302894"/>
                <a:gd name="connsiteY2" fmla="*/ 3810 h 302799"/>
                <a:gd name="connsiteX3" fmla="*/ 84772 w 302894"/>
                <a:gd name="connsiteY3" fmla="*/ 20860 h 302799"/>
                <a:gd name="connsiteX4" fmla="*/ 116205 w 302894"/>
                <a:gd name="connsiteY4" fmla="*/ 28575 h 302799"/>
                <a:gd name="connsiteX5" fmla="*/ 140970 w 302894"/>
                <a:gd name="connsiteY5" fmla="*/ 24765 h 302799"/>
                <a:gd name="connsiteX6" fmla="*/ 159068 w 302894"/>
                <a:gd name="connsiteY6" fmla="*/ 14288 h 302799"/>
                <a:gd name="connsiteX7" fmla="*/ 197168 w 302894"/>
                <a:gd name="connsiteY7" fmla="*/ 10478 h 302799"/>
                <a:gd name="connsiteX8" fmla="*/ 215265 w 302894"/>
                <a:gd name="connsiteY8" fmla="*/ 20860 h 302799"/>
                <a:gd name="connsiteX9" fmla="*/ 236220 w 302894"/>
                <a:gd name="connsiteY9" fmla="*/ 18098 h 302799"/>
                <a:gd name="connsiteX10" fmla="*/ 264795 w 302894"/>
                <a:gd name="connsiteY10" fmla="*/ 20860 h 302799"/>
                <a:gd name="connsiteX11" fmla="*/ 271463 w 302894"/>
                <a:gd name="connsiteY11" fmla="*/ 35147 h 302799"/>
                <a:gd name="connsiteX12" fmla="*/ 285750 w 302894"/>
                <a:gd name="connsiteY12" fmla="*/ 70485 h 302799"/>
                <a:gd name="connsiteX13" fmla="*/ 278130 w 302894"/>
                <a:gd name="connsiteY13" fmla="*/ 77153 h 302799"/>
                <a:gd name="connsiteX14" fmla="*/ 267652 w 302894"/>
                <a:gd name="connsiteY14" fmla="*/ 99060 h 302799"/>
                <a:gd name="connsiteX15" fmla="*/ 264795 w 302894"/>
                <a:gd name="connsiteY15" fmla="*/ 116110 h 302799"/>
                <a:gd name="connsiteX16" fmla="*/ 257175 w 302894"/>
                <a:gd name="connsiteY16" fmla="*/ 123825 h 302799"/>
                <a:gd name="connsiteX17" fmla="*/ 246697 w 302894"/>
                <a:gd name="connsiteY17" fmla="*/ 105728 h 302799"/>
                <a:gd name="connsiteX18" fmla="*/ 240030 w 302894"/>
                <a:gd name="connsiteY18" fmla="*/ 84773 h 302799"/>
                <a:gd name="connsiteX19" fmla="*/ 229552 w 302894"/>
                <a:gd name="connsiteY19" fmla="*/ 70485 h 302799"/>
                <a:gd name="connsiteX20" fmla="*/ 221932 w 302894"/>
                <a:gd name="connsiteY20" fmla="*/ 49435 h 302799"/>
                <a:gd name="connsiteX21" fmla="*/ 215265 w 302894"/>
                <a:gd name="connsiteY21" fmla="*/ 28575 h 302799"/>
                <a:gd name="connsiteX22" fmla="*/ 215265 w 302894"/>
                <a:gd name="connsiteY22" fmla="*/ 41910 h 302799"/>
                <a:gd name="connsiteX23" fmla="*/ 219075 w 302894"/>
                <a:gd name="connsiteY23" fmla="*/ 74200 h 302799"/>
                <a:gd name="connsiteX24" fmla="*/ 225743 w 302894"/>
                <a:gd name="connsiteY24" fmla="*/ 95250 h 302799"/>
                <a:gd name="connsiteX25" fmla="*/ 240030 w 302894"/>
                <a:gd name="connsiteY25" fmla="*/ 112300 h 302799"/>
                <a:gd name="connsiteX26" fmla="*/ 250507 w 302894"/>
                <a:gd name="connsiteY26" fmla="*/ 126587 h 302799"/>
                <a:gd name="connsiteX27" fmla="*/ 264795 w 302894"/>
                <a:gd name="connsiteY27" fmla="*/ 169450 h 302799"/>
                <a:gd name="connsiteX28" fmla="*/ 300038 w 302894"/>
                <a:gd name="connsiteY28" fmla="*/ 229553 h 302799"/>
                <a:gd name="connsiteX29" fmla="*/ 302895 w 302894"/>
                <a:gd name="connsiteY29" fmla="*/ 239935 h 302799"/>
                <a:gd name="connsiteX30" fmla="*/ 302895 w 302894"/>
                <a:gd name="connsiteY30" fmla="*/ 267653 h 302799"/>
                <a:gd name="connsiteX31" fmla="*/ 288607 w 302894"/>
                <a:gd name="connsiteY31" fmla="*/ 267653 h 302799"/>
                <a:gd name="connsiteX32" fmla="*/ 254318 w 302894"/>
                <a:gd name="connsiteY32" fmla="*/ 302800 h 302799"/>
                <a:gd name="connsiteX33" fmla="*/ 236220 w 302894"/>
                <a:gd name="connsiteY33" fmla="*/ 292322 h 302799"/>
                <a:gd name="connsiteX34" fmla="*/ 10477 w 302894"/>
                <a:gd name="connsiteY34" fmla="*/ 289560 h 302799"/>
                <a:gd name="connsiteX35" fmla="*/ 10477 w 302894"/>
                <a:gd name="connsiteY35" fmla="*/ 66675 h 302799"/>
                <a:gd name="connsiteX36" fmla="*/ 3810 w 302894"/>
                <a:gd name="connsiteY36" fmla="*/ 63722 h 302799"/>
                <a:gd name="connsiteX37" fmla="*/ 0 w 302894"/>
                <a:gd name="connsiteY37" fmla="*/ 41910 h 302799"/>
                <a:gd name="connsiteX38" fmla="*/ 10477 w 302894"/>
                <a:gd name="connsiteY38" fmla="*/ 35147 h 302799"/>
                <a:gd name="connsiteX39" fmla="*/ 10477 w 302894"/>
                <a:gd name="connsiteY39" fmla="*/ 0 h 3027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302894" h="302799">
                  <a:moveTo>
                    <a:pt x="10477" y="0"/>
                  </a:moveTo>
                  <a:lnTo>
                    <a:pt x="28575" y="6572"/>
                  </a:lnTo>
                  <a:lnTo>
                    <a:pt x="42863" y="3810"/>
                  </a:lnTo>
                  <a:lnTo>
                    <a:pt x="84772" y="20860"/>
                  </a:lnTo>
                  <a:lnTo>
                    <a:pt x="116205" y="28575"/>
                  </a:lnTo>
                  <a:lnTo>
                    <a:pt x="140970" y="24765"/>
                  </a:lnTo>
                  <a:lnTo>
                    <a:pt x="159068" y="14288"/>
                  </a:lnTo>
                  <a:lnTo>
                    <a:pt x="197168" y="10478"/>
                  </a:lnTo>
                  <a:lnTo>
                    <a:pt x="215265" y="20860"/>
                  </a:lnTo>
                  <a:lnTo>
                    <a:pt x="236220" y="18098"/>
                  </a:lnTo>
                  <a:lnTo>
                    <a:pt x="264795" y="20860"/>
                  </a:lnTo>
                  <a:lnTo>
                    <a:pt x="271463" y="35147"/>
                  </a:lnTo>
                  <a:lnTo>
                    <a:pt x="285750" y="70485"/>
                  </a:lnTo>
                  <a:lnTo>
                    <a:pt x="278130" y="77153"/>
                  </a:lnTo>
                  <a:lnTo>
                    <a:pt x="267652" y="99060"/>
                  </a:lnTo>
                  <a:lnTo>
                    <a:pt x="264795" y="116110"/>
                  </a:lnTo>
                  <a:lnTo>
                    <a:pt x="257175" y="123825"/>
                  </a:lnTo>
                  <a:lnTo>
                    <a:pt x="246697" y="105728"/>
                  </a:lnTo>
                  <a:lnTo>
                    <a:pt x="240030" y="84773"/>
                  </a:lnTo>
                  <a:lnTo>
                    <a:pt x="229552" y="70485"/>
                  </a:lnTo>
                  <a:lnTo>
                    <a:pt x="221932" y="49435"/>
                  </a:lnTo>
                  <a:lnTo>
                    <a:pt x="215265" y="28575"/>
                  </a:lnTo>
                  <a:lnTo>
                    <a:pt x="215265" y="41910"/>
                  </a:lnTo>
                  <a:lnTo>
                    <a:pt x="219075" y="74200"/>
                  </a:lnTo>
                  <a:lnTo>
                    <a:pt x="225743" y="95250"/>
                  </a:lnTo>
                  <a:lnTo>
                    <a:pt x="240030" y="112300"/>
                  </a:lnTo>
                  <a:lnTo>
                    <a:pt x="250507" y="126587"/>
                  </a:lnTo>
                  <a:lnTo>
                    <a:pt x="264795" y="169450"/>
                  </a:lnTo>
                  <a:lnTo>
                    <a:pt x="300038" y="229553"/>
                  </a:lnTo>
                  <a:lnTo>
                    <a:pt x="302895" y="239935"/>
                  </a:lnTo>
                  <a:lnTo>
                    <a:pt x="302895" y="267653"/>
                  </a:lnTo>
                  <a:lnTo>
                    <a:pt x="288607" y="267653"/>
                  </a:lnTo>
                  <a:lnTo>
                    <a:pt x="254318" y="302800"/>
                  </a:lnTo>
                  <a:lnTo>
                    <a:pt x="236220" y="292322"/>
                  </a:lnTo>
                  <a:lnTo>
                    <a:pt x="10477" y="289560"/>
                  </a:lnTo>
                  <a:lnTo>
                    <a:pt x="10477" y="66675"/>
                  </a:lnTo>
                  <a:lnTo>
                    <a:pt x="3810" y="63722"/>
                  </a:lnTo>
                  <a:lnTo>
                    <a:pt x="0" y="41910"/>
                  </a:lnTo>
                  <a:lnTo>
                    <a:pt x="10477" y="35147"/>
                  </a:lnTo>
                  <a:lnTo>
                    <a:pt x="10477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37" name="Freeform: Shape 3636">
              <a:extLst>
                <a:ext uri="{FF2B5EF4-FFF2-40B4-BE49-F238E27FC236}">
                  <a16:creationId xmlns:a16="http://schemas.microsoft.com/office/drawing/2014/main" id="{9EE27460-675A-8BE7-254E-702932943F7C}"/>
                </a:ext>
              </a:extLst>
            </p:cNvPr>
            <p:cNvSpPr/>
            <p:nvPr/>
          </p:nvSpPr>
          <p:spPr>
            <a:xfrm>
              <a:off x="6255295" y="3604403"/>
              <a:ext cx="429513" cy="383670"/>
            </a:xfrm>
            <a:custGeom>
              <a:avLst/>
              <a:gdLst>
                <a:gd name="connsiteX0" fmla="*/ 61913 w 438150"/>
                <a:gd name="connsiteY0" fmla="*/ 0 h 391382"/>
                <a:gd name="connsiteX1" fmla="*/ 89535 w 438150"/>
                <a:gd name="connsiteY1" fmla="*/ 6572 h 391382"/>
                <a:gd name="connsiteX2" fmla="*/ 139065 w 438150"/>
                <a:gd name="connsiteY2" fmla="*/ 13335 h 391382"/>
                <a:gd name="connsiteX3" fmla="*/ 163830 w 438150"/>
                <a:gd name="connsiteY3" fmla="*/ 27622 h 391382"/>
                <a:gd name="connsiteX4" fmla="*/ 174307 w 438150"/>
                <a:gd name="connsiteY4" fmla="*/ 48482 h 391382"/>
                <a:gd name="connsiteX5" fmla="*/ 188595 w 438150"/>
                <a:gd name="connsiteY5" fmla="*/ 60008 h 391382"/>
                <a:gd name="connsiteX6" fmla="*/ 220028 w 438150"/>
                <a:gd name="connsiteY6" fmla="*/ 60008 h 391382"/>
                <a:gd name="connsiteX7" fmla="*/ 240982 w 438150"/>
                <a:gd name="connsiteY7" fmla="*/ 73247 h 391382"/>
                <a:gd name="connsiteX8" fmla="*/ 276225 w 438150"/>
                <a:gd name="connsiteY8" fmla="*/ 95250 h 391382"/>
                <a:gd name="connsiteX9" fmla="*/ 300990 w 438150"/>
                <a:gd name="connsiteY9" fmla="*/ 70485 h 391382"/>
                <a:gd name="connsiteX10" fmla="*/ 304800 w 438150"/>
                <a:gd name="connsiteY10" fmla="*/ 52388 h 391382"/>
                <a:gd name="connsiteX11" fmla="*/ 294323 w 438150"/>
                <a:gd name="connsiteY11" fmla="*/ 38100 h 391382"/>
                <a:gd name="connsiteX12" fmla="*/ 311468 w 438150"/>
                <a:gd name="connsiteY12" fmla="*/ 20860 h 391382"/>
                <a:gd name="connsiteX13" fmla="*/ 336232 w 438150"/>
                <a:gd name="connsiteY13" fmla="*/ 10382 h 391382"/>
                <a:gd name="connsiteX14" fmla="*/ 367665 w 438150"/>
                <a:gd name="connsiteY14" fmla="*/ 13335 h 391382"/>
                <a:gd name="connsiteX15" fmla="*/ 392430 w 438150"/>
                <a:gd name="connsiteY15" fmla="*/ 27622 h 391382"/>
                <a:gd name="connsiteX16" fmla="*/ 417195 w 438150"/>
                <a:gd name="connsiteY16" fmla="*/ 38100 h 391382"/>
                <a:gd name="connsiteX17" fmla="*/ 438150 w 438150"/>
                <a:gd name="connsiteY17" fmla="*/ 41910 h 391382"/>
                <a:gd name="connsiteX18" fmla="*/ 438150 w 438150"/>
                <a:gd name="connsiteY18" fmla="*/ 77057 h 391382"/>
                <a:gd name="connsiteX19" fmla="*/ 427673 w 438150"/>
                <a:gd name="connsiteY19" fmla="*/ 83820 h 391382"/>
                <a:gd name="connsiteX20" fmla="*/ 431482 w 438150"/>
                <a:gd name="connsiteY20" fmla="*/ 105632 h 391382"/>
                <a:gd name="connsiteX21" fmla="*/ 438150 w 438150"/>
                <a:gd name="connsiteY21" fmla="*/ 108585 h 391382"/>
                <a:gd name="connsiteX22" fmla="*/ 438150 w 438150"/>
                <a:gd name="connsiteY22" fmla="*/ 331470 h 391382"/>
                <a:gd name="connsiteX23" fmla="*/ 438150 w 438150"/>
                <a:gd name="connsiteY23" fmla="*/ 391382 h 391382"/>
                <a:gd name="connsiteX24" fmla="*/ 406718 w 438150"/>
                <a:gd name="connsiteY24" fmla="*/ 391382 h 391382"/>
                <a:gd name="connsiteX25" fmla="*/ 170498 w 438150"/>
                <a:gd name="connsiteY25" fmla="*/ 296132 h 391382"/>
                <a:gd name="connsiteX26" fmla="*/ 160020 w 438150"/>
                <a:gd name="connsiteY26" fmla="*/ 306610 h 391382"/>
                <a:gd name="connsiteX27" fmla="*/ 139065 w 438150"/>
                <a:gd name="connsiteY27" fmla="*/ 317182 h 391382"/>
                <a:gd name="connsiteX28" fmla="*/ 121920 w 438150"/>
                <a:gd name="connsiteY28" fmla="*/ 302895 h 391382"/>
                <a:gd name="connsiteX29" fmla="*/ 103823 w 438150"/>
                <a:gd name="connsiteY29" fmla="*/ 296132 h 391382"/>
                <a:gd name="connsiteX30" fmla="*/ 76200 w 438150"/>
                <a:gd name="connsiteY30" fmla="*/ 288607 h 391382"/>
                <a:gd name="connsiteX31" fmla="*/ 64770 w 438150"/>
                <a:gd name="connsiteY31" fmla="*/ 278035 h 391382"/>
                <a:gd name="connsiteX32" fmla="*/ 58103 w 438150"/>
                <a:gd name="connsiteY32" fmla="*/ 263747 h 391382"/>
                <a:gd name="connsiteX33" fmla="*/ 24765 w 438150"/>
                <a:gd name="connsiteY33" fmla="*/ 260985 h 391382"/>
                <a:gd name="connsiteX34" fmla="*/ 14288 w 438150"/>
                <a:gd name="connsiteY34" fmla="*/ 238982 h 391382"/>
                <a:gd name="connsiteX35" fmla="*/ 6668 w 438150"/>
                <a:gd name="connsiteY35" fmla="*/ 221932 h 391382"/>
                <a:gd name="connsiteX36" fmla="*/ 0 w 438150"/>
                <a:gd name="connsiteY36" fmla="*/ 203835 h 391382"/>
                <a:gd name="connsiteX37" fmla="*/ 14288 w 438150"/>
                <a:gd name="connsiteY37" fmla="*/ 197072 h 391382"/>
                <a:gd name="connsiteX38" fmla="*/ 14288 w 438150"/>
                <a:gd name="connsiteY38" fmla="*/ 116110 h 391382"/>
                <a:gd name="connsiteX39" fmla="*/ 6668 w 438150"/>
                <a:gd name="connsiteY39" fmla="*/ 83820 h 391382"/>
                <a:gd name="connsiteX40" fmla="*/ 20955 w 438150"/>
                <a:gd name="connsiteY40" fmla="*/ 73247 h 391382"/>
                <a:gd name="connsiteX41" fmla="*/ 20955 w 438150"/>
                <a:gd name="connsiteY41" fmla="*/ 45720 h 391382"/>
                <a:gd name="connsiteX42" fmla="*/ 58103 w 438150"/>
                <a:gd name="connsiteY42" fmla="*/ 20860 h 391382"/>
                <a:gd name="connsiteX43" fmla="*/ 61913 w 438150"/>
                <a:gd name="connsiteY43" fmla="*/ 17145 h 391382"/>
                <a:gd name="connsiteX44" fmla="*/ 61913 w 438150"/>
                <a:gd name="connsiteY44" fmla="*/ 0 h 391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438150" h="391382">
                  <a:moveTo>
                    <a:pt x="61913" y="0"/>
                  </a:moveTo>
                  <a:lnTo>
                    <a:pt x="89535" y="6572"/>
                  </a:lnTo>
                  <a:lnTo>
                    <a:pt x="139065" y="13335"/>
                  </a:lnTo>
                  <a:lnTo>
                    <a:pt x="163830" y="27622"/>
                  </a:lnTo>
                  <a:lnTo>
                    <a:pt x="174307" y="48482"/>
                  </a:lnTo>
                  <a:lnTo>
                    <a:pt x="188595" y="60008"/>
                  </a:lnTo>
                  <a:lnTo>
                    <a:pt x="220028" y="60008"/>
                  </a:lnTo>
                  <a:lnTo>
                    <a:pt x="240982" y="73247"/>
                  </a:lnTo>
                  <a:lnTo>
                    <a:pt x="276225" y="95250"/>
                  </a:lnTo>
                  <a:lnTo>
                    <a:pt x="300990" y="70485"/>
                  </a:lnTo>
                  <a:lnTo>
                    <a:pt x="304800" y="52388"/>
                  </a:lnTo>
                  <a:lnTo>
                    <a:pt x="294323" y="38100"/>
                  </a:lnTo>
                  <a:lnTo>
                    <a:pt x="311468" y="20860"/>
                  </a:lnTo>
                  <a:lnTo>
                    <a:pt x="336232" y="10382"/>
                  </a:lnTo>
                  <a:lnTo>
                    <a:pt x="367665" y="13335"/>
                  </a:lnTo>
                  <a:lnTo>
                    <a:pt x="392430" y="27622"/>
                  </a:lnTo>
                  <a:lnTo>
                    <a:pt x="417195" y="38100"/>
                  </a:lnTo>
                  <a:lnTo>
                    <a:pt x="438150" y="41910"/>
                  </a:lnTo>
                  <a:lnTo>
                    <a:pt x="438150" y="77057"/>
                  </a:lnTo>
                  <a:lnTo>
                    <a:pt x="427673" y="83820"/>
                  </a:lnTo>
                  <a:lnTo>
                    <a:pt x="431482" y="105632"/>
                  </a:lnTo>
                  <a:lnTo>
                    <a:pt x="438150" y="108585"/>
                  </a:lnTo>
                  <a:lnTo>
                    <a:pt x="438150" y="331470"/>
                  </a:lnTo>
                  <a:lnTo>
                    <a:pt x="438150" y="391382"/>
                  </a:lnTo>
                  <a:lnTo>
                    <a:pt x="406718" y="391382"/>
                  </a:lnTo>
                  <a:lnTo>
                    <a:pt x="170498" y="296132"/>
                  </a:lnTo>
                  <a:lnTo>
                    <a:pt x="160020" y="306610"/>
                  </a:lnTo>
                  <a:lnTo>
                    <a:pt x="139065" y="317182"/>
                  </a:lnTo>
                  <a:lnTo>
                    <a:pt x="121920" y="302895"/>
                  </a:lnTo>
                  <a:lnTo>
                    <a:pt x="103823" y="296132"/>
                  </a:lnTo>
                  <a:lnTo>
                    <a:pt x="76200" y="288607"/>
                  </a:lnTo>
                  <a:lnTo>
                    <a:pt x="64770" y="278035"/>
                  </a:lnTo>
                  <a:lnTo>
                    <a:pt x="58103" y="263747"/>
                  </a:lnTo>
                  <a:lnTo>
                    <a:pt x="24765" y="260985"/>
                  </a:lnTo>
                  <a:lnTo>
                    <a:pt x="14288" y="238982"/>
                  </a:lnTo>
                  <a:lnTo>
                    <a:pt x="6668" y="221932"/>
                  </a:lnTo>
                  <a:lnTo>
                    <a:pt x="0" y="203835"/>
                  </a:lnTo>
                  <a:lnTo>
                    <a:pt x="14288" y="197072"/>
                  </a:lnTo>
                  <a:lnTo>
                    <a:pt x="14288" y="116110"/>
                  </a:lnTo>
                  <a:lnTo>
                    <a:pt x="6668" y="83820"/>
                  </a:lnTo>
                  <a:lnTo>
                    <a:pt x="20955" y="73247"/>
                  </a:lnTo>
                  <a:lnTo>
                    <a:pt x="20955" y="45720"/>
                  </a:lnTo>
                  <a:lnTo>
                    <a:pt x="58103" y="20860"/>
                  </a:lnTo>
                  <a:lnTo>
                    <a:pt x="61913" y="17145"/>
                  </a:lnTo>
                  <a:lnTo>
                    <a:pt x="61913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38" name="Freeform: Shape 3637">
              <a:extLst>
                <a:ext uri="{FF2B5EF4-FFF2-40B4-BE49-F238E27FC236}">
                  <a16:creationId xmlns:a16="http://schemas.microsoft.com/office/drawing/2014/main" id="{27E85FAA-7DD5-B826-9C30-382128292FC7}"/>
                </a:ext>
              </a:extLst>
            </p:cNvPr>
            <p:cNvSpPr/>
            <p:nvPr/>
          </p:nvSpPr>
          <p:spPr>
            <a:xfrm>
              <a:off x="6203939" y="3476483"/>
              <a:ext cx="112047" cy="210089"/>
            </a:xfrm>
            <a:custGeom>
              <a:avLst/>
              <a:gdLst>
                <a:gd name="connsiteX0" fmla="*/ 27623 w 114300"/>
                <a:gd name="connsiteY0" fmla="*/ 10477 h 214312"/>
                <a:gd name="connsiteX1" fmla="*/ 52388 w 114300"/>
                <a:gd name="connsiteY1" fmla="*/ 0 h 214312"/>
                <a:gd name="connsiteX2" fmla="*/ 66675 w 114300"/>
                <a:gd name="connsiteY2" fmla="*/ 0 h 214312"/>
                <a:gd name="connsiteX3" fmla="*/ 73343 w 114300"/>
                <a:gd name="connsiteY3" fmla="*/ 13240 h 214312"/>
                <a:gd name="connsiteX4" fmla="*/ 83820 w 114300"/>
                <a:gd name="connsiteY4" fmla="*/ 17145 h 214312"/>
                <a:gd name="connsiteX5" fmla="*/ 94298 w 114300"/>
                <a:gd name="connsiteY5" fmla="*/ 10477 h 214312"/>
                <a:gd name="connsiteX6" fmla="*/ 101918 w 114300"/>
                <a:gd name="connsiteY6" fmla="*/ 13240 h 214312"/>
                <a:gd name="connsiteX7" fmla="*/ 98107 w 114300"/>
                <a:gd name="connsiteY7" fmla="*/ 24765 h 214312"/>
                <a:gd name="connsiteX8" fmla="*/ 87630 w 114300"/>
                <a:gd name="connsiteY8" fmla="*/ 27527 h 214312"/>
                <a:gd name="connsiteX9" fmla="*/ 80963 w 114300"/>
                <a:gd name="connsiteY9" fmla="*/ 41815 h 214312"/>
                <a:gd name="connsiteX10" fmla="*/ 87630 w 114300"/>
                <a:gd name="connsiteY10" fmla="*/ 48577 h 214312"/>
                <a:gd name="connsiteX11" fmla="*/ 101918 w 114300"/>
                <a:gd name="connsiteY11" fmla="*/ 56102 h 214312"/>
                <a:gd name="connsiteX12" fmla="*/ 101918 w 114300"/>
                <a:gd name="connsiteY12" fmla="*/ 66675 h 214312"/>
                <a:gd name="connsiteX13" fmla="*/ 91440 w 114300"/>
                <a:gd name="connsiteY13" fmla="*/ 77152 h 214312"/>
                <a:gd name="connsiteX14" fmla="*/ 80963 w 114300"/>
                <a:gd name="connsiteY14" fmla="*/ 80963 h 214312"/>
                <a:gd name="connsiteX15" fmla="*/ 70485 w 114300"/>
                <a:gd name="connsiteY15" fmla="*/ 95250 h 214312"/>
                <a:gd name="connsiteX16" fmla="*/ 77153 w 114300"/>
                <a:gd name="connsiteY16" fmla="*/ 112300 h 214312"/>
                <a:gd name="connsiteX17" fmla="*/ 94298 w 114300"/>
                <a:gd name="connsiteY17" fmla="*/ 112300 h 214312"/>
                <a:gd name="connsiteX18" fmla="*/ 101918 w 114300"/>
                <a:gd name="connsiteY18" fmla="*/ 122777 h 214312"/>
                <a:gd name="connsiteX19" fmla="*/ 114300 w 114300"/>
                <a:gd name="connsiteY19" fmla="*/ 130492 h 214312"/>
                <a:gd name="connsiteX20" fmla="*/ 114300 w 114300"/>
                <a:gd name="connsiteY20" fmla="*/ 147638 h 214312"/>
                <a:gd name="connsiteX21" fmla="*/ 73343 w 114300"/>
                <a:gd name="connsiteY21" fmla="*/ 176213 h 214312"/>
                <a:gd name="connsiteX22" fmla="*/ 73343 w 114300"/>
                <a:gd name="connsiteY22" fmla="*/ 203740 h 214312"/>
                <a:gd name="connsiteX23" fmla="*/ 59055 w 114300"/>
                <a:gd name="connsiteY23" fmla="*/ 214313 h 214312"/>
                <a:gd name="connsiteX24" fmla="*/ 48578 w 114300"/>
                <a:gd name="connsiteY24" fmla="*/ 211455 h 214312"/>
                <a:gd name="connsiteX25" fmla="*/ 45720 w 114300"/>
                <a:gd name="connsiteY25" fmla="*/ 190500 h 214312"/>
                <a:gd name="connsiteX26" fmla="*/ 41910 w 114300"/>
                <a:gd name="connsiteY26" fmla="*/ 161925 h 214312"/>
                <a:gd name="connsiteX27" fmla="*/ 17145 w 114300"/>
                <a:gd name="connsiteY27" fmla="*/ 133350 h 214312"/>
                <a:gd name="connsiteX28" fmla="*/ 0 w 114300"/>
                <a:gd name="connsiteY28" fmla="*/ 112300 h 214312"/>
                <a:gd name="connsiteX29" fmla="*/ 0 w 114300"/>
                <a:gd name="connsiteY29" fmla="*/ 98012 h 214312"/>
                <a:gd name="connsiteX30" fmla="*/ 20955 w 114300"/>
                <a:gd name="connsiteY30" fmla="*/ 80963 h 214312"/>
                <a:gd name="connsiteX31" fmla="*/ 20955 w 114300"/>
                <a:gd name="connsiteY31" fmla="*/ 17145 h 214312"/>
                <a:gd name="connsiteX32" fmla="*/ 27623 w 114300"/>
                <a:gd name="connsiteY32" fmla="*/ 10477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14300" h="214312">
                  <a:moveTo>
                    <a:pt x="27623" y="10477"/>
                  </a:moveTo>
                  <a:lnTo>
                    <a:pt x="52388" y="0"/>
                  </a:lnTo>
                  <a:lnTo>
                    <a:pt x="66675" y="0"/>
                  </a:lnTo>
                  <a:lnTo>
                    <a:pt x="73343" y="13240"/>
                  </a:lnTo>
                  <a:lnTo>
                    <a:pt x="83820" y="17145"/>
                  </a:lnTo>
                  <a:lnTo>
                    <a:pt x="94298" y="10477"/>
                  </a:lnTo>
                  <a:lnTo>
                    <a:pt x="101918" y="13240"/>
                  </a:lnTo>
                  <a:lnTo>
                    <a:pt x="98107" y="24765"/>
                  </a:lnTo>
                  <a:lnTo>
                    <a:pt x="87630" y="27527"/>
                  </a:lnTo>
                  <a:lnTo>
                    <a:pt x="80963" y="41815"/>
                  </a:lnTo>
                  <a:lnTo>
                    <a:pt x="87630" y="48577"/>
                  </a:lnTo>
                  <a:lnTo>
                    <a:pt x="101918" y="56102"/>
                  </a:lnTo>
                  <a:lnTo>
                    <a:pt x="101918" y="66675"/>
                  </a:lnTo>
                  <a:lnTo>
                    <a:pt x="91440" y="77152"/>
                  </a:lnTo>
                  <a:lnTo>
                    <a:pt x="80963" y="80963"/>
                  </a:lnTo>
                  <a:lnTo>
                    <a:pt x="70485" y="95250"/>
                  </a:lnTo>
                  <a:lnTo>
                    <a:pt x="77153" y="112300"/>
                  </a:lnTo>
                  <a:lnTo>
                    <a:pt x="94298" y="112300"/>
                  </a:lnTo>
                  <a:lnTo>
                    <a:pt x="101918" y="122777"/>
                  </a:lnTo>
                  <a:lnTo>
                    <a:pt x="114300" y="130492"/>
                  </a:lnTo>
                  <a:lnTo>
                    <a:pt x="114300" y="147638"/>
                  </a:lnTo>
                  <a:lnTo>
                    <a:pt x="73343" y="176213"/>
                  </a:lnTo>
                  <a:lnTo>
                    <a:pt x="73343" y="203740"/>
                  </a:lnTo>
                  <a:lnTo>
                    <a:pt x="59055" y="214313"/>
                  </a:lnTo>
                  <a:lnTo>
                    <a:pt x="48578" y="211455"/>
                  </a:lnTo>
                  <a:lnTo>
                    <a:pt x="45720" y="190500"/>
                  </a:lnTo>
                  <a:lnTo>
                    <a:pt x="41910" y="161925"/>
                  </a:lnTo>
                  <a:lnTo>
                    <a:pt x="17145" y="133350"/>
                  </a:lnTo>
                  <a:lnTo>
                    <a:pt x="0" y="112300"/>
                  </a:lnTo>
                  <a:lnTo>
                    <a:pt x="0" y="98012"/>
                  </a:lnTo>
                  <a:lnTo>
                    <a:pt x="20955" y="80963"/>
                  </a:lnTo>
                  <a:lnTo>
                    <a:pt x="20955" y="17145"/>
                  </a:lnTo>
                  <a:lnTo>
                    <a:pt x="27623" y="1047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39" name="Freeform: Shape 3638">
              <a:extLst>
                <a:ext uri="{FF2B5EF4-FFF2-40B4-BE49-F238E27FC236}">
                  <a16:creationId xmlns:a16="http://schemas.microsoft.com/office/drawing/2014/main" id="{90A0AB48-6671-4F12-96DA-BFEC00280AA8}"/>
                </a:ext>
              </a:extLst>
            </p:cNvPr>
            <p:cNvSpPr/>
            <p:nvPr/>
          </p:nvSpPr>
          <p:spPr>
            <a:xfrm>
              <a:off x="6203939" y="3476483"/>
              <a:ext cx="112047" cy="210089"/>
            </a:xfrm>
            <a:custGeom>
              <a:avLst/>
              <a:gdLst>
                <a:gd name="connsiteX0" fmla="*/ 27623 w 114300"/>
                <a:gd name="connsiteY0" fmla="*/ 10477 h 214312"/>
                <a:gd name="connsiteX1" fmla="*/ 52388 w 114300"/>
                <a:gd name="connsiteY1" fmla="*/ 0 h 214312"/>
                <a:gd name="connsiteX2" fmla="*/ 66675 w 114300"/>
                <a:gd name="connsiteY2" fmla="*/ 0 h 214312"/>
                <a:gd name="connsiteX3" fmla="*/ 73343 w 114300"/>
                <a:gd name="connsiteY3" fmla="*/ 13240 h 214312"/>
                <a:gd name="connsiteX4" fmla="*/ 83820 w 114300"/>
                <a:gd name="connsiteY4" fmla="*/ 17145 h 214312"/>
                <a:gd name="connsiteX5" fmla="*/ 94298 w 114300"/>
                <a:gd name="connsiteY5" fmla="*/ 10477 h 214312"/>
                <a:gd name="connsiteX6" fmla="*/ 101918 w 114300"/>
                <a:gd name="connsiteY6" fmla="*/ 13240 h 214312"/>
                <a:gd name="connsiteX7" fmla="*/ 98107 w 114300"/>
                <a:gd name="connsiteY7" fmla="*/ 24765 h 214312"/>
                <a:gd name="connsiteX8" fmla="*/ 87630 w 114300"/>
                <a:gd name="connsiteY8" fmla="*/ 27527 h 214312"/>
                <a:gd name="connsiteX9" fmla="*/ 80963 w 114300"/>
                <a:gd name="connsiteY9" fmla="*/ 41815 h 214312"/>
                <a:gd name="connsiteX10" fmla="*/ 87630 w 114300"/>
                <a:gd name="connsiteY10" fmla="*/ 48577 h 214312"/>
                <a:gd name="connsiteX11" fmla="*/ 101918 w 114300"/>
                <a:gd name="connsiteY11" fmla="*/ 56102 h 214312"/>
                <a:gd name="connsiteX12" fmla="*/ 101918 w 114300"/>
                <a:gd name="connsiteY12" fmla="*/ 66675 h 214312"/>
                <a:gd name="connsiteX13" fmla="*/ 91440 w 114300"/>
                <a:gd name="connsiteY13" fmla="*/ 77152 h 214312"/>
                <a:gd name="connsiteX14" fmla="*/ 80963 w 114300"/>
                <a:gd name="connsiteY14" fmla="*/ 80963 h 214312"/>
                <a:gd name="connsiteX15" fmla="*/ 70485 w 114300"/>
                <a:gd name="connsiteY15" fmla="*/ 95250 h 214312"/>
                <a:gd name="connsiteX16" fmla="*/ 77153 w 114300"/>
                <a:gd name="connsiteY16" fmla="*/ 112300 h 214312"/>
                <a:gd name="connsiteX17" fmla="*/ 94298 w 114300"/>
                <a:gd name="connsiteY17" fmla="*/ 112300 h 214312"/>
                <a:gd name="connsiteX18" fmla="*/ 101918 w 114300"/>
                <a:gd name="connsiteY18" fmla="*/ 122777 h 214312"/>
                <a:gd name="connsiteX19" fmla="*/ 114300 w 114300"/>
                <a:gd name="connsiteY19" fmla="*/ 130492 h 214312"/>
                <a:gd name="connsiteX20" fmla="*/ 114300 w 114300"/>
                <a:gd name="connsiteY20" fmla="*/ 147638 h 214312"/>
                <a:gd name="connsiteX21" fmla="*/ 73343 w 114300"/>
                <a:gd name="connsiteY21" fmla="*/ 176213 h 214312"/>
                <a:gd name="connsiteX22" fmla="*/ 73343 w 114300"/>
                <a:gd name="connsiteY22" fmla="*/ 203740 h 214312"/>
                <a:gd name="connsiteX23" fmla="*/ 59055 w 114300"/>
                <a:gd name="connsiteY23" fmla="*/ 214313 h 214312"/>
                <a:gd name="connsiteX24" fmla="*/ 48578 w 114300"/>
                <a:gd name="connsiteY24" fmla="*/ 211455 h 214312"/>
                <a:gd name="connsiteX25" fmla="*/ 45720 w 114300"/>
                <a:gd name="connsiteY25" fmla="*/ 190500 h 214312"/>
                <a:gd name="connsiteX26" fmla="*/ 41910 w 114300"/>
                <a:gd name="connsiteY26" fmla="*/ 161925 h 214312"/>
                <a:gd name="connsiteX27" fmla="*/ 17145 w 114300"/>
                <a:gd name="connsiteY27" fmla="*/ 133350 h 214312"/>
                <a:gd name="connsiteX28" fmla="*/ 0 w 114300"/>
                <a:gd name="connsiteY28" fmla="*/ 112300 h 214312"/>
                <a:gd name="connsiteX29" fmla="*/ 0 w 114300"/>
                <a:gd name="connsiteY29" fmla="*/ 98012 h 214312"/>
                <a:gd name="connsiteX30" fmla="*/ 20955 w 114300"/>
                <a:gd name="connsiteY30" fmla="*/ 80963 h 214312"/>
                <a:gd name="connsiteX31" fmla="*/ 20955 w 114300"/>
                <a:gd name="connsiteY31" fmla="*/ 17145 h 214312"/>
                <a:gd name="connsiteX32" fmla="*/ 27623 w 114300"/>
                <a:gd name="connsiteY32" fmla="*/ 10477 h 214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14300" h="214312">
                  <a:moveTo>
                    <a:pt x="27623" y="10477"/>
                  </a:moveTo>
                  <a:lnTo>
                    <a:pt x="52388" y="0"/>
                  </a:lnTo>
                  <a:lnTo>
                    <a:pt x="66675" y="0"/>
                  </a:lnTo>
                  <a:lnTo>
                    <a:pt x="73343" y="13240"/>
                  </a:lnTo>
                  <a:lnTo>
                    <a:pt x="83820" y="17145"/>
                  </a:lnTo>
                  <a:lnTo>
                    <a:pt x="94298" y="10477"/>
                  </a:lnTo>
                  <a:lnTo>
                    <a:pt x="101918" y="13240"/>
                  </a:lnTo>
                  <a:lnTo>
                    <a:pt x="98107" y="24765"/>
                  </a:lnTo>
                  <a:lnTo>
                    <a:pt x="87630" y="27527"/>
                  </a:lnTo>
                  <a:lnTo>
                    <a:pt x="80963" y="41815"/>
                  </a:lnTo>
                  <a:lnTo>
                    <a:pt x="87630" y="48577"/>
                  </a:lnTo>
                  <a:lnTo>
                    <a:pt x="101918" y="56102"/>
                  </a:lnTo>
                  <a:lnTo>
                    <a:pt x="101918" y="66675"/>
                  </a:lnTo>
                  <a:lnTo>
                    <a:pt x="91440" y="77152"/>
                  </a:lnTo>
                  <a:lnTo>
                    <a:pt x="80963" y="80963"/>
                  </a:lnTo>
                  <a:lnTo>
                    <a:pt x="70485" y="95250"/>
                  </a:lnTo>
                  <a:lnTo>
                    <a:pt x="77153" y="112300"/>
                  </a:lnTo>
                  <a:lnTo>
                    <a:pt x="94298" y="112300"/>
                  </a:lnTo>
                  <a:lnTo>
                    <a:pt x="101918" y="122777"/>
                  </a:lnTo>
                  <a:lnTo>
                    <a:pt x="114300" y="130492"/>
                  </a:lnTo>
                  <a:lnTo>
                    <a:pt x="114300" y="147638"/>
                  </a:lnTo>
                  <a:lnTo>
                    <a:pt x="73343" y="176213"/>
                  </a:lnTo>
                  <a:lnTo>
                    <a:pt x="73343" y="203740"/>
                  </a:lnTo>
                  <a:lnTo>
                    <a:pt x="59055" y="214313"/>
                  </a:lnTo>
                  <a:lnTo>
                    <a:pt x="48578" y="211455"/>
                  </a:lnTo>
                  <a:lnTo>
                    <a:pt x="45720" y="190500"/>
                  </a:lnTo>
                  <a:lnTo>
                    <a:pt x="41910" y="161925"/>
                  </a:lnTo>
                  <a:lnTo>
                    <a:pt x="17145" y="133350"/>
                  </a:lnTo>
                  <a:lnTo>
                    <a:pt x="0" y="112300"/>
                  </a:lnTo>
                  <a:lnTo>
                    <a:pt x="0" y="98012"/>
                  </a:lnTo>
                  <a:lnTo>
                    <a:pt x="20955" y="80963"/>
                  </a:lnTo>
                  <a:lnTo>
                    <a:pt x="20955" y="17145"/>
                  </a:lnTo>
                  <a:lnTo>
                    <a:pt x="27623" y="10477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40" name="Freeform: Shape 3639">
              <a:extLst>
                <a:ext uri="{FF2B5EF4-FFF2-40B4-BE49-F238E27FC236}">
                  <a16:creationId xmlns:a16="http://schemas.microsoft.com/office/drawing/2014/main" id="{21FBA71F-EB65-6275-AA92-538DCBCC0323}"/>
                </a:ext>
              </a:extLst>
            </p:cNvPr>
            <p:cNvSpPr/>
            <p:nvPr/>
          </p:nvSpPr>
          <p:spPr>
            <a:xfrm>
              <a:off x="5758553" y="3486753"/>
              <a:ext cx="571438" cy="535961"/>
            </a:xfrm>
            <a:custGeom>
              <a:avLst/>
              <a:gdLst>
                <a:gd name="connsiteX0" fmla="*/ 0 w 582929"/>
                <a:gd name="connsiteY0" fmla="*/ 288512 h 546734"/>
                <a:gd name="connsiteX1" fmla="*/ 0 w 582929"/>
                <a:gd name="connsiteY1" fmla="*/ 257175 h 546734"/>
                <a:gd name="connsiteX2" fmla="*/ 56197 w 582929"/>
                <a:gd name="connsiteY2" fmla="*/ 221837 h 546734"/>
                <a:gd name="connsiteX3" fmla="*/ 94297 w 582929"/>
                <a:gd name="connsiteY3" fmla="*/ 218123 h 546734"/>
                <a:gd name="connsiteX4" fmla="*/ 137160 w 582929"/>
                <a:gd name="connsiteY4" fmla="*/ 182785 h 546734"/>
                <a:gd name="connsiteX5" fmla="*/ 140970 w 582929"/>
                <a:gd name="connsiteY5" fmla="*/ 168497 h 546734"/>
                <a:gd name="connsiteX6" fmla="*/ 168592 w 582929"/>
                <a:gd name="connsiteY6" fmla="*/ 151448 h 546734"/>
                <a:gd name="connsiteX7" fmla="*/ 210503 w 582929"/>
                <a:gd name="connsiteY7" fmla="*/ 147638 h 546734"/>
                <a:gd name="connsiteX8" fmla="*/ 210503 w 582929"/>
                <a:gd name="connsiteY8" fmla="*/ 133350 h 546734"/>
                <a:gd name="connsiteX9" fmla="*/ 197167 w 582929"/>
                <a:gd name="connsiteY9" fmla="*/ 116110 h 546734"/>
                <a:gd name="connsiteX10" fmla="*/ 197167 w 582929"/>
                <a:gd name="connsiteY10" fmla="*/ 70485 h 546734"/>
                <a:gd name="connsiteX11" fmla="*/ 193357 w 582929"/>
                <a:gd name="connsiteY11" fmla="*/ 59912 h 546734"/>
                <a:gd name="connsiteX12" fmla="*/ 221932 w 582929"/>
                <a:gd name="connsiteY12" fmla="*/ 38100 h 546734"/>
                <a:gd name="connsiteX13" fmla="*/ 242888 w 582929"/>
                <a:gd name="connsiteY13" fmla="*/ 35243 h 546734"/>
                <a:gd name="connsiteX14" fmla="*/ 270510 w 582929"/>
                <a:gd name="connsiteY14" fmla="*/ 17050 h 546734"/>
                <a:gd name="connsiteX15" fmla="*/ 316230 w 582929"/>
                <a:gd name="connsiteY15" fmla="*/ 10382 h 546734"/>
                <a:gd name="connsiteX16" fmla="*/ 359092 w 582929"/>
                <a:gd name="connsiteY16" fmla="*/ 2762 h 546734"/>
                <a:gd name="connsiteX17" fmla="*/ 383857 w 582929"/>
                <a:gd name="connsiteY17" fmla="*/ 6668 h 546734"/>
                <a:gd name="connsiteX18" fmla="*/ 397192 w 582929"/>
                <a:gd name="connsiteY18" fmla="*/ 10382 h 546734"/>
                <a:gd name="connsiteX19" fmla="*/ 419100 w 582929"/>
                <a:gd name="connsiteY19" fmla="*/ 0 h 546734"/>
                <a:gd name="connsiteX20" fmla="*/ 446722 w 582929"/>
                <a:gd name="connsiteY20" fmla="*/ 0 h 546734"/>
                <a:gd name="connsiteX21" fmla="*/ 461010 w 582929"/>
                <a:gd name="connsiteY21" fmla="*/ 0 h 546734"/>
                <a:gd name="connsiteX22" fmla="*/ 475297 w 582929"/>
                <a:gd name="connsiteY22" fmla="*/ 6668 h 546734"/>
                <a:gd name="connsiteX23" fmla="*/ 475297 w 582929"/>
                <a:gd name="connsiteY23" fmla="*/ 70485 h 546734"/>
                <a:gd name="connsiteX24" fmla="*/ 454342 w 582929"/>
                <a:gd name="connsiteY24" fmla="*/ 87535 h 546734"/>
                <a:gd name="connsiteX25" fmla="*/ 454342 w 582929"/>
                <a:gd name="connsiteY25" fmla="*/ 101822 h 546734"/>
                <a:gd name="connsiteX26" fmla="*/ 496253 w 582929"/>
                <a:gd name="connsiteY26" fmla="*/ 151448 h 546734"/>
                <a:gd name="connsiteX27" fmla="*/ 502920 w 582929"/>
                <a:gd name="connsiteY27" fmla="*/ 200978 h 546734"/>
                <a:gd name="connsiteX28" fmla="*/ 513397 w 582929"/>
                <a:gd name="connsiteY28" fmla="*/ 203835 h 546734"/>
                <a:gd name="connsiteX29" fmla="*/ 517208 w 582929"/>
                <a:gd name="connsiteY29" fmla="*/ 232410 h 546734"/>
                <a:gd name="connsiteX30" fmla="*/ 521017 w 582929"/>
                <a:gd name="connsiteY30" fmla="*/ 317087 h 546734"/>
                <a:gd name="connsiteX31" fmla="*/ 506730 w 582929"/>
                <a:gd name="connsiteY31" fmla="*/ 323850 h 546734"/>
                <a:gd name="connsiteX32" fmla="*/ 513397 w 582929"/>
                <a:gd name="connsiteY32" fmla="*/ 341947 h 546734"/>
                <a:gd name="connsiteX33" fmla="*/ 531495 w 582929"/>
                <a:gd name="connsiteY33" fmla="*/ 381000 h 546734"/>
                <a:gd name="connsiteX34" fmla="*/ 564833 w 582929"/>
                <a:gd name="connsiteY34" fmla="*/ 383762 h 546734"/>
                <a:gd name="connsiteX35" fmla="*/ 571500 w 582929"/>
                <a:gd name="connsiteY35" fmla="*/ 398050 h 546734"/>
                <a:gd name="connsiteX36" fmla="*/ 582930 w 582929"/>
                <a:gd name="connsiteY36" fmla="*/ 408622 h 546734"/>
                <a:gd name="connsiteX37" fmla="*/ 464820 w 582929"/>
                <a:gd name="connsiteY37" fmla="*/ 479012 h 546734"/>
                <a:gd name="connsiteX38" fmla="*/ 397192 w 582929"/>
                <a:gd name="connsiteY38" fmla="*/ 535210 h 546734"/>
                <a:gd name="connsiteX39" fmla="*/ 361950 w 582929"/>
                <a:gd name="connsiteY39" fmla="*/ 542925 h 546734"/>
                <a:gd name="connsiteX40" fmla="*/ 330517 w 582929"/>
                <a:gd name="connsiteY40" fmla="*/ 546735 h 546734"/>
                <a:gd name="connsiteX41" fmla="*/ 334328 w 582929"/>
                <a:gd name="connsiteY41" fmla="*/ 518160 h 546734"/>
                <a:gd name="connsiteX42" fmla="*/ 299085 w 582929"/>
                <a:gd name="connsiteY42" fmla="*/ 503872 h 546734"/>
                <a:gd name="connsiteX43" fmla="*/ 280988 w 582929"/>
                <a:gd name="connsiteY43" fmla="*/ 486728 h 546734"/>
                <a:gd name="connsiteX44" fmla="*/ 0 w 582929"/>
                <a:gd name="connsiteY44" fmla="*/ 288512 h 546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82929" h="546734">
                  <a:moveTo>
                    <a:pt x="0" y="288512"/>
                  </a:moveTo>
                  <a:lnTo>
                    <a:pt x="0" y="257175"/>
                  </a:lnTo>
                  <a:lnTo>
                    <a:pt x="56197" y="221837"/>
                  </a:lnTo>
                  <a:lnTo>
                    <a:pt x="94297" y="218123"/>
                  </a:lnTo>
                  <a:lnTo>
                    <a:pt x="137160" y="182785"/>
                  </a:lnTo>
                  <a:lnTo>
                    <a:pt x="140970" y="168497"/>
                  </a:lnTo>
                  <a:lnTo>
                    <a:pt x="168592" y="151448"/>
                  </a:lnTo>
                  <a:lnTo>
                    <a:pt x="210503" y="147638"/>
                  </a:lnTo>
                  <a:lnTo>
                    <a:pt x="210503" y="133350"/>
                  </a:lnTo>
                  <a:lnTo>
                    <a:pt x="197167" y="116110"/>
                  </a:lnTo>
                  <a:lnTo>
                    <a:pt x="197167" y="70485"/>
                  </a:lnTo>
                  <a:lnTo>
                    <a:pt x="193357" y="59912"/>
                  </a:lnTo>
                  <a:lnTo>
                    <a:pt x="221932" y="38100"/>
                  </a:lnTo>
                  <a:lnTo>
                    <a:pt x="242888" y="35243"/>
                  </a:lnTo>
                  <a:lnTo>
                    <a:pt x="270510" y="17050"/>
                  </a:lnTo>
                  <a:lnTo>
                    <a:pt x="316230" y="10382"/>
                  </a:lnTo>
                  <a:lnTo>
                    <a:pt x="359092" y="2762"/>
                  </a:lnTo>
                  <a:lnTo>
                    <a:pt x="383857" y="6668"/>
                  </a:lnTo>
                  <a:lnTo>
                    <a:pt x="397192" y="10382"/>
                  </a:lnTo>
                  <a:lnTo>
                    <a:pt x="419100" y="0"/>
                  </a:lnTo>
                  <a:lnTo>
                    <a:pt x="446722" y="0"/>
                  </a:lnTo>
                  <a:lnTo>
                    <a:pt x="461010" y="0"/>
                  </a:lnTo>
                  <a:lnTo>
                    <a:pt x="475297" y="6668"/>
                  </a:lnTo>
                  <a:lnTo>
                    <a:pt x="475297" y="70485"/>
                  </a:lnTo>
                  <a:lnTo>
                    <a:pt x="454342" y="87535"/>
                  </a:lnTo>
                  <a:lnTo>
                    <a:pt x="454342" y="101822"/>
                  </a:lnTo>
                  <a:lnTo>
                    <a:pt x="496253" y="151448"/>
                  </a:lnTo>
                  <a:lnTo>
                    <a:pt x="502920" y="200978"/>
                  </a:lnTo>
                  <a:lnTo>
                    <a:pt x="513397" y="203835"/>
                  </a:lnTo>
                  <a:lnTo>
                    <a:pt x="517208" y="232410"/>
                  </a:lnTo>
                  <a:lnTo>
                    <a:pt x="521017" y="317087"/>
                  </a:lnTo>
                  <a:lnTo>
                    <a:pt x="506730" y="323850"/>
                  </a:lnTo>
                  <a:lnTo>
                    <a:pt x="513397" y="341947"/>
                  </a:lnTo>
                  <a:lnTo>
                    <a:pt x="531495" y="381000"/>
                  </a:lnTo>
                  <a:lnTo>
                    <a:pt x="564833" y="383762"/>
                  </a:lnTo>
                  <a:lnTo>
                    <a:pt x="571500" y="398050"/>
                  </a:lnTo>
                  <a:lnTo>
                    <a:pt x="582930" y="408622"/>
                  </a:lnTo>
                  <a:lnTo>
                    <a:pt x="464820" y="479012"/>
                  </a:lnTo>
                  <a:lnTo>
                    <a:pt x="397192" y="535210"/>
                  </a:lnTo>
                  <a:lnTo>
                    <a:pt x="361950" y="542925"/>
                  </a:lnTo>
                  <a:lnTo>
                    <a:pt x="330517" y="546735"/>
                  </a:lnTo>
                  <a:lnTo>
                    <a:pt x="334328" y="518160"/>
                  </a:lnTo>
                  <a:lnTo>
                    <a:pt x="299085" y="503872"/>
                  </a:lnTo>
                  <a:lnTo>
                    <a:pt x="280988" y="486728"/>
                  </a:lnTo>
                  <a:lnTo>
                    <a:pt x="0" y="28851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41" name="Freeform: Shape 3640">
              <a:extLst>
                <a:ext uri="{FF2B5EF4-FFF2-40B4-BE49-F238E27FC236}">
                  <a16:creationId xmlns:a16="http://schemas.microsoft.com/office/drawing/2014/main" id="{261E8458-841D-A745-770E-A6D41045FB22}"/>
                </a:ext>
              </a:extLst>
            </p:cNvPr>
            <p:cNvSpPr/>
            <p:nvPr/>
          </p:nvSpPr>
          <p:spPr>
            <a:xfrm>
              <a:off x="5640904" y="3521302"/>
              <a:ext cx="324002" cy="248279"/>
            </a:xfrm>
            <a:custGeom>
              <a:avLst/>
              <a:gdLst>
                <a:gd name="connsiteX0" fmla="*/ 120015 w 330517"/>
                <a:gd name="connsiteY0" fmla="*/ 253270 h 253269"/>
                <a:gd name="connsiteX1" fmla="*/ 0 w 330517"/>
                <a:gd name="connsiteY1" fmla="*/ 253270 h 253269"/>
                <a:gd name="connsiteX2" fmla="*/ 17145 w 330517"/>
                <a:gd name="connsiteY2" fmla="*/ 242792 h 253269"/>
                <a:gd name="connsiteX3" fmla="*/ 49530 w 330517"/>
                <a:gd name="connsiteY3" fmla="*/ 225742 h 253269"/>
                <a:gd name="connsiteX4" fmla="*/ 87630 w 330517"/>
                <a:gd name="connsiteY4" fmla="*/ 193357 h 253269"/>
                <a:gd name="connsiteX5" fmla="*/ 91440 w 330517"/>
                <a:gd name="connsiteY5" fmla="*/ 182880 h 253269"/>
                <a:gd name="connsiteX6" fmla="*/ 91440 w 330517"/>
                <a:gd name="connsiteY6" fmla="*/ 119920 h 253269"/>
                <a:gd name="connsiteX7" fmla="*/ 109538 w 330517"/>
                <a:gd name="connsiteY7" fmla="*/ 98107 h 253269"/>
                <a:gd name="connsiteX8" fmla="*/ 130493 w 330517"/>
                <a:gd name="connsiteY8" fmla="*/ 77057 h 253269"/>
                <a:gd name="connsiteX9" fmla="*/ 155257 w 330517"/>
                <a:gd name="connsiteY9" fmla="*/ 70485 h 253269"/>
                <a:gd name="connsiteX10" fmla="*/ 179070 w 330517"/>
                <a:gd name="connsiteY10" fmla="*/ 52292 h 253269"/>
                <a:gd name="connsiteX11" fmla="*/ 190500 w 330517"/>
                <a:gd name="connsiteY11" fmla="*/ 24670 h 253269"/>
                <a:gd name="connsiteX12" fmla="*/ 197168 w 330517"/>
                <a:gd name="connsiteY12" fmla="*/ 6667 h 253269"/>
                <a:gd name="connsiteX13" fmla="*/ 203835 w 330517"/>
                <a:gd name="connsiteY13" fmla="*/ 0 h 253269"/>
                <a:gd name="connsiteX14" fmla="*/ 214313 w 330517"/>
                <a:gd name="connsiteY14" fmla="*/ 0 h 253269"/>
                <a:gd name="connsiteX15" fmla="*/ 221932 w 330517"/>
                <a:gd name="connsiteY15" fmla="*/ 14288 h 253269"/>
                <a:gd name="connsiteX16" fmla="*/ 232410 w 330517"/>
                <a:gd name="connsiteY16" fmla="*/ 20955 h 253269"/>
                <a:gd name="connsiteX17" fmla="*/ 271463 w 330517"/>
                <a:gd name="connsiteY17" fmla="*/ 17145 h 253269"/>
                <a:gd name="connsiteX18" fmla="*/ 288607 w 330517"/>
                <a:gd name="connsiteY18" fmla="*/ 17145 h 253269"/>
                <a:gd name="connsiteX19" fmla="*/ 295275 w 330517"/>
                <a:gd name="connsiteY19" fmla="*/ 24670 h 253269"/>
                <a:gd name="connsiteX20" fmla="*/ 313372 w 330517"/>
                <a:gd name="connsiteY20" fmla="*/ 24670 h 253269"/>
                <a:gd name="connsiteX21" fmla="*/ 317182 w 330517"/>
                <a:gd name="connsiteY21" fmla="*/ 35242 h 253269"/>
                <a:gd name="connsiteX22" fmla="*/ 317182 w 330517"/>
                <a:gd name="connsiteY22" fmla="*/ 80867 h 253269"/>
                <a:gd name="connsiteX23" fmla="*/ 330518 w 330517"/>
                <a:gd name="connsiteY23" fmla="*/ 98107 h 253269"/>
                <a:gd name="connsiteX24" fmla="*/ 330518 w 330517"/>
                <a:gd name="connsiteY24" fmla="*/ 112395 h 253269"/>
                <a:gd name="connsiteX25" fmla="*/ 288607 w 330517"/>
                <a:gd name="connsiteY25" fmla="*/ 116205 h 253269"/>
                <a:gd name="connsiteX26" fmla="*/ 260985 w 330517"/>
                <a:gd name="connsiteY26" fmla="*/ 133255 h 253269"/>
                <a:gd name="connsiteX27" fmla="*/ 257175 w 330517"/>
                <a:gd name="connsiteY27" fmla="*/ 147542 h 253269"/>
                <a:gd name="connsiteX28" fmla="*/ 214313 w 330517"/>
                <a:gd name="connsiteY28" fmla="*/ 182880 h 253269"/>
                <a:gd name="connsiteX29" fmla="*/ 176213 w 330517"/>
                <a:gd name="connsiteY29" fmla="*/ 186595 h 253269"/>
                <a:gd name="connsiteX30" fmla="*/ 120015 w 330517"/>
                <a:gd name="connsiteY30" fmla="*/ 221932 h 253269"/>
                <a:gd name="connsiteX31" fmla="*/ 120015 w 330517"/>
                <a:gd name="connsiteY31" fmla="*/ 253270 h 253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0517" h="253269">
                  <a:moveTo>
                    <a:pt x="120015" y="253270"/>
                  </a:moveTo>
                  <a:lnTo>
                    <a:pt x="0" y="253270"/>
                  </a:lnTo>
                  <a:lnTo>
                    <a:pt x="17145" y="242792"/>
                  </a:lnTo>
                  <a:lnTo>
                    <a:pt x="49530" y="225742"/>
                  </a:lnTo>
                  <a:lnTo>
                    <a:pt x="87630" y="193357"/>
                  </a:lnTo>
                  <a:lnTo>
                    <a:pt x="91440" y="182880"/>
                  </a:lnTo>
                  <a:lnTo>
                    <a:pt x="91440" y="119920"/>
                  </a:lnTo>
                  <a:lnTo>
                    <a:pt x="109538" y="98107"/>
                  </a:lnTo>
                  <a:lnTo>
                    <a:pt x="130493" y="77057"/>
                  </a:lnTo>
                  <a:lnTo>
                    <a:pt x="155257" y="70485"/>
                  </a:lnTo>
                  <a:lnTo>
                    <a:pt x="179070" y="52292"/>
                  </a:lnTo>
                  <a:lnTo>
                    <a:pt x="190500" y="24670"/>
                  </a:lnTo>
                  <a:lnTo>
                    <a:pt x="197168" y="6667"/>
                  </a:lnTo>
                  <a:lnTo>
                    <a:pt x="203835" y="0"/>
                  </a:lnTo>
                  <a:lnTo>
                    <a:pt x="214313" y="0"/>
                  </a:lnTo>
                  <a:lnTo>
                    <a:pt x="221932" y="14288"/>
                  </a:lnTo>
                  <a:lnTo>
                    <a:pt x="232410" y="20955"/>
                  </a:lnTo>
                  <a:lnTo>
                    <a:pt x="271463" y="17145"/>
                  </a:lnTo>
                  <a:lnTo>
                    <a:pt x="288607" y="17145"/>
                  </a:lnTo>
                  <a:lnTo>
                    <a:pt x="295275" y="24670"/>
                  </a:lnTo>
                  <a:lnTo>
                    <a:pt x="313372" y="24670"/>
                  </a:lnTo>
                  <a:lnTo>
                    <a:pt x="317182" y="35242"/>
                  </a:lnTo>
                  <a:lnTo>
                    <a:pt x="317182" y="80867"/>
                  </a:lnTo>
                  <a:lnTo>
                    <a:pt x="330518" y="98107"/>
                  </a:lnTo>
                  <a:lnTo>
                    <a:pt x="330518" y="112395"/>
                  </a:lnTo>
                  <a:lnTo>
                    <a:pt x="288607" y="116205"/>
                  </a:lnTo>
                  <a:lnTo>
                    <a:pt x="260985" y="133255"/>
                  </a:lnTo>
                  <a:lnTo>
                    <a:pt x="257175" y="147542"/>
                  </a:lnTo>
                  <a:lnTo>
                    <a:pt x="214313" y="182880"/>
                  </a:lnTo>
                  <a:lnTo>
                    <a:pt x="176213" y="186595"/>
                  </a:lnTo>
                  <a:lnTo>
                    <a:pt x="120015" y="221932"/>
                  </a:lnTo>
                  <a:lnTo>
                    <a:pt x="120015" y="25327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42" name="Freeform: Shape 3641">
              <a:extLst>
                <a:ext uri="{FF2B5EF4-FFF2-40B4-BE49-F238E27FC236}">
                  <a16:creationId xmlns:a16="http://schemas.microsoft.com/office/drawing/2014/main" id="{A79C210D-B21B-8960-BC43-9C271FAD9818}"/>
                </a:ext>
              </a:extLst>
            </p:cNvPr>
            <p:cNvSpPr/>
            <p:nvPr/>
          </p:nvSpPr>
          <p:spPr>
            <a:xfrm>
              <a:off x="5530725" y="3769581"/>
              <a:ext cx="227828" cy="184038"/>
            </a:xfrm>
            <a:custGeom>
              <a:avLst/>
              <a:gdLst>
                <a:gd name="connsiteX0" fmla="*/ 0 w 232409"/>
                <a:gd name="connsiteY0" fmla="*/ 187738 h 187737"/>
                <a:gd name="connsiteX1" fmla="*/ 6667 w 232409"/>
                <a:gd name="connsiteY1" fmla="*/ 165735 h 187737"/>
                <a:gd name="connsiteX2" fmla="*/ 23813 w 232409"/>
                <a:gd name="connsiteY2" fmla="*/ 138113 h 187737"/>
                <a:gd name="connsiteX3" fmla="*/ 35242 w 232409"/>
                <a:gd name="connsiteY3" fmla="*/ 109538 h 187737"/>
                <a:gd name="connsiteX4" fmla="*/ 52388 w 232409"/>
                <a:gd name="connsiteY4" fmla="*/ 95250 h 187737"/>
                <a:gd name="connsiteX5" fmla="*/ 62865 w 232409"/>
                <a:gd name="connsiteY5" fmla="*/ 67723 h 187737"/>
                <a:gd name="connsiteX6" fmla="*/ 80963 w 232409"/>
                <a:gd name="connsiteY6" fmla="*/ 42863 h 187737"/>
                <a:gd name="connsiteX7" fmla="*/ 91440 w 232409"/>
                <a:gd name="connsiteY7" fmla="*/ 32385 h 187737"/>
                <a:gd name="connsiteX8" fmla="*/ 105727 w 232409"/>
                <a:gd name="connsiteY8" fmla="*/ 14288 h 187737"/>
                <a:gd name="connsiteX9" fmla="*/ 112395 w 232409"/>
                <a:gd name="connsiteY9" fmla="*/ 0 h 187737"/>
                <a:gd name="connsiteX10" fmla="*/ 232410 w 232409"/>
                <a:gd name="connsiteY10" fmla="*/ 0 h 187737"/>
                <a:gd name="connsiteX11" fmla="*/ 232410 w 232409"/>
                <a:gd name="connsiteY11" fmla="*/ 49625 h 187737"/>
                <a:gd name="connsiteX12" fmla="*/ 143827 w 232409"/>
                <a:gd name="connsiteY12" fmla="*/ 49625 h 187737"/>
                <a:gd name="connsiteX13" fmla="*/ 143827 w 232409"/>
                <a:gd name="connsiteY13" fmla="*/ 123825 h 187737"/>
                <a:gd name="connsiteX14" fmla="*/ 126682 w 232409"/>
                <a:gd name="connsiteY14" fmla="*/ 123825 h 187737"/>
                <a:gd name="connsiteX15" fmla="*/ 112395 w 232409"/>
                <a:gd name="connsiteY15" fmla="*/ 130588 h 187737"/>
                <a:gd name="connsiteX16" fmla="*/ 112395 w 232409"/>
                <a:gd name="connsiteY16" fmla="*/ 144875 h 187737"/>
                <a:gd name="connsiteX17" fmla="*/ 112395 w 232409"/>
                <a:gd name="connsiteY17" fmla="*/ 187738 h 187737"/>
                <a:gd name="connsiteX18" fmla="*/ 0 w 232409"/>
                <a:gd name="connsiteY18" fmla="*/ 187738 h 18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2409" h="187737">
                  <a:moveTo>
                    <a:pt x="0" y="187738"/>
                  </a:moveTo>
                  <a:lnTo>
                    <a:pt x="6667" y="165735"/>
                  </a:lnTo>
                  <a:lnTo>
                    <a:pt x="23813" y="138113"/>
                  </a:lnTo>
                  <a:lnTo>
                    <a:pt x="35242" y="109538"/>
                  </a:lnTo>
                  <a:lnTo>
                    <a:pt x="52388" y="95250"/>
                  </a:lnTo>
                  <a:lnTo>
                    <a:pt x="62865" y="67723"/>
                  </a:lnTo>
                  <a:lnTo>
                    <a:pt x="80963" y="42863"/>
                  </a:lnTo>
                  <a:lnTo>
                    <a:pt x="91440" y="32385"/>
                  </a:lnTo>
                  <a:lnTo>
                    <a:pt x="105727" y="14288"/>
                  </a:lnTo>
                  <a:lnTo>
                    <a:pt x="112395" y="0"/>
                  </a:lnTo>
                  <a:lnTo>
                    <a:pt x="232410" y="0"/>
                  </a:lnTo>
                  <a:lnTo>
                    <a:pt x="232410" y="49625"/>
                  </a:lnTo>
                  <a:lnTo>
                    <a:pt x="143827" y="49625"/>
                  </a:lnTo>
                  <a:lnTo>
                    <a:pt x="143827" y="123825"/>
                  </a:lnTo>
                  <a:lnTo>
                    <a:pt x="126682" y="123825"/>
                  </a:lnTo>
                  <a:lnTo>
                    <a:pt x="112395" y="130588"/>
                  </a:lnTo>
                  <a:lnTo>
                    <a:pt x="112395" y="144875"/>
                  </a:lnTo>
                  <a:lnTo>
                    <a:pt x="112395" y="187738"/>
                  </a:lnTo>
                  <a:lnTo>
                    <a:pt x="0" y="18773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43" name="Freeform: Shape 3642">
              <a:extLst>
                <a:ext uri="{FF2B5EF4-FFF2-40B4-BE49-F238E27FC236}">
                  <a16:creationId xmlns:a16="http://schemas.microsoft.com/office/drawing/2014/main" id="{E09307E8-5BCF-CAF4-42D8-B1A90B84452A}"/>
                </a:ext>
              </a:extLst>
            </p:cNvPr>
            <p:cNvSpPr/>
            <p:nvPr/>
          </p:nvSpPr>
          <p:spPr>
            <a:xfrm>
              <a:off x="5530725" y="3769581"/>
              <a:ext cx="227828" cy="184038"/>
            </a:xfrm>
            <a:custGeom>
              <a:avLst/>
              <a:gdLst>
                <a:gd name="connsiteX0" fmla="*/ 0 w 232409"/>
                <a:gd name="connsiteY0" fmla="*/ 187738 h 187737"/>
                <a:gd name="connsiteX1" fmla="*/ 6667 w 232409"/>
                <a:gd name="connsiteY1" fmla="*/ 165735 h 187737"/>
                <a:gd name="connsiteX2" fmla="*/ 23813 w 232409"/>
                <a:gd name="connsiteY2" fmla="*/ 138113 h 187737"/>
                <a:gd name="connsiteX3" fmla="*/ 35242 w 232409"/>
                <a:gd name="connsiteY3" fmla="*/ 109538 h 187737"/>
                <a:gd name="connsiteX4" fmla="*/ 52388 w 232409"/>
                <a:gd name="connsiteY4" fmla="*/ 95250 h 187737"/>
                <a:gd name="connsiteX5" fmla="*/ 62865 w 232409"/>
                <a:gd name="connsiteY5" fmla="*/ 67723 h 187737"/>
                <a:gd name="connsiteX6" fmla="*/ 80963 w 232409"/>
                <a:gd name="connsiteY6" fmla="*/ 42863 h 187737"/>
                <a:gd name="connsiteX7" fmla="*/ 91440 w 232409"/>
                <a:gd name="connsiteY7" fmla="*/ 32385 h 187737"/>
                <a:gd name="connsiteX8" fmla="*/ 105727 w 232409"/>
                <a:gd name="connsiteY8" fmla="*/ 14288 h 187737"/>
                <a:gd name="connsiteX9" fmla="*/ 112395 w 232409"/>
                <a:gd name="connsiteY9" fmla="*/ 0 h 187737"/>
                <a:gd name="connsiteX10" fmla="*/ 232410 w 232409"/>
                <a:gd name="connsiteY10" fmla="*/ 0 h 187737"/>
                <a:gd name="connsiteX11" fmla="*/ 232410 w 232409"/>
                <a:gd name="connsiteY11" fmla="*/ 49625 h 187737"/>
                <a:gd name="connsiteX12" fmla="*/ 143827 w 232409"/>
                <a:gd name="connsiteY12" fmla="*/ 49625 h 187737"/>
                <a:gd name="connsiteX13" fmla="*/ 143827 w 232409"/>
                <a:gd name="connsiteY13" fmla="*/ 123825 h 187737"/>
                <a:gd name="connsiteX14" fmla="*/ 126682 w 232409"/>
                <a:gd name="connsiteY14" fmla="*/ 123825 h 187737"/>
                <a:gd name="connsiteX15" fmla="*/ 112395 w 232409"/>
                <a:gd name="connsiteY15" fmla="*/ 130588 h 187737"/>
                <a:gd name="connsiteX16" fmla="*/ 112395 w 232409"/>
                <a:gd name="connsiteY16" fmla="*/ 144875 h 187737"/>
                <a:gd name="connsiteX17" fmla="*/ 112395 w 232409"/>
                <a:gd name="connsiteY17" fmla="*/ 187738 h 187737"/>
                <a:gd name="connsiteX18" fmla="*/ 0 w 232409"/>
                <a:gd name="connsiteY18" fmla="*/ 187738 h 187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32409" h="187737">
                  <a:moveTo>
                    <a:pt x="0" y="187738"/>
                  </a:moveTo>
                  <a:lnTo>
                    <a:pt x="6667" y="165735"/>
                  </a:lnTo>
                  <a:lnTo>
                    <a:pt x="23813" y="138113"/>
                  </a:lnTo>
                  <a:lnTo>
                    <a:pt x="35242" y="109538"/>
                  </a:lnTo>
                  <a:lnTo>
                    <a:pt x="52388" y="95250"/>
                  </a:lnTo>
                  <a:lnTo>
                    <a:pt x="62865" y="67723"/>
                  </a:lnTo>
                  <a:lnTo>
                    <a:pt x="80963" y="42863"/>
                  </a:lnTo>
                  <a:lnTo>
                    <a:pt x="91440" y="32385"/>
                  </a:lnTo>
                  <a:lnTo>
                    <a:pt x="105727" y="14288"/>
                  </a:lnTo>
                  <a:lnTo>
                    <a:pt x="112395" y="0"/>
                  </a:lnTo>
                  <a:lnTo>
                    <a:pt x="232410" y="0"/>
                  </a:lnTo>
                  <a:lnTo>
                    <a:pt x="232410" y="49625"/>
                  </a:lnTo>
                  <a:lnTo>
                    <a:pt x="143827" y="49625"/>
                  </a:lnTo>
                  <a:lnTo>
                    <a:pt x="143827" y="123825"/>
                  </a:lnTo>
                  <a:lnTo>
                    <a:pt x="126682" y="123825"/>
                  </a:lnTo>
                  <a:lnTo>
                    <a:pt x="112395" y="130588"/>
                  </a:lnTo>
                  <a:lnTo>
                    <a:pt x="112395" y="144875"/>
                  </a:lnTo>
                  <a:lnTo>
                    <a:pt x="112395" y="187738"/>
                  </a:lnTo>
                  <a:lnTo>
                    <a:pt x="0" y="18773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44" name="Freeform: Shape 3643">
              <a:extLst>
                <a:ext uri="{FF2B5EF4-FFF2-40B4-BE49-F238E27FC236}">
                  <a16:creationId xmlns:a16="http://schemas.microsoft.com/office/drawing/2014/main" id="{F6C58CEF-4417-009D-58A5-9C0E63B769B2}"/>
                </a:ext>
              </a:extLst>
            </p:cNvPr>
            <p:cNvSpPr/>
            <p:nvPr/>
          </p:nvSpPr>
          <p:spPr>
            <a:xfrm>
              <a:off x="5543797" y="4195456"/>
              <a:ext cx="83101" cy="47620"/>
            </a:xfrm>
            <a:custGeom>
              <a:avLst/>
              <a:gdLst>
                <a:gd name="connsiteX0" fmla="*/ 0 w 84772"/>
                <a:gd name="connsiteY0" fmla="*/ 10478 h 48577"/>
                <a:gd name="connsiteX1" fmla="*/ 32385 w 84772"/>
                <a:gd name="connsiteY1" fmla="*/ 6668 h 48577"/>
                <a:gd name="connsiteX2" fmla="*/ 39053 w 84772"/>
                <a:gd name="connsiteY2" fmla="*/ 0 h 48577"/>
                <a:gd name="connsiteX3" fmla="*/ 84772 w 84772"/>
                <a:gd name="connsiteY3" fmla="*/ 0 h 48577"/>
                <a:gd name="connsiteX4" fmla="*/ 78105 w 84772"/>
                <a:gd name="connsiteY4" fmla="*/ 17050 h 48577"/>
                <a:gd name="connsiteX5" fmla="*/ 74295 w 84772"/>
                <a:gd name="connsiteY5" fmla="*/ 27527 h 48577"/>
                <a:gd name="connsiteX6" fmla="*/ 53340 w 84772"/>
                <a:gd name="connsiteY6" fmla="*/ 35243 h 48577"/>
                <a:gd name="connsiteX7" fmla="*/ 39053 w 84772"/>
                <a:gd name="connsiteY7" fmla="*/ 48578 h 48577"/>
                <a:gd name="connsiteX8" fmla="*/ 28575 w 84772"/>
                <a:gd name="connsiteY8" fmla="*/ 38100 h 48577"/>
                <a:gd name="connsiteX9" fmla="*/ 14288 w 84772"/>
                <a:gd name="connsiteY9" fmla="*/ 24765 h 48577"/>
                <a:gd name="connsiteX10" fmla="*/ 10478 w 84772"/>
                <a:gd name="connsiteY10" fmla="*/ 20955 h 48577"/>
                <a:gd name="connsiteX11" fmla="*/ 0 w 84772"/>
                <a:gd name="connsiteY11" fmla="*/ 10478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4772" h="48577">
                  <a:moveTo>
                    <a:pt x="0" y="10478"/>
                  </a:moveTo>
                  <a:lnTo>
                    <a:pt x="32385" y="6668"/>
                  </a:lnTo>
                  <a:lnTo>
                    <a:pt x="39053" y="0"/>
                  </a:lnTo>
                  <a:lnTo>
                    <a:pt x="84772" y="0"/>
                  </a:lnTo>
                  <a:lnTo>
                    <a:pt x="78105" y="17050"/>
                  </a:lnTo>
                  <a:lnTo>
                    <a:pt x="74295" y="27527"/>
                  </a:lnTo>
                  <a:lnTo>
                    <a:pt x="53340" y="35243"/>
                  </a:lnTo>
                  <a:lnTo>
                    <a:pt x="39053" y="48578"/>
                  </a:lnTo>
                  <a:lnTo>
                    <a:pt x="28575" y="38100"/>
                  </a:lnTo>
                  <a:lnTo>
                    <a:pt x="14288" y="24765"/>
                  </a:lnTo>
                  <a:lnTo>
                    <a:pt x="10478" y="20955"/>
                  </a:lnTo>
                  <a:lnTo>
                    <a:pt x="0" y="1047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45" name="Freeform: Shape 3644">
              <a:extLst>
                <a:ext uri="{FF2B5EF4-FFF2-40B4-BE49-F238E27FC236}">
                  <a16:creationId xmlns:a16="http://schemas.microsoft.com/office/drawing/2014/main" id="{B2C7F319-FCF8-EC80-4AF0-5DA6E1E35C52}"/>
                </a:ext>
              </a:extLst>
            </p:cNvPr>
            <p:cNvSpPr/>
            <p:nvPr/>
          </p:nvSpPr>
          <p:spPr>
            <a:xfrm>
              <a:off x="5543797" y="4195456"/>
              <a:ext cx="83101" cy="47620"/>
            </a:xfrm>
            <a:custGeom>
              <a:avLst/>
              <a:gdLst>
                <a:gd name="connsiteX0" fmla="*/ 0 w 84772"/>
                <a:gd name="connsiteY0" fmla="*/ 10478 h 48577"/>
                <a:gd name="connsiteX1" fmla="*/ 32385 w 84772"/>
                <a:gd name="connsiteY1" fmla="*/ 6668 h 48577"/>
                <a:gd name="connsiteX2" fmla="*/ 39053 w 84772"/>
                <a:gd name="connsiteY2" fmla="*/ 0 h 48577"/>
                <a:gd name="connsiteX3" fmla="*/ 84772 w 84772"/>
                <a:gd name="connsiteY3" fmla="*/ 0 h 48577"/>
                <a:gd name="connsiteX4" fmla="*/ 78105 w 84772"/>
                <a:gd name="connsiteY4" fmla="*/ 17050 h 48577"/>
                <a:gd name="connsiteX5" fmla="*/ 74295 w 84772"/>
                <a:gd name="connsiteY5" fmla="*/ 27527 h 48577"/>
                <a:gd name="connsiteX6" fmla="*/ 53340 w 84772"/>
                <a:gd name="connsiteY6" fmla="*/ 35243 h 48577"/>
                <a:gd name="connsiteX7" fmla="*/ 39053 w 84772"/>
                <a:gd name="connsiteY7" fmla="*/ 48578 h 48577"/>
                <a:gd name="connsiteX8" fmla="*/ 28575 w 84772"/>
                <a:gd name="connsiteY8" fmla="*/ 38100 h 48577"/>
                <a:gd name="connsiteX9" fmla="*/ 14288 w 84772"/>
                <a:gd name="connsiteY9" fmla="*/ 24765 h 48577"/>
                <a:gd name="connsiteX10" fmla="*/ 10478 w 84772"/>
                <a:gd name="connsiteY10" fmla="*/ 20955 h 48577"/>
                <a:gd name="connsiteX11" fmla="*/ 0 w 84772"/>
                <a:gd name="connsiteY11" fmla="*/ 10478 h 48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4772" h="48577">
                  <a:moveTo>
                    <a:pt x="0" y="10478"/>
                  </a:moveTo>
                  <a:lnTo>
                    <a:pt x="32385" y="6668"/>
                  </a:lnTo>
                  <a:lnTo>
                    <a:pt x="39053" y="0"/>
                  </a:lnTo>
                  <a:lnTo>
                    <a:pt x="84772" y="0"/>
                  </a:lnTo>
                  <a:lnTo>
                    <a:pt x="78105" y="17050"/>
                  </a:lnTo>
                  <a:lnTo>
                    <a:pt x="74295" y="27527"/>
                  </a:lnTo>
                  <a:lnTo>
                    <a:pt x="53340" y="35243"/>
                  </a:lnTo>
                  <a:lnTo>
                    <a:pt x="39053" y="48578"/>
                  </a:lnTo>
                  <a:lnTo>
                    <a:pt x="28575" y="38100"/>
                  </a:lnTo>
                  <a:lnTo>
                    <a:pt x="14288" y="24765"/>
                  </a:lnTo>
                  <a:lnTo>
                    <a:pt x="10478" y="20955"/>
                  </a:lnTo>
                  <a:lnTo>
                    <a:pt x="0" y="1047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46" name="Freeform: Shape 3645">
              <a:extLst>
                <a:ext uri="{FF2B5EF4-FFF2-40B4-BE49-F238E27FC236}">
                  <a16:creationId xmlns:a16="http://schemas.microsoft.com/office/drawing/2014/main" id="{6B079166-49A2-813A-8C2F-846DA353B224}"/>
                </a:ext>
              </a:extLst>
            </p:cNvPr>
            <p:cNvSpPr/>
            <p:nvPr/>
          </p:nvSpPr>
          <p:spPr>
            <a:xfrm>
              <a:off x="5637169" y="4271088"/>
              <a:ext cx="76564" cy="83102"/>
            </a:xfrm>
            <a:custGeom>
              <a:avLst/>
              <a:gdLst>
                <a:gd name="connsiteX0" fmla="*/ 0 w 78104"/>
                <a:gd name="connsiteY0" fmla="*/ 28575 h 84772"/>
                <a:gd name="connsiteX1" fmla="*/ 14288 w 78104"/>
                <a:gd name="connsiteY1" fmla="*/ 14288 h 84772"/>
                <a:gd name="connsiteX2" fmla="*/ 28575 w 78104"/>
                <a:gd name="connsiteY2" fmla="*/ 3810 h 84772"/>
                <a:gd name="connsiteX3" fmla="*/ 53340 w 78104"/>
                <a:gd name="connsiteY3" fmla="*/ 0 h 84772"/>
                <a:gd name="connsiteX4" fmla="*/ 66675 w 78104"/>
                <a:gd name="connsiteY4" fmla="*/ 14288 h 84772"/>
                <a:gd name="connsiteX5" fmla="*/ 78105 w 78104"/>
                <a:gd name="connsiteY5" fmla="*/ 28575 h 84772"/>
                <a:gd name="connsiteX6" fmla="*/ 74295 w 78104"/>
                <a:gd name="connsiteY6" fmla="*/ 42863 h 84772"/>
                <a:gd name="connsiteX7" fmla="*/ 70485 w 78104"/>
                <a:gd name="connsiteY7" fmla="*/ 56197 h 84772"/>
                <a:gd name="connsiteX8" fmla="*/ 60007 w 78104"/>
                <a:gd name="connsiteY8" fmla="*/ 70485 h 84772"/>
                <a:gd name="connsiteX9" fmla="*/ 42863 w 78104"/>
                <a:gd name="connsiteY9" fmla="*/ 84772 h 84772"/>
                <a:gd name="connsiteX10" fmla="*/ 28575 w 78104"/>
                <a:gd name="connsiteY10" fmla="*/ 78010 h 84772"/>
                <a:gd name="connsiteX11" fmla="*/ 7620 w 78104"/>
                <a:gd name="connsiteY11" fmla="*/ 56197 h 84772"/>
                <a:gd name="connsiteX12" fmla="*/ 0 w 78104"/>
                <a:gd name="connsiteY12" fmla="*/ 42863 h 84772"/>
                <a:gd name="connsiteX13" fmla="*/ 0 w 78104"/>
                <a:gd name="connsiteY13" fmla="*/ 28575 h 8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104" h="84772">
                  <a:moveTo>
                    <a:pt x="0" y="28575"/>
                  </a:moveTo>
                  <a:lnTo>
                    <a:pt x="14288" y="14288"/>
                  </a:lnTo>
                  <a:lnTo>
                    <a:pt x="28575" y="3810"/>
                  </a:lnTo>
                  <a:lnTo>
                    <a:pt x="53340" y="0"/>
                  </a:lnTo>
                  <a:lnTo>
                    <a:pt x="66675" y="14288"/>
                  </a:lnTo>
                  <a:lnTo>
                    <a:pt x="78105" y="28575"/>
                  </a:lnTo>
                  <a:lnTo>
                    <a:pt x="74295" y="42863"/>
                  </a:lnTo>
                  <a:lnTo>
                    <a:pt x="70485" y="56197"/>
                  </a:lnTo>
                  <a:lnTo>
                    <a:pt x="60007" y="70485"/>
                  </a:lnTo>
                  <a:lnTo>
                    <a:pt x="42863" y="84772"/>
                  </a:lnTo>
                  <a:lnTo>
                    <a:pt x="28575" y="78010"/>
                  </a:lnTo>
                  <a:lnTo>
                    <a:pt x="7620" y="56197"/>
                  </a:lnTo>
                  <a:lnTo>
                    <a:pt x="0" y="42863"/>
                  </a:lnTo>
                  <a:lnTo>
                    <a:pt x="0" y="2857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47" name="Freeform: Shape 3646">
              <a:extLst>
                <a:ext uri="{FF2B5EF4-FFF2-40B4-BE49-F238E27FC236}">
                  <a16:creationId xmlns:a16="http://schemas.microsoft.com/office/drawing/2014/main" id="{80B4925F-4EA5-C459-667A-54314BBD443F}"/>
                </a:ext>
              </a:extLst>
            </p:cNvPr>
            <p:cNvSpPr/>
            <p:nvPr/>
          </p:nvSpPr>
          <p:spPr>
            <a:xfrm>
              <a:off x="5637169" y="4271088"/>
              <a:ext cx="76564" cy="83102"/>
            </a:xfrm>
            <a:custGeom>
              <a:avLst/>
              <a:gdLst>
                <a:gd name="connsiteX0" fmla="*/ 0 w 78104"/>
                <a:gd name="connsiteY0" fmla="*/ 28575 h 84772"/>
                <a:gd name="connsiteX1" fmla="*/ 14288 w 78104"/>
                <a:gd name="connsiteY1" fmla="*/ 14288 h 84772"/>
                <a:gd name="connsiteX2" fmla="*/ 28575 w 78104"/>
                <a:gd name="connsiteY2" fmla="*/ 3810 h 84772"/>
                <a:gd name="connsiteX3" fmla="*/ 53340 w 78104"/>
                <a:gd name="connsiteY3" fmla="*/ 0 h 84772"/>
                <a:gd name="connsiteX4" fmla="*/ 66675 w 78104"/>
                <a:gd name="connsiteY4" fmla="*/ 14288 h 84772"/>
                <a:gd name="connsiteX5" fmla="*/ 78105 w 78104"/>
                <a:gd name="connsiteY5" fmla="*/ 28575 h 84772"/>
                <a:gd name="connsiteX6" fmla="*/ 74295 w 78104"/>
                <a:gd name="connsiteY6" fmla="*/ 42863 h 84772"/>
                <a:gd name="connsiteX7" fmla="*/ 70485 w 78104"/>
                <a:gd name="connsiteY7" fmla="*/ 56197 h 84772"/>
                <a:gd name="connsiteX8" fmla="*/ 60007 w 78104"/>
                <a:gd name="connsiteY8" fmla="*/ 70485 h 84772"/>
                <a:gd name="connsiteX9" fmla="*/ 42863 w 78104"/>
                <a:gd name="connsiteY9" fmla="*/ 84772 h 84772"/>
                <a:gd name="connsiteX10" fmla="*/ 28575 w 78104"/>
                <a:gd name="connsiteY10" fmla="*/ 78010 h 84772"/>
                <a:gd name="connsiteX11" fmla="*/ 7620 w 78104"/>
                <a:gd name="connsiteY11" fmla="*/ 56197 h 84772"/>
                <a:gd name="connsiteX12" fmla="*/ 0 w 78104"/>
                <a:gd name="connsiteY12" fmla="*/ 42863 h 84772"/>
                <a:gd name="connsiteX13" fmla="*/ 0 w 78104"/>
                <a:gd name="connsiteY13" fmla="*/ 28575 h 8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104" h="84772">
                  <a:moveTo>
                    <a:pt x="0" y="28575"/>
                  </a:moveTo>
                  <a:lnTo>
                    <a:pt x="14288" y="14288"/>
                  </a:lnTo>
                  <a:lnTo>
                    <a:pt x="28575" y="3810"/>
                  </a:lnTo>
                  <a:lnTo>
                    <a:pt x="53340" y="0"/>
                  </a:lnTo>
                  <a:lnTo>
                    <a:pt x="66675" y="14288"/>
                  </a:lnTo>
                  <a:lnTo>
                    <a:pt x="78105" y="28575"/>
                  </a:lnTo>
                  <a:lnTo>
                    <a:pt x="74295" y="42863"/>
                  </a:lnTo>
                  <a:lnTo>
                    <a:pt x="70485" y="56197"/>
                  </a:lnTo>
                  <a:lnTo>
                    <a:pt x="60007" y="70485"/>
                  </a:lnTo>
                  <a:lnTo>
                    <a:pt x="42863" y="84772"/>
                  </a:lnTo>
                  <a:lnTo>
                    <a:pt x="28575" y="78010"/>
                  </a:lnTo>
                  <a:lnTo>
                    <a:pt x="7620" y="56197"/>
                  </a:lnTo>
                  <a:lnTo>
                    <a:pt x="0" y="42863"/>
                  </a:lnTo>
                  <a:lnTo>
                    <a:pt x="0" y="2857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58" name="Freeform: Shape 957">
              <a:extLst>
                <a:ext uri="{FF2B5EF4-FFF2-40B4-BE49-F238E27FC236}">
                  <a16:creationId xmlns:a16="http://schemas.microsoft.com/office/drawing/2014/main" id="{2744A6F6-9C6F-5608-D060-BFB2578E11E4}"/>
                </a:ext>
              </a:extLst>
            </p:cNvPr>
            <p:cNvSpPr/>
            <p:nvPr/>
          </p:nvSpPr>
          <p:spPr>
            <a:xfrm>
              <a:off x="5530725" y="3769581"/>
              <a:ext cx="341742" cy="369851"/>
            </a:xfrm>
            <a:custGeom>
              <a:avLst/>
              <a:gdLst>
                <a:gd name="connsiteX0" fmla="*/ 0 w 348614"/>
                <a:gd name="connsiteY0" fmla="*/ 187738 h 377285"/>
                <a:gd name="connsiteX1" fmla="*/ 112395 w 348614"/>
                <a:gd name="connsiteY1" fmla="*/ 187738 h 377285"/>
                <a:gd name="connsiteX2" fmla="*/ 112395 w 348614"/>
                <a:gd name="connsiteY2" fmla="*/ 144875 h 377285"/>
                <a:gd name="connsiteX3" fmla="*/ 112395 w 348614"/>
                <a:gd name="connsiteY3" fmla="*/ 130588 h 377285"/>
                <a:gd name="connsiteX4" fmla="*/ 119063 w 348614"/>
                <a:gd name="connsiteY4" fmla="*/ 127635 h 377285"/>
                <a:gd name="connsiteX5" fmla="*/ 126682 w 348614"/>
                <a:gd name="connsiteY5" fmla="*/ 123825 h 377285"/>
                <a:gd name="connsiteX6" fmla="*/ 143827 w 348614"/>
                <a:gd name="connsiteY6" fmla="*/ 123825 h 377285"/>
                <a:gd name="connsiteX7" fmla="*/ 143827 w 348614"/>
                <a:gd name="connsiteY7" fmla="*/ 49625 h 377285"/>
                <a:gd name="connsiteX8" fmla="*/ 232410 w 348614"/>
                <a:gd name="connsiteY8" fmla="*/ 49625 h 377285"/>
                <a:gd name="connsiteX9" fmla="*/ 232410 w 348614"/>
                <a:gd name="connsiteY9" fmla="*/ 0 h 377285"/>
                <a:gd name="connsiteX10" fmla="*/ 348615 w 348614"/>
                <a:gd name="connsiteY10" fmla="*/ 84772 h 377285"/>
                <a:gd name="connsiteX11" fmla="*/ 295275 w 348614"/>
                <a:gd name="connsiteY11" fmla="*/ 84772 h 377285"/>
                <a:gd name="connsiteX12" fmla="*/ 316230 w 348614"/>
                <a:gd name="connsiteY12" fmla="*/ 324898 h 377285"/>
                <a:gd name="connsiteX13" fmla="*/ 326707 w 348614"/>
                <a:gd name="connsiteY13" fmla="*/ 339185 h 377285"/>
                <a:gd name="connsiteX14" fmla="*/ 323850 w 348614"/>
                <a:gd name="connsiteY14" fmla="*/ 356235 h 377285"/>
                <a:gd name="connsiteX15" fmla="*/ 147638 w 348614"/>
                <a:gd name="connsiteY15" fmla="*/ 353473 h 377285"/>
                <a:gd name="connsiteX16" fmla="*/ 137160 w 348614"/>
                <a:gd name="connsiteY16" fmla="*/ 377285 h 377285"/>
                <a:gd name="connsiteX17" fmla="*/ 119063 w 348614"/>
                <a:gd name="connsiteY17" fmla="*/ 363950 h 377285"/>
                <a:gd name="connsiteX18" fmla="*/ 105727 w 348614"/>
                <a:gd name="connsiteY18" fmla="*/ 341947 h 377285"/>
                <a:gd name="connsiteX19" fmla="*/ 91440 w 348614"/>
                <a:gd name="connsiteY19" fmla="*/ 331565 h 377285"/>
                <a:gd name="connsiteX20" fmla="*/ 70485 w 348614"/>
                <a:gd name="connsiteY20" fmla="*/ 321088 h 377285"/>
                <a:gd name="connsiteX21" fmla="*/ 45720 w 348614"/>
                <a:gd name="connsiteY21" fmla="*/ 321088 h 377285"/>
                <a:gd name="connsiteX22" fmla="*/ 20955 w 348614"/>
                <a:gd name="connsiteY22" fmla="*/ 324898 h 377285"/>
                <a:gd name="connsiteX23" fmla="*/ 20955 w 348614"/>
                <a:gd name="connsiteY23" fmla="*/ 303847 h 377285"/>
                <a:gd name="connsiteX24" fmla="*/ 31432 w 348614"/>
                <a:gd name="connsiteY24" fmla="*/ 268700 h 377285"/>
                <a:gd name="connsiteX25" fmla="*/ 20955 w 348614"/>
                <a:gd name="connsiteY25" fmla="*/ 254413 h 377285"/>
                <a:gd name="connsiteX26" fmla="*/ 13335 w 348614"/>
                <a:gd name="connsiteY26" fmla="*/ 243935 h 377285"/>
                <a:gd name="connsiteX27" fmla="*/ 20955 w 348614"/>
                <a:gd name="connsiteY27" fmla="*/ 229648 h 377285"/>
                <a:gd name="connsiteX28" fmla="*/ 20955 w 348614"/>
                <a:gd name="connsiteY28" fmla="*/ 215360 h 377285"/>
                <a:gd name="connsiteX29" fmla="*/ 13335 w 348614"/>
                <a:gd name="connsiteY29" fmla="*/ 204788 h 377285"/>
                <a:gd name="connsiteX30" fmla="*/ 0 w 348614"/>
                <a:gd name="connsiteY30" fmla="*/ 198215 h 377285"/>
                <a:gd name="connsiteX31" fmla="*/ 0 w 348614"/>
                <a:gd name="connsiteY31" fmla="*/ 187738 h 3772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48614" h="377285">
                  <a:moveTo>
                    <a:pt x="0" y="187738"/>
                  </a:moveTo>
                  <a:lnTo>
                    <a:pt x="112395" y="187738"/>
                  </a:lnTo>
                  <a:lnTo>
                    <a:pt x="112395" y="144875"/>
                  </a:lnTo>
                  <a:lnTo>
                    <a:pt x="112395" y="130588"/>
                  </a:lnTo>
                  <a:lnTo>
                    <a:pt x="119063" y="127635"/>
                  </a:lnTo>
                  <a:lnTo>
                    <a:pt x="126682" y="123825"/>
                  </a:lnTo>
                  <a:lnTo>
                    <a:pt x="143827" y="123825"/>
                  </a:lnTo>
                  <a:lnTo>
                    <a:pt x="143827" y="49625"/>
                  </a:lnTo>
                  <a:lnTo>
                    <a:pt x="232410" y="49625"/>
                  </a:lnTo>
                  <a:lnTo>
                    <a:pt x="232410" y="0"/>
                  </a:lnTo>
                  <a:lnTo>
                    <a:pt x="348615" y="84772"/>
                  </a:lnTo>
                  <a:lnTo>
                    <a:pt x="295275" y="84772"/>
                  </a:lnTo>
                  <a:lnTo>
                    <a:pt x="316230" y="324898"/>
                  </a:lnTo>
                  <a:lnTo>
                    <a:pt x="326707" y="339185"/>
                  </a:lnTo>
                  <a:lnTo>
                    <a:pt x="323850" y="356235"/>
                  </a:lnTo>
                  <a:lnTo>
                    <a:pt x="147638" y="353473"/>
                  </a:lnTo>
                  <a:lnTo>
                    <a:pt x="137160" y="377285"/>
                  </a:lnTo>
                  <a:lnTo>
                    <a:pt x="119063" y="363950"/>
                  </a:lnTo>
                  <a:lnTo>
                    <a:pt x="105727" y="341947"/>
                  </a:lnTo>
                  <a:lnTo>
                    <a:pt x="91440" y="331565"/>
                  </a:lnTo>
                  <a:lnTo>
                    <a:pt x="70485" y="321088"/>
                  </a:lnTo>
                  <a:lnTo>
                    <a:pt x="45720" y="321088"/>
                  </a:lnTo>
                  <a:lnTo>
                    <a:pt x="20955" y="324898"/>
                  </a:lnTo>
                  <a:lnTo>
                    <a:pt x="20955" y="303847"/>
                  </a:lnTo>
                  <a:lnTo>
                    <a:pt x="31432" y="268700"/>
                  </a:lnTo>
                  <a:lnTo>
                    <a:pt x="20955" y="254413"/>
                  </a:lnTo>
                  <a:lnTo>
                    <a:pt x="13335" y="243935"/>
                  </a:lnTo>
                  <a:lnTo>
                    <a:pt x="20955" y="229648"/>
                  </a:lnTo>
                  <a:lnTo>
                    <a:pt x="20955" y="215360"/>
                  </a:lnTo>
                  <a:lnTo>
                    <a:pt x="13335" y="204788"/>
                  </a:lnTo>
                  <a:lnTo>
                    <a:pt x="0" y="198215"/>
                  </a:lnTo>
                  <a:lnTo>
                    <a:pt x="0" y="18773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59" name="Freeform: Shape 958">
              <a:extLst>
                <a:ext uri="{FF2B5EF4-FFF2-40B4-BE49-F238E27FC236}">
                  <a16:creationId xmlns:a16="http://schemas.microsoft.com/office/drawing/2014/main" id="{ADAEC389-1401-BC8E-6DD5-F7C300C3ACD5}"/>
                </a:ext>
              </a:extLst>
            </p:cNvPr>
            <p:cNvSpPr/>
            <p:nvPr/>
          </p:nvSpPr>
          <p:spPr>
            <a:xfrm>
              <a:off x="5582080" y="4195456"/>
              <a:ext cx="200750" cy="152105"/>
            </a:xfrm>
            <a:custGeom>
              <a:avLst/>
              <a:gdLst>
                <a:gd name="connsiteX0" fmla="*/ 105727 w 204787"/>
                <a:gd name="connsiteY0" fmla="*/ 10478 h 155162"/>
                <a:gd name="connsiteX1" fmla="*/ 105727 w 204787"/>
                <a:gd name="connsiteY1" fmla="*/ 13240 h 155162"/>
                <a:gd name="connsiteX2" fmla="*/ 126682 w 204787"/>
                <a:gd name="connsiteY2" fmla="*/ 20955 h 155162"/>
                <a:gd name="connsiteX3" fmla="*/ 147638 w 204787"/>
                <a:gd name="connsiteY3" fmla="*/ 13240 h 155162"/>
                <a:gd name="connsiteX4" fmla="*/ 172402 w 204787"/>
                <a:gd name="connsiteY4" fmla="*/ 10478 h 155162"/>
                <a:gd name="connsiteX5" fmla="*/ 176213 w 204787"/>
                <a:gd name="connsiteY5" fmla="*/ 24765 h 155162"/>
                <a:gd name="connsiteX6" fmla="*/ 186690 w 204787"/>
                <a:gd name="connsiteY6" fmla="*/ 41815 h 155162"/>
                <a:gd name="connsiteX7" fmla="*/ 197167 w 204787"/>
                <a:gd name="connsiteY7" fmla="*/ 66675 h 155162"/>
                <a:gd name="connsiteX8" fmla="*/ 193357 w 204787"/>
                <a:gd name="connsiteY8" fmla="*/ 80963 h 155162"/>
                <a:gd name="connsiteX9" fmla="*/ 197167 w 204787"/>
                <a:gd name="connsiteY9" fmla="*/ 87630 h 155162"/>
                <a:gd name="connsiteX10" fmla="*/ 200977 w 204787"/>
                <a:gd name="connsiteY10" fmla="*/ 95250 h 155162"/>
                <a:gd name="connsiteX11" fmla="*/ 204788 w 204787"/>
                <a:gd name="connsiteY11" fmla="*/ 120015 h 155162"/>
                <a:gd name="connsiteX12" fmla="*/ 193357 w 204787"/>
                <a:gd name="connsiteY12" fmla="*/ 122777 h 155162"/>
                <a:gd name="connsiteX13" fmla="*/ 197167 w 204787"/>
                <a:gd name="connsiteY13" fmla="*/ 140875 h 155162"/>
                <a:gd name="connsiteX14" fmla="*/ 186690 w 204787"/>
                <a:gd name="connsiteY14" fmla="*/ 147638 h 155162"/>
                <a:gd name="connsiteX15" fmla="*/ 176213 w 204787"/>
                <a:gd name="connsiteY15" fmla="*/ 143828 h 155162"/>
                <a:gd name="connsiteX16" fmla="*/ 169545 w 204787"/>
                <a:gd name="connsiteY16" fmla="*/ 155162 h 155162"/>
                <a:gd name="connsiteX17" fmla="*/ 158115 w 204787"/>
                <a:gd name="connsiteY17" fmla="*/ 151352 h 155162"/>
                <a:gd name="connsiteX18" fmla="*/ 155257 w 204787"/>
                <a:gd name="connsiteY18" fmla="*/ 126587 h 155162"/>
                <a:gd name="connsiteX19" fmla="*/ 144780 w 204787"/>
                <a:gd name="connsiteY19" fmla="*/ 122777 h 155162"/>
                <a:gd name="connsiteX20" fmla="*/ 130492 w 204787"/>
                <a:gd name="connsiteY20" fmla="*/ 120015 h 155162"/>
                <a:gd name="connsiteX21" fmla="*/ 134302 w 204787"/>
                <a:gd name="connsiteY21" fmla="*/ 105728 h 155162"/>
                <a:gd name="connsiteX22" fmla="*/ 122872 w 204787"/>
                <a:gd name="connsiteY22" fmla="*/ 91440 h 155162"/>
                <a:gd name="connsiteX23" fmla="*/ 109538 w 204787"/>
                <a:gd name="connsiteY23" fmla="*/ 77153 h 155162"/>
                <a:gd name="connsiteX24" fmla="*/ 84772 w 204787"/>
                <a:gd name="connsiteY24" fmla="*/ 80963 h 155162"/>
                <a:gd name="connsiteX25" fmla="*/ 70485 w 204787"/>
                <a:gd name="connsiteY25" fmla="*/ 91440 h 155162"/>
                <a:gd name="connsiteX26" fmla="*/ 56197 w 204787"/>
                <a:gd name="connsiteY26" fmla="*/ 105728 h 155162"/>
                <a:gd name="connsiteX27" fmla="*/ 41910 w 204787"/>
                <a:gd name="connsiteY27" fmla="*/ 87630 h 155162"/>
                <a:gd name="connsiteX28" fmla="*/ 24765 w 204787"/>
                <a:gd name="connsiteY28" fmla="*/ 70390 h 155162"/>
                <a:gd name="connsiteX29" fmla="*/ 10477 w 204787"/>
                <a:gd name="connsiteY29" fmla="*/ 66675 h 155162"/>
                <a:gd name="connsiteX30" fmla="*/ 0 w 204787"/>
                <a:gd name="connsiteY30" fmla="*/ 48578 h 155162"/>
                <a:gd name="connsiteX31" fmla="*/ 14288 w 204787"/>
                <a:gd name="connsiteY31" fmla="*/ 35243 h 155162"/>
                <a:gd name="connsiteX32" fmla="*/ 35242 w 204787"/>
                <a:gd name="connsiteY32" fmla="*/ 27527 h 155162"/>
                <a:gd name="connsiteX33" fmla="*/ 39052 w 204787"/>
                <a:gd name="connsiteY33" fmla="*/ 17050 h 155162"/>
                <a:gd name="connsiteX34" fmla="*/ 45720 w 204787"/>
                <a:gd name="connsiteY34" fmla="*/ 0 h 155162"/>
                <a:gd name="connsiteX35" fmla="*/ 56197 w 204787"/>
                <a:gd name="connsiteY35" fmla="*/ 0 h 155162"/>
                <a:gd name="connsiteX36" fmla="*/ 66675 w 204787"/>
                <a:gd name="connsiteY36" fmla="*/ 6668 h 155162"/>
                <a:gd name="connsiteX37" fmla="*/ 87630 w 204787"/>
                <a:gd name="connsiteY37" fmla="*/ 6668 h 155162"/>
                <a:gd name="connsiteX38" fmla="*/ 105727 w 204787"/>
                <a:gd name="connsiteY38" fmla="*/ 10478 h 15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04787" h="155162">
                  <a:moveTo>
                    <a:pt x="105727" y="10478"/>
                  </a:moveTo>
                  <a:lnTo>
                    <a:pt x="105727" y="13240"/>
                  </a:lnTo>
                  <a:lnTo>
                    <a:pt x="126682" y="20955"/>
                  </a:lnTo>
                  <a:lnTo>
                    <a:pt x="147638" y="13240"/>
                  </a:lnTo>
                  <a:lnTo>
                    <a:pt x="172402" y="10478"/>
                  </a:lnTo>
                  <a:lnTo>
                    <a:pt x="176213" y="24765"/>
                  </a:lnTo>
                  <a:lnTo>
                    <a:pt x="186690" y="41815"/>
                  </a:lnTo>
                  <a:lnTo>
                    <a:pt x="197167" y="66675"/>
                  </a:lnTo>
                  <a:lnTo>
                    <a:pt x="193357" y="80963"/>
                  </a:lnTo>
                  <a:lnTo>
                    <a:pt x="197167" y="87630"/>
                  </a:lnTo>
                  <a:lnTo>
                    <a:pt x="200977" y="95250"/>
                  </a:lnTo>
                  <a:lnTo>
                    <a:pt x="204788" y="120015"/>
                  </a:lnTo>
                  <a:lnTo>
                    <a:pt x="193357" y="122777"/>
                  </a:lnTo>
                  <a:lnTo>
                    <a:pt x="197167" y="140875"/>
                  </a:lnTo>
                  <a:lnTo>
                    <a:pt x="186690" y="147638"/>
                  </a:lnTo>
                  <a:lnTo>
                    <a:pt x="176213" y="143828"/>
                  </a:lnTo>
                  <a:lnTo>
                    <a:pt x="169545" y="155162"/>
                  </a:lnTo>
                  <a:lnTo>
                    <a:pt x="158115" y="151352"/>
                  </a:lnTo>
                  <a:lnTo>
                    <a:pt x="155257" y="126587"/>
                  </a:lnTo>
                  <a:lnTo>
                    <a:pt x="144780" y="122777"/>
                  </a:lnTo>
                  <a:lnTo>
                    <a:pt x="130492" y="120015"/>
                  </a:lnTo>
                  <a:lnTo>
                    <a:pt x="134302" y="105728"/>
                  </a:lnTo>
                  <a:lnTo>
                    <a:pt x="122872" y="91440"/>
                  </a:lnTo>
                  <a:lnTo>
                    <a:pt x="109538" y="77153"/>
                  </a:lnTo>
                  <a:lnTo>
                    <a:pt x="84772" y="80963"/>
                  </a:lnTo>
                  <a:lnTo>
                    <a:pt x="70485" y="91440"/>
                  </a:lnTo>
                  <a:lnTo>
                    <a:pt x="56197" y="105728"/>
                  </a:lnTo>
                  <a:lnTo>
                    <a:pt x="41910" y="87630"/>
                  </a:lnTo>
                  <a:lnTo>
                    <a:pt x="24765" y="70390"/>
                  </a:lnTo>
                  <a:lnTo>
                    <a:pt x="10477" y="66675"/>
                  </a:lnTo>
                  <a:lnTo>
                    <a:pt x="0" y="48578"/>
                  </a:lnTo>
                  <a:lnTo>
                    <a:pt x="14288" y="35243"/>
                  </a:lnTo>
                  <a:lnTo>
                    <a:pt x="35242" y="27527"/>
                  </a:lnTo>
                  <a:lnTo>
                    <a:pt x="39052" y="17050"/>
                  </a:lnTo>
                  <a:lnTo>
                    <a:pt x="45720" y="0"/>
                  </a:lnTo>
                  <a:lnTo>
                    <a:pt x="56197" y="0"/>
                  </a:lnTo>
                  <a:lnTo>
                    <a:pt x="66675" y="6668"/>
                  </a:lnTo>
                  <a:lnTo>
                    <a:pt x="87630" y="6668"/>
                  </a:lnTo>
                  <a:lnTo>
                    <a:pt x="105727" y="1047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92" name="Freeform: Shape 991">
              <a:extLst>
                <a:ext uri="{FF2B5EF4-FFF2-40B4-BE49-F238E27FC236}">
                  <a16:creationId xmlns:a16="http://schemas.microsoft.com/office/drawing/2014/main" id="{780443D7-46DB-5C5D-3CD6-C7D1F1B3F708}"/>
                </a:ext>
              </a:extLst>
            </p:cNvPr>
            <p:cNvSpPr/>
            <p:nvPr/>
          </p:nvSpPr>
          <p:spPr>
            <a:xfrm>
              <a:off x="5582080" y="4195456"/>
              <a:ext cx="200750" cy="152105"/>
            </a:xfrm>
            <a:custGeom>
              <a:avLst/>
              <a:gdLst>
                <a:gd name="connsiteX0" fmla="*/ 105727 w 204787"/>
                <a:gd name="connsiteY0" fmla="*/ 10478 h 155162"/>
                <a:gd name="connsiteX1" fmla="*/ 105727 w 204787"/>
                <a:gd name="connsiteY1" fmla="*/ 13240 h 155162"/>
                <a:gd name="connsiteX2" fmla="*/ 126682 w 204787"/>
                <a:gd name="connsiteY2" fmla="*/ 20955 h 155162"/>
                <a:gd name="connsiteX3" fmla="*/ 147638 w 204787"/>
                <a:gd name="connsiteY3" fmla="*/ 13240 h 155162"/>
                <a:gd name="connsiteX4" fmla="*/ 172402 w 204787"/>
                <a:gd name="connsiteY4" fmla="*/ 10478 h 155162"/>
                <a:gd name="connsiteX5" fmla="*/ 176213 w 204787"/>
                <a:gd name="connsiteY5" fmla="*/ 24765 h 155162"/>
                <a:gd name="connsiteX6" fmla="*/ 186690 w 204787"/>
                <a:gd name="connsiteY6" fmla="*/ 41815 h 155162"/>
                <a:gd name="connsiteX7" fmla="*/ 197167 w 204787"/>
                <a:gd name="connsiteY7" fmla="*/ 66675 h 155162"/>
                <a:gd name="connsiteX8" fmla="*/ 193357 w 204787"/>
                <a:gd name="connsiteY8" fmla="*/ 80963 h 155162"/>
                <a:gd name="connsiteX9" fmla="*/ 197167 w 204787"/>
                <a:gd name="connsiteY9" fmla="*/ 87630 h 155162"/>
                <a:gd name="connsiteX10" fmla="*/ 200977 w 204787"/>
                <a:gd name="connsiteY10" fmla="*/ 95250 h 155162"/>
                <a:gd name="connsiteX11" fmla="*/ 204788 w 204787"/>
                <a:gd name="connsiteY11" fmla="*/ 120015 h 155162"/>
                <a:gd name="connsiteX12" fmla="*/ 193357 w 204787"/>
                <a:gd name="connsiteY12" fmla="*/ 122777 h 155162"/>
                <a:gd name="connsiteX13" fmla="*/ 197167 w 204787"/>
                <a:gd name="connsiteY13" fmla="*/ 140875 h 155162"/>
                <a:gd name="connsiteX14" fmla="*/ 186690 w 204787"/>
                <a:gd name="connsiteY14" fmla="*/ 147638 h 155162"/>
                <a:gd name="connsiteX15" fmla="*/ 176213 w 204787"/>
                <a:gd name="connsiteY15" fmla="*/ 143828 h 155162"/>
                <a:gd name="connsiteX16" fmla="*/ 169545 w 204787"/>
                <a:gd name="connsiteY16" fmla="*/ 155162 h 155162"/>
                <a:gd name="connsiteX17" fmla="*/ 158115 w 204787"/>
                <a:gd name="connsiteY17" fmla="*/ 151352 h 155162"/>
                <a:gd name="connsiteX18" fmla="*/ 155257 w 204787"/>
                <a:gd name="connsiteY18" fmla="*/ 126587 h 155162"/>
                <a:gd name="connsiteX19" fmla="*/ 144780 w 204787"/>
                <a:gd name="connsiteY19" fmla="*/ 122777 h 155162"/>
                <a:gd name="connsiteX20" fmla="*/ 130492 w 204787"/>
                <a:gd name="connsiteY20" fmla="*/ 120015 h 155162"/>
                <a:gd name="connsiteX21" fmla="*/ 134302 w 204787"/>
                <a:gd name="connsiteY21" fmla="*/ 105728 h 155162"/>
                <a:gd name="connsiteX22" fmla="*/ 122872 w 204787"/>
                <a:gd name="connsiteY22" fmla="*/ 91440 h 155162"/>
                <a:gd name="connsiteX23" fmla="*/ 109538 w 204787"/>
                <a:gd name="connsiteY23" fmla="*/ 77153 h 155162"/>
                <a:gd name="connsiteX24" fmla="*/ 84772 w 204787"/>
                <a:gd name="connsiteY24" fmla="*/ 80963 h 155162"/>
                <a:gd name="connsiteX25" fmla="*/ 70485 w 204787"/>
                <a:gd name="connsiteY25" fmla="*/ 91440 h 155162"/>
                <a:gd name="connsiteX26" fmla="*/ 56197 w 204787"/>
                <a:gd name="connsiteY26" fmla="*/ 105728 h 155162"/>
                <a:gd name="connsiteX27" fmla="*/ 41910 w 204787"/>
                <a:gd name="connsiteY27" fmla="*/ 87630 h 155162"/>
                <a:gd name="connsiteX28" fmla="*/ 24765 w 204787"/>
                <a:gd name="connsiteY28" fmla="*/ 70390 h 155162"/>
                <a:gd name="connsiteX29" fmla="*/ 10477 w 204787"/>
                <a:gd name="connsiteY29" fmla="*/ 66675 h 155162"/>
                <a:gd name="connsiteX30" fmla="*/ 0 w 204787"/>
                <a:gd name="connsiteY30" fmla="*/ 48578 h 155162"/>
                <a:gd name="connsiteX31" fmla="*/ 14288 w 204787"/>
                <a:gd name="connsiteY31" fmla="*/ 35243 h 155162"/>
                <a:gd name="connsiteX32" fmla="*/ 35242 w 204787"/>
                <a:gd name="connsiteY32" fmla="*/ 27527 h 155162"/>
                <a:gd name="connsiteX33" fmla="*/ 39052 w 204787"/>
                <a:gd name="connsiteY33" fmla="*/ 17050 h 155162"/>
                <a:gd name="connsiteX34" fmla="*/ 45720 w 204787"/>
                <a:gd name="connsiteY34" fmla="*/ 0 h 155162"/>
                <a:gd name="connsiteX35" fmla="*/ 56197 w 204787"/>
                <a:gd name="connsiteY35" fmla="*/ 0 h 155162"/>
                <a:gd name="connsiteX36" fmla="*/ 66675 w 204787"/>
                <a:gd name="connsiteY36" fmla="*/ 6668 h 155162"/>
                <a:gd name="connsiteX37" fmla="*/ 87630 w 204787"/>
                <a:gd name="connsiteY37" fmla="*/ 6668 h 155162"/>
                <a:gd name="connsiteX38" fmla="*/ 105727 w 204787"/>
                <a:gd name="connsiteY38" fmla="*/ 10478 h 15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04787" h="155162">
                  <a:moveTo>
                    <a:pt x="105727" y="10478"/>
                  </a:moveTo>
                  <a:lnTo>
                    <a:pt x="105727" y="13240"/>
                  </a:lnTo>
                  <a:lnTo>
                    <a:pt x="126682" y="20955"/>
                  </a:lnTo>
                  <a:lnTo>
                    <a:pt x="147638" y="13240"/>
                  </a:lnTo>
                  <a:lnTo>
                    <a:pt x="172402" y="10478"/>
                  </a:lnTo>
                  <a:lnTo>
                    <a:pt x="176213" y="24765"/>
                  </a:lnTo>
                  <a:lnTo>
                    <a:pt x="186690" y="41815"/>
                  </a:lnTo>
                  <a:lnTo>
                    <a:pt x="197167" y="66675"/>
                  </a:lnTo>
                  <a:lnTo>
                    <a:pt x="193357" y="80963"/>
                  </a:lnTo>
                  <a:lnTo>
                    <a:pt x="197167" y="87630"/>
                  </a:lnTo>
                  <a:lnTo>
                    <a:pt x="200977" y="95250"/>
                  </a:lnTo>
                  <a:lnTo>
                    <a:pt x="204788" y="120015"/>
                  </a:lnTo>
                  <a:lnTo>
                    <a:pt x="193357" y="122777"/>
                  </a:lnTo>
                  <a:lnTo>
                    <a:pt x="197167" y="140875"/>
                  </a:lnTo>
                  <a:lnTo>
                    <a:pt x="186690" y="147638"/>
                  </a:lnTo>
                  <a:lnTo>
                    <a:pt x="176213" y="143828"/>
                  </a:lnTo>
                  <a:lnTo>
                    <a:pt x="169545" y="155162"/>
                  </a:lnTo>
                  <a:lnTo>
                    <a:pt x="158115" y="151352"/>
                  </a:lnTo>
                  <a:lnTo>
                    <a:pt x="155257" y="126587"/>
                  </a:lnTo>
                  <a:lnTo>
                    <a:pt x="144780" y="122777"/>
                  </a:lnTo>
                  <a:lnTo>
                    <a:pt x="130492" y="120015"/>
                  </a:lnTo>
                  <a:lnTo>
                    <a:pt x="134302" y="105728"/>
                  </a:lnTo>
                  <a:lnTo>
                    <a:pt x="122872" y="91440"/>
                  </a:lnTo>
                  <a:lnTo>
                    <a:pt x="109538" y="77153"/>
                  </a:lnTo>
                  <a:lnTo>
                    <a:pt x="84772" y="80963"/>
                  </a:lnTo>
                  <a:lnTo>
                    <a:pt x="70485" y="91440"/>
                  </a:lnTo>
                  <a:lnTo>
                    <a:pt x="56197" y="105728"/>
                  </a:lnTo>
                  <a:lnTo>
                    <a:pt x="41910" y="87630"/>
                  </a:lnTo>
                  <a:lnTo>
                    <a:pt x="24765" y="70390"/>
                  </a:lnTo>
                  <a:lnTo>
                    <a:pt x="10477" y="66675"/>
                  </a:lnTo>
                  <a:lnTo>
                    <a:pt x="0" y="48578"/>
                  </a:lnTo>
                  <a:lnTo>
                    <a:pt x="14288" y="35243"/>
                  </a:lnTo>
                  <a:lnTo>
                    <a:pt x="35242" y="27527"/>
                  </a:lnTo>
                  <a:lnTo>
                    <a:pt x="39052" y="17050"/>
                  </a:lnTo>
                  <a:lnTo>
                    <a:pt x="45720" y="0"/>
                  </a:lnTo>
                  <a:lnTo>
                    <a:pt x="56197" y="0"/>
                  </a:lnTo>
                  <a:lnTo>
                    <a:pt x="66675" y="6668"/>
                  </a:lnTo>
                  <a:lnTo>
                    <a:pt x="87630" y="6668"/>
                  </a:lnTo>
                  <a:lnTo>
                    <a:pt x="105727" y="1047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93" name="Freeform: Shape 992">
              <a:extLst>
                <a:ext uri="{FF2B5EF4-FFF2-40B4-BE49-F238E27FC236}">
                  <a16:creationId xmlns:a16="http://schemas.microsoft.com/office/drawing/2014/main" id="{9969C289-453C-CA92-81DD-0188DACA8089}"/>
                </a:ext>
              </a:extLst>
            </p:cNvPr>
            <p:cNvSpPr/>
            <p:nvPr/>
          </p:nvSpPr>
          <p:spPr>
            <a:xfrm>
              <a:off x="5679187" y="4313106"/>
              <a:ext cx="113913" cy="113821"/>
            </a:xfrm>
            <a:custGeom>
              <a:avLst/>
              <a:gdLst>
                <a:gd name="connsiteX0" fmla="*/ 87630 w 116204"/>
                <a:gd name="connsiteY0" fmla="*/ 27622 h 116109"/>
                <a:gd name="connsiteX1" fmla="*/ 87630 w 116204"/>
                <a:gd name="connsiteY1" fmla="*/ 45625 h 116109"/>
                <a:gd name="connsiteX2" fmla="*/ 87630 w 116204"/>
                <a:gd name="connsiteY2" fmla="*/ 58960 h 116109"/>
                <a:gd name="connsiteX3" fmla="*/ 101917 w 116204"/>
                <a:gd name="connsiteY3" fmla="*/ 62865 h 116109"/>
                <a:gd name="connsiteX4" fmla="*/ 112395 w 116204"/>
                <a:gd name="connsiteY4" fmla="*/ 70485 h 116109"/>
                <a:gd name="connsiteX5" fmla="*/ 116205 w 116204"/>
                <a:gd name="connsiteY5" fmla="*/ 80963 h 116109"/>
                <a:gd name="connsiteX6" fmla="*/ 116205 w 116204"/>
                <a:gd name="connsiteY6" fmla="*/ 95250 h 116109"/>
                <a:gd name="connsiteX7" fmla="*/ 108585 w 116204"/>
                <a:gd name="connsiteY7" fmla="*/ 116110 h 116109"/>
                <a:gd name="connsiteX8" fmla="*/ 87630 w 116204"/>
                <a:gd name="connsiteY8" fmla="*/ 108585 h 116109"/>
                <a:gd name="connsiteX9" fmla="*/ 66675 w 116204"/>
                <a:gd name="connsiteY9" fmla="*/ 95250 h 116109"/>
                <a:gd name="connsiteX10" fmla="*/ 52388 w 116204"/>
                <a:gd name="connsiteY10" fmla="*/ 77153 h 116109"/>
                <a:gd name="connsiteX11" fmla="*/ 31432 w 116204"/>
                <a:gd name="connsiteY11" fmla="*/ 62865 h 116109"/>
                <a:gd name="connsiteX12" fmla="*/ 13335 w 116204"/>
                <a:gd name="connsiteY12" fmla="*/ 56197 h 116109"/>
                <a:gd name="connsiteX13" fmla="*/ 0 w 116204"/>
                <a:gd name="connsiteY13" fmla="*/ 41910 h 116109"/>
                <a:gd name="connsiteX14" fmla="*/ 27622 w 116204"/>
                <a:gd name="connsiteY14" fmla="*/ 13335 h 116109"/>
                <a:gd name="connsiteX15" fmla="*/ 31432 w 116204"/>
                <a:gd name="connsiteY15" fmla="*/ 0 h 116109"/>
                <a:gd name="connsiteX16" fmla="*/ 41910 w 116204"/>
                <a:gd name="connsiteY16" fmla="*/ 0 h 116109"/>
                <a:gd name="connsiteX17" fmla="*/ 56197 w 116204"/>
                <a:gd name="connsiteY17" fmla="*/ 6572 h 116109"/>
                <a:gd name="connsiteX18" fmla="*/ 59055 w 116204"/>
                <a:gd name="connsiteY18" fmla="*/ 31337 h 116109"/>
                <a:gd name="connsiteX19" fmla="*/ 70485 w 116204"/>
                <a:gd name="connsiteY19" fmla="*/ 35147 h 116109"/>
                <a:gd name="connsiteX20" fmla="*/ 77153 w 116204"/>
                <a:gd name="connsiteY20" fmla="*/ 23813 h 116109"/>
                <a:gd name="connsiteX21" fmla="*/ 87630 w 116204"/>
                <a:gd name="connsiteY21" fmla="*/ 27622 h 116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6204" h="116109">
                  <a:moveTo>
                    <a:pt x="87630" y="27622"/>
                  </a:moveTo>
                  <a:lnTo>
                    <a:pt x="87630" y="45625"/>
                  </a:lnTo>
                  <a:lnTo>
                    <a:pt x="87630" y="58960"/>
                  </a:lnTo>
                  <a:lnTo>
                    <a:pt x="101917" y="62865"/>
                  </a:lnTo>
                  <a:lnTo>
                    <a:pt x="112395" y="70485"/>
                  </a:lnTo>
                  <a:lnTo>
                    <a:pt x="116205" y="80963"/>
                  </a:lnTo>
                  <a:lnTo>
                    <a:pt x="116205" y="95250"/>
                  </a:lnTo>
                  <a:lnTo>
                    <a:pt x="108585" y="116110"/>
                  </a:lnTo>
                  <a:lnTo>
                    <a:pt x="87630" y="108585"/>
                  </a:lnTo>
                  <a:lnTo>
                    <a:pt x="66675" y="95250"/>
                  </a:lnTo>
                  <a:lnTo>
                    <a:pt x="52388" y="77153"/>
                  </a:lnTo>
                  <a:lnTo>
                    <a:pt x="31432" y="62865"/>
                  </a:lnTo>
                  <a:lnTo>
                    <a:pt x="13335" y="56197"/>
                  </a:lnTo>
                  <a:lnTo>
                    <a:pt x="0" y="41910"/>
                  </a:lnTo>
                  <a:lnTo>
                    <a:pt x="27622" y="13335"/>
                  </a:lnTo>
                  <a:lnTo>
                    <a:pt x="31432" y="0"/>
                  </a:lnTo>
                  <a:lnTo>
                    <a:pt x="41910" y="0"/>
                  </a:lnTo>
                  <a:lnTo>
                    <a:pt x="56197" y="6572"/>
                  </a:lnTo>
                  <a:lnTo>
                    <a:pt x="59055" y="31337"/>
                  </a:lnTo>
                  <a:lnTo>
                    <a:pt x="70485" y="35147"/>
                  </a:lnTo>
                  <a:lnTo>
                    <a:pt x="77153" y="23813"/>
                  </a:lnTo>
                  <a:lnTo>
                    <a:pt x="87630" y="2762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94" name="Freeform: Shape 993">
              <a:extLst>
                <a:ext uri="{FF2B5EF4-FFF2-40B4-BE49-F238E27FC236}">
                  <a16:creationId xmlns:a16="http://schemas.microsoft.com/office/drawing/2014/main" id="{0479A6CC-F2D6-D01C-963C-B1BF90DFD409}"/>
                </a:ext>
              </a:extLst>
            </p:cNvPr>
            <p:cNvSpPr/>
            <p:nvPr/>
          </p:nvSpPr>
          <p:spPr>
            <a:xfrm>
              <a:off x="5679187" y="4313106"/>
              <a:ext cx="113913" cy="113821"/>
            </a:xfrm>
            <a:custGeom>
              <a:avLst/>
              <a:gdLst>
                <a:gd name="connsiteX0" fmla="*/ 87630 w 116204"/>
                <a:gd name="connsiteY0" fmla="*/ 27622 h 116109"/>
                <a:gd name="connsiteX1" fmla="*/ 87630 w 116204"/>
                <a:gd name="connsiteY1" fmla="*/ 45625 h 116109"/>
                <a:gd name="connsiteX2" fmla="*/ 87630 w 116204"/>
                <a:gd name="connsiteY2" fmla="*/ 58960 h 116109"/>
                <a:gd name="connsiteX3" fmla="*/ 101917 w 116204"/>
                <a:gd name="connsiteY3" fmla="*/ 62865 h 116109"/>
                <a:gd name="connsiteX4" fmla="*/ 112395 w 116204"/>
                <a:gd name="connsiteY4" fmla="*/ 70485 h 116109"/>
                <a:gd name="connsiteX5" fmla="*/ 116205 w 116204"/>
                <a:gd name="connsiteY5" fmla="*/ 80963 h 116109"/>
                <a:gd name="connsiteX6" fmla="*/ 116205 w 116204"/>
                <a:gd name="connsiteY6" fmla="*/ 95250 h 116109"/>
                <a:gd name="connsiteX7" fmla="*/ 108585 w 116204"/>
                <a:gd name="connsiteY7" fmla="*/ 116110 h 116109"/>
                <a:gd name="connsiteX8" fmla="*/ 87630 w 116204"/>
                <a:gd name="connsiteY8" fmla="*/ 108585 h 116109"/>
                <a:gd name="connsiteX9" fmla="*/ 66675 w 116204"/>
                <a:gd name="connsiteY9" fmla="*/ 95250 h 116109"/>
                <a:gd name="connsiteX10" fmla="*/ 52388 w 116204"/>
                <a:gd name="connsiteY10" fmla="*/ 77153 h 116109"/>
                <a:gd name="connsiteX11" fmla="*/ 31432 w 116204"/>
                <a:gd name="connsiteY11" fmla="*/ 62865 h 116109"/>
                <a:gd name="connsiteX12" fmla="*/ 13335 w 116204"/>
                <a:gd name="connsiteY12" fmla="*/ 56197 h 116109"/>
                <a:gd name="connsiteX13" fmla="*/ 0 w 116204"/>
                <a:gd name="connsiteY13" fmla="*/ 41910 h 116109"/>
                <a:gd name="connsiteX14" fmla="*/ 27622 w 116204"/>
                <a:gd name="connsiteY14" fmla="*/ 13335 h 116109"/>
                <a:gd name="connsiteX15" fmla="*/ 31432 w 116204"/>
                <a:gd name="connsiteY15" fmla="*/ 0 h 116109"/>
                <a:gd name="connsiteX16" fmla="*/ 41910 w 116204"/>
                <a:gd name="connsiteY16" fmla="*/ 0 h 116109"/>
                <a:gd name="connsiteX17" fmla="*/ 56197 w 116204"/>
                <a:gd name="connsiteY17" fmla="*/ 6572 h 116109"/>
                <a:gd name="connsiteX18" fmla="*/ 59055 w 116204"/>
                <a:gd name="connsiteY18" fmla="*/ 31337 h 116109"/>
                <a:gd name="connsiteX19" fmla="*/ 70485 w 116204"/>
                <a:gd name="connsiteY19" fmla="*/ 35147 h 116109"/>
                <a:gd name="connsiteX20" fmla="*/ 77153 w 116204"/>
                <a:gd name="connsiteY20" fmla="*/ 23813 h 116109"/>
                <a:gd name="connsiteX21" fmla="*/ 87630 w 116204"/>
                <a:gd name="connsiteY21" fmla="*/ 27622 h 116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6204" h="116109">
                  <a:moveTo>
                    <a:pt x="87630" y="27622"/>
                  </a:moveTo>
                  <a:lnTo>
                    <a:pt x="87630" y="45625"/>
                  </a:lnTo>
                  <a:lnTo>
                    <a:pt x="87630" y="58960"/>
                  </a:lnTo>
                  <a:lnTo>
                    <a:pt x="101917" y="62865"/>
                  </a:lnTo>
                  <a:lnTo>
                    <a:pt x="112395" y="70485"/>
                  </a:lnTo>
                  <a:lnTo>
                    <a:pt x="116205" y="80963"/>
                  </a:lnTo>
                  <a:lnTo>
                    <a:pt x="116205" y="95250"/>
                  </a:lnTo>
                  <a:lnTo>
                    <a:pt x="108585" y="116110"/>
                  </a:lnTo>
                  <a:lnTo>
                    <a:pt x="87630" y="108585"/>
                  </a:lnTo>
                  <a:lnTo>
                    <a:pt x="66675" y="95250"/>
                  </a:lnTo>
                  <a:lnTo>
                    <a:pt x="52388" y="77153"/>
                  </a:lnTo>
                  <a:lnTo>
                    <a:pt x="31432" y="62865"/>
                  </a:lnTo>
                  <a:lnTo>
                    <a:pt x="13335" y="56197"/>
                  </a:lnTo>
                  <a:lnTo>
                    <a:pt x="0" y="41910"/>
                  </a:lnTo>
                  <a:lnTo>
                    <a:pt x="27622" y="13335"/>
                  </a:lnTo>
                  <a:lnTo>
                    <a:pt x="31432" y="0"/>
                  </a:lnTo>
                  <a:lnTo>
                    <a:pt x="41910" y="0"/>
                  </a:lnTo>
                  <a:lnTo>
                    <a:pt x="56197" y="6572"/>
                  </a:lnTo>
                  <a:lnTo>
                    <a:pt x="59055" y="31337"/>
                  </a:lnTo>
                  <a:lnTo>
                    <a:pt x="70485" y="35147"/>
                  </a:lnTo>
                  <a:lnTo>
                    <a:pt x="77153" y="23813"/>
                  </a:lnTo>
                  <a:lnTo>
                    <a:pt x="87630" y="2762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95" name="Freeform: Shape 994">
              <a:extLst>
                <a:ext uri="{FF2B5EF4-FFF2-40B4-BE49-F238E27FC236}">
                  <a16:creationId xmlns:a16="http://schemas.microsoft.com/office/drawing/2014/main" id="{B76EF140-017A-FF69-50B6-7D63113337A7}"/>
                </a:ext>
              </a:extLst>
            </p:cNvPr>
            <p:cNvSpPr/>
            <p:nvPr/>
          </p:nvSpPr>
          <p:spPr>
            <a:xfrm>
              <a:off x="6364540" y="3894700"/>
              <a:ext cx="289455" cy="445483"/>
            </a:xfrm>
            <a:custGeom>
              <a:avLst/>
              <a:gdLst>
                <a:gd name="connsiteX0" fmla="*/ 291465 w 295275"/>
                <a:gd name="connsiteY0" fmla="*/ 225838 h 454437"/>
                <a:gd name="connsiteX1" fmla="*/ 267652 w 295275"/>
                <a:gd name="connsiteY1" fmla="*/ 228600 h 454437"/>
                <a:gd name="connsiteX2" fmla="*/ 260032 w 295275"/>
                <a:gd name="connsiteY2" fmla="*/ 249650 h 454437"/>
                <a:gd name="connsiteX3" fmla="*/ 239077 w 295275"/>
                <a:gd name="connsiteY3" fmla="*/ 299180 h 454437"/>
                <a:gd name="connsiteX4" fmla="*/ 253365 w 295275"/>
                <a:gd name="connsiteY4" fmla="*/ 313468 h 454437"/>
                <a:gd name="connsiteX5" fmla="*/ 260032 w 295275"/>
                <a:gd name="connsiteY5" fmla="*/ 359188 h 454437"/>
                <a:gd name="connsiteX6" fmla="*/ 239077 w 295275"/>
                <a:gd name="connsiteY6" fmla="*/ 362903 h 454437"/>
                <a:gd name="connsiteX7" fmla="*/ 197168 w 295275"/>
                <a:gd name="connsiteY7" fmla="*/ 404813 h 454437"/>
                <a:gd name="connsiteX8" fmla="*/ 154305 w 295275"/>
                <a:gd name="connsiteY8" fmla="*/ 412528 h 454437"/>
                <a:gd name="connsiteX9" fmla="*/ 151448 w 295275"/>
                <a:gd name="connsiteY9" fmla="*/ 433388 h 454437"/>
                <a:gd name="connsiteX10" fmla="*/ 69532 w 295275"/>
                <a:gd name="connsiteY10" fmla="*/ 454438 h 454437"/>
                <a:gd name="connsiteX11" fmla="*/ 52388 w 295275"/>
                <a:gd name="connsiteY11" fmla="*/ 433388 h 454437"/>
                <a:gd name="connsiteX12" fmla="*/ 17145 w 295275"/>
                <a:gd name="connsiteY12" fmla="*/ 398240 h 454437"/>
                <a:gd name="connsiteX13" fmla="*/ 20955 w 295275"/>
                <a:gd name="connsiteY13" fmla="*/ 380143 h 454437"/>
                <a:gd name="connsiteX14" fmla="*/ 56198 w 295275"/>
                <a:gd name="connsiteY14" fmla="*/ 380143 h 454437"/>
                <a:gd name="connsiteX15" fmla="*/ 45720 w 295275"/>
                <a:gd name="connsiteY15" fmla="*/ 362903 h 454437"/>
                <a:gd name="connsiteX16" fmla="*/ 41910 w 295275"/>
                <a:gd name="connsiteY16" fmla="*/ 320040 h 454437"/>
                <a:gd name="connsiteX17" fmla="*/ 27623 w 295275"/>
                <a:gd name="connsiteY17" fmla="*/ 299180 h 454437"/>
                <a:gd name="connsiteX18" fmla="*/ 2857 w 295275"/>
                <a:gd name="connsiteY18" fmla="*/ 274415 h 454437"/>
                <a:gd name="connsiteX19" fmla="*/ 0 w 295275"/>
                <a:gd name="connsiteY19" fmla="*/ 253365 h 454437"/>
                <a:gd name="connsiteX20" fmla="*/ 56198 w 295275"/>
                <a:gd name="connsiteY20" fmla="*/ 186690 h 454437"/>
                <a:gd name="connsiteX21" fmla="*/ 62865 w 295275"/>
                <a:gd name="connsiteY21" fmla="*/ 116300 h 454437"/>
                <a:gd name="connsiteX22" fmla="*/ 69532 w 295275"/>
                <a:gd name="connsiteY22" fmla="*/ 87725 h 454437"/>
                <a:gd name="connsiteX23" fmla="*/ 48577 w 295275"/>
                <a:gd name="connsiteY23" fmla="*/ 10478 h 454437"/>
                <a:gd name="connsiteX24" fmla="*/ 59055 w 295275"/>
                <a:gd name="connsiteY24" fmla="*/ 0 h 454437"/>
                <a:gd name="connsiteX25" fmla="*/ 295275 w 295275"/>
                <a:gd name="connsiteY25" fmla="*/ 95250 h 454437"/>
                <a:gd name="connsiteX26" fmla="*/ 291465 w 295275"/>
                <a:gd name="connsiteY26" fmla="*/ 225838 h 454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95275" h="454437">
                  <a:moveTo>
                    <a:pt x="291465" y="225838"/>
                  </a:moveTo>
                  <a:lnTo>
                    <a:pt x="267652" y="228600"/>
                  </a:lnTo>
                  <a:lnTo>
                    <a:pt x="260032" y="249650"/>
                  </a:lnTo>
                  <a:lnTo>
                    <a:pt x="239077" y="299180"/>
                  </a:lnTo>
                  <a:lnTo>
                    <a:pt x="253365" y="313468"/>
                  </a:lnTo>
                  <a:lnTo>
                    <a:pt x="260032" y="359188"/>
                  </a:lnTo>
                  <a:lnTo>
                    <a:pt x="239077" y="362903"/>
                  </a:lnTo>
                  <a:lnTo>
                    <a:pt x="197168" y="404813"/>
                  </a:lnTo>
                  <a:lnTo>
                    <a:pt x="154305" y="412528"/>
                  </a:lnTo>
                  <a:lnTo>
                    <a:pt x="151448" y="433388"/>
                  </a:lnTo>
                  <a:lnTo>
                    <a:pt x="69532" y="454438"/>
                  </a:lnTo>
                  <a:lnTo>
                    <a:pt x="52388" y="433388"/>
                  </a:lnTo>
                  <a:lnTo>
                    <a:pt x="17145" y="398240"/>
                  </a:lnTo>
                  <a:lnTo>
                    <a:pt x="20955" y="380143"/>
                  </a:lnTo>
                  <a:lnTo>
                    <a:pt x="56198" y="380143"/>
                  </a:lnTo>
                  <a:lnTo>
                    <a:pt x="45720" y="362903"/>
                  </a:lnTo>
                  <a:lnTo>
                    <a:pt x="41910" y="320040"/>
                  </a:lnTo>
                  <a:lnTo>
                    <a:pt x="27623" y="299180"/>
                  </a:lnTo>
                  <a:lnTo>
                    <a:pt x="2857" y="274415"/>
                  </a:lnTo>
                  <a:lnTo>
                    <a:pt x="0" y="253365"/>
                  </a:lnTo>
                  <a:lnTo>
                    <a:pt x="56198" y="186690"/>
                  </a:lnTo>
                  <a:lnTo>
                    <a:pt x="62865" y="116300"/>
                  </a:lnTo>
                  <a:lnTo>
                    <a:pt x="69532" y="87725"/>
                  </a:lnTo>
                  <a:lnTo>
                    <a:pt x="48577" y="10478"/>
                  </a:lnTo>
                  <a:lnTo>
                    <a:pt x="59055" y="0"/>
                  </a:lnTo>
                  <a:lnTo>
                    <a:pt x="295275" y="95250"/>
                  </a:lnTo>
                  <a:lnTo>
                    <a:pt x="291465" y="22583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96" name="Freeform: Shape 995">
              <a:extLst>
                <a:ext uri="{FF2B5EF4-FFF2-40B4-BE49-F238E27FC236}">
                  <a16:creationId xmlns:a16="http://schemas.microsoft.com/office/drawing/2014/main" id="{3B0FDD53-D99A-2D5F-E7C8-6AA0785DA283}"/>
                </a:ext>
              </a:extLst>
            </p:cNvPr>
            <p:cNvSpPr/>
            <p:nvPr/>
          </p:nvSpPr>
          <p:spPr>
            <a:xfrm>
              <a:off x="5999454" y="3887325"/>
              <a:ext cx="433247" cy="335116"/>
            </a:xfrm>
            <a:custGeom>
              <a:avLst/>
              <a:gdLst>
                <a:gd name="connsiteX0" fmla="*/ 7620 w 441959"/>
                <a:gd name="connsiteY0" fmla="*/ 250412 h 341852"/>
                <a:gd name="connsiteX1" fmla="*/ 32385 w 441959"/>
                <a:gd name="connsiteY1" fmla="*/ 250412 h 341852"/>
                <a:gd name="connsiteX2" fmla="*/ 92393 w 441959"/>
                <a:gd name="connsiteY2" fmla="*/ 240030 h 341852"/>
                <a:gd name="connsiteX3" fmla="*/ 113347 w 441959"/>
                <a:gd name="connsiteY3" fmla="*/ 208502 h 341852"/>
                <a:gd name="connsiteX4" fmla="*/ 116205 w 441959"/>
                <a:gd name="connsiteY4" fmla="*/ 134303 h 341852"/>
                <a:gd name="connsiteX5" fmla="*/ 151447 w 441959"/>
                <a:gd name="connsiteY5" fmla="*/ 126587 h 341852"/>
                <a:gd name="connsiteX6" fmla="*/ 219075 w 441959"/>
                <a:gd name="connsiteY6" fmla="*/ 70390 h 341852"/>
                <a:gd name="connsiteX7" fmla="*/ 337185 w 441959"/>
                <a:gd name="connsiteY7" fmla="*/ 0 h 341852"/>
                <a:gd name="connsiteX8" fmla="*/ 350520 w 441959"/>
                <a:gd name="connsiteY8" fmla="*/ 3715 h 341852"/>
                <a:gd name="connsiteX9" fmla="*/ 364808 w 441959"/>
                <a:gd name="connsiteY9" fmla="*/ 7525 h 341852"/>
                <a:gd name="connsiteX10" fmla="*/ 382905 w 441959"/>
                <a:gd name="connsiteY10" fmla="*/ 14288 h 341852"/>
                <a:gd name="connsiteX11" fmla="*/ 400050 w 441959"/>
                <a:gd name="connsiteY11" fmla="*/ 28575 h 341852"/>
                <a:gd name="connsiteX12" fmla="*/ 421005 w 441959"/>
                <a:gd name="connsiteY12" fmla="*/ 18002 h 341852"/>
                <a:gd name="connsiteX13" fmla="*/ 441960 w 441959"/>
                <a:gd name="connsiteY13" fmla="*/ 95250 h 341852"/>
                <a:gd name="connsiteX14" fmla="*/ 435292 w 441959"/>
                <a:gd name="connsiteY14" fmla="*/ 123825 h 341852"/>
                <a:gd name="connsiteX15" fmla="*/ 428625 w 441959"/>
                <a:gd name="connsiteY15" fmla="*/ 194215 h 341852"/>
                <a:gd name="connsiteX16" fmla="*/ 372428 w 441959"/>
                <a:gd name="connsiteY16" fmla="*/ 260890 h 341852"/>
                <a:gd name="connsiteX17" fmla="*/ 375285 w 441959"/>
                <a:gd name="connsiteY17" fmla="*/ 281940 h 341852"/>
                <a:gd name="connsiteX18" fmla="*/ 337185 w 441959"/>
                <a:gd name="connsiteY18" fmla="*/ 306705 h 341852"/>
                <a:gd name="connsiteX19" fmla="*/ 275272 w 441959"/>
                <a:gd name="connsiteY19" fmla="*/ 300038 h 341852"/>
                <a:gd name="connsiteX20" fmla="*/ 264795 w 441959"/>
                <a:gd name="connsiteY20" fmla="*/ 314325 h 341852"/>
                <a:gd name="connsiteX21" fmla="*/ 215265 w 441959"/>
                <a:gd name="connsiteY21" fmla="*/ 296228 h 341852"/>
                <a:gd name="connsiteX22" fmla="*/ 197167 w 441959"/>
                <a:gd name="connsiteY22" fmla="*/ 306705 h 341852"/>
                <a:gd name="connsiteX23" fmla="*/ 169545 w 441959"/>
                <a:gd name="connsiteY23" fmla="*/ 285750 h 341852"/>
                <a:gd name="connsiteX24" fmla="*/ 116205 w 441959"/>
                <a:gd name="connsiteY24" fmla="*/ 285750 h 341852"/>
                <a:gd name="connsiteX25" fmla="*/ 95250 w 441959"/>
                <a:gd name="connsiteY25" fmla="*/ 341852 h 341852"/>
                <a:gd name="connsiteX26" fmla="*/ 78105 w 441959"/>
                <a:gd name="connsiteY26" fmla="*/ 324803 h 341852"/>
                <a:gd name="connsiteX27" fmla="*/ 53340 w 441959"/>
                <a:gd name="connsiteY27" fmla="*/ 327565 h 341852"/>
                <a:gd name="connsiteX28" fmla="*/ 28575 w 441959"/>
                <a:gd name="connsiteY28" fmla="*/ 314325 h 341852"/>
                <a:gd name="connsiteX29" fmla="*/ 21908 w 441959"/>
                <a:gd name="connsiteY29" fmla="*/ 310515 h 341852"/>
                <a:gd name="connsiteX30" fmla="*/ 24765 w 441959"/>
                <a:gd name="connsiteY30" fmla="*/ 300038 h 341852"/>
                <a:gd name="connsiteX31" fmla="*/ 7620 w 441959"/>
                <a:gd name="connsiteY31" fmla="*/ 278987 h 341852"/>
                <a:gd name="connsiteX32" fmla="*/ 0 w 441959"/>
                <a:gd name="connsiteY32" fmla="*/ 264700 h 341852"/>
                <a:gd name="connsiteX33" fmla="*/ 7620 w 441959"/>
                <a:gd name="connsiteY33" fmla="*/ 250412 h 341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41959" h="341852">
                  <a:moveTo>
                    <a:pt x="7620" y="250412"/>
                  </a:moveTo>
                  <a:lnTo>
                    <a:pt x="32385" y="250412"/>
                  </a:lnTo>
                  <a:lnTo>
                    <a:pt x="92393" y="240030"/>
                  </a:lnTo>
                  <a:lnTo>
                    <a:pt x="113347" y="208502"/>
                  </a:lnTo>
                  <a:lnTo>
                    <a:pt x="116205" y="134303"/>
                  </a:lnTo>
                  <a:lnTo>
                    <a:pt x="151447" y="126587"/>
                  </a:lnTo>
                  <a:lnTo>
                    <a:pt x="219075" y="70390"/>
                  </a:lnTo>
                  <a:lnTo>
                    <a:pt x="337185" y="0"/>
                  </a:lnTo>
                  <a:lnTo>
                    <a:pt x="350520" y="3715"/>
                  </a:lnTo>
                  <a:lnTo>
                    <a:pt x="364808" y="7525"/>
                  </a:lnTo>
                  <a:lnTo>
                    <a:pt x="382905" y="14288"/>
                  </a:lnTo>
                  <a:lnTo>
                    <a:pt x="400050" y="28575"/>
                  </a:lnTo>
                  <a:lnTo>
                    <a:pt x="421005" y="18002"/>
                  </a:lnTo>
                  <a:lnTo>
                    <a:pt x="441960" y="95250"/>
                  </a:lnTo>
                  <a:lnTo>
                    <a:pt x="435292" y="123825"/>
                  </a:lnTo>
                  <a:lnTo>
                    <a:pt x="428625" y="194215"/>
                  </a:lnTo>
                  <a:lnTo>
                    <a:pt x="372428" y="260890"/>
                  </a:lnTo>
                  <a:lnTo>
                    <a:pt x="375285" y="281940"/>
                  </a:lnTo>
                  <a:lnTo>
                    <a:pt x="337185" y="306705"/>
                  </a:lnTo>
                  <a:lnTo>
                    <a:pt x="275272" y="300038"/>
                  </a:lnTo>
                  <a:lnTo>
                    <a:pt x="264795" y="314325"/>
                  </a:lnTo>
                  <a:lnTo>
                    <a:pt x="215265" y="296228"/>
                  </a:lnTo>
                  <a:lnTo>
                    <a:pt x="197167" y="306705"/>
                  </a:lnTo>
                  <a:lnTo>
                    <a:pt x="169545" y="285750"/>
                  </a:lnTo>
                  <a:lnTo>
                    <a:pt x="116205" y="285750"/>
                  </a:lnTo>
                  <a:lnTo>
                    <a:pt x="95250" y="341852"/>
                  </a:lnTo>
                  <a:lnTo>
                    <a:pt x="78105" y="324803"/>
                  </a:lnTo>
                  <a:lnTo>
                    <a:pt x="53340" y="327565"/>
                  </a:lnTo>
                  <a:lnTo>
                    <a:pt x="28575" y="314325"/>
                  </a:lnTo>
                  <a:lnTo>
                    <a:pt x="21908" y="310515"/>
                  </a:lnTo>
                  <a:lnTo>
                    <a:pt x="24765" y="300038"/>
                  </a:lnTo>
                  <a:lnTo>
                    <a:pt x="7620" y="278987"/>
                  </a:lnTo>
                  <a:lnTo>
                    <a:pt x="0" y="264700"/>
                  </a:lnTo>
                  <a:lnTo>
                    <a:pt x="7620" y="25041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97" name="Freeform: Shape 996">
              <a:extLst>
                <a:ext uri="{FF2B5EF4-FFF2-40B4-BE49-F238E27FC236}">
                  <a16:creationId xmlns:a16="http://schemas.microsoft.com/office/drawing/2014/main" id="{B040B01B-2867-BE4B-08C5-FF43466FB4F1}"/>
                </a:ext>
              </a:extLst>
            </p:cNvPr>
            <p:cNvSpPr/>
            <p:nvPr/>
          </p:nvSpPr>
          <p:spPr>
            <a:xfrm>
              <a:off x="6398154" y="4246811"/>
              <a:ext cx="349213" cy="221294"/>
            </a:xfrm>
            <a:custGeom>
              <a:avLst/>
              <a:gdLst>
                <a:gd name="connsiteX0" fmla="*/ 35243 w 356235"/>
                <a:gd name="connsiteY0" fmla="*/ 95250 h 225742"/>
                <a:gd name="connsiteX1" fmla="*/ 117158 w 356235"/>
                <a:gd name="connsiteY1" fmla="*/ 74200 h 225742"/>
                <a:gd name="connsiteX2" fmla="*/ 120015 w 356235"/>
                <a:gd name="connsiteY2" fmla="*/ 53340 h 225742"/>
                <a:gd name="connsiteX3" fmla="*/ 162878 w 356235"/>
                <a:gd name="connsiteY3" fmla="*/ 45625 h 225742"/>
                <a:gd name="connsiteX4" fmla="*/ 204788 w 356235"/>
                <a:gd name="connsiteY4" fmla="*/ 3715 h 225742"/>
                <a:gd name="connsiteX5" fmla="*/ 225743 w 356235"/>
                <a:gd name="connsiteY5" fmla="*/ 0 h 225742"/>
                <a:gd name="connsiteX6" fmla="*/ 246698 w 356235"/>
                <a:gd name="connsiteY6" fmla="*/ 14288 h 225742"/>
                <a:gd name="connsiteX7" fmla="*/ 250508 w 356235"/>
                <a:gd name="connsiteY7" fmla="*/ 39053 h 225742"/>
                <a:gd name="connsiteX8" fmla="*/ 250508 w 356235"/>
                <a:gd name="connsiteY8" fmla="*/ 59912 h 225742"/>
                <a:gd name="connsiteX9" fmla="*/ 317183 w 356235"/>
                <a:gd name="connsiteY9" fmla="*/ 105728 h 225742"/>
                <a:gd name="connsiteX10" fmla="*/ 356235 w 356235"/>
                <a:gd name="connsiteY10" fmla="*/ 162878 h 225742"/>
                <a:gd name="connsiteX11" fmla="*/ 302895 w 356235"/>
                <a:gd name="connsiteY11" fmla="*/ 159068 h 225742"/>
                <a:gd name="connsiteX12" fmla="*/ 243840 w 356235"/>
                <a:gd name="connsiteY12" fmla="*/ 176213 h 225742"/>
                <a:gd name="connsiteX13" fmla="*/ 221933 w 356235"/>
                <a:gd name="connsiteY13" fmla="*/ 190500 h 225742"/>
                <a:gd name="connsiteX14" fmla="*/ 183833 w 356235"/>
                <a:gd name="connsiteY14" fmla="*/ 186690 h 225742"/>
                <a:gd name="connsiteX15" fmla="*/ 162878 w 356235"/>
                <a:gd name="connsiteY15" fmla="*/ 179927 h 225742"/>
                <a:gd name="connsiteX16" fmla="*/ 138113 w 356235"/>
                <a:gd name="connsiteY16" fmla="*/ 155162 h 225742"/>
                <a:gd name="connsiteX17" fmla="*/ 113348 w 356235"/>
                <a:gd name="connsiteY17" fmla="*/ 183737 h 225742"/>
                <a:gd name="connsiteX18" fmla="*/ 109538 w 356235"/>
                <a:gd name="connsiteY18" fmla="*/ 208502 h 225742"/>
                <a:gd name="connsiteX19" fmla="*/ 57150 w 356235"/>
                <a:gd name="connsiteY19" fmla="*/ 204788 h 225742"/>
                <a:gd name="connsiteX20" fmla="*/ 42863 w 356235"/>
                <a:gd name="connsiteY20" fmla="*/ 225743 h 225742"/>
                <a:gd name="connsiteX21" fmla="*/ 18098 w 356235"/>
                <a:gd name="connsiteY21" fmla="*/ 198025 h 225742"/>
                <a:gd name="connsiteX22" fmla="*/ 0 w 356235"/>
                <a:gd name="connsiteY22" fmla="*/ 151352 h 225742"/>
                <a:gd name="connsiteX23" fmla="*/ 0 w 356235"/>
                <a:gd name="connsiteY23" fmla="*/ 123825 h 225742"/>
                <a:gd name="connsiteX24" fmla="*/ 35243 w 356235"/>
                <a:gd name="connsiteY24" fmla="*/ 95250 h 2257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56235" h="225742">
                  <a:moveTo>
                    <a:pt x="35243" y="95250"/>
                  </a:moveTo>
                  <a:lnTo>
                    <a:pt x="117158" y="74200"/>
                  </a:lnTo>
                  <a:lnTo>
                    <a:pt x="120015" y="53340"/>
                  </a:lnTo>
                  <a:lnTo>
                    <a:pt x="162878" y="45625"/>
                  </a:lnTo>
                  <a:lnTo>
                    <a:pt x="204788" y="3715"/>
                  </a:lnTo>
                  <a:lnTo>
                    <a:pt x="225743" y="0"/>
                  </a:lnTo>
                  <a:lnTo>
                    <a:pt x="246698" y="14288"/>
                  </a:lnTo>
                  <a:lnTo>
                    <a:pt x="250508" y="39053"/>
                  </a:lnTo>
                  <a:lnTo>
                    <a:pt x="250508" y="59912"/>
                  </a:lnTo>
                  <a:lnTo>
                    <a:pt x="317183" y="105728"/>
                  </a:lnTo>
                  <a:lnTo>
                    <a:pt x="356235" y="162878"/>
                  </a:lnTo>
                  <a:lnTo>
                    <a:pt x="302895" y="159068"/>
                  </a:lnTo>
                  <a:lnTo>
                    <a:pt x="243840" y="176213"/>
                  </a:lnTo>
                  <a:lnTo>
                    <a:pt x="221933" y="190500"/>
                  </a:lnTo>
                  <a:lnTo>
                    <a:pt x="183833" y="186690"/>
                  </a:lnTo>
                  <a:lnTo>
                    <a:pt x="162878" y="179927"/>
                  </a:lnTo>
                  <a:lnTo>
                    <a:pt x="138113" y="155162"/>
                  </a:lnTo>
                  <a:lnTo>
                    <a:pt x="113348" y="183737"/>
                  </a:lnTo>
                  <a:lnTo>
                    <a:pt x="109538" y="208502"/>
                  </a:lnTo>
                  <a:lnTo>
                    <a:pt x="57150" y="204788"/>
                  </a:lnTo>
                  <a:lnTo>
                    <a:pt x="42863" y="225743"/>
                  </a:lnTo>
                  <a:lnTo>
                    <a:pt x="18098" y="198025"/>
                  </a:lnTo>
                  <a:lnTo>
                    <a:pt x="0" y="151352"/>
                  </a:lnTo>
                  <a:lnTo>
                    <a:pt x="0" y="123825"/>
                  </a:lnTo>
                  <a:lnTo>
                    <a:pt x="35243" y="9525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98" name="Freeform: Shape 997">
              <a:extLst>
                <a:ext uri="{FF2B5EF4-FFF2-40B4-BE49-F238E27FC236}">
                  <a16:creationId xmlns:a16="http://schemas.microsoft.com/office/drawing/2014/main" id="{7C974B53-D44C-5C45-2157-BAEC0E6BD6EC}"/>
                </a:ext>
              </a:extLst>
            </p:cNvPr>
            <p:cNvSpPr/>
            <p:nvPr/>
          </p:nvSpPr>
          <p:spPr>
            <a:xfrm>
              <a:off x="6598905" y="3907867"/>
              <a:ext cx="455657" cy="533067"/>
            </a:xfrm>
            <a:custGeom>
              <a:avLst/>
              <a:gdLst>
                <a:gd name="connsiteX0" fmla="*/ 331470 w 464820"/>
                <a:gd name="connsiteY0" fmla="*/ 35147 h 543782"/>
                <a:gd name="connsiteX1" fmla="*/ 365760 w 464820"/>
                <a:gd name="connsiteY1" fmla="*/ 0 h 543782"/>
                <a:gd name="connsiteX2" fmla="*/ 380048 w 464820"/>
                <a:gd name="connsiteY2" fmla="*/ 0 h 543782"/>
                <a:gd name="connsiteX3" fmla="*/ 419100 w 464820"/>
                <a:gd name="connsiteY3" fmla="*/ 32385 h 543782"/>
                <a:gd name="connsiteX4" fmla="*/ 425768 w 464820"/>
                <a:gd name="connsiteY4" fmla="*/ 57150 h 543782"/>
                <a:gd name="connsiteX5" fmla="*/ 422910 w 464820"/>
                <a:gd name="connsiteY5" fmla="*/ 105632 h 543782"/>
                <a:gd name="connsiteX6" fmla="*/ 464820 w 464820"/>
                <a:gd name="connsiteY6" fmla="*/ 152400 h 543782"/>
                <a:gd name="connsiteX7" fmla="*/ 415290 w 464820"/>
                <a:gd name="connsiteY7" fmla="*/ 173260 h 543782"/>
                <a:gd name="connsiteX8" fmla="*/ 404813 w 464820"/>
                <a:gd name="connsiteY8" fmla="*/ 225647 h 543782"/>
                <a:gd name="connsiteX9" fmla="*/ 404813 w 464820"/>
                <a:gd name="connsiteY9" fmla="*/ 250507 h 543782"/>
                <a:gd name="connsiteX10" fmla="*/ 362903 w 464820"/>
                <a:gd name="connsiteY10" fmla="*/ 318135 h 543782"/>
                <a:gd name="connsiteX11" fmla="*/ 362903 w 464820"/>
                <a:gd name="connsiteY11" fmla="*/ 345757 h 543782"/>
                <a:gd name="connsiteX12" fmla="*/ 341948 w 464820"/>
                <a:gd name="connsiteY12" fmla="*/ 349472 h 543782"/>
                <a:gd name="connsiteX13" fmla="*/ 341948 w 464820"/>
                <a:gd name="connsiteY13" fmla="*/ 413385 h 543782"/>
                <a:gd name="connsiteX14" fmla="*/ 306705 w 464820"/>
                <a:gd name="connsiteY14" fmla="*/ 413385 h 543782"/>
                <a:gd name="connsiteX15" fmla="*/ 313373 w 464820"/>
                <a:gd name="connsiteY15" fmla="*/ 437197 h 543782"/>
                <a:gd name="connsiteX16" fmla="*/ 331470 w 464820"/>
                <a:gd name="connsiteY16" fmla="*/ 441007 h 543782"/>
                <a:gd name="connsiteX17" fmla="*/ 373380 w 464820"/>
                <a:gd name="connsiteY17" fmla="*/ 497110 h 543782"/>
                <a:gd name="connsiteX18" fmla="*/ 383858 w 464820"/>
                <a:gd name="connsiteY18" fmla="*/ 497110 h 543782"/>
                <a:gd name="connsiteX19" fmla="*/ 383858 w 464820"/>
                <a:gd name="connsiteY19" fmla="*/ 521970 h 543782"/>
                <a:gd name="connsiteX20" fmla="*/ 348615 w 464820"/>
                <a:gd name="connsiteY20" fmla="*/ 521970 h 543782"/>
                <a:gd name="connsiteX21" fmla="*/ 334328 w 464820"/>
                <a:gd name="connsiteY21" fmla="*/ 536257 h 543782"/>
                <a:gd name="connsiteX22" fmla="*/ 242888 w 464820"/>
                <a:gd name="connsiteY22" fmla="*/ 543782 h 543782"/>
                <a:gd name="connsiteX23" fmla="*/ 214313 w 464820"/>
                <a:gd name="connsiteY23" fmla="*/ 521970 h 543782"/>
                <a:gd name="connsiteX24" fmla="*/ 165735 w 464820"/>
                <a:gd name="connsiteY24" fmla="*/ 525685 h 543782"/>
                <a:gd name="connsiteX25" fmla="*/ 151448 w 464820"/>
                <a:gd name="connsiteY25" fmla="*/ 508635 h 543782"/>
                <a:gd name="connsiteX26" fmla="*/ 112395 w 464820"/>
                <a:gd name="connsiteY26" fmla="*/ 451485 h 543782"/>
                <a:gd name="connsiteX27" fmla="*/ 45720 w 464820"/>
                <a:gd name="connsiteY27" fmla="*/ 405670 h 543782"/>
                <a:gd name="connsiteX28" fmla="*/ 41910 w 464820"/>
                <a:gd name="connsiteY28" fmla="*/ 360045 h 543782"/>
                <a:gd name="connsiteX29" fmla="*/ 20955 w 464820"/>
                <a:gd name="connsiteY29" fmla="*/ 345757 h 543782"/>
                <a:gd name="connsiteX30" fmla="*/ 14288 w 464820"/>
                <a:gd name="connsiteY30" fmla="*/ 300038 h 543782"/>
                <a:gd name="connsiteX31" fmla="*/ 0 w 464820"/>
                <a:gd name="connsiteY31" fmla="*/ 285750 h 543782"/>
                <a:gd name="connsiteX32" fmla="*/ 28575 w 464820"/>
                <a:gd name="connsiteY32" fmla="*/ 215170 h 543782"/>
                <a:gd name="connsiteX33" fmla="*/ 52388 w 464820"/>
                <a:gd name="connsiteY33" fmla="*/ 212407 h 543782"/>
                <a:gd name="connsiteX34" fmla="*/ 56198 w 464820"/>
                <a:gd name="connsiteY34" fmla="*/ 81820 h 543782"/>
                <a:gd name="connsiteX35" fmla="*/ 87630 w 464820"/>
                <a:gd name="connsiteY35" fmla="*/ 81820 h 543782"/>
                <a:gd name="connsiteX36" fmla="*/ 87630 w 464820"/>
                <a:gd name="connsiteY36" fmla="*/ 21907 h 543782"/>
                <a:gd name="connsiteX37" fmla="*/ 313373 w 464820"/>
                <a:gd name="connsiteY37" fmla="*/ 24670 h 543782"/>
                <a:gd name="connsiteX38" fmla="*/ 331470 w 464820"/>
                <a:gd name="connsiteY38" fmla="*/ 35147 h 543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64820" h="543782">
                  <a:moveTo>
                    <a:pt x="331470" y="35147"/>
                  </a:moveTo>
                  <a:lnTo>
                    <a:pt x="365760" y="0"/>
                  </a:lnTo>
                  <a:lnTo>
                    <a:pt x="380048" y="0"/>
                  </a:lnTo>
                  <a:lnTo>
                    <a:pt x="419100" y="32385"/>
                  </a:lnTo>
                  <a:lnTo>
                    <a:pt x="425768" y="57150"/>
                  </a:lnTo>
                  <a:lnTo>
                    <a:pt x="422910" y="105632"/>
                  </a:lnTo>
                  <a:lnTo>
                    <a:pt x="464820" y="152400"/>
                  </a:lnTo>
                  <a:lnTo>
                    <a:pt x="415290" y="173260"/>
                  </a:lnTo>
                  <a:lnTo>
                    <a:pt x="404813" y="225647"/>
                  </a:lnTo>
                  <a:lnTo>
                    <a:pt x="404813" y="250507"/>
                  </a:lnTo>
                  <a:lnTo>
                    <a:pt x="362903" y="318135"/>
                  </a:lnTo>
                  <a:lnTo>
                    <a:pt x="362903" y="345757"/>
                  </a:lnTo>
                  <a:lnTo>
                    <a:pt x="341948" y="349472"/>
                  </a:lnTo>
                  <a:lnTo>
                    <a:pt x="341948" y="413385"/>
                  </a:lnTo>
                  <a:lnTo>
                    <a:pt x="306705" y="413385"/>
                  </a:lnTo>
                  <a:lnTo>
                    <a:pt x="313373" y="437197"/>
                  </a:lnTo>
                  <a:lnTo>
                    <a:pt x="331470" y="441007"/>
                  </a:lnTo>
                  <a:lnTo>
                    <a:pt x="373380" y="497110"/>
                  </a:lnTo>
                  <a:lnTo>
                    <a:pt x="383858" y="497110"/>
                  </a:lnTo>
                  <a:lnTo>
                    <a:pt x="383858" y="521970"/>
                  </a:lnTo>
                  <a:lnTo>
                    <a:pt x="348615" y="521970"/>
                  </a:lnTo>
                  <a:lnTo>
                    <a:pt x="334328" y="536257"/>
                  </a:lnTo>
                  <a:lnTo>
                    <a:pt x="242888" y="543782"/>
                  </a:lnTo>
                  <a:lnTo>
                    <a:pt x="214313" y="521970"/>
                  </a:lnTo>
                  <a:lnTo>
                    <a:pt x="165735" y="525685"/>
                  </a:lnTo>
                  <a:lnTo>
                    <a:pt x="151448" y="508635"/>
                  </a:lnTo>
                  <a:lnTo>
                    <a:pt x="112395" y="451485"/>
                  </a:lnTo>
                  <a:lnTo>
                    <a:pt x="45720" y="405670"/>
                  </a:lnTo>
                  <a:lnTo>
                    <a:pt x="41910" y="360045"/>
                  </a:lnTo>
                  <a:lnTo>
                    <a:pt x="20955" y="345757"/>
                  </a:lnTo>
                  <a:lnTo>
                    <a:pt x="14288" y="300038"/>
                  </a:lnTo>
                  <a:lnTo>
                    <a:pt x="0" y="285750"/>
                  </a:lnTo>
                  <a:lnTo>
                    <a:pt x="28575" y="215170"/>
                  </a:lnTo>
                  <a:lnTo>
                    <a:pt x="52388" y="212407"/>
                  </a:lnTo>
                  <a:lnTo>
                    <a:pt x="56198" y="81820"/>
                  </a:lnTo>
                  <a:lnTo>
                    <a:pt x="87630" y="81820"/>
                  </a:lnTo>
                  <a:lnTo>
                    <a:pt x="87630" y="21907"/>
                  </a:lnTo>
                  <a:lnTo>
                    <a:pt x="313373" y="24670"/>
                  </a:lnTo>
                  <a:lnTo>
                    <a:pt x="331470" y="35147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999" name="Freeform: Shape 998">
              <a:extLst>
                <a:ext uri="{FF2B5EF4-FFF2-40B4-BE49-F238E27FC236}">
                  <a16:creationId xmlns:a16="http://schemas.microsoft.com/office/drawing/2014/main" id="{3D0589A0-0904-DBC1-9B4E-43E71F3384CF}"/>
                </a:ext>
              </a:extLst>
            </p:cNvPr>
            <p:cNvSpPr/>
            <p:nvPr/>
          </p:nvSpPr>
          <p:spPr>
            <a:xfrm>
              <a:off x="6995738" y="4057264"/>
              <a:ext cx="172739" cy="148463"/>
            </a:xfrm>
            <a:custGeom>
              <a:avLst/>
              <a:gdLst>
                <a:gd name="connsiteX0" fmla="*/ 60008 w 176212"/>
                <a:gd name="connsiteY0" fmla="*/ 0 h 151447"/>
                <a:gd name="connsiteX1" fmla="*/ 74295 w 176212"/>
                <a:gd name="connsiteY1" fmla="*/ 20860 h 151447"/>
                <a:gd name="connsiteX2" fmla="*/ 84773 w 176212"/>
                <a:gd name="connsiteY2" fmla="*/ 45720 h 151447"/>
                <a:gd name="connsiteX3" fmla="*/ 88583 w 176212"/>
                <a:gd name="connsiteY3" fmla="*/ 77057 h 151447"/>
                <a:gd name="connsiteX4" fmla="*/ 112395 w 176212"/>
                <a:gd name="connsiteY4" fmla="*/ 77057 h 151447"/>
                <a:gd name="connsiteX5" fmla="*/ 176213 w 176212"/>
                <a:gd name="connsiteY5" fmla="*/ 133350 h 151447"/>
                <a:gd name="connsiteX6" fmla="*/ 165735 w 176212"/>
                <a:gd name="connsiteY6" fmla="*/ 151447 h 151447"/>
                <a:gd name="connsiteX7" fmla="*/ 134303 w 176212"/>
                <a:gd name="connsiteY7" fmla="*/ 119063 h 151447"/>
                <a:gd name="connsiteX8" fmla="*/ 101918 w 176212"/>
                <a:gd name="connsiteY8" fmla="*/ 91345 h 151447"/>
                <a:gd name="connsiteX9" fmla="*/ 42863 w 176212"/>
                <a:gd name="connsiteY9" fmla="*/ 87535 h 151447"/>
                <a:gd name="connsiteX10" fmla="*/ 39053 w 176212"/>
                <a:gd name="connsiteY10" fmla="*/ 98107 h 151447"/>
                <a:gd name="connsiteX11" fmla="*/ 0 w 176212"/>
                <a:gd name="connsiteY11" fmla="*/ 98107 h 151447"/>
                <a:gd name="connsiteX12" fmla="*/ 0 w 176212"/>
                <a:gd name="connsiteY12" fmla="*/ 73247 h 151447"/>
                <a:gd name="connsiteX13" fmla="*/ 7620 w 176212"/>
                <a:gd name="connsiteY13" fmla="*/ 48482 h 151447"/>
                <a:gd name="connsiteX14" fmla="*/ 10478 w 176212"/>
                <a:gd name="connsiteY14" fmla="*/ 20860 h 151447"/>
                <a:gd name="connsiteX15" fmla="*/ 60008 w 176212"/>
                <a:gd name="connsiteY15" fmla="*/ 0 h 15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6212" h="151447">
                  <a:moveTo>
                    <a:pt x="60008" y="0"/>
                  </a:moveTo>
                  <a:lnTo>
                    <a:pt x="74295" y="20860"/>
                  </a:lnTo>
                  <a:lnTo>
                    <a:pt x="84773" y="45720"/>
                  </a:lnTo>
                  <a:lnTo>
                    <a:pt x="88583" y="77057"/>
                  </a:lnTo>
                  <a:lnTo>
                    <a:pt x="112395" y="77057"/>
                  </a:lnTo>
                  <a:lnTo>
                    <a:pt x="176213" y="133350"/>
                  </a:lnTo>
                  <a:lnTo>
                    <a:pt x="165735" y="151447"/>
                  </a:lnTo>
                  <a:lnTo>
                    <a:pt x="134303" y="119063"/>
                  </a:lnTo>
                  <a:lnTo>
                    <a:pt x="101918" y="91345"/>
                  </a:lnTo>
                  <a:lnTo>
                    <a:pt x="42863" y="87535"/>
                  </a:lnTo>
                  <a:lnTo>
                    <a:pt x="39053" y="98107"/>
                  </a:lnTo>
                  <a:lnTo>
                    <a:pt x="0" y="98107"/>
                  </a:lnTo>
                  <a:lnTo>
                    <a:pt x="0" y="73247"/>
                  </a:lnTo>
                  <a:lnTo>
                    <a:pt x="7620" y="48482"/>
                  </a:lnTo>
                  <a:lnTo>
                    <a:pt x="10478" y="20860"/>
                  </a:lnTo>
                  <a:lnTo>
                    <a:pt x="6000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00" name="Freeform: Shape 999">
              <a:extLst>
                <a:ext uri="{FF2B5EF4-FFF2-40B4-BE49-F238E27FC236}">
                  <a16:creationId xmlns:a16="http://schemas.microsoft.com/office/drawing/2014/main" id="{370F3A82-FA5D-E58D-EA17-E7D1F55FF0A7}"/>
                </a:ext>
              </a:extLst>
            </p:cNvPr>
            <p:cNvSpPr/>
            <p:nvPr/>
          </p:nvSpPr>
          <p:spPr>
            <a:xfrm>
              <a:off x="6995738" y="4057264"/>
              <a:ext cx="172739" cy="148463"/>
            </a:xfrm>
            <a:custGeom>
              <a:avLst/>
              <a:gdLst>
                <a:gd name="connsiteX0" fmla="*/ 60008 w 176212"/>
                <a:gd name="connsiteY0" fmla="*/ 0 h 151447"/>
                <a:gd name="connsiteX1" fmla="*/ 74295 w 176212"/>
                <a:gd name="connsiteY1" fmla="*/ 20860 h 151447"/>
                <a:gd name="connsiteX2" fmla="*/ 84773 w 176212"/>
                <a:gd name="connsiteY2" fmla="*/ 45720 h 151447"/>
                <a:gd name="connsiteX3" fmla="*/ 88583 w 176212"/>
                <a:gd name="connsiteY3" fmla="*/ 77057 h 151447"/>
                <a:gd name="connsiteX4" fmla="*/ 112395 w 176212"/>
                <a:gd name="connsiteY4" fmla="*/ 77057 h 151447"/>
                <a:gd name="connsiteX5" fmla="*/ 176213 w 176212"/>
                <a:gd name="connsiteY5" fmla="*/ 133350 h 151447"/>
                <a:gd name="connsiteX6" fmla="*/ 165735 w 176212"/>
                <a:gd name="connsiteY6" fmla="*/ 151447 h 151447"/>
                <a:gd name="connsiteX7" fmla="*/ 134303 w 176212"/>
                <a:gd name="connsiteY7" fmla="*/ 119063 h 151447"/>
                <a:gd name="connsiteX8" fmla="*/ 101918 w 176212"/>
                <a:gd name="connsiteY8" fmla="*/ 91345 h 151447"/>
                <a:gd name="connsiteX9" fmla="*/ 42863 w 176212"/>
                <a:gd name="connsiteY9" fmla="*/ 87535 h 151447"/>
                <a:gd name="connsiteX10" fmla="*/ 39053 w 176212"/>
                <a:gd name="connsiteY10" fmla="*/ 98107 h 151447"/>
                <a:gd name="connsiteX11" fmla="*/ 0 w 176212"/>
                <a:gd name="connsiteY11" fmla="*/ 98107 h 151447"/>
                <a:gd name="connsiteX12" fmla="*/ 0 w 176212"/>
                <a:gd name="connsiteY12" fmla="*/ 73247 h 151447"/>
                <a:gd name="connsiteX13" fmla="*/ 7620 w 176212"/>
                <a:gd name="connsiteY13" fmla="*/ 48482 h 151447"/>
                <a:gd name="connsiteX14" fmla="*/ 10478 w 176212"/>
                <a:gd name="connsiteY14" fmla="*/ 20860 h 151447"/>
                <a:gd name="connsiteX15" fmla="*/ 60008 w 176212"/>
                <a:gd name="connsiteY15" fmla="*/ 0 h 151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6212" h="151447">
                  <a:moveTo>
                    <a:pt x="60008" y="0"/>
                  </a:moveTo>
                  <a:lnTo>
                    <a:pt x="74295" y="20860"/>
                  </a:lnTo>
                  <a:lnTo>
                    <a:pt x="84773" y="45720"/>
                  </a:lnTo>
                  <a:lnTo>
                    <a:pt x="88583" y="77057"/>
                  </a:lnTo>
                  <a:lnTo>
                    <a:pt x="112395" y="77057"/>
                  </a:lnTo>
                  <a:lnTo>
                    <a:pt x="176213" y="133350"/>
                  </a:lnTo>
                  <a:lnTo>
                    <a:pt x="165735" y="151447"/>
                  </a:lnTo>
                  <a:lnTo>
                    <a:pt x="134303" y="119063"/>
                  </a:lnTo>
                  <a:lnTo>
                    <a:pt x="101918" y="91345"/>
                  </a:lnTo>
                  <a:lnTo>
                    <a:pt x="42863" y="87535"/>
                  </a:lnTo>
                  <a:lnTo>
                    <a:pt x="39053" y="98107"/>
                  </a:lnTo>
                  <a:lnTo>
                    <a:pt x="0" y="98107"/>
                  </a:lnTo>
                  <a:lnTo>
                    <a:pt x="0" y="73247"/>
                  </a:lnTo>
                  <a:lnTo>
                    <a:pt x="7620" y="48482"/>
                  </a:lnTo>
                  <a:lnTo>
                    <a:pt x="10478" y="20860"/>
                  </a:lnTo>
                  <a:lnTo>
                    <a:pt x="6000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01" name="Freeform: Shape 1000">
              <a:extLst>
                <a:ext uri="{FF2B5EF4-FFF2-40B4-BE49-F238E27FC236}">
                  <a16:creationId xmlns:a16="http://schemas.microsoft.com/office/drawing/2014/main" id="{8D6A8E5D-F0E2-96BE-DB90-A25FE6BC6030}"/>
                </a:ext>
              </a:extLst>
            </p:cNvPr>
            <p:cNvSpPr/>
            <p:nvPr/>
          </p:nvSpPr>
          <p:spPr>
            <a:xfrm>
              <a:off x="7144200" y="4187986"/>
              <a:ext cx="38282" cy="58825"/>
            </a:xfrm>
            <a:custGeom>
              <a:avLst/>
              <a:gdLst>
                <a:gd name="connsiteX0" fmla="*/ 39052 w 39052"/>
                <a:gd name="connsiteY0" fmla="*/ 28575 h 60007"/>
                <a:gd name="connsiteX1" fmla="*/ 24765 w 39052"/>
                <a:gd name="connsiteY1" fmla="*/ 38957 h 60007"/>
                <a:gd name="connsiteX2" fmla="*/ 28575 w 39052"/>
                <a:gd name="connsiteY2" fmla="*/ 60007 h 60007"/>
                <a:gd name="connsiteX3" fmla="*/ 0 w 39052"/>
                <a:gd name="connsiteY3" fmla="*/ 56197 h 60007"/>
                <a:gd name="connsiteX4" fmla="*/ 0 w 39052"/>
                <a:gd name="connsiteY4" fmla="*/ 35147 h 60007"/>
                <a:gd name="connsiteX5" fmla="*/ 14288 w 39052"/>
                <a:gd name="connsiteY5" fmla="*/ 18097 h 60007"/>
                <a:gd name="connsiteX6" fmla="*/ 24765 w 39052"/>
                <a:gd name="connsiteY6" fmla="*/ 0 h 60007"/>
                <a:gd name="connsiteX7" fmla="*/ 39052 w 39052"/>
                <a:gd name="connsiteY7" fmla="*/ 28575 h 6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" h="60007">
                  <a:moveTo>
                    <a:pt x="39052" y="28575"/>
                  </a:moveTo>
                  <a:lnTo>
                    <a:pt x="24765" y="38957"/>
                  </a:lnTo>
                  <a:lnTo>
                    <a:pt x="28575" y="60007"/>
                  </a:lnTo>
                  <a:lnTo>
                    <a:pt x="0" y="56197"/>
                  </a:lnTo>
                  <a:lnTo>
                    <a:pt x="0" y="35147"/>
                  </a:lnTo>
                  <a:lnTo>
                    <a:pt x="14288" y="18097"/>
                  </a:lnTo>
                  <a:lnTo>
                    <a:pt x="24765" y="0"/>
                  </a:lnTo>
                  <a:lnTo>
                    <a:pt x="39052" y="2857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02" name="Freeform: Shape 1001">
              <a:extLst>
                <a:ext uri="{FF2B5EF4-FFF2-40B4-BE49-F238E27FC236}">
                  <a16:creationId xmlns:a16="http://schemas.microsoft.com/office/drawing/2014/main" id="{0A6E0F15-A04D-D3EA-0BFB-A21A512ADAFA}"/>
                </a:ext>
              </a:extLst>
            </p:cNvPr>
            <p:cNvSpPr/>
            <p:nvPr/>
          </p:nvSpPr>
          <p:spPr>
            <a:xfrm>
              <a:off x="7144200" y="4187986"/>
              <a:ext cx="38282" cy="58825"/>
            </a:xfrm>
            <a:custGeom>
              <a:avLst/>
              <a:gdLst>
                <a:gd name="connsiteX0" fmla="*/ 39052 w 39052"/>
                <a:gd name="connsiteY0" fmla="*/ 28575 h 60007"/>
                <a:gd name="connsiteX1" fmla="*/ 24765 w 39052"/>
                <a:gd name="connsiteY1" fmla="*/ 38957 h 60007"/>
                <a:gd name="connsiteX2" fmla="*/ 28575 w 39052"/>
                <a:gd name="connsiteY2" fmla="*/ 60007 h 60007"/>
                <a:gd name="connsiteX3" fmla="*/ 0 w 39052"/>
                <a:gd name="connsiteY3" fmla="*/ 56197 h 60007"/>
                <a:gd name="connsiteX4" fmla="*/ 0 w 39052"/>
                <a:gd name="connsiteY4" fmla="*/ 35147 h 60007"/>
                <a:gd name="connsiteX5" fmla="*/ 14288 w 39052"/>
                <a:gd name="connsiteY5" fmla="*/ 18097 h 60007"/>
                <a:gd name="connsiteX6" fmla="*/ 24765 w 39052"/>
                <a:gd name="connsiteY6" fmla="*/ 0 h 60007"/>
                <a:gd name="connsiteX7" fmla="*/ 39052 w 39052"/>
                <a:gd name="connsiteY7" fmla="*/ 28575 h 6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" h="60007">
                  <a:moveTo>
                    <a:pt x="39052" y="28575"/>
                  </a:moveTo>
                  <a:lnTo>
                    <a:pt x="24765" y="38957"/>
                  </a:lnTo>
                  <a:lnTo>
                    <a:pt x="28575" y="60007"/>
                  </a:lnTo>
                  <a:lnTo>
                    <a:pt x="0" y="56197"/>
                  </a:lnTo>
                  <a:lnTo>
                    <a:pt x="0" y="35147"/>
                  </a:lnTo>
                  <a:lnTo>
                    <a:pt x="14288" y="18097"/>
                  </a:lnTo>
                  <a:lnTo>
                    <a:pt x="24765" y="0"/>
                  </a:lnTo>
                  <a:lnTo>
                    <a:pt x="39052" y="2857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9E7E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03" name="Freeform: Shape 1002">
              <a:extLst>
                <a:ext uri="{FF2B5EF4-FFF2-40B4-BE49-F238E27FC236}">
                  <a16:creationId xmlns:a16="http://schemas.microsoft.com/office/drawing/2014/main" id="{5A875BE6-7B63-94D2-3842-4F0F6BADBE22}"/>
                </a:ext>
              </a:extLst>
            </p:cNvPr>
            <p:cNvSpPr/>
            <p:nvPr/>
          </p:nvSpPr>
          <p:spPr>
            <a:xfrm>
              <a:off x="7117122" y="4219733"/>
              <a:ext cx="285720" cy="372559"/>
            </a:xfrm>
            <a:custGeom>
              <a:avLst/>
              <a:gdLst>
                <a:gd name="connsiteX0" fmla="*/ 104775 w 291465"/>
                <a:gd name="connsiteY0" fmla="*/ 45625 h 380047"/>
                <a:gd name="connsiteX1" fmla="*/ 137160 w 291465"/>
                <a:gd name="connsiteY1" fmla="*/ 31337 h 380047"/>
                <a:gd name="connsiteX2" fmla="*/ 256223 w 291465"/>
                <a:gd name="connsiteY2" fmla="*/ 13335 h 380047"/>
                <a:gd name="connsiteX3" fmla="*/ 288608 w 291465"/>
                <a:gd name="connsiteY3" fmla="*/ 0 h 380047"/>
                <a:gd name="connsiteX4" fmla="*/ 291465 w 291465"/>
                <a:gd name="connsiteY4" fmla="*/ 38100 h 380047"/>
                <a:gd name="connsiteX5" fmla="*/ 278130 w 291465"/>
                <a:gd name="connsiteY5" fmla="*/ 52388 h 380047"/>
                <a:gd name="connsiteX6" fmla="*/ 232410 w 291465"/>
                <a:gd name="connsiteY6" fmla="*/ 140875 h 380047"/>
                <a:gd name="connsiteX7" fmla="*/ 140018 w 291465"/>
                <a:gd name="connsiteY7" fmla="*/ 267653 h 380047"/>
                <a:gd name="connsiteX8" fmla="*/ 20955 w 291465"/>
                <a:gd name="connsiteY8" fmla="*/ 380047 h 380047"/>
                <a:gd name="connsiteX9" fmla="*/ 2858 w 291465"/>
                <a:gd name="connsiteY9" fmla="*/ 356235 h 380047"/>
                <a:gd name="connsiteX10" fmla="*/ 0 w 291465"/>
                <a:gd name="connsiteY10" fmla="*/ 257175 h 380047"/>
                <a:gd name="connsiteX11" fmla="*/ 27623 w 291465"/>
                <a:gd name="connsiteY11" fmla="*/ 239078 h 380047"/>
                <a:gd name="connsiteX12" fmla="*/ 27623 w 291465"/>
                <a:gd name="connsiteY12" fmla="*/ 221837 h 380047"/>
                <a:gd name="connsiteX13" fmla="*/ 70485 w 291465"/>
                <a:gd name="connsiteY13" fmla="*/ 197072 h 380047"/>
                <a:gd name="connsiteX14" fmla="*/ 116205 w 291465"/>
                <a:gd name="connsiteY14" fmla="*/ 190500 h 380047"/>
                <a:gd name="connsiteX15" fmla="*/ 189548 w 291465"/>
                <a:gd name="connsiteY15" fmla="*/ 108585 h 380047"/>
                <a:gd name="connsiteX16" fmla="*/ 91440 w 291465"/>
                <a:gd name="connsiteY16" fmla="*/ 83725 h 380047"/>
                <a:gd name="connsiteX17" fmla="*/ 56198 w 291465"/>
                <a:gd name="connsiteY17" fmla="*/ 45625 h 380047"/>
                <a:gd name="connsiteX18" fmla="*/ 56198 w 291465"/>
                <a:gd name="connsiteY18" fmla="*/ 27622 h 380047"/>
                <a:gd name="connsiteX19" fmla="*/ 70485 w 291465"/>
                <a:gd name="connsiteY19" fmla="*/ 13335 h 380047"/>
                <a:gd name="connsiteX20" fmla="*/ 104775 w 291465"/>
                <a:gd name="connsiteY20" fmla="*/ 45625 h 3800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1465" h="380047">
                  <a:moveTo>
                    <a:pt x="104775" y="45625"/>
                  </a:moveTo>
                  <a:lnTo>
                    <a:pt x="137160" y="31337"/>
                  </a:lnTo>
                  <a:lnTo>
                    <a:pt x="256223" y="13335"/>
                  </a:lnTo>
                  <a:lnTo>
                    <a:pt x="288608" y="0"/>
                  </a:lnTo>
                  <a:lnTo>
                    <a:pt x="291465" y="38100"/>
                  </a:lnTo>
                  <a:lnTo>
                    <a:pt x="278130" y="52388"/>
                  </a:lnTo>
                  <a:lnTo>
                    <a:pt x="232410" y="140875"/>
                  </a:lnTo>
                  <a:lnTo>
                    <a:pt x="140018" y="267653"/>
                  </a:lnTo>
                  <a:lnTo>
                    <a:pt x="20955" y="380047"/>
                  </a:lnTo>
                  <a:lnTo>
                    <a:pt x="2858" y="356235"/>
                  </a:lnTo>
                  <a:lnTo>
                    <a:pt x="0" y="257175"/>
                  </a:lnTo>
                  <a:lnTo>
                    <a:pt x="27623" y="239078"/>
                  </a:lnTo>
                  <a:lnTo>
                    <a:pt x="27623" y="221837"/>
                  </a:lnTo>
                  <a:lnTo>
                    <a:pt x="70485" y="197072"/>
                  </a:lnTo>
                  <a:lnTo>
                    <a:pt x="116205" y="190500"/>
                  </a:lnTo>
                  <a:lnTo>
                    <a:pt x="189548" y="108585"/>
                  </a:lnTo>
                  <a:lnTo>
                    <a:pt x="91440" y="83725"/>
                  </a:lnTo>
                  <a:lnTo>
                    <a:pt x="56198" y="45625"/>
                  </a:lnTo>
                  <a:lnTo>
                    <a:pt x="56198" y="27622"/>
                  </a:lnTo>
                  <a:lnTo>
                    <a:pt x="70485" y="13335"/>
                  </a:lnTo>
                  <a:lnTo>
                    <a:pt x="104775" y="4562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04" name="Freeform: Shape 1003">
              <a:extLst>
                <a:ext uri="{FF2B5EF4-FFF2-40B4-BE49-F238E27FC236}">
                  <a16:creationId xmlns:a16="http://schemas.microsoft.com/office/drawing/2014/main" id="{00BE0CA1-70D3-12F1-2273-8607239EA0E6}"/>
                </a:ext>
              </a:extLst>
            </p:cNvPr>
            <p:cNvSpPr/>
            <p:nvPr/>
          </p:nvSpPr>
          <p:spPr>
            <a:xfrm>
              <a:off x="6899565" y="4143074"/>
              <a:ext cx="403369" cy="308132"/>
            </a:xfrm>
            <a:custGeom>
              <a:avLst/>
              <a:gdLst>
                <a:gd name="connsiteX0" fmla="*/ 98107 w 411480"/>
                <a:gd name="connsiteY0" fmla="*/ 10573 h 314325"/>
                <a:gd name="connsiteX1" fmla="*/ 137160 w 411480"/>
                <a:gd name="connsiteY1" fmla="*/ 10573 h 314325"/>
                <a:gd name="connsiteX2" fmla="*/ 140970 w 411480"/>
                <a:gd name="connsiteY2" fmla="*/ 0 h 314325"/>
                <a:gd name="connsiteX3" fmla="*/ 200025 w 411480"/>
                <a:gd name="connsiteY3" fmla="*/ 3810 h 314325"/>
                <a:gd name="connsiteX4" fmla="*/ 263843 w 411480"/>
                <a:gd name="connsiteY4" fmla="*/ 63913 h 314325"/>
                <a:gd name="connsiteX5" fmla="*/ 249555 w 411480"/>
                <a:gd name="connsiteY5" fmla="*/ 80963 h 314325"/>
                <a:gd name="connsiteX6" fmla="*/ 249555 w 411480"/>
                <a:gd name="connsiteY6" fmla="*/ 102013 h 314325"/>
                <a:gd name="connsiteX7" fmla="*/ 278130 w 411480"/>
                <a:gd name="connsiteY7" fmla="*/ 105823 h 314325"/>
                <a:gd name="connsiteX8" fmla="*/ 278130 w 411480"/>
                <a:gd name="connsiteY8" fmla="*/ 123825 h 314325"/>
                <a:gd name="connsiteX9" fmla="*/ 313373 w 411480"/>
                <a:gd name="connsiteY9" fmla="*/ 161925 h 314325"/>
                <a:gd name="connsiteX10" fmla="*/ 411480 w 411480"/>
                <a:gd name="connsiteY10" fmla="*/ 186785 h 314325"/>
                <a:gd name="connsiteX11" fmla="*/ 338138 w 411480"/>
                <a:gd name="connsiteY11" fmla="*/ 268700 h 314325"/>
                <a:gd name="connsiteX12" fmla="*/ 292418 w 411480"/>
                <a:gd name="connsiteY12" fmla="*/ 275272 h 314325"/>
                <a:gd name="connsiteX13" fmla="*/ 249555 w 411480"/>
                <a:gd name="connsiteY13" fmla="*/ 300038 h 314325"/>
                <a:gd name="connsiteX14" fmla="*/ 228600 w 411480"/>
                <a:gd name="connsiteY14" fmla="*/ 306800 h 314325"/>
                <a:gd name="connsiteX15" fmla="*/ 218123 w 411480"/>
                <a:gd name="connsiteY15" fmla="*/ 292513 h 314325"/>
                <a:gd name="connsiteX16" fmla="*/ 182880 w 411480"/>
                <a:gd name="connsiteY16" fmla="*/ 314325 h 314325"/>
                <a:gd name="connsiteX17" fmla="*/ 140970 w 411480"/>
                <a:gd name="connsiteY17" fmla="*/ 310610 h 314325"/>
                <a:gd name="connsiteX18" fmla="*/ 77153 w 411480"/>
                <a:gd name="connsiteY18" fmla="*/ 282035 h 314325"/>
                <a:gd name="connsiteX19" fmla="*/ 77153 w 411480"/>
                <a:gd name="connsiteY19" fmla="*/ 257175 h 314325"/>
                <a:gd name="connsiteX20" fmla="*/ 66675 w 411480"/>
                <a:gd name="connsiteY20" fmla="*/ 257175 h 314325"/>
                <a:gd name="connsiteX21" fmla="*/ 24765 w 411480"/>
                <a:gd name="connsiteY21" fmla="*/ 201073 h 314325"/>
                <a:gd name="connsiteX22" fmla="*/ 6668 w 411480"/>
                <a:gd name="connsiteY22" fmla="*/ 197263 h 314325"/>
                <a:gd name="connsiteX23" fmla="*/ 0 w 411480"/>
                <a:gd name="connsiteY23" fmla="*/ 173450 h 314325"/>
                <a:gd name="connsiteX24" fmla="*/ 35243 w 411480"/>
                <a:gd name="connsiteY24" fmla="*/ 173450 h 314325"/>
                <a:gd name="connsiteX25" fmla="*/ 35243 w 411480"/>
                <a:gd name="connsiteY25" fmla="*/ 109538 h 314325"/>
                <a:gd name="connsiteX26" fmla="*/ 56198 w 411480"/>
                <a:gd name="connsiteY26" fmla="*/ 105823 h 314325"/>
                <a:gd name="connsiteX27" fmla="*/ 56198 w 411480"/>
                <a:gd name="connsiteY27" fmla="*/ 78200 h 314325"/>
                <a:gd name="connsiteX28" fmla="*/ 98107 w 411480"/>
                <a:gd name="connsiteY28" fmla="*/ 10573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411480" h="314325">
                  <a:moveTo>
                    <a:pt x="98107" y="10573"/>
                  </a:moveTo>
                  <a:lnTo>
                    <a:pt x="137160" y="10573"/>
                  </a:lnTo>
                  <a:lnTo>
                    <a:pt x="140970" y="0"/>
                  </a:lnTo>
                  <a:lnTo>
                    <a:pt x="200025" y="3810"/>
                  </a:lnTo>
                  <a:lnTo>
                    <a:pt x="263843" y="63913"/>
                  </a:lnTo>
                  <a:lnTo>
                    <a:pt x="249555" y="80963"/>
                  </a:lnTo>
                  <a:lnTo>
                    <a:pt x="249555" y="102013"/>
                  </a:lnTo>
                  <a:lnTo>
                    <a:pt x="278130" y="105823"/>
                  </a:lnTo>
                  <a:lnTo>
                    <a:pt x="278130" y="123825"/>
                  </a:lnTo>
                  <a:lnTo>
                    <a:pt x="313373" y="161925"/>
                  </a:lnTo>
                  <a:lnTo>
                    <a:pt x="411480" y="186785"/>
                  </a:lnTo>
                  <a:lnTo>
                    <a:pt x="338138" y="268700"/>
                  </a:lnTo>
                  <a:lnTo>
                    <a:pt x="292418" y="275272"/>
                  </a:lnTo>
                  <a:lnTo>
                    <a:pt x="249555" y="300038"/>
                  </a:lnTo>
                  <a:lnTo>
                    <a:pt x="228600" y="306800"/>
                  </a:lnTo>
                  <a:lnTo>
                    <a:pt x="218123" y="292513"/>
                  </a:lnTo>
                  <a:lnTo>
                    <a:pt x="182880" y="314325"/>
                  </a:lnTo>
                  <a:lnTo>
                    <a:pt x="140970" y="310610"/>
                  </a:lnTo>
                  <a:lnTo>
                    <a:pt x="77153" y="282035"/>
                  </a:lnTo>
                  <a:lnTo>
                    <a:pt x="77153" y="257175"/>
                  </a:lnTo>
                  <a:lnTo>
                    <a:pt x="66675" y="257175"/>
                  </a:lnTo>
                  <a:lnTo>
                    <a:pt x="24765" y="201073"/>
                  </a:lnTo>
                  <a:lnTo>
                    <a:pt x="6668" y="197263"/>
                  </a:lnTo>
                  <a:lnTo>
                    <a:pt x="0" y="173450"/>
                  </a:lnTo>
                  <a:lnTo>
                    <a:pt x="35243" y="173450"/>
                  </a:lnTo>
                  <a:lnTo>
                    <a:pt x="35243" y="109538"/>
                  </a:lnTo>
                  <a:lnTo>
                    <a:pt x="56198" y="105823"/>
                  </a:lnTo>
                  <a:lnTo>
                    <a:pt x="56198" y="78200"/>
                  </a:lnTo>
                  <a:lnTo>
                    <a:pt x="98107" y="1057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05" name="Freeform: Shape 1004">
              <a:extLst>
                <a:ext uri="{FF2B5EF4-FFF2-40B4-BE49-F238E27FC236}">
                  <a16:creationId xmlns:a16="http://schemas.microsoft.com/office/drawing/2014/main" id="{7BB84D97-8A67-AF50-F035-E0EFD8F6E3A2}"/>
                </a:ext>
              </a:extLst>
            </p:cNvPr>
            <p:cNvSpPr/>
            <p:nvPr/>
          </p:nvSpPr>
          <p:spPr>
            <a:xfrm>
              <a:off x="6234753" y="4187986"/>
              <a:ext cx="205419" cy="308132"/>
            </a:xfrm>
            <a:custGeom>
              <a:avLst/>
              <a:gdLst>
                <a:gd name="connsiteX0" fmla="*/ 160020 w 209550"/>
                <a:gd name="connsiteY0" fmla="*/ 0 h 314325"/>
                <a:gd name="connsiteX1" fmla="*/ 174308 w 209550"/>
                <a:gd name="connsiteY1" fmla="*/ 20860 h 314325"/>
                <a:gd name="connsiteX2" fmla="*/ 178118 w 209550"/>
                <a:gd name="connsiteY2" fmla="*/ 63722 h 314325"/>
                <a:gd name="connsiteX3" fmla="*/ 188595 w 209550"/>
                <a:gd name="connsiteY3" fmla="*/ 80963 h 314325"/>
                <a:gd name="connsiteX4" fmla="*/ 153353 w 209550"/>
                <a:gd name="connsiteY4" fmla="*/ 80963 h 314325"/>
                <a:gd name="connsiteX5" fmla="*/ 149543 w 209550"/>
                <a:gd name="connsiteY5" fmla="*/ 99060 h 314325"/>
                <a:gd name="connsiteX6" fmla="*/ 201930 w 209550"/>
                <a:gd name="connsiteY6" fmla="*/ 155257 h 314325"/>
                <a:gd name="connsiteX7" fmla="*/ 166688 w 209550"/>
                <a:gd name="connsiteY7" fmla="*/ 183832 h 314325"/>
                <a:gd name="connsiteX8" fmla="*/ 166688 w 209550"/>
                <a:gd name="connsiteY8" fmla="*/ 211360 h 314325"/>
                <a:gd name="connsiteX9" fmla="*/ 184785 w 209550"/>
                <a:gd name="connsiteY9" fmla="*/ 258032 h 314325"/>
                <a:gd name="connsiteX10" fmla="*/ 209550 w 209550"/>
                <a:gd name="connsiteY10" fmla="*/ 285750 h 314325"/>
                <a:gd name="connsiteX11" fmla="*/ 205740 w 209550"/>
                <a:gd name="connsiteY11" fmla="*/ 310420 h 314325"/>
                <a:gd name="connsiteX12" fmla="*/ 174308 w 209550"/>
                <a:gd name="connsiteY12" fmla="*/ 314325 h 314325"/>
                <a:gd name="connsiteX13" fmla="*/ 174308 w 209550"/>
                <a:gd name="connsiteY13" fmla="*/ 300038 h 314325"/>
                <a:gd name="connsiteX14" fmla="*/ 31433 w 209550"/>
                <a:gd name="connsiteY14" fmla="*/ 300038 h 314325"/>
                <a:gd name="connsiteX15" fmla="*/ 31433 w 209550"/>
                <a:gd name="connsiteY15" fmla="*/ 258032 h 314325"/>
                <a:gd name="connsiteX16" fmla="*/ 17145 w 209550"/>
                <a:gd name="connsiteY16" fmla="*/ 243745 h 314325"/>
                <a:gd name="connsiteX17" fmla="*/ 0 w 209550"/>
                <a:gd name="connsiteY17" fmla="*/ 233363 h 314325"/>
                <a:gd name="connsiteX18" fmla="*/ 3810 w 209550"/>
                <a:gd name="connsiteY18" fmla="*/ 200882 h 314325"/>
                <a:gd name="connsiteX19" fmla="*/ 39053 w 209550"/>
                <a:gd name="connsiteY19" fmla="*/ 169545 h 314325"/>
                <a:gd name="connsiteX20" fmla="*/ 56198 w 209550"/>
                <a:gd name="connsiteY20" fmla="*/ 169545 h 314325"/>
                <a:gd name="connsiteX21" fmla="*/ 75248 w 209550"/>
                <a:gd name="connsiteY21" fmla="*/ 183832 h 314325"/>
                <a:gd name="connsiteX22" fmla="*/ 145733 w 209550"/>
                <a:gd name="connsiteY22" fmla="*/ 49435 h 314325"/>
                <a:gd name="connsiteX23" fmla="*/ 163830 w 209550"/>
                <a:gd name="connsiteY23" fmla="*/ 45720 h 314325"/>
                <a:gd name="connsiteX24" fmla="*/ 160020 w 209550"/>
                <a:gd name="connsiteY24" fmla="*/ 20860 h 314325"/>
                <a:gd name="connsiteX25" fmla="*/ 160020 w 209550"/>
                <a:gd name="connsiteY25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9550" h="314325">
                  <a:moveTo>
                    <a:pt x="160020" y="0"/>
                  </a:moveTo>
                  <a:lnTo>
                    <a:pt x="174308" y="20860"/>
                  </a:lnTo>
                  <a:lnTo>
                    <a:pt x="178118" y="63722"/>
                  </a:lnTo>
                  <a:lnTo>
                    <a:pt x="188595" y="80963"/>
                  </a:lnTo>
                  <a:lnTo>
                    <a:pt x="153353" y="80963"/>
                  </a:lnTo>
                  <a:lnTo>
                    <a:pt x="149543" y="99060"/>
                  </a:lnTo>
                  <a:lnTo>
                    <a:pt x="201930" y="155257"/>
                  </a:lnTo>
                  <a:lnTo>
                    <a:pt x="166688" y="183832"/>
                  </a:lnTo>
                  <a:lnTo>
                    <a:pt x="166688" y="211360"/>
                  </a:lnTo>
                  <a:lnTo>
                    <a:pt x="184785" y="258032"/>
                  </a:lnTo>
                  <a:lnTo>
                    <a:pt x="209550" y="285750"/>
                  </a:lnTo>
                  <a:lnTo>
                    <a:pt x="205740" y="310420"/>
                  </a:lnTo>
                  <a:lnTo>
                    <a:pt x="174308" y="314325"/>
                  </a:lnTo>
                  <a:lnTo>
                    <a:pt x="174308" y="300038"/>
                  </a:lnTo>
                  <a:lnTo>
                    <a:pt x="31433" y="300038"/>
                  </a:lnTo>
                  <a:lnTo>
                    <a:pt x="31433" y="258032"/>
                  </a:lnTo>
                  <a:lnTo>
                    <a:pt x="17145" y="243745"/>
                  </a:lnTo>
                  <a:lnTo>
                    <a:pt x="0" y="233363"/>
                  </a:lnTo>
                  <a:lnTo>
                    <a:pt x="3810" y="200882"/>
                  </a:lnTo>
                  <a:lnTo>
                    <a:pt x="39053" y="169545"/>
                  </a:lnTo>
                  <a:lnTo>
                    <a:pt x="56198" y="169545"/>
                  </a:lnTo>
                  <a:lnTo>
                    <a:pt x="75248" y="183832"/>
                  </a:lnTo>
                  <a:lnTo>
                    <a:pt x="145733" y="49435"/>
                  </a:lnTo>
                  <a:lnTo>
                    <a:pt x="163830" y="45720"/>
                  </a:lnTo>
                  <a:lnTo>
                    <a:pt x="160020" y="20860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06" name="Freeform: Shape 1005">
              <a:extLst>
                <a:ext uri="{FF2B5EF4-FFF2-40B4-BE49-F238E27FC236}">
                  <a16:creationId xmlns:a16="http://schemas.microsoft.com/office/drawing/2014/main" id="{7444D8A8-86A3-9282-DF9F-91CAC8369354}"/>
                </a:ext>
              </a:extLst>
            </p:cNvPr>
            <p:cNvSpPr/>
            <p:nvPr/>
          </p:nvSpPr>
          <p:spPr>
            <a:xfrm>
              <a:off x="6234753" y="4187986"/>
              <a:ext cx="205419" cy="308132"/>
            </a:xfrm>
            <a:custGeom>
              <a:avLst/>
              <a:gdLst>
                <a:gd name="connsiteX0" fmla="*/ 160020 w 209550"/>
                <a:gd name="connsiteY0" fmla="*/ 0 h 314325"/>
                <a:gd name="connsiteX1" fmla="*/ 174308 w 209550"/>
                <a:gd name="connsiteY1" fmla="*/ 20860 h 314325"/>
                <a:gd name="connsiteX2" fmla="*/ 178118 w 209550"/>
                <a:gd name="connsiteY2" fmla="*/ 63722 h 314325"/>
                <a:gd name="connsiteX3" fmla="*/ 188595 w 209550"/>
                <a:gd name="connsiteY3" fmla="*/ 80963 h 314325"/>
                <a:gd name="connsiteX4" fmla="*/ 153353 w 209550"/>
                <a:gd name="connsiteY4" fmla="*/ 80963 h 314325"/>
                <a:gd name="connsiteX5" fmla="*/ 149543 w 209550"/>
                <a:gd name="connsiteY5" fmla="*/ 99060 h 314325"/>
                <a:gd name="connsiteX6" fmla="*/ 201930 w 209550"/>
                <a:gd name="connsiteY6" fmla="*/ 155257 h 314325"/>
                <a:gd name="connsiteX7" fmla="*/ 166688 w 209550"/>
                <a:gd name="connsiteY7" fmla="*/ 183832 h 314325"/>
                <a:gd name="connsiteX8" fmla="*/ 166688 w 209550"/>
                <a:gd name="connsiteY8" fmla="*/ 211360 h 314325"/>
                <a:gd name="connsiteX9" fmla="*/ 184785 w 209550"/>
                <a:gd name="connsiteY9" fmla="*/ 258032 h 314325"/>
                <a:gd name="connsiteX10" fmla="*/ 209550 w 209550"/>
                <a:gd name="connsiteY10" fmla="*/ 285750 h 314325"/>
                <a:gd name="connsiteX11" fmla="*/ 205740 w 209550"/>
                <a:gd name="connsiteY11" fmla="*/ 310420 h 314325"/>
                <a:gd name="connsiteX12" fmla="*/ 174308 w 209550"/>
                <a:gd name="connsiteY12" fmla="*/ 314325 h 314325"/>
                <a:gd name="connsiteX13" fmla="*/ 174308 w 209550"/>
                <a:gd name="connsiteY13" fmla="*/ 300038 h 314325"/>
                <a:gd name="connsiteX14" fmla="*/ 31433 w 209550"/>
                <a:gd name="connsiteY14" fmla="*/ 300038 h 314325"/>
                <a:gd name="connsiteX15" fmla="*/ 31433 w 209550"/>
                <a:gd name="connsiteY15" fmla="*/ 258032 h 314325"/>
                <a:gd name="connsiteX16" fmla="*/ 17145 w 209550"/>
                <a:gd name="connsiteY16" fmla="*/ 243745 h 314325"/>
                <a:gd name="connsiteX17" fmla="*/ 0 w 209550"/>
                <a:gd name="connsiteY17" fmla="*/ 233363 h 314325"/>
                <a:gd name="connsiteX18" fmla="*/ 3810 w 209550"/>
                <a:gd name="connsiteY18" fmla="*/ 200882 h 314325"/>
                <a:gd name="connsiteX19" fmla="*/ 39053 w 209550"/>
                <a:gd name="connsiteY19" fmla="*/ 169545 h 314325"/>
                <a:gd name="connsiteX20" fmla="*/ 56198 w 209550"/>
                <a:gd name="connsiteY20" fmla="*/ 169545 h 314325"/>
                <a:gd name="connsiteX21" fmla="*/ 75248 w 209550"/>
                <a:gd name="connsiteY21" fmla="*/ 183832 h 314325"/>
                <a:gd name="connsiteX22" fmla="*/ 145733 w 209550"/>
                <a:gd name="connsiteY22" fmla="*/ 49435 h 314325"/>
                <a:gd name="connsiteX23" fmla="*/ 163830 w 209550"/>
                <a:gd name="connsiteY23" fmla="*/ 45720 h 314325"/>
                <a:gd name="connsiteX24" fmla="*/ 160020 w 209550"/>
                <a:gd name="connsiteY24" fmla="*/ 20860 h 314325"/>
                <a:gd name="connsiteX25" fmla="*/ 160020 w 209550"/>
                <a:gd name="connsiteY25" fmla="*/ 0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09550" h="314325">
                  <a:moveTo>
                    <a:pt x="160020" y="0"/>
                  </a:moveTo>
                  <a:lnTo>
                    <a:pt x="174308" y="20860"/>
                  </a:lnTo>
                  <a:lnTo>
                    <a:pt x="178118" y="63722"/>
                  </a:lnTo>
                  <a:lnTo>
                    <a:pt x="188595" y="80963"/>
                  </a:lnTo>
                  <a:lnTo>
                    <a:pt x="153353" y="80963"/>
                  </a:lnTo>
                  <a:lnTo>
                    <a:pt x="149543" y="99060"/>
                  </a:lnTo>
                  <a:lnTo>
                    <a:pt x="201930" y="155257"/>
                  </a:lnTo>
                  <a:lnTo>
                    <a:pt x="166688" y="183832"/>
                  </a:lnTo>
                  <a:lnTo>
                    <a:pt x="166688" y="211360"/>
                  </a:lnTo>
                  <a:lnTo>
                    <a:pt x="184785" y="258032"/>
                  </a:lnTo>
                  <a:lnTo>
                    <a:pt x="209550" y="285750"/>
                  </a:lnTo>
                  <a:lnTo>
                    <a:pt x="205740" y="310420"/>
                  </a:lnTo>
                  <a:lnTo>
                    <a:pt x="174308" y="314325"/>
                  </a:lnTo>
                  <a:lnTo>
                    <a:pt x="174308" y="300038"/>
                  </a:lnTo>
                  <a:lnTo>
                    <a:pt x="31433" y="300038"/>
                  </a:lnTo>
                  <a:lnTo>
                    <a:pt x="31433" y="258032"/>
                  </a:lnTo>
                  <a:lnTo>
                    <a:pt x="17145" y="243745"/>
                  </a:lnTo>
                  <a:lnTo>
                    <a:pt x="0" y="233363"/>
                  </a:lnTo>
                  <a:lnTo>
                    <a:pt x="3810" y="200882"/>
                  </a:lnTo>
                  <a:lnTo>
                    <a:pt x="39053" y="169545"/>
                  </a:lnTo>
                  <a:lnTo>
                    <a:pt x="56198" y="169545"/>
                  </a:lnTo>
                  <a:lnTo>
                    <a:pt x="75248" y="183832"/>
                  </a:lnTo>
                  <a:lnTo>
                    <a:pt x="145733" y="49435"/>
                  </a:lnTo>
                  <a:lnTo>
                    <a:pt x="163830" y="45720"/>
                  </a:lnTo>
                  <a:lnTo>
                    <a:pt x="160020" y="20860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07" name="Freeform: Shape 1006">
              <a:extLst>
                <a:ext uri="{FF2B5EF4-FFF2-40B4-BE49-F238E27FC236}">
                  <a16:creationId xmlns:a16="http://schemas.microsoft.com/office/drawing/2014/main" id="{14495917-C539-F05D-58A1-FDA338A98A21}"/>
                </a:ext>
              </a:extLst>
            </p:cNvPr>
            <p:cNvSpPr/>
            <p:nvPr/>
          </p:nvSpPr>
          <p:spPr>
            <a:xfrm>
              <a:off x="6072285" y="4163709"/>
              <a:ext cx="323068" cy="259483"/>
            </a:xfrm>
            <a:custGeom>
              <a:avLst/>
              <a:gdLst>
                <a:gd name="connsiteX0" fmla="*/ 165735 w 329564"/>
                <a:gd name="connsiteY0" fmla="*/ 258128 h 264699"/>
                <a:gd name="connsiteX1" fmla="*/ 112395 w 329564"/>
                <a:gd name="connsiteY1" fmla="*/ 264700 h 264699"/>
                <a:gd name="connsiteX2" fmla="*/ 77152 w 329564"/>
                <a:gd name="connsiteY2" fmla="*/ 260985 h 264699"/>
                <a:gd name="connsiteX3" fmla="*/ 80963 w 329564"/>
                <a:gd name="connsiteY3" fmla="*/ 233363 h 264699"/>
                <a:gd name="connsiteX4" fmla="*/ 39052 w 329564"/>
                <a:gd name="connsiteY4" fmla="*/ 208597 h 264699"/>
                <a:gd name="connsiteX5" fmla="*/ 3810 w 329564"/>
                <a:gd name="connsiteY5" fmla="*/ 204788 h 264699"/>
                <a:gd name="connsiteX6" fmla="*/ 0 w 329564"/>
                <a:gd name="connsiteY6" fmla="*/ 138113 h 264699"/>
                <a:gd name="connsiteX7" fmla="*/ 39052 w 329564"/>
                <a:gd name="connsiteY7" fmla="*/ 92297 h 264699"/>
                <a:gd name="connsiteX8" fmla="*/ 18097 w 329564"/>
                <a:gd name="connsiteY8" fmla="*/ 74200 h 264699"/>
                <a:gd name="connsiteX9" fmla="*/ 20955 w 329564"/>
                <a:gd name="connsiteY9" fmla="*/ 59912 h 264699"/>
                <a:gd name="connsiteX10" fmla="*/ 41910 w 329564"/>
                <a:gd name="connsiteY10" fmla="*/ 3810 h 264699"/>
                <a:gd name="connsiteX11" fmla="*/ 95250 w 329564"/>
                <a:gd name="connsiteY11" fmla="*/ 3810 h 264699"/>
                <a:gd name="connsiteX12" fmla="*/ 122872 w 329564"/>
                <a:gd name="connsiteY12" fmla="*/ 24765 h 264699"/>
                <a:gd name="connsiteX13" fmla="*/ 140970 w 329564"/>
                <a:gd name="connsiteY13" fmla="*/ 14288 h 264699"/>
                <a:gd name="connsiteX14" fmla="*/ 190500 w 329564"/>
                <a:gd name="connsiteY14" fmla="*/ 32385 h 264699"/>
                <a:gd name="connsiteX15" fmla="*/ 200977 w 329564"/>
                <a:gd name="connsiteY15" fmla="*/ 18097 h 264699"/>
                <a:gd name="connsiteX16" fmla="*/ 262890 w 329564"/>
                <a:gd name="connsiteY16" fmla="*/ 24765 h 264699"/>
                <a:gd name="connsiteX17" fmla="*/ 300990 w 329564"/>
                <a:gd name="connsiteY17" fmla="*/ 0 h 264699"/>
                <a:gd name="connsiteX18" fmla="*/ 325755 w 329564"/>
                <a:gd name="connsiteY18" fmla="*/ 24765 h 264699"/>
                <a:gd name="connsiteX19" fmla="*/ 329565 w 329564"/>
                <a:gd name="connsiteY19" fmla="*/ 70485 h 264699"/>
                <a:gd name="connsiteX20" fmla="*/ 311468 w 329564"/>
                <a:gd name="connsiteY20" fmla="*/ 74200 h 264699"/>
                <a:gd name="connsiteX21" fmla="*/ 240982 w 329564"/>
                <a:gd name="connsiteY21" fmla="*/ 208597 h 264699"/>
                <a:gd name="connsiteX22" fmla="*/ 221932 w 329564"/>
                <a:gd name="connsiteY22" fmla="*/ 194310 h 264699"/>
                <a:gd name="connsiteX23" fmla="*/ 204788 w 329564"/>
                <a:gd name="connsiteY23" fmla="*/ 194310 h 264699"/>
                <a:gd name="connsiteX24" fmla="*/ 169545 w 329564"/>
                <a:gd name="connsiteY24" fmla="*/ 225647 h 264699"/>
                <a:gd name="connsiteX25" fmla="*/ 165735 w 329564"/>
                <a:gd name="connsiteY25" fmla="*/ 258128 h 264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9564" h="264699">
                  <a:moveTo>
                    <a:pt x="165735" y="258128"/>
                  </a:moveTo>
                  <a:lnTo>
                    <a:pt x="112395" y="264700"/>
                  </a:lnTo>
                  <a:lnTo>
                    <a:pt x="77152" y="260985"/>
                  </a:lnTo>
                  <a:lnTo>
                    <a:pt x="80963" y="233363"/>
                  </a:lnTo>
                  <a:lnTo>
                    <a:pt x="39052" y="208597"/>
                  </a:lnTo>
                  <a:lnTo>
                    <a:pt x="3810" y="204788"/>
                  </a:lnTo>
                  <a:lnTo>
                    <a:pt x="0" y="138113"/>
                  </a:lnTo>
                  <a:lnTo>
                    <a:pt x="39052" y="92297"/>
                  </a:lnTo>
                  <a:lnTo>
                    <a:pt x="18097" y="74200"/>
                  </a:lnTo>
                  <a:lnTo>
                    <a:pt x="20955" y="59912"/>
                  </a:lnTo>
                  <a:lnTo>
                    <a:pt x="41910" y="3810"/>
                  </a:lnTo>
                  <a:lnTo>
                    <a:pt x="95250" y="3810"/>
                  </a:lnTo>
                  <a:lnTo>
                    <a:pt x="122872" y="24765"/>
                  </a:lnTo>
                  <a:lnTo>
                    <a:pt x="140970" y="14288"/>
                  </a:lnTo>
                  <a:lnTo>
                    <a:pt x="190500" y="32385"/>
                  </a:lnTo>
                  <a:lnTo>
                    <a:pt x="200977" y="18097"/>
                  </a:lnTo>
                  <a:lnTo>
                    <a:pt x="262890" y="24765"/>
                  </a:lnTo>
                  <a:lnTo>
                    <a:pt x="300990" y="0"/>
                  </a:lnTo>
                  <a:lnTo>
                    <a:pt x="325755" y="24765"/>
                  </a:lnTo>
                  <a:lnTo>
                    <a:pt x="329565" y="70485"/>
                  </a:lnTo>
                  <a:lnTo>
                    <a:pt x="311468" y="74200"/>
                  </a:lnTo>
                  <a:lnTo>
                    <a:pt x="240982" y="208597"/>
                  </a:lnTo>
                  <a:lnTo>
                    <a:pt x="221932" y="194310"/>
                  </a:lnTo>
                  <a:lnTo>
                    <a:pt x="204788" y="194310"/>
                  </a:lnTo>
                  <a:lnTo>
                    <a:pt x="169545" y="225647"/>
                  </a:lnTo>
                  <a:lnTo>
                    <a:pt x="165735" y="25812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08" name="Freeform: Shape 1007">
              <a:extLst>
                <a:ext uri="{FF2B5EF4-FFF2-40B4-BE49-F238E27FC236}">
                  <a16:creationId xmlns:a16="http://schemas.microsoft.com/office/drawing/2014/main" id="{ECD87008-5B05-E10C-C63B-17881B8128B7}"/>
                </a:ext>
              </a:extLst>
            </p:cNvPr>
            <p:cNvSpPr/>
            <p:nvPr/>
          </p:nvSpPr>
          <p:spPr>
            <a:xfrm>
              <a:off x="6072285" y="4163709"/>
              <a:ext cx="323068" cy="259483"/>
            </a:xfrm>
            <a:custGeom>
              <a:avLst/>
              <a:gdLst>
                <a:gd name="connsiteX0" fmla="*/ 165735 w 329564"/>
                <a:gd name="connsiteY0" fmla="*/ 258128 h 264699"/>
                <a:gd name="connsiteX1" fmla="*/ 112395 w 329564"/>
                <a:gd name="connsiteY1" fmla="*/ 264700 h 264699"/>
                <a:gd name="connsiteX2" fmla="*/ 77152 w 329564"/>
                <a:gd name="connsiteY2" fmla="*/ 260985 h 264699"/>
                <a:gd name="connsiteX3" fmla="*/ 80963 w 329564"/>
                <a:gd name="connsiteY3" fmla="*/ 233363 h 264699"/>
                <a:gd name="connsiteX4" fmla="*/ 39052 w 329564"/>
                <a:gd name="connsiteY4" fmla="*/ 208597 h 264699"/>
                <a:gd name="connsiteX5" fmla="*/ 3810 w 329564"/>
                <a:gd name="connsiteY5" fmla="*/ 204788 h 264699"/>
                <a:gd name="connsiteX6" fmla="*/ 0 w 329564"/>
                <a:gd name="connsiteY6" fmla="*/ 138113 h 264699"/>
                <a:gd name="connsiteX7" fmla="*/ 39052 w 329564"/>
                <a:gd name="connsiteY7" fmla="*/ 92297 h 264699"/>
                <a:gd name="connsiteX8" fmla="*/ 18097 w 329564"/>
                <a:gd name="connsiteY8" fmla="*/ 74200 h 264699"/>
                <a:gd name="connsiteX9" fmla="*/ 20955 w 329564"/>
                <a:gd name="connsiteY9" fmla="*/ 59912 h 264699"/>
                <a:gd name="connsiteX10" fmla="*/ 41910 w 329564"/>
                <a:gd name="connsiteY10" fmla="*/ 3810 h 264699"/>
                <a:gd name="connsiteX11" fmla="*/ 95250 w 329564"/>
                <a:gd name="connsiteY11" fmla="*/ 3810 h 264699"/>
                <a:gd name="connsiteX12" fmla="*/ 122872 w 329564"/>
                <a:gd name="connsiteY12" fmla="*/ 24765 h 264699"/>
                <a:gd name="connsiteX13" fmla="*/ 140970 w 329564"/>
                <a:gd name="connsiteY13" fmla="*/ 14288 h 264699"/>
                <a:gd name="connsiteX14" fmla="*/ 190500 w 329564"/>
                <a:gd name="connsiteY14" fmla="*/ 32385 h 264699"/>
                <a:gd name="connsiteX15" fmla="*/ 200977 w 329564"/>
                <a:gd name="connsiteY15" fmla="*/ 18097 h 264699"/>
                <a:gd name="connsiteX16" fmla="*/ 262890 w 329564"/>
                <a:gd name="connsiteY16" fmla="*/ 24765 h 264699"/>
                <a:gd name="connsiteX17" fmla="*/ 300990 w 329564"/>
                <a:gd name="connsiteY17" fmla="*/ 0 h 264699"/>
                <a:gd name="connsiteX18" fmla="*/ 325755 w 329564"/>
                <a:gd name="connsiteY18" fmla="*/ 24765 h 264699"/>
                <a:gd name="connsiteX19" fmla="*/ 329565 w 329564"/>
                <a:gd name="connsiteY19" fmla="*/ 70485 h 264699"/>
                <a:gd name="connsiteX20" fmla="*/ 311468 w 329564"/>
                <a:gd name="connsiteY20" fmla="*/ 74200 h 264699"/>
                <a:gd name="connsiteX21" fmla="*/ 240982 w 329564"/>
                <a:gd name="connsiteY21" fmla="*/ 208597 h 264699"/>
                <a:gd name="connsiteX22" fmla="*/ 221932 w 329564"/>
                <a:gd name="connsiteY22" fmla="*/ 194310 h 264699"/>
                <a:gd name="connsiteX23" fmla="*/ 204788 w 329564"/>
                <a:gd name="connsiteY23" fmla="*/ 194310 h 264699"/>
                <a:gd name="connsiteX24" fmla="*/ 169545 w 329564"/>
                <a:gd name="connsiteY24" fmla="*/ 225647 h 264699"/>
                <a:gd name="connsiteX25" fmla="*/ 165735 w 329564"/>
                <a:gd name="connsiteY25" fmla="*/ 258128 h 2646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29564" h="264699">
                  <a:moveTo>
                    <a:pt x="165735" y="258128"/>
                  </a:moveTo>
                  <a:lnTo>
                    <a:pt x="112395" y="264700"/>
                  </a:lnTo>
                  <a:lnTo>
                    <a:pt x="77152" y="260985"/>
                  </a:lnTo>
                  <a:lnTo>
                    <a:pt x="80963" y="233363"/>
                  </a:lnTo>
                  <a:lnTo>
                    <a:pt x="39052" y="208597"/>
                  </a:lnTo>
                  <a:lnTo>
                    <a:pt x="3810" y="204788"/>
                  </a:lnTo>
                  <a:lnTo>
                    <a:pt x="0" y="138113"/>
                  </a:lnTo>
                  <a:lnTo>
                    <a:pt x="39052" y="92297"/>
                  </a:lnTo>
                  <a:lnTo>
                    <a:pt x="18097" y="74200"/>
                  </a:lnTo>
                  <a:lnTo>
                    <a:pt x="20955" y="59912"/>
                  </a:lnTo>
                  <a:lnTo>
                    <a:pt x="41910" y="3810"/>
                  </a:lnTo>
                  <a:lnTo>
                    <a:pt x="95250" y="3810"/>
                  </a:lnTo>
                  <a:lnTo>
                    <a:pt x="122872" y="24765"/>
                  </a:lnTo>
                  <a:lnTo>
                    <a:pt x="140970" y="14288"/>
                  </a:lnTo>
                  <a:lnTo>
                    <a:pt x="190500" y="32385"/>
                  </a:lnTo>
                  <a:lnTo>
                    <a:pt x="200977" y="18097"/>
                  </a:lnTo>
                  <a:lnTo>
                    <a:pt x="262890" y="24765"/>
                  </a:lnTo>
                  <a:lnTo>
                    <a:pt x="300990" y="0"/>
                  </a:lnTo>
                  <a:lnTo>
                    <a:pt x="325755" y="24765"/>
                  </a:lnTo>
                  <a:lnTo>
                    <a:pt x="329565" y="70485"/>
                  </a:lnTo>
                  <a:lnTo>
                    <a:pt x="311468" y="74200"/>
                  </a:lnTo>
                  <a:lnTo>
                    <a:pt x="240982" y="208597"/>
                  </a:lnTo>
                  <a:lnTo>
                    <a:pt x="221932" y="194310"/>
                  </a:lnTo>
                  <a:lnTo>
                    <a:pt x="204788" y="194310"/>
                  </a:lnTo>
                  <a:lnTo>
                    <a:pt x="169545" y="225647"/>
                  </a:lnTo>
                  <a:lnTo>
                    <a:pt x="165735" y="25812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10" name="Freeform: Shape 1009">
              <a:extLst>
                <a:ext uri="{FF2B5EF4-FFF2-40B4-BE49-F238E27FC236}">
                  <a16:creationId xmlns:a16="http://schemas.microsoft.com/office/drawing/2014/main" id="{0E7F6673-0A4F-3B4F-0817-3DBC7B74FD10}"/>
                </a:ext>
              </a:extLst>
            </p:cNvPr>
            <p:cNvSpPr/>
            <p:nvPr/>
          </p:nvSpPr>
          <p:spPr>
            <a:xfrm>
              <a:off x="6017195" y="4205727"/>
              <a:ext cx="93372" cy="165177"/>
            </a:xfrm>
            <a:custGeom>
              <a:avLst/>
              <a:gdLst>
                <a:gd name="connsiteX0" fmla="*/ 35243 w 95250"/>
                <a:gd name="connsiteY0" fmla="*/ 2762 h 168497"/>
                <a:gd name="connsiteX1" fmla="*/ 60008 w 95250"/>
                <a:gd name="connsiteY1" fmla="*/ 0 h 168497"/>
                <a:gd name="connsiteX2" fmla="*/ 77153 w 95250"/>
                <a:gd name="connsiteY2" fmla="*/ 17050 h 168497"/>
                <a:gd name="connsiteX3" fmla="*/ 74295 w 95250"/>
                <a:gd name="connsiteY3" fmla="*/ 31337 h 168497"/>
                <a:gd name="connsiteX4" fmla="*/ 95250 w 95250"/>
                <a:gd name="connsiteY4" fmla="*/ 49435 h 168497"/>
                <a:gd name="connsiteX5" fmla="*/ 56198 w 95250"/>
                <a:gd name="connsiteY5" fmla="*/ 95250 h 168497"/>
                <a:gd name="connsiteX6" fmla="*/ 60008 w 95250"/>
                <a:gd name="connsiteY6" fmla="*/ 161925 h 168497"/>
                <a:gd name="connsiteX7" fmla="*/ 20955 w 95250"/>
                <a:gd name="connsiteY7" fmla="*/ 168497 h 168497"/>
                <a:gd name="connsiteX8" fmla="*/ 20955 w 95250"/>
                <a:gd name="connsiteY8" fmla="*/ 84772 h 168497"/>
                <a:gd name="connsiteX9" fmla="*/ 0 w 95250"/>
                <a:gd name="connsiteY9" fmla="*/ 56197 h 168497"/>
                <a:gd name="connsiteX10" fmla="*/ 6668 w 95250"/>
                <a:gd name="connsiteY10" fmla="*/ 35147 h 168497"/>
                <a:gd name="connsiteX11" fmla="*/ 35243 w 95250"/>
                <a:gd name="connsiteY11" fmla="*/ 27622 h 168497"/>
                <a:gd name="connsiteX12" fmla="*/ 35243 w 95250"/>
                <a:gd name="connsiteY12" fmla="*/ 2762 h 16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68497">
                  <a:moveTo>
                    <a:pt x="35243" y="2762"/>
                  </a:moveTo>
                  <a:lnTo>
                    <a:pt x="60008" y="0"/>
                  </a:lnTo>
                  <a:lnTo>
                    <a:pt x="77153" y="17050"/>
                  </a:lnTo>
                  <a:lnTo>
                    <a:pt x="74295" y="31337"/>
                  </a:lnTo>
                  <a:lnTo>
                    <a:pt x="95250" y="49435"/>
                  </a:lnTo>
                  <a:lnTo>
                    <a:pt x="56198" y="95250"/>
                  </a:lnTo>
                  <a:lnTo>
                    <a:pt x="60008" y="161925"/>
                  </a:lnTo>
                  <a:lnTo>
                    <a:pt x="20955" y="168497"/>
                  </a:lnTo>
                  <a:lnTo>
                    <a:pt x="20955" y="84772"/>
                  </a:lnTo>
                  <a:lnTo>
                    <a:pt x="0" y="56197"/>
                  </a:lnTo>
                  <a:lnTo>
                    <a:pt x="6668" y="35147"/>
                  </a:lnTo>
                  <a:lnTo>
                    <a:pt x="35243" y="27622"/>
                  </a:lnTo>
                  <a:lnTo>
                    <a:pt x="35243" y="276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11" name="Freeform: Shape 1010">
              <a:extLst>
                <a:ext uri="{FF2B5EF4-FFF2-40B4-BE49-F238E27FC236}">
                  <a16:creationId xmlns:a16="http://schemas.microsoft.com/office/drawing/2014/main" id="{71B3FD84-2E00-8167-FCB9-2DBE8F42ADD9}"/>
                </a:ext>
              </a:extLst>
            </p:cNvPr>
            <p:cNvSpPr/>
            <p:nvPr/>
          </p:nvSpPr>
          <p:spPr>
            <a:xfrm>
              <a:off x="6017195" y="4205727"/>
              <a:ext cx="93372" cy="165177"/>
            </a:xfrm>
            <a:custGeom>
              <a:avLst/>
              <a:gdLst>
                <a:gd name="connsiteX0" fmla="*/ 35243 w 95250"/>
                <a:gd name="connsiteY0" fmla="*/ 2762 h 168497"/>
                <a:gd name="connsiteX1" fmla="*/ 60008 w 95250"/>
                <a:gd name="connsiteY1" fmla="*/ 0 h 168497"/>
                <a:gd name="connsiteX2" fmla="*/ 77153 w 95250"/>
                <a:gd name="connsiteY2" fmla="*/ 17050 h 168497"/>
                <a:gd name="connsiteX3" fmla="*/ 74295 w 95250"/>
                <a:gd name="connsiteY3" fmla="*/ 31337 h 168497"/>
                <a:gd name="connsiteX4" fmla="*/ 95250 w 95250"/>
                <a:gd name="connsiteY4" fmla="*/ 49435 h 168497"/>
                <a:gd name="connsiteX5" fmla="*/ 56198 w 95250"/>
                <a:gd name="connsiteY5" fmla="*/ 95250 h 168497"/>
                <a:gd name="connsiteX6" fmla="*/ 60008 w 95250"/>
                <a:gd name="connsiteY6" fmla="*/ 161925 h 168497"/>
                <a:gd name="connsiteX7" fmla="*/ 20955 w 95250"/>
                <a:gd name="connsiteY7" fmla="*/ 168497 h 168497"/>
                <a:gd name="connsiteX8" fmla="*/ 20955 w 95250"/>
                <a:gd name="connsiteY8" fmla="*/ 84772 h 168497"/>
                <a:gd name="connsiteX9" fmla="*/ 0 w 95250"/>
                <a:gd name="connsiteY9" fmla="*/ 56197 h 168497"/>
                <a:gd name="connsiteX10" fmla="*/ 6668 w 95250"/>
                <a:gd name="connsiteY10" fmla="*/ 35147 h 168497"/>
                <a:gd name="connsiteX11" fmla="*/ 35243 w 95250"/>
                <a:gd name="connsiteY11" fmla="*/ 27622 h 168497"/>
                <a:gd name="connsiteX12" fmla="*/ 35243 w 95250"/>
                <a:gd name="connsiteY12" fmla="*/ 2762 h 168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168497">
                  <a:moveTo>
                    <a:pt x="35243" y="2762"/>
                  </a:moveTo>
                  <a:lnTo>
                    <a:pt x="60008" y="0"/>
                  </a:lnTo>
                  <a:lnTo>
                    <a:pt x="77153" y="17050"/>
                  </a:lnTo>
                  <a:lnTo>
                    <a:pt x="74295" y="31337"/>
                  </a:lnTo>
                  <a:lnTo>
                    <a:pt x="95250" y="49435"/>
                  </a:lnTo>
                  <a:lnTo>
                    <a:pt x="56198" y="95250"/>
                  </a:lnTo>
                  <a:lnTo>
                    <a:pt x="60008" y="161925"/>
                  </a:lnTo>
                  <a:lnTo>
                    <a:pt x="20955" y="168497"/>
                  </a:lnTo>
                  <a:lnTo>
                    <a:pt x="20955" y="84772"/>
                  </a:lnTo>
                  <a:lnTo>
                    <a:pt x="0" y="56197"/>
                  </a:lnTo>
                  <a:lnTo>
                    <a:pt x="6668" y="35147"/>
                  </a:lnTo>
                  <a:lnTo>
                    <a:pt x="35243" y="27622"/>
                  </a:lnTo>
                  <a:lnTo>
                    <a:pt x="35243" y="276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12" name="Freeform: Shape 1011">
              <a:extLst>
                <a:ext uri="{FF2B5EF4-FFF2-40B4-BE49-F238E27FC236}">
                  <a16:creationId xmlns:a16="http://schemas.microsoft.com/office/drawing/2014/main" id="{F94E8DBD-4DA4-3533-1C86-AA0C7323EE60}"/>
                </a:ext>
              </a:extLst>
            </p:cNvPr>
            <p:cNvSpPr/>
            <p:nvPr/>
          </p:nvSpPr>
          <p:spPr>
            <a:xfrm>
              <a:off x="5986382" y="4240181"/>
              <a:ext cx="51354" cy="138285"/>
            </a:xfrm>
            <a:custGeom>
              <a:avLst/>
              <a:gdLst>
                <a:gd name="connsiteX0" fmla="*/ 52388 w 52387"/>
                <a:gd name="connsiteY0" fmla="*/ 133350 h 141065"/>
                <a:gd name="connsiteX1" fmla="*/ 27622 w 52387"/>
                <a:gd name="connsiteY1" fmla="*/ 141065 h 141065"/>
                <a:gd name="connsiteX2" fmla="*/ 20955 w 52387"/>
                <a:gd name="connsiteY2" fmla="*/ 84868 h 141065"/>
                <a:gd name="connsiteX3" fmla="*/ 13335 w 52387"/>
                <a:gd name="connsiteY3" fmla="*/ 60103 h 141065"/>
                <a:gd name="connsiteX4" fmla="*/ 20955 w 52387"/>
                <a:gd name="connsiteY4" fmla="*/ 31528 h 141065"/>
                <a:gd name="connsiteX5" fmla="*/ 0 w 52387"/>
                <a:gd name="connsiteY5" fmla="*/ 0 h 141065"/>
                <a:gd name="connsiteX6" fmla="*/ 38100 w 52387"/>
                <a:gd name="connsiteY6" fmla="*/ 0 h 141065"/>
                <a:gd name="connsiteX7" fmla="*/ 31432 w 52387"/>
                <a:gd name="connsiteY7" fmla="*/ 21050 h 141065"/>
                <a:gd name="connsiteX8" fmla="*/ 52388 w 52387"/>
                <a:gd name="connsiteY8" fmla="*/ 49625 h 141065"/>
                <a:gd name="connsiteX9" fmla="*/ 52388 w 52387"/>
                <a:gd name="connsiteY9" fmla="*/ 133350 h 141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387" h="141065">
                  <a:moveTo>
                    <a:pt x="52388" y="133350"/>
                  </a:moveTo>
                  <a:lnTo>
                    <a:pt x="27622" y="141065"/>
                  </a:lnTo>
                  <a:lnTo>
                    <a:pt x="20955" y="84868"/>
                  </a:lnTo>
                  <a:lnTo>
                    <a:pt x="13335" y="60103"/>
                  </a:lnTo>
                  <a:lnTo>
                    <a:pt x="20955" y="31528"/>
                  </a:lnTo>
                  <a:lnTo>
                    <a:pt x="0" y="0"/>
                  </a:lnTo>
                  <a:lnTo>
                    <a:pt x="38100" y="0"/>
                  </a:lnTo>
                  <a:lnTo>
                    <a:pt x="31432" y="21050"/>
                  </a:lnTo>
                  <a:lnTo>
                    <a:pt x="52388" y="49625"/>
                  </a:lnTo>
                  <a:lnTo>
                    <a:pt x="52388" y="13335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13" name="Freeform: Shape 1012">
              <a:extLst>
                <a:ext uri="{FF2B5EF4-FFF2-40B4-BE49-F238E27FC236}">
                  <a16:creationId xmlns:a16="http://schemas.microsoft.com/office/drawing/2014/main" id="{46934B75-9243-B0B4-8B79-EE4E9F682866}"/>
                </a:ext>
              </a:extLst>
            </p:cNvPr>
            <p:cNvSpPr/>
            <p:nvPr/>
          </p:nvSpPr>
          <p:spPr>
            <a:xfrm>
              <a:off x="5986382" y="4240181"/>
              <a:ext cx="51354" cy="138285"/>
            </a:xfrm>
            <a:custGeom>
              <a:avLst/>
              <a:gdLst>
                <a:gd name="connsiteX0" fmla="*/ 52388 w 52387"/>
                <a:gd name="connsiteY0" fmla="*/ 133350 h 141065"/>
                <a:gd name="connsiteX1" fmla="*/ 27622 w 52387"/>
                <a:gd name="connsiteY1" fmla="*/ 141065 h 141065"/>
                <a:gd name="connsiteX2" fmla="*/ 20955 w 52387"/>
                <a:gd name="connsiteY2" fmla="*/ 84868 h 141065"/>
                <a:gd name="connsiteX3" fmla="*/ 13335 w 52387"/>
                <a:gd name="connsiteY3" fmla="*/ 60103 h 141065"/>
                <a:gd name="connsiteX4" fmla="*/ 20955 w 52387"/>
                <a:gd name="connsiteY4" fmla="*/ 31528 h 141065"/>
                <a:gd name="connsiteX5" fmla="*/ 0 w 52387"/>
                <a:gd name="connsiteY5" fmla="*/ 0 h 141065"/>
                <a:gd name="connsiteX6" fmla="*/ 38100 w 52387"/>
                <a:gd name="connsiteY6" fmla="*/ 0 h 141065"/>
                <a:gd name="connsiteX7" fmla="*/ 31432 w 52387"/>
                <a:gd name="connsiteY7" fmla="*/ 21050 h 141065"/>
                <a:gd name="connsiteX8" fmla="*/ 52388 w 52387"/>
                <a:gd name="connsiteY8" fmla="*/ 49625 h 141065"/>
                <a:gd name="connsiteX9" fmla="*/ 52388 w 52387"/>
                <a:gd name="connsiteY9" fmla="*/ 133350 h 141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387" h="141065">
                  <a:moveTo>
                    <a:pt x="52388" y="133350"/>
                  </a:moveTo>
                  <a:lnTo>
                    <a:pt x="27622" y="141065"/>
                  </a:lnTo>
                  <a:lnTo>
                    <a:pt x="20955" y="84868"/>
                  </a:lnTo>
                  <a:lnTo>
                    <a:pt x="13335" y="60103"/>
                  </a:lnTo>
                  <a:lnTo>
                    <a:pt x="20955" y="31528"/>
                  </a:lnTo>
                  <a:lnTo>
                    <a:pt x="0" y="0"/>
                  </a:lnTo>
                  <a:lnTo>
                    <a:pt x="38100" y="0"/>
                  </a:lnTo>
                  <a:lnTo>
                    <a:pt x="31432" y="21050"/>
                  </a:lnTo>
                  <a:lnTo>
                    <a:pt x="52388" y="49625"/>
                  </a:lnTo>
                  <a:lnTo>
                    <a:pt x="52388" y="13335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14" name="Freeform: Shape 1013">
              <a:extLst>
                <a:ext uri="{FF2B5EF4-FFF2-40B4-BE49-F238E27FC236}">
                  <a16:creationId xmlns:a16="http://schemas.microsoft.com/office/drawing/2014/main" id="{35EE78E3-D7C4-F486-9B63-3479A6B65642}"/>
                </a:ext>
              </a:extLst>
            </p:cNvPr>
            <p:cNvSpPr/>
            <p:nvPr/>
          </p:nvSpPr>
          <p:spPr>
            <a:xfrm>
              <a:off x="5665181" y="3852683"/>
              <a:ext cx="445386" cy="408134"/>
            </a:xfrm>
            <a:custGeom>
              <a:avLst/>
              <a:gdLst>
                <a:gd name="connsiteX0" fmla="*/ 211455 w 454342"/>
                <a:gd name="connsiteY0" fmla="*/ 0 h 416337"/>
                <a:gd name="connsiteX1" fmla="*/ 369570 w 454342"/>
                <a:gd name="connsiteY1" fmla="*/ 105728 h 416337"/>
                <a:gd name="connsiteX2" fmla="*/ 394335 w 454342"/>
                <a:gd name="connsiteY2" fmla="*/ 130588 h 416337"/>
                <a:gd name="connsiteX3" fmla="*/ 429578 w 454342"/>
                <a:gd name="connsiteY3" fmla="*/ 144875 h 416337"/>
                <a:gd name="connsiteX4" fmla="*/ 425767 w 454342"/>
                <a:gd name="connsiteY4" fmla="*/ 173450 h 416337"/>
                <a:gd name="connsiteX5" fmla="*/ 454342 w 454342"/>
                <a:gd name="connsiteY5" fmla="*/ 169640 h 416337"/>
                <a:gd name="connsiteX6" fmla="*/ 454342 w 454342"/>
                <a:gd name="connsiteY6" fmla="*/ 243840 h 416337"/>
                <a:gd name="connsiteX7" fmla="*/ 433388 w 454342"/>
                <a:gd name="connsiteY7" fmla="*/ 275368 h 416337"/>
                <a:gd name="connsiteX8" fmla="*/ 373380 w 454342"/>
                <a:gd name="connsiteY8" fmla="*/ 285750 h 416337"/>
                <a:gd name="connsiteX9" fmla="*/ 348615 w 454342"/>
                <a:gd name="connsiteY9" fmla="*/ 285750 h 416337"/>
                <a:gd name="connsiteX10" fmla="*/ 313372 w 454342"/>
                <a:gd name="connsiteY10" fmla="*/ 285750 h 416337"/>
                <a:gd name="connsiteX11" fmla="*/ 270510 w 454342"/>
                <a:gd name="connsiteY11" fmla="*/ 303943 h 416337"/>
                <a:gd name="connsiteX12" fmla="*/ 239078 w 454342"/>
                <a:gd name="connsiteY12" fmla="*/ 335375 h 416337"/>
                <a:gd name="connsiteX13" fmla="*/ 224790 w 454342"/>
                <a:gd name="connsiteY13" fmla="*/ 327755 h 416337"/>
                <a:gd name="connsiteX14" fmla="*/ 207645 w 454342"/>
                <a:gd name="connsiteY14" fmla="*/ 370618 h 416337"/>
                <a:gd name="connsiteX15" fmla="*/ 189547 w 454342"/>
                <a:gd name="connsiteY15" fmla="*/ 374428 h 416337"/>
                <a:gd name="connsiteX16" fmla="*/ 182880 w 454342"/>
                <a:gd name="connsiteY16" fmla="*/ 412528 h 416337"/>
                <a:gd name="connsiteX17" fmla="*/ 112395 w 454342"/>
                <a:gd name="connsiteY17" fmla="*/ 416338 h 416337"/>
                <a:gd name="connsiteX18" fmla="*/ 98107 w 454342"/>
                <a:gd name="connsiteY18" fmla="*/ 384905 h 416337"/>
                <a:gd name="connsiteX19" fmla="*/ 87630 w 454342"/>
                <a:gd name="connsiteY19" fmla="*/ 360140 h 416337"/>
                <a:gd name="connsiteX20" fmla="*/ 41910 w 454342"/>
                <a:gd name="connsiteY20" fmla="*/ 370618 h 416337"/>
                <a:gd name="connsiteX21" fmla="*/ 20955 w 454342"/>
                <a:gd name="connsiteY21" fmla="*/ 362903 h 416337"/>
                <a:gd name="connsiteX22" fmla="*/ 20955 w 454342"/>
                <a:gd name="connsiteY22" fmla="*/ 360140 h 416337"/>
                <a:gd name="connsiteX23" fmla="*/ 20955 w 454342"/>
                <a:gd name="connsiteY23" fmla="*/ 352425 h 416337"/>
                <a:gd name="connsiteX24" fmla="*/ 17145 w 454342"/>
                <a:gd name="connsiteY24" fmla="*/ 339090 h 416337"/>
                <a:gd name="connsiteX25" fmla="*/ 6667 w 454342"/>
                <a:gd name="connsiteY25" fmla="*/ 324803 h 416337"/>
                <a:gd name="connsiteX26" fmla="*/ 2857 w 454342"/>
                <a:gd name="connsiteY26" fmla="*/ 303943 h 416337"/>
                <a:gd name="connsiteX27" fmla="*/ 0 w 454342"/>
                <a:gd name="connsiteY27" fmla="*/ 292513 h 416337"/>
                <a:gd name="connsiteX28" fmla="*/ 10478 w 454342"/>
                <a:gd name="connsiteY28" fmla="*/ 268700 h 416337"/>
                <a:gd name="connsiteX29" fmla="*/ 186690 w 454342"/>
                <a:gd name="connsiteY29" fmla="*/ 271463 h 416337"/>
                <a:gd name="connsiteX30" fmla="*/ 189547 w 454342"/>
                <a:gd name="connsiteY30" fmla="*/ 254413 h 416337"/>
                <a:gd name="connsiteX31" fmla="*/ 179070 w 454342"/>
                <a:gd name="connsiteY31" fmla="*/ 240125 h 416337"/>
                <a:gd name="connsiteX32" fmla="*/ 158115 w 454342"/>
                <a:gd name="connsiteY32" fmla="*/ 0 h 416337"/>
                <a:gd name="connsiteX33" fmla="*/ 211455 w 454342"/>
                <a:gd name="connsiteY33" fmla="*/ 0 h 416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54342" h="416337">
                  <a:moveTo>
                    <a:pt x="211455" y="0"/>
                  </a:moveTo>
                  <a:lnTo>
                    <a:pt x="369570" y="105728"/>
                  </a:lnTo>
                  <a:lnTo>
                    <a:pt x="394335" y="130588"/>
                  </a:lnTo>
                  <a:lnTo>
                    <a:pt x="429578" y="144875"/>
                  </a:lnTo>
                  <a:lnTo>
                    <a:pt x="425767" y="173450"/>
                  </a:lnTo>
                  <a:lnTo>
                    <a:pt x="454342" y="169640"/>
                  </a:lnTo>
                  <a:lnTo>
                    <a:pt x="454342" y="243840"/>
                  </a:lnTo>
                  <a:lnTo>
                    <a:pt x="433388" y="275368"/>
                  </a:lnTo>
                  <a:lnTo>
                    <a:pt x="373380" y="285750"/>
                  </a:lnTo>
                  <a:lnTo>
                    <a:pt x="348615" y="285750"/>
                  </a:lnTo>
                  <a:lnTo>
                    <a:pt x="313372" y="285750"/>
                  </a:lnTo>
                  <a:lnTo>
                    <a:pt x="270510" y="303943"/>
                  </a:lnTo>
                  <a:lnTo>
                    <a:pt x="239078" y="335375"/>
                  </a:lnTo>
                  <a:lnTo>
                    <a:pt x="224790" y="327755"/>
                  </a:lnTo>
                  <a:lnTo>
                    <a:pt x="207645" y="370618"/>
                  </a:lnTo>
                  <a:lnTo>
                    <a:pt x="189547" y="374428"/>
                  </a:lnTo>
                  <a:lnTo>
                    <a:pt x="182880" y="412528"/>
                  </a:lnTo>
                  <a:lnTo>
                    <a:pt x="112395" y="416338"/>
                  </a:lnTo>
                  <a:lnTo>
                    <a:pt x="98107" y="384905"/>
                  </a:lnTo>
                  <a:lnTo>
                    <a:pt x="87630" y="360140"/>
                  </a:lnTo>
                  <a:lnTo>
                    <a:pt x="41910" y="370618"/>
                  </a:lnTo>
                  <a:lnTo>
                    <a:pt x="20955" y="362903"/>
                  </a:lnTo>
                  <a:lnTo>
                    <a:pt x="20955" y="360140"/>
                  </a:lnTo>
                  <a:lnTo>
                    <a:pt x="20955" y="352425"/>
                  </a:lnTo>
                  <a:lnTo>
                    <a:pt x="17145" y="339090"/>
                  </a:lnTo>
                  <a:lnTo>
                    <a:pt x="6667" y="324803"/>
                  </a:lnTo>
                  <a:lnTo>
                    <a:pt x="2857" y="303943"/>
                  </a:lnTo>
                  <a:lnTo>
                    <a:pt x="0" y="292513"/>
                  </a:lnTo>
                  <a:lnTo>
                    <a:pt x="10478" y="268700"/>
                  </a:lnTo>
                  <a:lnTo>
                    <a:pt x="186690" y="271463"/>
                  </a:lnTo>
                  <a:lnTo>
                    <a:pt x="189547" y="254413"/>
                  </a:lnTo>
                  <a:lnTo>
                    <a:pt x="179070" y="240125"/>
                  </a:lnTo>
                  <a:lnTo>
                    <a:pt x="158115" y="0"/>
                  </a:lnTo>
                  <a:lnTo>
                    <a:pt x="211455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15" name="Freeform: Shape 1014">
              <a:extLst>
                <a:ext uri="{FF2B5EF4-FFF2-40B4-BE49-F238E27FC236}">
                  <a16:creationId xmlns:a16="http://schemas.microsoft.com/office/drawing/2014/main" id="{1490944A-6A22-67FB-AC4E-B5CA71C5DDEA}"/>
                </a:ext>
              </a:extLst>
            </p:cNvPr>
            <p:cNvSpPr/>
            <p:nvPr/>
          </p:nvSpPr>
          <p:spPr>
            <a:xfrm>
              <a:off x="5844456" y="4132803"/>
              <a:ext cx="207287" cy="148556"/>
            </a:xfrm>
            <a:custGeom>
              <a:avLst/>
              <a:gdLst>
                <a:gd name="connsiteX0" fmla="*/ 77153 w 211455"/>
                <a:gd name="connsiteY0" fmla="*/ 109538 h 151542"/>
                <a:gd name="connsiteX1" fmla="*/ 77153 w 211455"/>
                <a:gd name="connsiteY1" fmla="*/ 148590 h 151542"/>
                <a:gd name="connsiteX2" fmla="*/ 53340 w 211455"/>
                <a:gd name="connsiteY2" fmla="*/ 137255 h 151542"/>
                <a:gd name="connsiteX3" fmla="*/ 35243 w 211455"/>
                <a:gd name="connsiteY3" fmla="*/ 151543 h 151542"/>
                <a:gd name="connsiteX4" fmla="*/ 0 w 211455"/>
                <a:gd name="connsiteY4" fmla="*/ 126778 h 151542"/>
                <a:gd name="connsiteX5" fmla="*/ 6668 w 211455"/>
                <a:gd name="connsiteY5" fmla="*/ 88678 h 151542"/>
                <a:gd name="connsiteX6" fmla="*/ 24765 w 211455"/>
                <a:gd name="connsiteY6" fmla="*/ 84868 h 151542"/>
                <a:gd name="connsiteX7" fmla="*/ 41910 w 211455"/>
                <a:gd name="connsiteY7" fmla="*/ 42005 h 151542"/>
                <a:gd name="connsiteX8" fmla="*/ 56198 w 211455"/>
                <a:gd name="connsiteY8" fmla="*/ 49625 h 151542"/>
                <a:gd name="connsiteX9" fmla="*/ 87630 w 211455"/>
                <a:gd name="connsiteY9" fmla="*/ 18193 h 151542"/>
                <a:gd name="connsiteX10" fmla="*/ 130493 w 211455"/>
                <a:gd name="connsiteY10" fmla="*/ 0 h 151542"/>
                <a:gd name="connsiteX11" fmla="*/ 165735 w 211455"/>
                <a:gd name="connsiteY11" fmla="*/ 0 h 151542"/>
                <a:gd name="connsiteX12" fmla="*/ 158115 w 211455"/>
                <a:gd name="connsiteY12" fmla="*/ 14288 h 151542"/>
                <a:gd name="connsiteX13" fmla="*/ 161925 w 211455"/>
                <a:gd name="connsiteY13" fmla="*/ 24765 h 151542"/>
                <a:gd name="connsiteX14" fmla="*/ 182880 w 211455"/>
                <a:gd name="connsiteY14" fmla="*/ 49625 h 151542"/>
                <a:gd name="connsiteX15" fmla="*/ 180023 w 211455"/>
                <a:gd name="connsiteY15" fmla="*/ 60103 h 151542"/>
                <a:gd name="connsiteX16" fmla="*/ 211455 w 211455"/>
                <a:gd name="connsiteY16" fmla="*/ 77153 h 151542"/>
                <a:gd name="connsiteX17" fmla="*/ 211455 w 211455"/>
                <a:gd name="connsiteY17" fmla="*/ 102013 h 151542"/>
                <a:gd name="connsiteX18" fmla="*/ 182880 w 211455"/>
                <a:gd name="connsiteY18" fmla="*/ 109538 h 151542"/>
                <a:gd name="connsiteX19" fmla="*/ 144780 w 211455"/>
                <a:gd name="connsiteY19" fmla="*/ 109538 h 151542"/>
                <a:gd name="connsiteX20" fmla="*/ 77153 w 211455"/>
                <a:gd name="connsiteY20" fmla="*/ 109538 h 15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1455" h="151542">
                  <a:moveTo>
                    <a:pt x="77153" y="109538"/>
                  </a:moveTo>
                  <a:lnTo>
                    <a:pt x="77153" y="148590"/>
                  </a:lnTo>
                  <a:lnTo>
                    <a:pt x="53340" y="137255"/>
                  </a:lnTo>
                  <a:lnTo>
                    <a:pt x="35243" y="151543"/>
                  </a:lnTo>
                  <a:lnTo>
                    <a:pt x="0" y="126778"/>
                  </a:lnTo>
                  <a:lnTo>
                    <a:pt x="6668" y="88678"/>
                  </a:lnTo>
                  <a:lnTo>
                    <a:pt x="24765" y="84868"/>
                  </a:lnTo>
                  <a:lnTo>
                    <a:pt x="41910" y="42005"/>
                  </a:lnTo>
                  <a:lnTo>
                    <a:pt x="56198" y="49625"/>
                  </a:lnTo>
                  <a:lnTo>
                    <a:pt x="87630" y="18193"/>
                  </a:lnTo>
                  <a:lnTo>
                    <a:pt x="130493" y="0"/>
                  </a:lnTo>
                  <a:lnTo>
                    <a:pt x="165735" y="0"/>
                  </a:lnTo>
                  <a:lnTo>
                    <a:pt x="158115" y="14288"/>
                  </a:lnTo>
                  <a:lnTo>
                    <a:pt x="161925" y="24765"/>
                  </a:lnTo>
                  <a:lnTo>
                    <a:pt x="182880" y="49625"/>
                  </a:lnTo>
                  <a:lnTo>
                    <a:pt x="180023" y="60103"/>
                  </a:lnTo>
                  <a:lnTo>
                    <a:pt x="211455" y="77153"/>
                  </a:lnTo>
                  <a:lnTo>
                    <a:pt x="211455" y="102013"/>
                  </a:lnTo>
                  <a:lnTo>
                    <a:pt x="182880" y="109538"/>
                  </a:lnTo>
                  <a:lnTo>
                    <a:pt x="144780" y="109538"/>
                  </a:lnTo>
                  <a:lnTo>
                    <a:pt x="77153" y="10953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16" name="Freeform: Shape 1015">
              <a:extLst>
                <a:ext uri="{FF2B5EF4-FFF2-40B4-BE49-F238E27FC236}">
                  <a16:creationId xmlns:a16="http://schemas.microsoft.com/office/drawing/2014/main" id="{5F336277-0428-113F-2307-68AA575FFEFA}"/>
                </a:ext>
              </a:extLst>
            </p:cNvPr>
            <p:cNvSpPr/>
            <p:nvPr/>
          </p:nvSpPr>
          <p:spPr>
            <a:xfrm>
              <a:off x="5844456" y="4132803"/>
              <a:ext cx="207287" cy="148556"/>
            </a:xfrm>
            <a:custGeom>
              <a:avLst/>
              <a:gdLst>
                <a:gd name="connsiteX0" fmla="*/ 77153 w 211455"/>
                <a:gd name="connsiteY0" fmla="*/ 109538 h 151542"/>
                <a:gd name="connsiteX1" fmla="*/ 77153 w 211455"/>
                <a:gd name="connsiteY1" fmla="*/ 148590 h 151542"/>
                <a:gd name="connsiteX2" fmla="*/ 53340 w 211455"/>
                <a:gd name="connsiteY2" fmla="*/ 137255 h 151542"/>
                <a:gd name="connsiteX3" fmla="*/ 35243 w 211455"/>
                <a:gd name="connsiteY3" fmla="*/ 151543 h 151542"/>
                <a:gd name="connsiteX4" fmla="*/ 0 w 211455"/>
                <a:gd name="connsiteY4" fmla="*/ 126778 h 151542"/>
                <a:gd name="connsiteX5" fmla="*/ 6668 w 211455"/>
                <a:gd name="connsiteY5" fmla="*/ 88678 h 151542"/>
                <a:gd name="connsiteX6" fmla="*/ 24765 w 211455"/>
                <a:gd name="connsiteY6" fmla="*/ 84868 h 151542"/>
                <a:gd name="connsiteX7" fmla="*/ 41910 w 211455"/>
                <a:gd name="connsiteY7" fmla="*/ 42005 h 151542"/>
                <a:gd name="connsiteX8" fmla="*/ 56198 w 211455"/>
                <a:gd name="connsiteY8" fmla="*/ 49625 h 151542"/>
                <a:gd name="connsiteX9" fmla="*/ 87630 w 211455"/>
                <a:gd name="connsiteY9" fmla="*/ 18193 h 151542"/>
                <a:gd name="connsiteX10" fmla="*/ 130493 w 211455"/>
                <a:gd name="connsiteY10" fmla="*/ 0 h 151542"/>
                <a:gd name="connsiteX11" fmla="*/ 165735 w 211455"/>
                <a:gd name="connsiteY11" fmla="*/ 0 h 151542"/>
                <a:gd name="connsiteX12" fmla="*/ 158115 w 211455"/>
                <a:gd name="connsiteY12" fmla="*/ 14288 h 151542"/>
                <a:gd name="connsiteX13" fmla="*/ 161925 w 211455"/>
                <a:gd name="connsiteY13" fmla="*/ 24765 h 151542"/>
                <a:gd name="connsiteX14" fmla="*/ 182880 w 211455"/>
                <a:gd name="connsiteY14" fmla="*/ 49625 h 151542"/>
                <a:gd name="connsiteX15" fmla="*/ 180023 w 211455"/>
                <a:gd name="connsiteY15" fmla="*/ 60103 h 151542"/>
                <a:gd name="connsiteX16" fmla="*/ 211455 w 211455"/>
                <a:gd name="connsiteY16" fmla="*/ 77153 h 151542"/>
                <a:gd name="connsiteX17" fmla="*/ 211455 w 211455"/>
                <a:gd name="connsiteY17" fmla="*/ 102013 h 151542"/>
                <a:gd name="connsiteX18" fmla="*/ 182880 w 211455"/>
                <a:gd name="connsiteY18" fmla="*/ 109538 h 151542"/>
                <a:gd name="connsiteX19" fmla="*/ 144780 w 211455"/>
                <a:gd name="connsiteY19" fmla="*/ 109538 h 151542"/>
                <a:gd name="connsiteX20" fmla="*/ 77153 w 211455"/>
                <a:gd name="connsiteY20" fmla="*/ 109538 h 151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11455" h="151542">
                  <a:moveTo>
                    <a:pt x="77153" y="109538"/>
                  </a:moveTo>
                  <a:lnTo>
                    <a:pt x="77153" y="148590"/>
                  </a:lnTo>
                  <a:lnTo>
                    <a:pt x="53340" y="137255"/>
                  </a:lnTo>
                  <a:lnTo>
                    <a:pt x="35243" y="151543"/>
                  </a:lnTo>
                  <a:lnTo>
                    <a:pt x="0" y="126778"/>
                  </a:lnTo>
                  <a:lnTo>
                    <a:pt x="6668" y="88678"/>
                  </a:lnTo>
                  <a:lnTo>
                    <a:pt x="24765" y="84868"/>
                  </a:lnTo>
                  <a:lnTo>
                    <a:pt x="41910" y="42005"/>
                  </a:lnTo>
                  <a:lnTo>
                    <a:pt x="56198" y="49625"/>
                  </a:lnTo>
                  <a:lnTo>
                    <a:pt x="87630" y="18193"/>
                  </a:lnTo>
                  <a:lnTo>
                    <a:pt x="130493" y="0"/>
                  </a:lnTo>
                  <a:lnTo>
                    <a:pt x="165735" y="0"/>
                  </a:lnTo>
                  <a:lnTo>
                    <a:pt x="158115" y="14288"/>
                  </a:lnTo>
                  <a:lnTo>
                    <a:pt x="161925" y="24765"/>
                  </a:lnTo>
                  <a:lnTo>
                    <a:pt x="182880" y="49625"/>
                  </a:lnTo>
                  <a:lnTo>
                    <a:pt x="180023" y="60103"/>
                  </a:lnTo>
                  <a:lnTo>
                    <a:pt x="211455" y="77153"/>
                  </a:lnTo>
                  <a:lnTo>
                    <a:pt x="211455" y="102013"/>
                  </a:lnTo>
                  <a:lnTo>
                    <a:pt x="182880" y="109538"/>
                  </a:lnTo>
                  <a:lnTo>
                    <a:pt x="144780" y="109538"/>
                  </a:lnTo>
                  <a:lnTo>
                    <a:pt x="77153" y="10953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17" name="Freeform: Shape 1016">
              <a:extLst>
                <a:ext uri="{FF2B5EF4-FFF2-40B4-BE49-F238E27FC236}">
                  <a16:creationId xmlns:a16="http://schemas.microsoft.com/office/drawing/2014/main" id="{E6F942D0-F9B1-0245-2D04-26FD5EF6F4EF}"/>
                </a:ext>
              </a:extLst>
            </p:cNvPr>
            <p:cNvSpPr/>
            <p:nvPr/>
          </p:nvSpPr>
          <p:spPr>
            <a:xfrm>
              <a:off x="5909817" y="4240181"/>
              <a:ext cx="103643" cy="172740"/>
            </a:xfrm>
            <a:custGeom>
              <a:avLst/>
              <a:gdLst>
                <a:gd name="connsiteX0" fmla="*/ 105728 w 105727"/>
                <a:gd name="connsiteY0" fmla="*/ 141065 h 176212"/>
                <a:gd name="connsiteX1" fmla="*/ 84773 w 105727"/>
                <a:gd name="connsiteY1" fmla="*/ 151543 h 176212"/>
                <a:gd name="connsiteX2" fmla="*/ 63818 w 105727"/>
                <a:gd name="connsiteY2" fmla="*/ 169640 h 176212"/>
                <a:gd name="connsiteX3" fmla="*/ 35243 w 105727"/>
                <a:gd name="connsiteY3" fmla="*/ 176213 h 176212"/>
                <a:gd name="connsiteX4" fmla="*/ 14288 w 105727"/>
                <a:gd name="connsiteY4" fmla="*/ 165830 h 176212"/>
                <a:gd name="connsiteX5" fmla="*/ 0 w 105727"/>
                <a:gd name="connsiteY5" fmla="*/ 126778 h 176212"/>
                <a:gd name="connsiteX6" fmla="*/ 18098 w 105727"/>
                <a:gd name="connsiteY6" fmla="*/ 87725 h 176212"/>
                <a:gd name="connsiteX7" fmla="*/ 10478 w 105727"/>
                <a:gd name="connsiteY7" fmla="*/ 39053 h 176212"/>
                <a:gd name="connsiteX8" fmla="*/ 10478 w 105727"/>
                <a:gd name="connsiteY8" fmla="*/ 0 h 176212"/>
                <a:gd name="connsiteX9" fmla="*/ 78105 w 105727"/>
                <a:gd name="connsiteY9" fmla="*/ 0 h 176212"/>
                <a:gd name="connsiteX10" fmla="*/ 99060 w 105727"/>
                <a:gd name="connsiteY10" fmla="*/ 31528 h 176212"/>
                <a:gd name="connsiteX11" fmla="*/ 91440 w 105727"/>
                <a:gd name="connsiteY11" fmla="*/ 52388 h 176212"/>
                <a:gd name="connsiteX12" fmla="*/ 95250 w 105727"/>
                <a:gd name="connsiteY12" fmla="*/ 70580 h 176212"/>
                <a:gd name="connsiteX13" fmla="*/ 99060 w 105727"/>
                <a:gd name="connsiteY13" fmla="*/ 84868 h 176212"/>
                <a:gd name="connsiteX14" fmla="*/ 105728 w 105727"/>
                <a:gd name="connsiteY14" fmla="*/ 141065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5727" h="176212">
                  <a:moveTo>
                    <a:pt x="105728" y="141065"/>
                  </a:moveTo>
                  <a:lnTo>
                    <a:pt x="84773" y="151543"/>
                  </a:lnTo>
                  <a:lnTo>
                    <a:pt x="63818" y="169640"/>
                  </a:lnTo>
                  <a:lnTo>
                    <a:pt x="35243" y="176213"/>
                  </a:lnTo>
                  <a:lnTo>
                    <a:pt x="14288" y="165830"/>
                  </a:lnTo>
                  <a:lnTo>
                    <a:pt x="0" y="126778"/>
                  </a:lnTo>
                  <a:lnTo>
                    <a:pt x="18098" y="87725"/>
                  </a:lnTo>
                  <a:lnTo>
                    <a:pt x="10478" y="39053"/>
                  </a:lnTo>
                  <a:lnTo>
                    <a:pt x="10478" y="0"/>
                  </a:lnTo>
                  <a:lnTo>
                    <a:pt x="78105" y="0"/>
                  </a:lnTo>
                  <a:lnTo>
                    <a:pt x="99060" y="31528"/>
                  </a:lnTo>
                  <a:lnTo>
                    <a:pt x="91440" y="52388"/>
                  </a:lnTo>
                  <a:lnTo>
                    <a:pt x="95250" y="70580"/>
                  </a:lnTo>
                  <a:lnTo>
                    <a:pt x="99060" y="84868"/>
                  </a:lnTo>
                  <a:lnTo>
                    <a:pt x="105728" y="14106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18" name="Freeform: Shape 1017">
              <a:extLst>
                <a:ext uri="{FF2B5EF4-FFF2-40B4-BE49-F238E27FC236}">
                  <a16:creationId xmlns:a16="http://schemas.microsoft.com/office/drawing/2014/main" id="{780DE0D2-A908-3C2C-7411-B7D0222A7963}"/>
                </a:ext>
              </a:extLst>
            </p:cNvPr>
            <p:cNvSpPr/>
            <p:nvPr/>
          </p:nvSpPr>
          <p:spPr>
            <a:xfrm>
              <a:off x="5909817" y="4240181"/>
              <a:ext cx="103643" cy="172740"/>
            </a:xfrm>
            <a:custGeom>
              <a:avLst/>
              <a:gdLst>
                <a:gd name="connsiteX0" fmla="*/ 105728 w 105727"/>
                <a:gd name="connsiteY0" fmla="*/ 141065 h 176212"/>
                <a:gd name="connsiteX1" fmla="*/ 84773 w 105727"/>
                <a:gd name="connsiteY1" fmla="*/ 151543 h 176212"/>
                <a:gd name="connsiteX2" fmla="*/ 63818 w 105727"/>
                <a:gd name="connsiteY2" fmla="*/ 169640 h 176212"/>
                <a:gd name="connsiteX3" fmla="*/ 35243 w 105727"/>
                <a:gd name="connsiteY3" fmla="*/ 176213 h 176212"/>
                <a:gd name="connsiteX4" fmla="*/ 14288 w 105727"/>
                <a:gd name="connsiteY4" fmla="*/ 165830 h 176212"/>
                <a:gd name="connsiteX5" fmla="*/ 0 w 105727"/>
                <a:gd name="connsiteY5" fmla="*/ 126778 h 176212"/>
                <a:gd name="connsiteX6" fmla="*/ 18098 w 105727"/>
                <a:gd name="connsiteY6" fmla="*/ 87725 h 176212"/>
                <a:gd name="connsiteX7" fmla="*/ 10478 w 105727"/>
                <a:gd name="connsiteY7" fmla="*/ 39053 h 176212"/>
                <a:gd name="connsiteX8" fmla="*/ 10478 w 105727"/>
                <a:gd name="connsiteY8" fmla="*/ 0 h 176212"/>
                <a:gd name="connsiteX9" fmla="*/ 78105 w 105727"/>
                <a:gd name="connsiteY9" fmla="*/ 0 h 176212"/>
                <a:gd name="connsiteX10" fmla="*/ 99060 w 105727"/>
                <a:gd name="connsiteY10" fmla="*/ 31528 h 176212"/>
                <a:gd name="connsiteX11" fmla="*/ 91440 w 105727"/>
                <a:gd name="connsiteY11" fmla="*/ 52388 h 176212"/>
                <a:gd name="connsiteX12" fmla="*/ 95250 w 105727"/>
                <a:gd name="connsiteY12" fmla="*/ 70580 h 176212"/>
                <a:gd name="connsiteX13" fmla="*/ 99060 w 105727"/>
                <a:gd name="connsiteY13" fmla="*/ 84868 h 176212"/>
                <a:gd name="connsiteX14" fmla="*/ 105728 w 105727"/>
                <a:gd name="connsiteY14" fmla="*/ 141065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5727" h="176212">
                  <a:moveTo>
                    <a:pt x="105728" y="141065"/>
                  </a:moveTo>
                  <a:lnTo>
                    <a:pt x="84773" y="151543"/>
                  </a:lnTo>
                  <a:lnTo>
                    <a:pt x="63818" y="169640"/>
                  </a:lnTo>
                  <a:lnTo>
                    <a:pt x="35243" y="176213"/>
                  </a:lnTo>
                  <a:lnTo>
                    <a:pt x="14288" y="165830"/>
                  </a:lnTo>
                  <a:lnTo>
                    <a:pt x="0" y="126778"/>
                  </a:lnTo>
                  <a:lnTo>
                    <a:pt x="18098" y="87725"/>
                  </a:lnTo>
                  <a:lnTo>
                    <a:pt x="10478" y="39053"/>
                  </a:lnTo>
                  <a:lnTo>
                    <a:pt x="10478" y="0"/>
                  </a:lnTo>
                  <a:lnTo>
                    <a:pt x="78105" y="0"/>
                  </a:lnTo>
                  <a:lnTo>
                    <a:pt x="99060" y="31528"/>
                  </a:lnTo>
                  <a:lnTo>
                    <a:pt x="91440" y="52388"/>
                  </a:lnTo>
                  <a:lnTo>
                    <a:pt x="95250" y="70580"/>
                  </a:lnTo>
                  <a:lnTo>
                    <a:pt x="99060" y="84868"/>
                  </a:lnTo>
                  <a:lnTo>
                    <a:pt x="105728" y="14106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19" name="Freeform: Shape 1018">
              <a:extLst>
                <a:ext uri="{FF2B5EF4-FFF2-40B4-BE49-F238E27FC236}">
                  <a16:creationId xmlns:a16="http://schemas.microsoft.com/office/drawing/2014/main" id="{4977DCBB-9966-698F-3BC5-A1323D86D4DD}"/>
                </a:ext>
              </a:extLst>
            </p:cNvPr>
            <p:cNvSpPr/>
            <p:nvPr/>
          </p:nvSpPr>
          <p:spPr>
            <a:xfrm>
              <a:off x="5765089" y="4257083"/>
              <a:ext cx="162468" cy="169845"/>
            </a:xfrm>
            <a:custGeom>
              <a:avLst/>
              <a:gdLst>
                <a:gd name="connsiteX0" fmla="*/ 161925 w 165735"/>
                <a:gd name="connsiteY0" fmla="*/ 148590 h 173259"/>
                <a:gd name="connsiteX1" fmla="*/ 87630 w 165735"/>
                <a:gd name="connsiteY1" fmla="*/ 148590 h 173259"/>
                <a:gd name="connsiteX2" fmla="*/ 41910 w 165735"/>
                <a:gd name="connsiteY2" fmla="*/ 165735 h 173259"/>
                <a:gd name="connsiteX3" fmla="*/ 20955 w 165735"/>
                <a:gd name="connsiteY3" fmla="*/ 173260 h 173259"/>
                <a:gd name="connsiteX4" fmla="*/ 28575 w 165735"/>
                <a:gd name="connsiteY4" fmla="*/ 138113 h 173259"/>
                <a:gd name="connsiteX5" fmla="*/ 24765 w 165735"/>
                <a:gd name="connsiteY5" fmla="*/ 127635 h 173259"/>
                <a:gd name="connsiteX6" fmla="*/ 14288 w 165735"/>
                <a:gd name="connsiteY6" fmla="*/ 120015 h 173259"/>
                <a:gd name="connsiteX7" fmla="*/ 0 w 165735"/>
                <a:gd name="connsiteY7" fmla="*/ 116110 h 173259"/>
                <a:gd name="connsiteX8" fmla="*/ 0 w 165735"/>
                <a:gd name="connsiteY8" fmla="*/ 99060 h 173259"/>
                <a:gd name="connsiteX9" fmla="*/ 0 w 165735"/>
                <a:gd name="connsiteY9" fmla="*/ 84772 h 173259"/>
                <a:gd name="connsiteX10" fmla="*/ 10478 w 165735"/>
                <a:gd name="connsiteY10" fmla="*/ 78010 h 173259"/>
                <a:gd name="connsiteX11" fmla="*/ 6668 w 165735"/>
                <a:gd name="connsiteY11" fmla="*/ 59912 h 173259"/>
                <a:gd name="connsiteX12" fmla="*/ 18098 w 165735"/>
                <a:gd name="connsiteY12" fmla="*/ 57150 h 173259"/>
                <a:gd name="connsiteX13" fmla="*/ 14288 w 165735"/>
                <a:gd name="connsiteY13" fmla="*/ 32385 h 173259"/>
                <a:gd name="connsiteX14" fmla="*/ 6668 w 165735"/>
                <a:gd name="connsiteY14" fmla="*/ 18097 h 173259"/>
                <a:gd name="connsiteX15" fmla="*/ 10478 w 165735"/>
                <a:gd name="connsiteY15" fmla="*/ 3810 h 173259"/>
                <a:gd name="connsiteX16" fmla="*/ 80963 w 165735"/>
                <a:gd name="connsiteY16" fmla="*/ 0 h 173259"/>
                <a:gd name="connsiteX17" fmla="*/ 116205 w 165735"/>
                <a:gd name="connsiteY17" fmla="*/ 24765 h 173259"/>
                <a:gd name="connsiteX18" fmla="*/ 134303 w 165735"/>
                <a:gd name="connsiteY18" fmla="*/ 10478 h 173259"/>
                <a:gd name="connsiteX19" fmla="*/ 158115 w 165735"/>
                <a:gd name="connsiteY19" fmla="*/ 21812 h 173259"/>
                <a:gd name="connsiteX20" fmla="*/ 165735 w 165735"/>
                <a:gd name="connsiteY20" fmla="*/ 70485 h 173259"/>
                <a:gd name="connsiteX21" fmla="*/ 147638 w 165735"/>
                <a:gd name="connsiteY21" fmla="*/ 109538 h 173259"/>
                <a:gd name="connsiteX22" fmla="*/ 161925 w 165735"/>
                <a:gd name="connsiteY22" fmla="*/ 148590 h 173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5735" h="173259">
                  <a:moveTo>
                    <a:pt x="161925" y="148590"/>
                  </a:moveTo>
                  <a:lnTo>
                    <a:pt x="87630" y="148590"/>
                  </a:lnTo>
                  <a:lnTo>
                    <a:pt x="41910" y="165735"/>
                  </a:lnTo>
                  <a:lnTo>
                    <a:pt x="20955" y="173260"/>
                  </a:lnTo>
                  <a:lnTo>
                    <a:pt x="28575" y="138113"/>
                  </a:lnTo>
                  <a:lnTo>
                    <a:pt x="24765" y="127635"/>
                  </a:lnTo>
                  <a:lnTo>
                    <a:pt x="14288" y="120015"/>
                  </a:lnTo>
                  <a:lnTo>
                    <a:pt x="0" y="116110"/>
                  </a:lnTo>
                  <a:lnTo>
                    <a:pt x="0" y="99060"/>
                  </a:lnTo>
                  <a:lnTo>
                    <a:pt x="0" y="84772"/>
                  </a:lnTo>
                  <a:lnTo>
                    <a:pt x="10478" y="78010"/>
                  </a:lnTo>
                  <a:lnTo>
                    <a:pt x="6668" y="59912"/>
                  </a:lnTo>
                  <a:lnTo>
                    <a:pt x="18098" y="57150"/>
                  </a:lnTo>
                  <a:lnTo>
                    <a:pt x="14288" y="32385"/>
                  </a:lnTo>
                  <a:lnTo>
                    <a:pt x="6668" y="18097"/>
                  </a:lnTo>
                  <a:lnTo>
                    <a:pt x="10478" y="3810"/>
                  </a:lnTo>
                  <a:lnTo>
                    <a:pt x="80963" y="0"/>
                  </a:lnTo>
                  <a:lnTo>
                    <a:pt x="116205" y="24765"/>
                  </a:lnTo>
                  <a:lnTo>
                    <a:pt x="134303" y="10478"/>
                  </a:lnTo>
                  <a:lnTo>
                    <a:pt x="158115" y="21812"/>
                  </a:lnTo>
                  <a:lnTo>
                    <a:pt x="165735" y="70485"/>
                  </a:lnTo>
                  <a:lnTo>
                    <a:pt x="147638" y="109538"/>
                  </a:lnTo>
                  <a:lnTo>
                    <a:pt x="161925" y="14859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20" name="Freeform: Shape 1019">
              <a:extLst>
                <a:ext uri="{FF2B5EF4-FFF2-40B4-BE49-F238E27FC236}">
                  <a16:creationId xmlns:a16="http://schemas.microsoft.com/office/drawing/2014/main" id="{89E90AFA-8DA0-BEFA-CDC3-F782CC4873F4}"/>
                </a:ext>
              </a:extLst>
            </p:cNvPr>
            <p:cNvSpPr/>
            <p:nvPr/>
          </p:nvSpPr>
          <p:spPr>
            <a:xfrm>
              <a:off x="5765089" y="4257083"/>
              <a:ext cx="162468" cy="169845"/>
            </a:xfrm>
            <a:custGeom>
              <a:avLst/>
              <a:gdLst>
                <a:gd name="connsiteX0" fmla="*/ 161925 w 165735"/>
                <a:gd name="connsiteY0" fmla="*/ 148590 h 173259"/>
                <a:gd name="connsiteX1" fmla="*/ 87630 w 165735"/>
                <a:gd name="connsiteY1" fmla="*/ 148590 h 173259"/>
                <a:gd name="connsiteX2" fmla="*/ 41910 w 165735"/>
                <a:gd name="connsiteY2" fmla="*/ 165735 h 173259"/>
                <a:gd name="connsiteX3" fmla="*/ 20955 w 165735"/>
                <a:gd name="connsiteY3" fmla="*/ 173260 h 173259"/>
                <a:gd name="connsiteX4" fmla="*/ 28575 w 165735"/>
                <a:gd name="connsiteY4" fmla="*/ 138113 h 173259"/>
                <a:gd name="connsiteX5" fmla="*/ 24765 w 165735"/>
                <a:gd name="connsiteY5" fmla="*/ 127635 h 173259"/>
                <a:gd name="connsiteX6" fmla="*/ 14288 w 165735"/>
                <a:gd name="connsiteY6" fmla="*/ 120015 h 173259"/>
                <a:gd name="connsiteX7" fmla="*/ 0 w 165735"/>
                <a:gd name="connsiteY7" fmla="*/ 116110 h 173259"/>
                <a:gd name="connsiteX8" fmla="*/ 0 w 165735"/>
                <a:gd name="connsiteY8" fmla="*/ 99060 h 173259"/>
                <a:gd name="connsiteX9" fmla="*/ 0 w 165735"/>
                <a:gd name="connsiteY9" fmla="*/ 84772 h 173259"/>
                <a:gd name="connsiteX10" fmla="*/ 10478 w 165735"/>
                <a:gd name="connsiteY10" fmla="*/ 78010 h 173259"/>
                <a:gd name="connsiteX11" fmla="*/ 6668 w 165735"/>
                <a:gd name="connsiteY11" fmla="*/ 59912 h 173259"/>
                <a:gd name="connsiteX12" fmla="*/ 18098 w 165735"/>
                <a:gd name="connsiteY12" fmla="*/ 57150 h 173259"/>
                <a:gd name="connsiteX13" fmla="*/ 14288 w 165735"/>
                <a:gd name="connsiteY13" fmla="*/ 32385 h 173259"/>
                <a:gd name="connsiteX14" fmla="*/ 6668 w 165735"/>
                <a:gd name="connsiteY14" fmla="*/ 18097 h 173259"/>
                <a:gd name="connsiteX15" fmla="*/ 10478 w 165735"/>
                <a:gd name="connsiteY15" fmla="*/ 3810 h 173259"/>
                <a:gd name="connsiteX16" fmla="*/ 80963 w 165735"/>
                <a:gd name="connsiteY16" fmla="*/ 0 h 173259"/>
                <a:gd name="connsiteX17" fmla="*/ 116205 w 165735"/>
                <a:gd name="connsiteY17" fmla="*/ 24765 h 173259"/>
                <a:gd name="connsiteX18" fmla="*/ 134303 w 165735"/>
                <a:gd name="connsiteY18" fmla="*/ 10478 h 173259"/>
                <a:gd name="connsiteX19" fmla="*/ 158115 w 165735"/>
                <a:gd name="connsiteY19" fmla="*/ 21812 h 173259"/>
                <a:gd name="connsiteX20" fmla="*/ 165735 w 165735"/>
                <a:gd name="connsiteY20" fmla="*/ 70485 h 173259"/>
                <a:gd name="connsiteX21" fmla="*/ 147638 w 165735"/>
                <a:gd name="connsiteY21" fmla="*/ 109538 h 173259"/>
                <a:gd name="connsiteX22" fmla="*/ 161925 w 165735"/>
                <a:gd name="connsiteY22" fmla="*/ 148590 h 1732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65735" h="173259">
                  <a:moveTo>
                    <a:pt x="161925" y="148590"/>
                  </a:moveTo>
                  <a:lnTo>
                    <a:pt x="87630" y="148590"/>
                  </a:lnTo>
                  <a:lnTo>
                    <a:pt x="41910" y="165735"/>
                  </a:lnTo>
                  <a:lnTo>
                    <a:pt x="20955" y="173260"/>
                  </a:lnTo>
                  <a:lnTo>
                    <a:pt x="28575" y="138113"/>
                  </a:lnTo>
                  <a:lnTo>
                    <a:pt x="24765" y="127635"/>
                  </a:lnTo>
                  <a:lnTo>
                    <a:pt x="14288" y="120015"/>
                  </a:lnTo>
                  <a:lnTo>
                    <a:pt x="0" y="116110"/>
                  </a:lnTo>
                  <a:lnTo>
                    <a:pt x="0" y="99060"/>
                  </a:lnTo>
                  <a:lnTo>
                    <a:pt x="0" y="84772"/>
                  </a:lnTo>
                  <a:lnTo>
                    <a:pt x="10478" y="78010"/>
                  </a:lnTo>
                  <a:lnTo>
                    <a:pt x="6668" y="59912"/>
                  </a:lnTo>
                  <a:lnTo>
                    <a:pt x="18098" y="57150"/>
                  </a:lnTo>
                  <a:lnTo>
                    <a:pt x="14288" y="32385"/>
                  </a:lnTo>
                  <a:lnTo>
                    <a:pt x="6668" y="18097"/>
                  </a:lnTo>
                  <a:lnTo>
                    <a:pt x="10478" y="3810"/>
                  </a:lnTo>
                  <a:lnTo>
                    <a:pt x="80963" y="0"/>
                  </a:lnTo>
                  <a:lnTo>
                    <a:pt x="116205" y="24765"/>
                  </a:lnTo>
                  <a:lnTo>
                    <a:pt x="134303" y="10478"/>
                  </a:lnTo>
                  <a:lnTo>
                    <a:pt x="158115" y="21812"/>
                  </a:lnTo>
                  <a:lnTo>
                    <a:pt x="165735" y="70485"/>
                  </a:lnTo>
                  <a:lnTo>
                    <a:pt x="147638" y="109538"/>
                  </a:lnTo>
                  <a:lnTo>
                    <a:pt x="161925" y="14859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21" name="Freeform: Shape 1020">
              <a:extLst>
                <a:ext uri="{FF2B5EF4-FFF2-40B4-BE49-F238E27FC236}">
                  <a16:creationId xmlns:a16="http://schemas.microsoft.com/office/drawing/2014/main" id="{2BD2EBAD-DE7D-2307-4AE0-9B3E43860FEA}"/>
                </a:ext>
              </a:extLst>
            </p:cNvPr>
            <p:cNvSpPr/>
            <p:nvPr/>
          </p:nvSpPr>
          <p:spPr>
            <a:xfrm>
              <a:off x="6259030" y="4482111"/>
              <a:ext cx="49487" cy="41083"/>
            </a:xfrm>
            <a:custGeom>
              <a:avLst/>
              <a:gdLst>
                <a:gd name="connsiteX0" fmla="*/ 6668 w 50482"/>
                <a:gd name="connsiteY0" fmla="*/ 0 h 41909"/>
                <a:gd name="connsiteX1" fmla="*/ 50482 w 50482"/>
                <a:gd name="connsiteY1" fmla="*/ 0 h 41909"/>
                <a:gd name="connsiteX2" fmla="*/ 45720 w 50482"/>
                <a:gd name="connsiteY2" fmla="*/ 38957 h 41909"/>
                <a:gd name="connsiteX3" fmla="*/ 2857 w 50482"/>
                <a:gd name="connsiteY3" fmla="*/ 41910 h 41909"/>
                <a:gd name="connsiteX4" fmla="*/ 0 w 50482"/>
                <a:gd name="connsiteY4" fmla="*/ 17145 h 41909"/>
                <a:gd name="connsiteX5" fmla="*/ 6668 w 50482"/>
                <a:gd name="connsiteY5" fmla="*/ 0 h 4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482" h="41909">
                  <a:moveTo>
                    <a:pt x="6668" y="0"/>
                  </a:moveTo>
                  <a:lnTo>
                    <a:pt x="50482" y="0"/>
                  </a:lnTo>
                  <a:lnTo>
                    <a:pt x="45720" y="38957"/>
                  </a:lnTo>
                  <a:lnTo>
                    <a:pt x="2857" y="41910"/>
                  </a:lnTo>
                  <a:lnTo>
                    <a:pt x="0" y="17145"/>
                  </a:lnTo>
                  <a:lnTo>
                    <a:pt x="666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22" name="Freeform: Shape 1021">
              <a:extLst>
                <a:ext uri="{FF2B5EF4-FFF2-40B4-BE49-F238E27FC236}">
                  <a16:creationId xmlns:a16="http://schemas.microsoft.com/office/drawing/2014/main" id="{9CEAE5E8-F6BC-5042-0A9C-4AA6560EA0B9}"/>
                </a:ext>
              </a:extLst>
            </p:cNvPr>
            <p:cNvSpPr/>
            <p:nvPr/>
          </p:nvSpPr>
          <p:spPr>
            <a:xfrm>
              <a:off x="6259030" y="4482111"/>
              <a:ext cx="49487" cy="41083"/>
            </a:xfrm>
            <a:custGeom>
              <a:avLst/>
              <a:gdLst>
                <a:gd name="connsiteX0" fmla="*/ 6668 w 50482"/>
                <a:gd name="connsiteY0" fmla="*/ 0 h 41909"/>
                <a:gd name="connsiteX1" fmla="*/ 50482 w 50482"/>
                <a:gd name="connsiteY1" fmla="*/ 0 h 41909"/>
                <a:gd name="connsiteX2" fmla="*/ 45720 w 50482"/>
                <a:gd name="connsiteY2" fmla="*/ 38957 h 41909"/>
                <a:gd name="connsiteX3" fmla="*/ 2857 w 50482"/>
                <a:gd name="connsiteY3" fmla="*/ 41910 h 41909"/>
                <a:gd name="connsiteX4" fmla="*/ 0 w 50482"/>
                <a:gd name="connsiteY4" fmla="*/ 17145 h 41909"/>
                <a:gd name="connsiteX5" fmla="*/ 6668 w 50482"/>
                <a:gd name="connsiteY5" fmla="*/ 0 h 4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482" h="41909">
                  <a:moveTo>
                    <a:pt x="6668" y="0"/>
                  </a:moveTo>
                  <a:lnTo>
                    <a:pt x="50482" y="0"/>
                  </a:lnTo>
                  <a:lnTo>
                    <a:pt x="45720" y="38957"/>
                  </a:lnTo>
                  <a:lnTo>
                    <a:pt x="2857" y="41910"/>
                  </a:lnTo>
                  <a:lnTo>
                    <a:pt x="0" y="17145"/>
                  </a:lnTo>
                  <a:lnTo>
                    <a:pt x="666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1023" name="Freeform: Shape 1022">
              <a:extLst>
                <a:ext uri="{FF2B5EF4-FFF2-40B4-BE49-F238E27FC236}">
                  <a16:creationId xmlns:a16="http://schemas.microsoft.com/office/drawing/2014/main" id="{F1873741-0210-2A3B-0FDB-C7EB79B2FCC3}"/>
                </a:ext>
              </a:extLst>
            </p:cNvPr>
            <p:cNvSpPr/>
            <p:nvPr/>
          </p:nvSpPr>
          <p:spPr>
            <a:xfrm>
              <a:off x="7182483" y="4876053"/>
              <a:ext cx="197015" cy="387498"/>
            </a:xfrm>
            <a:custGeom>
              <a:avLst/>
              <a:gdLst>
                <a:gd name="connsiteX0" fmla="*/ 38100 w 200977"/>
                <a:gd name="connsiteY0" fmla="*/ 123825 h 395287"/>
                <a:gd name="connsiteX1" fmla="*/ 80963 w 200977"/>
                <a:gd name="connsiteY1" fmla="*/ 105823 h 395287"/>
                <a:gd name="connsiteX2" fmla="*/ 122873 w 200977"/>
                <a:gd name="connsiteY2" fmla="*/ 77248 h 395287"/>
                <a:gd name="connsiteX3" fmla="*/ 137160 w 200977"/>
                <a:gd name="connsiteY3" fmla="*/ 53435 h 395287"/>
                <a:gd name="connsiteX4" fmla="*/ 151448 w 200977"/>
                <a:gd name="connsiteY4" fmla="*/ 45815 h 395287"/>
                <a:gd name="connsiteX5" fmla="*/ 165735 w 200977"/>
                <a:gd name="connsiteY5" fmla="*/ 18097 h 395287"/>
                <a:gd name="connsiteX6" fmla="*/ 168593 w 200977"/>
                <a:gd name="connsiteY6" fmla="*/ 0 h 395287"/>
                <a:gd name="connsiteX7" fmla="*/ 189548 w 200977"/>
                <a:gd name="connsiteY7" fmla="*/ 35338 h 395287"/>
                <a:gd name="connsiteX8" fmla="*/ 197168 w 200977"/>
                <a:gd name="connsiteY8" fmla="*/ 70485 h 395287"/>
                <a:gd name="connsiteX9" fmla="*/ 200978 w 200977"/>
                <a:gd name="connsiteY9" fmla="*/ 91535 h 395287"/>
                <a:gd name="connsiteX10" fmla="*/ 200978 w 200977"/>
                <a:gd name="connsiteY10" fmla="*/ 112490 h 395287"/>
                <a:gd name="connsiteX11" fmla="*/ 179070 w 200977"/>
                <a:gd name="connsiteY11" fmla="*/ 116300 h 395287"/>
                <a:gd name="connsiteX12" fmla="*/ 179070 w 200977"/>
                <a:gd name="connsiteY12" fmla="*/ 144875 h 395287"/>
                <a:gd name="connsiteX13" fmla="*/ 143828 w 200977"/>
                <a:gd name="connsiteY13" fmla="*/ 264890 h 395287"/>
                <a:gd name="connsiteX14" fmla="*/ 130493 w 200977"/>
                <a:gd name="connsiteY14" fmla="*/ 321088 h 395287"/>
                <a:gd name="connsiteX15" fmla="*/ 108585 w 200977"/>
                <a:gd name="connsiteY15" fmla="*/ 377285 h 395287"/>
                <a:gd name="connsiteX16" fmla="*/ 70485 w 200977"/>
                <a:gd name="connsiteY16" fmla="*/ 395288 h 395287"/>
                <a:gd name="connsiteX17" fmla="*/ 31433 w 200977"/>
                <a:gd name="connsiteY17" fmla="*/ 391573 h 395287"/>
                <a:gd name="connsiteX18" fmla="*/ 14288 w 200977"/>
                <a:gd name="connsiteY18" fmla="*/ 356235 h 395287"/>
                <a:gd name="connsiteX19" fmla="*/ 10478 w 200977"/>
                <a:gd name="connsiteY19" fmla="*/ 321088 h 395287"/>
                <a:gd name="connsiteX20" fmla="*/ 0 w 200977"/>
                <a:gd name="connsiteY20" fmla="*/ 289560 h 395287"/>
                <a:gd name="connsiteX21" fmla="*/ 27623 w 200977"/>
                <a:gd name="connsiteY21" fmla="*/ 250603 h 395287"/>
                <a:gd name="connsiteX22" fmla="*/ 35243 w 200977"/>
                <a:gd name="connsiteY22" fmla="*/ 215360 h 395287"/>
                <a:gd name="connsiteX23" fmla="*/ 27623 w 200977"/>
                <a:gd name="connsiteY23" fmla="*/ 186785 h 395287"/>
                <a:gd name="connsiteX24" fmla="*/ 17145 w 200977"/>
                <a:gd name="connsiteY24" fmla="*/ 159163 h 395287"/>
                <a:gd name="connsiteX25" fmla="*/ 31433 w 200977"/>
                <a:gd name="connsiteY25" fmla="*/ 141065 h 395287"/>
                <a:gd name="connsiteX26" fmla="*/ 38100 w 200977"/>
                <a:gd name="connsiteY26" fmla="*/ 123825 h 395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00977" h="395287">
                  <a:moveTo>
                    <a:pt x="38100" y="123825"/>
                  </a:moveTo>
                  <a:lnTo>
                    <a:pt x="80963" y="105823"/>
                  </a:lnTo>
                  <a:lnTo>
                    <a:pt x="122873" y="77248"/>
                  </a:lnTo>
                  <a:lnTo>
                    <a:pt x="137160" y="53435"/>
                  </a:lnTo>
                  <a:lnTo>
                    <a:pt x="151448" y="45815"/>
                  </a:lnTo>
                  <a:lnTo>
                    <a:pt x="165735" y="18097"/>
                  </a:lnTo>
                  <a:lnTo>
                    <a:pt x="168593" y="0"/>
                  </a:lnTo>
                  <a:lnTo>
                    <a:pt x="189548" y="35338"/>
                  </a:lnTo>
                  <a:lnTo>
                    <a:pt x="197168" y="70485"/>
                  </a:lnTo>
                  <a:lnTo>
                    <a:pt x="200978" y="91535"/>
                  </a:lnTo>
                  <a:lnTo>
                    <a:pt x="200978" y="112490"/>
                  </a:lnTo>
                  <a:lnTo>
                    <a:pt x="179070" y="116300"/>
                  </a:lnTo>
                  <a:lnTo>
                    <a:pt x="179070" y="144875"/>
                  </a:lnTo>
                  <a:lnTo>
                    <a:pt x="143828" y="264890"/>
                  </a:lnTo>
                  <a:lnTo>
                    <a:pt x="130493" y="321088"/>
                  </a:lnTo>
                  <a:lnTo>
                    <a:pt x="108585" y="377285"/>
                  </a:lnTo>
                  <a:lnTo>
                    <a:pt x="70485" y="395288"/>
                  </a:lnTo>
                  <a:lnTo>
                    <a:pt x="31433" y="391573"/>
                  </a:lnTo>
                  <a:lnTo>
                    <a:pt x="14288" y="356235"/>
                  </a:lnTo>
                  <a:lnTo>
                    <a:pt x="10478" y="321088"/>
                  </a:lnTo>
                  <a:lnTo>
                    <a:pt x="0" y="289560"/>
                  </a:lnTo>
                  <a:lnTo>
                    <a:pt x="27623" y="250603"/>
                  </a:lnTo>
                  <a:lnTo>
                    <a:pt x="35243" y="215360"/>
                  </a:lnTo>
                  <a:lnTo>
                    <a:pt x="27623" y="186785"/>
                  </a:lnTo>
                  <a:lnTo>
                    <a:pt x="17145" y="159163"/>
                  </a:lnTo>
                  <a:lnTo>
                    <a:pt x="31433" y="141065"/>
                  </a:lnTo>
                  <a:lnTo>
                    <a:pt x="38100" y="12382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12" name="Freeform: Shape 2611">
              <a:extLst>
                <a:ext uri="{FF2B5EF4-FFF2-40B4-BE49-F238E27FC236}">
                  <a16:creationId xmlns:a16="http://schemas.microsoft.com/office/drawing/2014/main" id="{F75E01D7-658F-DE77-05AF-1AA6139D5A1C}"/>
                </a:ext>
              </a:extLst>
            </p:cNvPr>
            <p:cNvSpPr/>
            <p:nvPr/>
          </p:nvSpPr>
          <p:spPr>
            <a:xfrm>
              <a:off x="6692278" y="4983433"/>
              <a:ext cx="207287" cy="183105"/>
            </a:xfrm>
            <a:custGeom>
              <a:avLst/>
              <a:gdLst>
                <a:gd name="connsiteX0" fmla="*/ 105728 w 211455"/>
                <a:gd name="connsiteY0" fmla="*/ 182975 h 186785"/>
                <a:gd name="connsiteX1" fmla="*/ 101918 w 211455"/>
                <a:gd name="connsiteY1" fmla="*/ 172498 h 186785"/>
                <a:gd name="connsiteX2" fmla="*/ 77153 w 211455"/>
                <a:gd name="connsiteY2" fmla="*/ 168688 h 186785"/>
                <a:gd name="connsiteX3" fmla="*/ 62865 w 211455"/>
                <a:gd name="connsiteY3" fmla="*/ 133350 h 186785"/>
                <a:gd name="connsiteX4" fmla="*/ 20955 w 211455"/>
                <a:gd name="connsiteY4" fmla="*/ 112490 h 186785"/>
                <a:gd name="connsiteX5" fmla="*/ 14288 w 211455"/>
                <a:gd name="connsiteY5" fmla="*/ 84772 h 186785"/>
                <a:gd name="connsiteX6" fmla="*/ 0 w 211455"/>
                <a:gd name="connsiteY6" fmla="*/ 62960 h 186785"/>
                <a:gd name="connsiteX7" fmla="*/ 49530 w 211455"/>
                <a:gd name="connsiteY7" fmla="*/ 60103 h 186785"/>
                <a:gd name="connsiteX8" fmla="*/ 73343 w 211455"/>
                <a:gd name="connsiteY8" fmla="*/ 27622 h 186785"/>
                <a:gd name="connsiteX9" fmla="*/ 95250 w 211455"/>
                <a:gd name="connsiteY9" fmla="*/ 24860 h 186785"/>
                <a:gd name="connsiteX10" fmla="*/ 108585 w 211455"/>
                <a:gd name="connsiteY10" fmla="*/ 0 h 186785"/>
                <a:gd name="connsiteX11" fmla="*/ 137160 w 211455"/>
                <a:gd name="connsiteY11" fmla="*/ 0 h 186785"/>
                <a:gd name="connsiteX12" fmla="*/ 207645 w 211455"/>
                <a:gd name="connsiteY12" fmla="*/ 24860 h 186785"/>
                <a:gd name="connsiteX13" fmla="*/ 211455 w 211455"/>
                <a:gd name="connsiteY13" fmla="*/ 74390 h 186785"/>
                <a:gd name="connsiteX14" fmla="*/ 211455 w 211455"/>
                <a:gd name="connsiteY14" fmla="*/ 126778 h 186785"/>
                <a:gd name="connsiteX15" fmla="*/ 197168 w 211455"/>
                <a:gd name="connsiteY15" fmla="*/ 158210 h 186785"/>
                <a:gd name="connsiteX16" fmla="*/ 158115 w 211455"/>
                <a:gd name="connsiteY16" fmla="*/ 186785 h 186785"/>
                <a:gd name="connsiteX17" fmla="*/ 105728 w 211455"/>
                <a:gd name="connsiteY17" fmla="*/ 182975 h 186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1455" h="186785">
                  <a:moveTo>
                    <a:pt x="105728" y="182975"/>
                  </a:moveTo>
                  <a:lnTo>
                    <a:pt x="101918" y="172498"/>
                  </a:lnTo>
                  <a:lnTo>
                    <a:pt x="77153" y="168688"/>
                  </a:lnTo>
                  <a:lnTo>
                    <a:pt x="62865" y="133350"/>
                  </a:lnTo>
                  <a:lnTo>
                    <a:pt x="20955" y="112490"/>
                  </a:lnTo>
                  <a:lnTo>
                    <a:pt x="14288" y="84772"/>
                  </a:lnTo>
                  <a:lnTo>
                    <a:pt x="0" y="62960"/>
                  </a:lnTo>
                  <a:lnTo>
                    <a:pt x="49530" y="60103"/>
                  </a:lnTo>
                  <a:lnTo>
                    <a:pt x="73343" y="27622"/>
                  </a:lnTo>
                  <a:lnTo>
                    <a:pt x="95250" y="24860"/>
                  </a:lnTo>
                  <a:lnTo>
                    <a:pt x="108585" y="0"/>
                  </a:lnTo>
                  <a:lnTo>
                    <a:pt x="137160" y="0"/>
                  </a:lnTo>
                  <a:lnTo>
                    <a:pt x="207645" y="24860"/>
                  </a:lnTo>
                  <a:lnTo>
                    <a:pt x="211455" y="74390"/>
                  </a:lnTo>
                  <a:lnTo>
                    <a:pt x="211455" y="126778"/>
                  </a:lnTo>
                  <a:lnTo>
                    <a:pt x="197168" y="158210"/>
                  </a:lnTo>
                  <a:lnTo>
                    <a:pt x="158115" y="186785"/>
                  </a:lnTo>
                  <a:lnTo>
                    <a:pt x="105728" y="18297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13" name="Freeform: Shape 2612">
              <a:extLst>
                <a:ext uri="{FF2B5EF4-FFF2-40B4-BE49-F238E27FC236}">
                  <a16:creationId xmlns:a16="http://schemas.microsoft.com/office/drawing/2014/main" id="{4BC1099C-221F-45E0-540A-4DAA7A9E7F9B}"/>
                </a:ext>
              </a:extLst>
            </p:cNvPr>
            <p:cNvSpPr/>
            <p:nvPr/>
          </p:nvSpPr>
          <p:spPr>
            <a:xfrm>
              <a:off x="6546617" y="5045152"/>
              <a:ext cx="249304" cy="253041"/>
            </a:xfrm>
            <a:custGeom>
              <a:avLst/>
              <a:gdLst>
                <a:gd name="connsiteX0" fmla="*/ 0 w 254317"/>
                <a:gd name="connsiteY0" fmla="*/ 200978 h 258127"/>
                <a:gd name="connsiteX1" fmla="*/ 0 w 254317"/>
                <a:gd name="connsiteY1" fmla="*/ 117062 h 258127"/>
                <a:gd name="connsiteX2" fmla="*/ 24765 w 254317"/>
                <a:gd name="connsiteY2" fmla="*/ 117062 h 258127"/>
                <a:gd name="connsiteX3" fmla="*/ 28575 w 254317"/>
                <a:gd name="connsiteY3" fmla="*/ 7525 h 258127"/>
                <a:gd name="connsiteX4" fmla="*/ 88582 w 254317"/>
                <a:gd name="connsiteY4" fmla="*/ 0 h 258127"/>
                <a:gd name="connsiteX5" fmla="*/ 99060 w 254317"/>
                <a:gd name="connsiteY5" fmla="*/ 14288 h 258127"/>
                <a:gd name="connsiteX6" fmla="*/ 148590 w 254317"/>
                <a:gd name="connsiteY6" fmla="*/ 0 h 258127"/>
                <a:gd name="connsiteX7" fmla="*/ 162877 w 254317"/>
                <a:gd name="connsiteY7" fmla="*/ 21812 h 258127"/>
                <a:gd name="connsiteX8" fmla="*/ 169545 w 254317"/>
                <a:gd name="connsiteY8" fmla="*/ 49530 h 258127"/>
                <a:gd name="connsiteX9" fmla="*/ 211455 w 254317"/>
                <a:gd name="connsiteY9" fmla="*/ 70390 h 258127"/>
                <a:gd name="connsiteX10" fmla="*/ 225743 w 254317"/>
                <a:gd name="connsiteY10" fmla="*/ 105728 h 258127"/>
                <a:gd name="connsiteX11" fmla="*/ 250507 w 254317"/>
                <a:gd name="connsiteY11" fmla="*/ 109538 h 258127"/>
                <a:gd name="connsiteX12" fmla="*/ 254318 w 254317"/>
                <a:gd name="connsiteY12" fmla="*/ 123825 h 258127"/>
                <a:gd name="connsiteX13" fmla="*/ 250507 w 254317"/>
                <a:gd name="connsiteY13" fmla="*/ 130493 h 258127"/>
                <a:gd name="connsiteX14" fmla="*/ 233363 w 254317"/>
                <a:gd name="connsiteY14" fmla="*/ 130493 h 258127"/>
                <a:gd name="connsiteX15" fmla="*/ 165735 w 254317"/>
                <a:gd name="connsiteY15" fmla="*/ 200978 h 258127"/>
                <a:gd name="connsiteX16" fmla="*/ 151448 w 254317"/>
                <a:gd name="connsiteY16" fmla="*/ 225743 h 258127"/>
                <a:gd name="connsiteX17" fmla="*/ 116205 w 254317"/>
                <a:gd name="connsiteY17" fmla="*/ 229553 h 258127"/>
                <a:gd name="connsiteX18" fmla="*/ 99060 w 254317"/>
                <a:gd name="connsiteY18" fmla="*/ 215265 h 258127"/>
                <a:gd name="connsiteX19" fmla="*/ 81915 w 254317"/>
                <a:gd name="connsiteY19" fmla="*/ 215265 h 258127"/>
                <a:gd name="connsiteX20" fmla="*/ 74295 w 254317"/>
                <a:gd name="connsiteY20" fmla="*/ 236125 h 258127"/>
                <a:gd name="connsiteX21" fmla="*/ 49530 w 254317"/>
                <a:gd name="connsiteY21" fmla="*/ 258128 h 258127"/>
                <a:gd name="connsiteX22" fmla="*/ 21907 w 254317"/>
                <a:gd name="connsiteY22" fmla="*/ 258128 h 258127"/>
                <a:gd name="connsiteX23" fmla="*/ 21907 w 254317"/>
                <a:gd name="connsiteY23" fmla="*/ 222790 h 258127"/>
                <a:gd name="connsiteX24" fmla="*/ 0 w 254317"/>
                <a:gd name="connsiteY24" fmla="*/ 200978 h 258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54317" h="258127">
                  <a:moveTo>
                    <a:pt x="0" y="200978"/>
                  </a:moveTo>
                  <a:lnTo>
                    <a:pt x="0" y="117062"/>
                  </a:lnTo>
                  <a:lnTo>
                    <a:pt x="24765" y="117062"/>
                  </a:lnTo>
                  <a:lnTo>
                    <a:pt x="28575" y="7525"/>
                  </a:lnTo>
                  <a:lnTo>
                    <a:pt x="88582" y="0"/>
                  </a:lnTo>
                  <a:lnTo>
                    <a:pt x="99060" y="14288"/>
                  </a:lnTo>
                  <a:lnTo>
                    <a:pt x="148590" y="0"/>
                  </a:lnTo>
                  <a:lnTo>
                    <a:pt x="162877" y="21812"/>
                  </a:lnTo>
                  <a:lnTo>
                    <a:pt x="169545" y="49530"/>
                  </a:lnTo>
                  <a:lnTo>
                    <a:pt x="211455" y="70390"/>
                  </a:lnTo>
                  <a:lnTo>
                    <a:pt x="225743" y="105728"/>
                  </a:lnTo>
                  <a:lnTo>
                    <a:pt x="250507" y="109538"/>
                  </a:lnTo>
                  <a:lnTo>
                    <a:pt x="254318" y="123825"/>
                  </a:lnTo>
                  <a:lnTo>
                    <a:pt x="250507" y="130493"/>
                  </a:lnTo>
                  <a:lnTo>
                    <a:pt x="233363" y="130493"/>
                  </a:lnTo>
                  <a:lnTo>
                    <a:pt x="165735" y="200978"/>
                  </a:lnTo>
                  <a:lnTo>
                    <a:pt x="151448" y="225743"/>
                  </a:lnTo>
                  <a:lnTo>
                    <a:pt x="116205" y="229553"/>
                  </a:lnTo>
                  <a:lnTo>
                    <a:pt x="99060" y="215265"/>
                  </a:lnTo>
                  <a:lnTo>
                    <a:pt x="81915" y="215265"/>
                  </a:lnTo>
                  <a:lnTo>
                    <a:pt x="74295" y="236125"/>
                  </a:lnTo>
                  <a:lnTo>
                    <a:pt x="49530" y="258128"/>
                  </a:lnTo>
                  <a:lnTo>
                    <a:pt x="21907" y="258128"/>
                  </a:lnTo>
                  <a:lnTo>
                    <a:pt x="21907" y="222790"/>
                  </a:lnTo>
                  <a:lnTo>
                    <a:pt x="0" y="20097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14" name="Freeform: Shape 2613">
              <a:extLst>
                <a:ext uri="{FF2B5EF4-FFF2-40B4-BE49-F238E27FC236}">
                  <a16:creationId xmlns:a16="http://schemas.microsoft.com/office/drawing/2014/main" id="{19E7ACDA-D5C3-8C14-EB67-825D9758B43D}"/>
                </a:ext>
              </a:extLst>
            </p:cNvPr>
            <p:cNvSpPr/>
            <p:nvPr/>
          </p:nvSpPr>
          <p:spPr>
            <a:xfrm>
              <a:off x="6329993" y="5028345"/>
              <a:ext cx="244636" cy="331474"/>
            </a:xfrm>
            <a:custGeom>
              <a:avLst/>
              <a:gdLst>
                <a:gd name="connsiteX0" fmla="*/ 0 w 249555"/>
                <a:gd name="connsiteY0" fmla="*/ 0 h 338137"/>
                <a:gd name="connsiteX1" fmla="*/ 172403 w 249555"/>
                <a:gd name="connsiteY1" fmla="*/ 0 h 338137"/>
                <a:gd name="connsiteX2" fmla="*/ 186690 w 249555"/>
                <a:gd name="connsiteY2" fmla="*/ 10382 h 338137"/>
                <a:gd name="connsiteX3" fmla="*/ 235268 w 249555"/>
                <a:gd name="connsiteY3" fmla="*/ 14288 h 338137"/>
                <a:gd name="connsiteX4" fmla="*/ 249555 w 249555"/>
                <a:gd name="connsiteY4" fmla="*/ 24670 h 338137"/>
                <a:gd name="connsiteX5" fmla="*/ 245745 w 249555"/>
                <a:gd name="connsiteY5" fmla="*/ 134207 h 338137"/>
                <a:gd name="connsiteX6" fmla="*/ 220980 w 249555"/>
                <a:gd name="connsiteY6" fmla="*/ 134207 h 338137"/>
                <a:gd name="connsiteX7" fmla="*/ 220980 w 249555"/>
                <a:gd name="connsiteY7" fmla="*/ 320897 h 338137"/>
                <a:gd name="connsiteX8" fmla="*/ 193357 w 249555"/>
                <a:gd name="connsiteY8" fmla="*/ 338138 h 338137"/>
                <a:gd name="connsiteX9" fmla="*/ 164782 w 249555"/>
                <a:gd name="connsiteY9" fmla="*/ 338138 h 338137"/>
                <a:gd name="connsiteX10" fmla="*/ 151448 w 249555"/>
                <a:gd name="connsiteY10" fmla="*/ 331470 h 338137"/>
                <a:gd name="connsiteX11" fmla="*/ 140018 w 249555"/>
                <a:gd name="connsiteY11" fmla="*/ 317182 h 338137"/>
                <a:gd name="connsiteX12" fmla="*/ 126682 w 249555"/>
                <a:gd name="connsiteY12" fmla="*/ 327660 h 338137"/>
                <a:gd name="connsiteX13" fmla="*/ 91440 w 249555"/>
                <a:gd name="connsiteY13" fmla="*/ 288607 h 338137"/>
                <a:gd name="connsiteX14" fmla="*/ 77153 w 249555"/>
                <a:gd name="connsiteY14" fmla="*/ 221932 h 338137"/>
                <a:gd name="connsiteX15" fmla="*/ 66675 w 249555"/>
                <a:gd name="connsiteY15" fmla="*/ 200882 h 338137"/>
                <a:gd name="connsiteX16" fmla="*/ 66675 w 249555"/>
                <a:gd name="connsiteY16" fmla="*/ 144685 h 338137"/>
                <a:gd name="connsiteX17" fmla="*/ 20955 w 249555"/>
                <a:gd name="connsiteY17" fmla="*/ 63722 h 338137"/>
                <a:gd name="connsiteX18" fmla="*/ 0 w 249555"/>
                <a:gd name="connsiteY18" fmla="*/ 28575 h 338137"/>
                <a:gd name="connsiteX19" fmla="*/ 0 w 249555"/>
                <a:gd name="connsiteY19" fmla="*/ 0 h 3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49555" h="338137">
                  <a:moveTo>
                    <a:pt x="0" y="0"/>
                  </a:moveTo>
                  <a:lnTo>
                    <a:pt x="172403" y="0"/>
                  </a:lnTo>
                  <a:lnTo>
                    <a:pt x="186690" y="10382"/>
                  </a:lnTo>
                  <a:lnTo>
                    <a:pt x="235268" y="14288"/>
                  </a:lnTo>
                  <a:lnTo>
                    <a:pt x="249555" y="24670"/>
                  </a:lnTo>
                  <a:lnTo>
                    <a:pt x="245745" y="134207"/>
                  </a:lnTo>
                  <a:lnTo>
                    <a:pt x="220980" y="134207"/>
                  </a:lnTo>
                  <a:lnTo>
                    <a:pt x="220980" y="320897"/>
                  </a:lnTo>
                  <a:lnTo>
                    <a:pt x="193357" y="338138"/>
                  </a:lnTo>
                  <a:lnTo>
                    <a:pt x="164782" y="338138"/>
                  </a:lnTo>
                  <a:lnTo>
                    <a:pt x="151448" y="331470"/>
                  </a:lnTo>
                  <a:lnTo>
                    <a:pt x="140018" y="317182"/>
                  </a:lnTo>
                  <a:lnTo>
                    <a:pt x="126682" y="327660"/>
                  </a:lnTo>
                  <a:lnTo>
                    <a:pt x="91440" y="288607"/>
                  </a:lnTo>
                  <a:lnTo>
                    <a:pt x="77153" y="221932"/>
                  </a:lnTo>
                  <a:lnTo>
                    <a:pt x="66675" y="200882"/>
                  </a:lnTo>
                  <a:lnTo>
                    <a:pt x="66675" y="144685"/>
                  </a:lnTo>
                  <a:lnTo>
                    <a:pt x="20955" y="63722"/>
                  </a:lnTo>
                  <a:lnTo>
                    <a:pt x="0" y="285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15" name="Freeform: Shape 2614">
              <a:extLst>
                <a:ext uri="{FF2B5EF4-FFF2-40B4-BE49-F238E27FC236}">
                  <a16:creationId xmlns:a16="http://schemas.microsoft.com/office/drawing/2014/main" id="{08AA6B19-0624-1326-0720-56B9FD614215}"/>
                </a:ext>
              </a:extLst>
            </p:cNvPr>
            <p:cNvSpPr/>
            <p:nvPr/>
          </p:nvSpPr>
          <p:spPr>
            <a:xfrm>
              <a:off x="6833271" y="4835062"/>
              <a:ext cx="280117" cy="465839"/>
            </a:xfrm>
            <a:custGeom>
              <a:avLst/>
              <a:gdLst>
                <a:gd name="connsiteX0" fmla="*/ 0 w 285750"/>
                <a:gd name="connsiteY0" fmla="*/ 154305 h 475202"/>
                <a:gd name="connsiteX1" fmla="*/ 0 w 285750"/>
                <a:gd name="connsiteY1" fmla="*/ 126587 h 475202"/>
                <a:gd name="connsiteX2" fmla="*/ 88582 w 285750"/>
                <a:gd name="connsiteY2" fmla="*/ 112300 h 475202"/>
                <a:gd name="connsiteX3" fmla="*/ 116205 w 285750"/>
                <a:gd name="connsiteY3" fmla="*/ 112300 h 475202"/>
                <a:gd name="connsiteX4" fmla="*/ 113347 w 285750"/>
                <a:gd name="connsiteY4" fmla="*/ 165640 h 475202"/>
                <a:gd name="connsiteX5" fmla="*/ 134302 w 285750"/>
                <a:gd name="connsiteY5" fmla="*/ 186690 h 475202"/>
                <a:gd name="connsiteX6" fmla="*/ 151447 w 285750"/>
                <a:gd name="connsiteY6" fmla="*/ 161925 h 475202"/>
                <a:gd name="connsiteX7" fmla="*/ 148590 w 285750"/>
                <a:gd name="connsiteY7" fmla="*/ 112300 h 475202"/>
                <a:gd name="connsiteX8" fmla="*/ 123825 w 285750"/>
                <a:gd name="connsiteY8" fmla="*/ 83725 h 475202"/>
                <a:gd name="connsiteX9" fmla="*/ 113347 w 285750"/>
                <a:gd name="connsiteY9" fmla="*/ 56102 h 475202"/>
                <a:gd name="connsiteX10" fmla="*/ 120015 w 285750"/>
                <a:gd name="connsiteY10" fmla="*/ 27527 h 475202"/>
                <a:gd name="connsiteX11" fmla="*/ 159068 w 285750"/>
                <a:gd name="connsiteY11" fmla="*/ 31337 h 475202"/>
                <a:gd name="connsiteX12" fmla="*/ 204788 w 285750"/>
                <a:gd name="connsiteY12" fmla="*/ 35243 h 475202"/>
                <a:gd name="connsiteX13" fmla="*/ 250507 w 285750"/>
                <a:gd name="connsiteY13" fmla="*/ 17050 h 475202"/>
                <a:gd name="connsiteX14" fmla="*/ 278130 w 285750"/>
                <a:gd name="connsiteY14" fmla="*/ 0 h 475202"/>
                <a:gd name="connsiteX15" fmla="*/ 278130 w 285750"/>
                <a:gd name="connsiteY15" fmla="*/ 70390 h 475202"/>
                <a:gd name="connsiteX16" fmla="*/ 285750 w 285750"/>
                <a:gd name="connsiteY16" fmla="*/ 140875 h 475202"/>
                <a:gd name="connsiteX17" fmla="*/ 254318 w 285750"/>
                <a:gd name="connsiteY17" fmla="*/ 172403 h 475202"/>
                <a:gd name="connsiteX18" fmla="*/ 197168 w 285750"/>
                <a:gd name="connsiteY18" fmla="*/ 207550 h 475202"/>
                <a:gd name="connsiteX19" fmla="*/ 134302 w 285750"/>
                <a:gd name="connsiteY19" fmla="*/ 263843 h 475202"/>
                <a:gd name="connsiteX20" fmla="*/ 120015 w 285750"/>
                <a:gd name="connsiteY20" fmla="*/ 271463 h 475202"/>
                <a:gd name="connsiteX21" fmla="*/ 123825 w 285750"/>
                <a:gd name="connsiteY21" fmla="*/ 296228 h 475202"/>
                <a:gd name="connsiteX22" fmla="*/ 140970 w 285750"/>
                <a:gd name="connsiteY22" fmla="*/ 344805 h 475202"/>
                <a:gd name="connsiteX23" fmla="*/ 134302 w 285750"/>
                <a:gd name="connsiteY23" fmla="*/ 401955 h 475202"/>
                <a:gd name="connsiteX24" fmla="*/ 67627 w 285750"/>
                <a:gd name="connsiteY24" fmla="*/ 437102 h 475202"/>
                <a:gd name="connsiteX25" fmla="*/ 60007 w 285750"/>
                <a:gd name="connsiteY25" fmla="*/ 450437 h 475202"/>
                <a:gd name="connsiteX26" fmla="*/ 67627 w 285750"/>
                <a:gd name="connsiteY26" fmla="*/ 464725 h 475202"/>
                <a:gd name="connsiteX27" fmla="*/ 70485 w 285750"/>
                <a:gd name="connsiteY27" fmla="*/ 475202 h 475202"/>
                <a:gd name="connsiteX28" fmla="*/ 42863 w 285750"/>
                <a:gd name="connsiteY28" fmla="*/ 472440 h 475202"/>
                <a:gd name="connsiteX29" fmla="*/ 42863 w 285750"/>
                <a:gd name="connsiteY29" fmla="*/ 454343 h 475202"/>
                <a:gd name="connsiteX30" fmla="*/ 42863 w 285750"/>
                <a:gd name="connsiteY30" fmla="*/ 391478 h 475202"/>
                <a:gd name="connsiteX31" fmla="*/ 28575 w 285750"/>
                <a:gd name="connsiteY31" fmla="*/ 348615 h 475202"/>
                <a:gd name="connsiteX32" fmla="*/ 14288 w 285750"/>
                <a:gd name="connsiteY32" fmla="*/ 338138 h 475202"/>
                <a:gd name="connsiteX33" fmla="*/ 53340 w 285750"/>
                <a:gd name="connsiteY33" fmla="*/ 309563 h 475202"/>
                <a:gd name="connsiteX34" fmla="*/ 67627 w 285750"/>
                <a:gd name="connsiteY34" fmla="*/ 278130 h 475202"/>
                <a:gd name="connsiteX35" fmla="*/ 67627 w 285750"/>
                <a:gd name="connsiteY35" fmla="*/ 225743 h 475202"/>
                <a:gd name="connsiteX36" fmla="*/ 63818 w 285750"/>
                <a:gd name="connsiteY36" fmla="*/ 176213 h 475202"/>
                <a:gd name="connsiteX37" fmla="*/ 0 w 285750"/>
                <a:gd name="connsiteY37" fmla="*/ 154305 h 475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85750" h="475202">
                  <a:moveTo>
                    <a:pt x="0" y="154305"/>
                  </a:moveTo>
                  <a:lnTo>
                    <a:pt x="0" y="126587"/>
                  </a:lnTo>
                  <a:lnTo>
                    <a:pt x="88582" y="112300"/>
                  </a:lnTo>
                  <a:lnTo>
                    <a:pt x="116205" y="112300"/>
                  </a:lnTo>
                  <a:lnTo>
                    <a:pt x="113347" y="165640"/>
                  </a:lnTo>
                  <a:lnTo>
                    <a:pt x="134302" y="186690"/>
                  </a:lnTo>
                  <a:lnTo>
                    <a:pt x="151447" y="161925"/>
                  </a:lnTo>
                  <a:lnTo>
                    <a:pt x="148590" y="112300"/>
                  </a:lnTo>
                  <a:lnTo>
                    <a:pt x="123825" y="83725"/>
                  </a:lnTo>
                  <a:lnTo>
                    <a:pt x="113347" y="56102"/>
                  </a:lnTo>
                  <a:lnTo>
                    <a:pt x="120015" y="27527"/>
                  </a:lnTo>
                  <a:lnTo>
                    <a:pt x="159068" y="31337"/>
                  </a:lnTo>
                  <a:lnTo>
                    <a:pt x="204788" y="35243"/>
                  </a:lnTo>
                  <a:lnTo>
                    <a:pt x="250507" y="17050"/>
                  </a:lnTo>
                  <a:lnTo>
                    <a:pt x="278130" y="0"/>
                  </a:lnTo>
                  <a:lnTo>
                    <a:pt x="278130" y="70390"/>
                  </a:lnTo>
                  <a:lnTo>
                    <a:pt x="285750" y="140875"/>
                  </a:lnTo>
                  <a:lnTo>
                    <a:pt x="254318" y="172403"/>
                  </a:lnTo>
                  <a:lnTo>
                    <a:pt x="197168" y="207550"/>
                  </a:lnTo>
                  <a:lnTo>
                    <a:pt x="134302" y="263843"/>
                  </a:lnTo>
                  <a:lnTo>
                    <a:pt x="120015" y="271463"/>
                  </a:lnTo>
                  <a:lnTo>
                    <a:pt x="123825" y="296228"/>
                  </a:lnTo>
                  <a:lnTo>
                    <a:pt x="140970" y="344805"/>
                  </a:lnTo>
                  <a:lnTo>
                    <a:pt x="134302" y="401955"/>
                  </a:lnTo>
                  <a:lnTo>
                    <a:pt x="67627" y="437102"/>
                  </a:lnTo>
                  <a:lnTo>
                    <a:pt x="60007" y="450437"/>
                  </a:lnTo>
                  <a:lnTo>
                    <a:pt x="67627" y="464725"/>
                  </a:lnTo>
                  <a:lnTo>
                    <a:pt x="70485" y="475202"/>
                  </a:lnTo>
                  <a:lnTo>
                    <a:pt x="42863" y="472440"/>
                  </a:lnTo>
                  <a:lnTo>
                    <a:pt x="42863" y="454343"/>
                  </a:lnTo>
                  <a:lnTo>
                    <a:pt x="42863" y="391478"/>
                  </a:lnTo>
                  <a:lnTo>
                    <a:pt x="28575" y="348615"/>
                  </a:lnTo>
                  <a:lnTo>
                    <a:pt x="14288" y="338138"/>
                  </a:lnTo>
                  <a:lnTo>
                    <a:pt x="53340" y="309563"/>
                  </a:lnTo>
                  <a:lnTo>
                    <a:pt x="67627" y="278130"/>
                  </a:lnTo>
                  <a:lnTo>
                    <a:pt x="67627" y="225743"/>
                  </a:lnTo>
                  <a:lnTo>
                    <a:pt x="63818" y="176213"/>
                  </a:lnTo>
                  <a:lnTo>
                    <a:pt x="0" y="15430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16" name="Freeform: Shape 2615">
              <a:extLst>
                <a:ext uri="{FF2B5EF4-FFF2-40B4-BE49-F238E27FC236}">
                  <a16:creationId xmlns:a16="http://schemas.microsoft.com/office/drawing/2014/main" id="{FE0E9200-46C3-E8DD-1427-B51625F169F6}"/>
                </a:ext>
              </a:extLst>
            </p:cNvPr>
            <p:cNvSpPr/>
            <p:nvPr/>
          </p:nvSpPr>
          <p:spPr>
            <a:xfrm>
              <a:off x="6895830" y="4810692"/>
              <a:ext cx="85902" cy="207382"/>
            </a:xfrm>
            <a:custGeom>
              <a:avLst/>
              <a:gdLst>
                <a:gd name="connsiteX0" fmla="*/ 6667 w 87629"/>
                <a:gd name="connsiteY0" fmla="*/ 87725 h 211550"/>
                <a:gd name="connsiteX1" fmla="*/ 17145 w 87629"/>
                <a:gd name="connsiteY1" fmla="*/ 77248 h 211550"/>
                <a:gd name="connsiteX2" fmla="*/ 20955 w 87629"/>
                <a:gd name="connsiteY2" fmla="*/ 31528 h 211550"/>
                <a:gd name="connsiteX3" fmla="*/ 24765 w 87629"/>
                <a:gd name="connsiteY3" fmla="*/ 24860 h 211550"/>
                <a:gd name="connsiteX4" fmla="*/ 14288 w 87629"/>
                <a:gd name="connsiteY4" fmla="*/ 0 h 211550"/>
                <a:gd name="connsiteX5" fmla="*/ 39052 w 87629"/>
                <a:gd name="connsiteY5" fmla="*/ 0 h 211550"/>
                <a:gd name="connsiteX6" fmla="*/ 52388 w 87629"/>
                <a:gd name="connsiteY6" fmla="*/ 21050 h 211550"/>
                <a:gd name="connsiteX7" fmla="*/ 56197 w 87629"/>
                <a:gd name="connsiteY7" fmla="*/ 52388 h 211550"/>
                <a:gd name="connsiteX8" fmla="*/ 49530 w 87629"/>
                <a:gd name="connsiteY8" fmla="*/ 80963 h 211550"/>
                <a:gd name="connsiteX9" fmla="*/ 60007 w 87629"/>
                <a:gd name="connsiteY9" fmla="*/ 108585 h 211550"/>
                <a:gd name="connsiteX10" fmla="*/ 84772 w 87629"/>
                <a:gd name="connsiteY10" fmla="*/ 137160 h 211550"/>
                <a:gd name="connsiteX11" fmla="*/ 87630 w 87629"/>
                <a:gd name="connsiteY11" fmla="*/ 186785 h 211550"/>
                <a:gd name="connsiteX12" fmla="*/ 70485 w 87629"/>
                <a:gd name="connsiteY12" fmla="*/ 211550 h 211550"/>
                <a:gd name="connsiteX13" fmla="*/ 49530 w 87629"/>
                <a:gd name="connsiteY13" fmla="*/ 190500 h 211550"/>
                <a:gd name="connsiteX14" fmla="*/ 52388 w 87629"/>
                <a:gd name="connsiteY14" fmla="*/ 137160 h 211550"/>
                <a:gd name="connsiteX15" fmla="*/ 17145 w 87629"/>
                <a:gd name="connsiteY15" fmla="*/ 137160 h 211550"/>
                <a:gd name="connsiteX16" fmla="*/ 0 w 87629"/>
                <a:gd name="connsiteY16" fmla="*/ 112490 h 211550"/>
                <a:gd name="connsiteX17" fmla="*/ 6667 w 87629"/>
                <a:gd name="connsiteY17" fmla="*/ 87725 h 21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7629" h="211550">
                  <a:moveTo>
                    <a:pt x="6667" y="87725"/>
                  </a:moveTo>
                  <a:lnTo>
                    <a:pt x="17145" y="77248"/>
                  </a:lnTo>
                  <a:lnTo>
                    <a:pt x="20955" y="31528"/>
                  </a:lnTo>
                  <a:lnTo>
                    <a:pt x="24765" y="24860"/>
                  </a:lnTo>
                  <a:lnTo>
                    <a:pt x="14288" y="0"/>
                  </a:lnTo>
                  <a:lnTo>
                    <a:pt x="39052" y="0"/>
                  </a:lnTo>
                  <a:lnTo>
                    <a:pt x="52388" y="21050"/>
                  </a:lnTo>
                  <a:lnTo>
                    <a:pt x="56197" y="52388"/>
                  </a:lnTo>
                  <a:lnTo>
                    <a:pt x="49530" y="80963"/>
                  </a:lnTo>
                  <a:lnTo>
                    <a:pt x="60007" y="108585"/>
                  </a:lnTo>
                  <a:lnTo>
                    <a:pt x="84772" y="137160"/>
                  </a:lnTo>
                  <a:lnTo>
                    <a:pt x="87630" y="186785"/>
                  </a:lnTo>
                  <a:lnTo>
                    <a:pt x="70485" y="211550"/>
                  </a:lnTo>
                  <a:lnTo>
                    <a:pt x="49530" y="190500"/>
                  </a:lnTo>
                  <a:lnTo>
                    <a:pt x="52388" y="137160"/>
                  </a:lnTo>
                  <a:lnTo>
                    <a:pt x="17145" y="137160"/>
                  </a:lnTo>
                  <a:lnTo>
                    <a:pt x="0" y="112490"/>
                  </a:lnTo>
                  <a:lnTo>
                    <a:pt x="6667" y="8772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9E7E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17" name="Freeform: Shape 2616">
              <a:extLst>
                <a:ext uri="{FF2B5EF4-FFF2-40B4-BE49-F238E27FC236}">
                  <a16:creationId xmlns:a16="http://schemas.microsoft.com/office/drawing/2014/main" id="{CB02583E-DFE5-89FE-815D-4DBA098B3214}"/>
                </a:ext>
              </a:extLst>
            </p:cNvPr>
            <p:cNvSpPr/>
            <p:nvPr/>
          </p:nvSpPr>
          <p:spPr>
            <a:xfrm>
              <a:off x="6895830" y="4810692"/>
              <a:ext cx="85902" cy="207382"/>
            </a:xfrm>
            <a:custGeom>
              <a:avLst/>
              <a:gdLst>
                <a:gd name="connsiteX0" fmla="*/ 6667 w 87629"/>
                <a:gd name="connsiteY0" fmla="*/ 87725 h 211550"/>
                <a:gd name="connsiteX1" fmla="*/ 17145 w 87629"/>
                <a:gd name="connsiteY1" fmla="*/ 77248 h 211550"/>
                <a:gd name="connsiteX2" fmla="*/ 20955 w 87629"/>
                <a:gd name="connsiteY2" fmla="*/ 31528 h 211550"/>
                <a:gd name="connsiteX3" fmla="*/ 24765 w 87629"/>
                <a:gd name="connsiteY3" fmla="*/ 24860 h 211550"/>
                <a:gd name="connsiteX4" fmla="*/ 14288 w 87629"/>
                <a:gd name="connsiteY4" fmla="*/ 0 h 211550"/>
                <a:gd name="connsiteX5" fmla="*/ 39052 w 87629"/>
                <a:gd name="connsiteY5" fmla="*/ 0 h 211550"/>
                <a:gd name="connsiteX6" fmla="*/ 52388 w 87629"/>
                <a:gd name="connsiteY6" fmla="*/ 21050 h 211550"/>
                <a:gd name="connsiteX7" fmla="*/ 56197 w 87629"/>
                <a:gd name="connsiteY7" fmla="*/ 52388 h 211550"/>
                <a:gd name="connsiteX8" fmla="*/ 49530 w 87629"/>
                <a:gd name="connsiteY8" fmla="*/ 80963 h 211550"/>
                <a:gd name="connsiteX9" fmla="*/ 60007 w 87629"/>
                <a:gd name="connsiteY9" fmla="*/ 108585 h 211550"/>
                <a:gd name="connsiteX10" fmla="*/ 84772 w 87629"/>
                <a:gd name="connsiteY10" fmla="*/ 137160 h 211550"/>
                <a:gd name="connsiteX11" fmla="*/ 87630 w 87629"/>
                <a:gd name="connsiteY11" fmla="*/ 186785 h 211550"/>
                <a:gd name="connsiteX12" fmla="*/ 70485 w 87629"/>
                <a:gd name="connsiteY12" fmla="*/ 211550 h 211550"/>
                <a:gd name="connsiteX13" fmla="*/ 49530 w 87629"/>
                <a:gd name="connsiteY13" fmla="*/ 190500 h 211550"/>
                <a:gd name="connsiteX14" fmla="*/ 52388 w 87629"/>
                <a:gd name="connsiteY14" fmla="*/ 137160 h 211550"/>
                <a:gd name="connsiteX15" fmla="*/ 17145 w 87629"/>
                <a:gd name="connsiteY15" fmla="*/ 137160 h 211550"/>
                <a:gd name="connsiteX16" fmla="*/ 0 w 87629"/>
                <a:gd name="connsiteY16" fmla="*/ 112490 h 211550"/>
                <a:gd name="connsiteX17" fmla="*/ 6667 w 87629"/>
                <a:gd name="connsiteY17" fmla="*/ 87725 h 211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7629" h="211550">
                  <a:moveTo>
                    <a:pt x="6667" y="87725"/>
                  </a:moveTo>
                  <a:lnTo>
                    <a:pt x="17145" y="77248"/>
                  </a:lnTo>
                  <a:lnTo>
                    <a:pt x="20955" y="31528"/>
                  </a:lnTo>
                  <a:lnTo>
                    <a:pt x="24765" y="24860"/>
                  </a:lnTo>
                  <a:lnTo>
                    <a:pt x="14288" y="0"/>
                  </a:lnTo>
                  <a:lnTo>
                    <a:pt x="39052" y="0"/>
                  </a:lnTo>
                  <a:lnTo>
                    <a:pt x="52388" y="21050"/>
                  </a:lnTo>
                  <a:lnTo>
                    <a:pt x="56197" y="52388"/>
                  </a:lnTo>
                  <a:lnTo>
                    <a:pt x="49530" y="80963"/>
                  </a:lnTo>
                  <a:lnTo>
                    <a:pt x="60007" y="108585"/>
                  </a:lnTo>
                  <a:lnTo>
                    <a:pt x="84772" y="137160"/>
                  </a:lnTo>
                  <a:lnTo>
                    <a:pt x="87630" y="186785"/>
                  </a:lnTo>
                  <a:lnTo>
                    <a:pt x="70485" y="211550"/>
                  </a:lnTo>
                  <a:lnTo>
                    <a:pt x="49530" y="190500"/>
                  </a:lnTo>
                  <a:lnTo>
                    <a:pt x="52388" y="137160"/>
                  </a:lnTo>
                  <a:lnTo>
                    <a:pt x="17145" y="137160"/>
                  </a:lnTo>
                  <a:lnTo>
                    <a:pt x="0" y="112490"/>
                  </a:lnTo>
                  <a:lnTo>
                    <a:pt x="6667" y="8772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9E7E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18" name="Freeform: Shape 2617">
              <a:extLst>
                <a:ext uri="{FF2B5EF4-FFF2-40B4-BE49-F238E27FC236}">
                  <a16:creationId xmlns:a16="http://schemas.microsoft.com/office/drawing/2014/main" id="{EB0839F6-487B-DAF4-FB0B-79AA2921194A}"/>
                </a:ext>
              </a:extLst>
            </p:cNvPr>
            <p:cNvSpPr/>
            <p:nvPr/>
          </p:nvSpPr>
          <p:spPr>
            <a:xfrm>
              <a:off x="6602640" y="4776237"/>
              <a:ext cx="317466" cy="268914"/>
            </a:xfrm>
            <a:custGeom>
              <a:avLst/>
              <a:gdLst>
                <a:gd name="connsiteX0" fmla="*/ 91440 w 323850"/>
                <a:gd name="connsiteY0" fmla="*/ 274320 h 274319"/>
                <a:gd name="connsiteX1" fmla="*/ 80963 w 323850"/>
                <a:gd name="connsiteY1" fmla="*/ 263747 h 274319"/>
                <a:gd name="connsiteX2" fmla="*/ 35243 w 323850"/>
                <a:gd name="connsiteY2" fmla="*/ 260985 h 274319"/>
                <a:gd name="connsiteX3" fmla="*/ 2857 w 323850"/>
                <a:gd name="connsiteY3" fmla="*/ 225647 h 274319"/>
                <a:gd name="connsiteX4" fmla="*/ 0 w 323850"/>
                <a:gd name="connsiteY4" fmla="*/ 133350 h 274319"/>
                <a:gd name="connsiteX5" fmla="*/ 52388 w 323850"/>
                <a:gd name="connsiteY5" fmla="*/ 133350 h 274319"/>
                <a:gd name="connsiteX6" fmla="*/ 52388 w 323850"/>
                <a:gd name="connsiteY6" fmla="*/ 73247 h 274319"/>
                <a:gd name="connsiteX7" fmla="*/ 83820 w 323850"/>
                <a:gd name="connsiteY7" fmla="*/ 87535 h 274319"/>
                <a:gd name="connsiteX8" fmla="*/ 119063 w 323850"/>
                <a:gd name="connsiteY8" fmla="*/ 101822 h 274319"/>
                <a:gd name="connsiteX9" fmla="*/ 143827 w 323850"/>
                <a:gd name="connsiteY9" fmla="*/ 91345 h 274319"/>
                <a:gd name="connsiteX10" fmla="*/ 158115 w 323850"/>
                <a:gd name="connsiteY10" fmla="*/ 112395 h 274319"/>
                <a:gd name="connsiteX11" fmla="*/ 179070 w 323850"/>
                <a:gd name="connsiteY11" fmla="*/ 122872 h 274319"/>
                <a:gd name="connsiteX12" fmla="*/ 193357 w 323850"/>
                <a:gd name="connsiteY12" fmla="*/ 143732 h 274319"/>
                <a:gd name="connsiteX13" fmla="*/ 218123 w 323850"/>
                <a:gd name="connsiteY13" fmla="*/ 143732 h 274319"/>
                <a:gd name="connsiteX14" fmla="*/ 218123 w 323850"/>
                <a:gd name="connsiteY14" fmla="*/ 112395 h 274319"/>
                <a:gd name="connsiteX15" fmla="*/ 193357 w 323850"/>
                <a:gd name="connsiteY15" fmla="*/ 101822 h 274319"/>
                <a:gd name="connsiteX16" fmla="*/ 176213 w 323850"/>
                <a:gd name="connsiteY16" fmla="*/ 83820 h 274319"/>
                <a:gd name="connsiteX17" fmla="*/ 182880 w 323850"/>
                <a:gd name="connsiteY17" fmla="*/ 45720 h 274319"/>
                <a:gd name="connsiteX18" fmla="*/ 179070 w 323850"/>
                <a:gd name="connsiteY18" fmla="*/ 13335 h 274319"/>
                <a:gd name="connsiteX19" fmla="*/ 207645 w 323850"/>
                <a:gd name="connsiteY19" fmla="*/ 0 h 274319"/>
                <a:gd name="connsiteX20" fmla="*/ 239077 w 323850"/>
                <a:gd name="connsiteY20" fmla="*/ 0 h 274319"/>
                <a:gd name="connsiteX21" fmla="*/ 313373 w 323850"/>
                <a:gd name="connsiteY21" fmla="*/ 35147 h 274319"/>
                <a:gd name="connsiteX22" fmla="*/ 323850 w 323850"/>
                <a:gd name="connsiteY22" fmla="*/ 60007 h 274319"/>
                <a:gd name="connsiteX23" fmla="*/ 316230 w 323850"/>
                <a:gd name="connsiteY23" fmla="*/ 70485 h 274319"/>
                <a:gd name="connsiteX24" fmla="*/ 316230 w 323850"/>
                <a:gd name="connsiteY24" fmla="*/ 112395 h 274319"/>
                <a:gd name="connsiteX25" fmla="*/ 305752 w 323850"/>
                <a:gd name="connsiteY25" fmla="*/ 122872 h 274319"/>
                <a:gd name="connsiteX26" fmla="*/ 299085 w 323850"/>
                <a:gd name="connsiteY26" fmla="*/ 147638 h 274319"/>
                <a:gd name="connsiteX27" fmla="*/ 316230 w 323850"/>
                <a:gd name="connsiteY27" fmla="*/ 172307 h 274319"/>
                <a:gd name="connsiteX28" fmla="*/ 235268 w 323850"/>
                <a:gd name="connsiteY28" fmla="*/ 186595 h 274319"/>
                <a:gd name="connsiteX29" fmla="*/ 235268 w 323850"/>
                <a:gd name="connsiteY29" fmla="*/ 214313 h 274319"/>
                <a:gd name="connsiteX30" fmla="*/ 200025 w 323850"/>
                <a:gd name="connsiteY30" fmla="*/ 211360 h 274319"/>
                <a:gd name="connsiteX31" fmla="*/ 186690 w 323850"/>
                <a:gd name="connsiteY31" fmla="*/ 236220 h 274319"/>
                <a:gd name="connsiteX32" fmla="*/ 164782 w 323850"/>
                <a:gd name="connsiteY32" fmla="*/ 238982 h 274319"/>
                <a:gd name="connsiteX33" fmla="*/ 140970 w 323850"/>
                <a:gd name="connsiteY33" fmla="*/ 271463 h 274319"/>
                <a:gd name="connsiteX34" fmla="*/ 91440 w 323850"/>
                <a:gd name="connsiteY34" fmla="*/ 274320 h 27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23850" h="274319">
                  <a:moveTo>
                    <a:pt x="91440" y="274320"/>
                  </a:moveTo>
                  <a:lnTo>
                    <a:pt x="80963" y="263747"/>
                  </a:lnTo>
                  <a:lnTo>
                    <a:pt x="35243" y="260985"/>
                  </a:lnTo>
                  <a:lnTo>
                    <a:pt x="2857" y="225647"/>
                  </a:lnTo>
                  <a:lnTo>
                    <a:pt x="0" y="133350"/>
                  </a:lnTo>
                  <a:lnTo>
                    <a:pt x="52388" y="133350"/>
                  </a:lnTo>
                  <a:lnTo>
                    <a:pt x="52388" y="73247"/>
                  </a:lnTo>
                  <a:lnTo>
                    <a:pt x="83820" y="87535"/>
                  </a:lnTo>
                  <a:lnTo>
                    <a:pt x="119063" y="101822"/>
                  </a:lnTo>
                  <a:lnTo>
                    <a:pt x="143827" y="91345"/>
                  </a:lnTo>
                  <a:lnTo>
                    <a:pt x="158115" y="112395"/>
                  </a:lnTo>
                  <a:lnTo>
                    <a:pt x="179070" y="122872"/>
                  </a:lnTo>
                  <a:lnTo>
                    <a:pt x="193357" y="143732"/>
                  </a:lnTo>
                  <a:lnTo>
                    <a:pt x="218123" y="143732"/>
                  </a:lnTo>
                  <a:lnTo>
                    <a:pt x="218123" y="112395"/>
                  </a:lnTo>
                  <a:lnTo>
                    <a:pt x="193357" y="101822"/>
                  </a:lnTo>
                  <a:lnTo>
                    <a:pt x="176213" y="83820"/>
                  </a:lnTo>
                  <a:lnTo>
                    <a:pt x="182880" y="45720"/>
                  </a:lnTo>
                  <a:lnTo>
                    <a:pt x="179070" y="13335"/>
                  </a:lnTo>
                  <a:lnTo>
                    <a:pt x="207645" y="0"/>
                  </a:lnTo>
                  <a:lnTo>
                    <a:pt x="239077" y="0"/>
                  </a:lnTo>
                  <a:lnTo>
                    <a:pt x="313373" y="35147"/>
                  </a:lnTo>
                  <a:lnTo>
                    <a:pt x="323850" y="60007"/>
                  </a:lnTo>
                  <a:lnTo>
                    <a:pt x="316230" y="70485"/>
                  </a:lnTo>
                  <a:lnTo>
                    <a:pt x="316230" y="112395"/>
                  </a:lnTo>
                  <a:lnTo>
                    <a:pt x="305752" y="122872"/>
                  </a:lnTo>
                  <a:lnTo>
                    <a:pt x="299085" y="147638"/>
                  </a:lnTo>
                  <a:lnTo>
                    <a:pt x="316230" y="172307"/>
                  </a:lnTo>
                  <a:lnTo>
                    <a:pt x="235268" y="186595"/>
                  </a:lnTo>
                  <a:lnTo>
                    <a:pt x="235268" y="214313"/>
                  </a:lnTo>
                  <a:lnTo>
                    <a:pt x="200025" y="211360"/>
                  </a:lnTo>
                  <a:lnTo>
                    <a:pt x="186690" y="236220"/>
                  </a:lnTo>
                  <a:lnTo>
                    <a:pt x="164782" y="238982"/>
                  </a:lnTo>
                  <a:lnTo>
                    <a:pt x="140970" y="271463"/>
                  </a:lnTo>
                  <a:lnTo>
                    <a:pt x="91440" y="27432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19" name="Freeform: Shape 2618">
              <a:extLst>
                <a:ext uri="{FF2B5EF4-FFF2-40B4-BE49-F238E27FC236}">
                  <a16:creationId xmlns:a16="http://schemas.microsoft.com/office/drawing/2014/main" id="{8FCF308E-0FDA-D9A1-11A1-628A54775C56}"/>
                </a:ext>
              </a:extLst>
            </p:cNvPr>
            <p:cNvSpPr/>
            <p:nvPr/>
          </p:nvSpPr>
          <p:spPr>
            <a:xfrm>
              <a:off x="6806192" y="4575485"/>
              <a:ext cx="299725" cy="294125"/>
            </a:xfrm>
            <a:custGeom>
              <a:avLst/>
              <a:gdLst>
                <a:gd name="connsiteX0" fmla="*/ 31432 w 305752"/>
                <a:gd name="connsiteY0" fmla="*/ 204788 h 300037"/>
                <a:gd name="connsiteX1" fmla="*/ 27623 w 305752"/>
                <a:gd name="connsiteY1" fmla="*/ 176213 h 300037"/>
                <a:gd name="connsiteX2" fmla="*/ 2857 w 305752"/>
                <a:gd name="connsiteY2" fmla="*/ 144685 h 300037"/>
                <a:gd name="connsiteX3" fmla="*/ 0 w 305752"/>
                <a:gd name="connsiteY3" fmla="*/ 99060 h 300037"/>
                <a:gd name="connsiteX4" fmla="*/ 35243 w 305752"/>
                <a:gd name="connsiteY4" fmla="*/ 60007 h 300037"/>
                <a:gd name="connsiteX5" fmla="*/ 27623 w 305752"/>
                <a:gd name="connsiteY5" fmla="*/ 35147 h 300037"/>
                <a:gd name="connsiteX6" fmla="*/ 38100 w 305752"/>
                <a:gd name="connsiteY6" fmla="*/ 20860 h 300037"/>
                <a:gd name="connsiteX7" fmla="*/ 27623 w 305752"/>
                <a:gd name="connsiteY7" fmla="*/ 0 h 300037"/>
                <a:gd name="connsiteX8" fmla="*/ 66675 w 305752"/>
                <a:gd name="connsiteY8" fmla="*/ 0 h 300037"/>
                <a:gd name="connsiteX9" fmla="*/ 133350 w 305752"/>
                <a:gd name="connsiteY9" fmla="*/ 3810 h 300037"/>
                <a:gd name="connsiteX10" fmla="*/ 224790 w 305752"/>
                <a:gd name="connsiteY10" fmla="*/ 52388 h 300037"/>
                <a:gd name="connsiteX11" fmla="*/ 232410 w 305752"/>
                <a:gd name="connsiteY11" fmla="*/ 70485 h 300037"/>
                <a:gd name="connsiteX12" fmla="*/ 274320 w 305752"/>
                <a:gd name="connsiteY12" fmla="*/ 101822 h 300037"/>
                <a:gd name="connsiteX13" fmla="*/ 263843 w 305752"/>
                <a:gd name="connsiteY13" fmla="*/ 126682 h 300037"/>
                <a:gd name="connsiteX14" fmla="*/ 260032 w 305752"/>
                <a:gd name="connsiteY14" fmla="*/ 151447 h 300037"/>
                <a:gd name="connsiteX15" fmla="*/ 274320 w 305752"/>
                <a:gd name="connsiteY15" fmla="*/ 172307 h 300037"/>
                <a:gd name="connsiteX16" fmla="*/ 274320 w 305752"/>
                <a:gd name="connsiteY16" fmla="*/ 221932 h 300037"/>
                <a:gd name="connsiteX17" fmla="*/ 305753 w 305752"/>
                <a:gd name="connsiteY17" fmla="*/ 264795 h 300037"/>
                <a:gd name="connsiteX18" fmla="*/ 278130 w 305752"/>
                <a:gd name="connsiteY18" fmla="*/ 281845 h 300037"/>
                <a:gd name="connsiteX19" fmla="*/ 232410 w 305752"/>
                <a:gd name="connsiteY19" fmla="*/ 300038 h 300037"/>
                <a:gd name="connsiteX20" fmla="*/ 147638 w 305752"/>
                <a:gd name="connsiteY20" fmla="*/ 292322 h 300037"/>
                <a:gd name="connsiteX21" fmla="*/ 143828 w 305752"/>
                <a:gd name="connsiteY21" fmla="*/ 260985 h 300037"/>
                <a:gd name="connsiteX22" fmla="*/ 130493 w 305752"/>
                <a:gd name="connsiteY22" fmla="*/ 239935 h 300037"/>
                <a:gd name="connsiteX23" fmla="*/ 105728 w 305752"/>
                <a:gd name="connsiteY23" fmla="*/ 239935 h 300037"/>
                <a:gd name="connsiteX24" fmla="*/ 31432 w 305752"/>
                <a:gd name="connsiteY24" fmla="*/ 204788 h 300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05752" h="300037">
                  <a:moveTo>
                    <a:pt x="31432" y="204788"/>
                  </a:moveTo>
                  <a:lnTo>
                    <a:pt x="27623" y="176213"/>
                  </a:lnTo>
                  <a:lnTo>
                    <a:pt x="2857" y="144685"/>
                  </a:lnTo>
                  <a:lnTo>
                    <a:pt x="0" y="99060"/>
                  </a:lnTo>
                  <a:lnTo>
                    <a:pt x="35243" y="60007"/>
                  </a:lnTo>
                  <a:lnTo>
                    <a:pt x="27623" y="35147"/>
                  </a:lnTo>
                  <a:lnTo>
                    <a:pt x="38100" y="20860"/>
                  </a:lnTo>
                  <a:lnTo>
                    <a:pt x="27623" y="0"/>
                  </a:lnTo>
                  <a:lnTo>
                    <a:pt x="66675" y="0"/>
                  </a:lnTo>
                  <a:lnTo>
                    <a:pt x="133350" y="3810"/>
                  </a:lnTo>
                  <a:lnTo>
                    <a:pt x="224790" y="52388"/>
                  </a:lnTo>
                  <a:lnTo>
                    <a:pt x="232410" y="70485"/>
                  </a:lnTo>
                  <a:lnTo>
                    <a:pt x="274320" y="101822"/>
                  </a:lnTo>
                  <a:lnTo>
                    <a:pt x="263843" y="126682"/>
                  </a:lnTo>
                  <a:lnTo>
                    <a:pt x="260032" y="151447"/>
                  </a:lnTo>
                  <a:lnTo>
                    <a:pt x="274320" y="172307"/>
                  </a:lnTo>
                  <a:lnTo>
                    <a:pt x="274320" y="221932"/>
                  </a:lnTo>
                  <a:lnTo>
                    <a:pt x="305753" y="264795"/>
                  </a:lnTo>
                  <a:lnTo>
                    <a:pt x="278130" y="281845"/>
                  </a:lnTo>
                  <a:lnTo>
                    <a:pt x="232410" y="300038"/>
                  </a:lnTo>
                  <a:lnTo>
                    <a:pt x="147638" y="292322"/>
                  </a:lnTo>
                  <a:lnTo>
                    <a:pt x="143828" y="260985"/>
                  </a:lnTo>
                  <a:lnTo>
                    <a:pt x="130493" y="239935"/>
                  </a:lnTo>
                  <a:lnTo>
                    <a:pt x="105728" y="239935"/>
                  </a:lnTo>
                  <a:lnTo>
                    <a:pt x="31432" y="20478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20" name="Freeform: Shape 2619">
              <a:extLst>
                <a:ext uri="{FF2B5EF4-FFF2-40B4-BE49-F238E27FC236}">
                  <a16:creationId xmlns:a16="http://schemas.microsoft.com/office/drawing/2014/main" id="{575612E0-365C-85C8-592C-DBCCDB940489}"/>
                </a:ext>
              </a:extLst>
            </p:cNvPr>
            <p:cNvSpPr/>
            <p:nvPr/>
          </p:nvSpPr>
          <p:spPr>
            <a:xfrm>
              <a:off x="6802457" y="4609940"/>
              <a:ext cx="38282" cy="62653"/>
            </a:xfrm>
            <a:custGeom>
              <a:avLst/>
              <a:gdLst>
                <a:gd name="connsiteX0" fmla="*/ 31432 w 39052"/>
                <a:gd name="connsiteY0" fmla="*/ 0 h 63912"/>
                <a:gd name="connsiteX1" fmla="*/ 18097 w 39052"/>
                <a:gd name="connsiteY1" fmla="*/ 3810 h 63912"/>
                <a:gd name="connsiteX2" fmla="*/ 0 w 39052"/>
                <a:gd name="connsiteY2" fmla="*/ 21050 h 63912"/>
                <a:gd name="connsiteX3" fmla="*/ 3810 w 39052"/>
                <a:gd name="connsiteY3" fmla="*/ 63913 h 63912"/>
                <a:gd name="connsiteX4" fmla="*/ 39052 w 39052"/>
                <a:gd name="connsiteY4" fmla="*/ 24860 h 63912"/>
                <a:gd name="connsiteX5" fmla="*/ 31432 w 39052"/>
                <a:gd name="connsiteY5" fmla="*/ 0 h 6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052" h="63912">
                  <a:moveTo>
                    <a:pt x="31432" y="0"/>
                  </a:moveTo>
                  <a:lnTo>
                    <a:pt x="18097" y="3810"/>
                  </a:lnTo>
                  <a:lnTo>
                    <a:pt x="0" y="21050"/>
                  </a:lnTo>
                  <a:lnTo>
                    <a:pt x="3810" y="63913"/>
                  </a:lnTo>
                  <a:lnTo>
                    <a:pt x="39052" y="24860"/>
                  </a:lnTo>
                  <a:lnTo>
                    <a:pt x="31432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21" name="Freeform: Shape 2620">
              <a:extLst>
                <a:ext uri="{FF2B5EF4-FFF2-40B4-BE49-F238E27FC236}">
                  <a16:creationId xmlns:a16="http://schemas.microsoft.com/office/drawing/2014/main" id="{77242133-0D6A-6B3C-1862-0679286A1EB3}"/>
                </a:ext>
              </a:extLst>
            </p:cNvPr>
            <p:cNvSpPr/>
            <p:nvPr/>
          </p:nvSpPr>
          <p:spPr>
            <a:xfrm>
              <a:off x="6802457" y="4609940"/>
              <a:ext cx="38282" cy="62653"/>
            </a:xfrm>
            <a:custGeom>
              <a:avLst/>
              <a:gdLst>
                <a:gd name="connsiteX0" fmla="*/ 31432 w 39052"/>
                <a:gd name="connsiteY0" fmla="*/ 0 h 63912"/>
                <a:gd name="connsiteX1" fmla="*/ 18097 w 39052"/>
                <a:gd name="connsiteY1" fmla="*/ 3810 h 63912"/>
                <a:gd name="connsiteX2" fmla="*/ 0 w 39052"/>
                <a:gd name="connsiteY2" fmla="*/ 21050 h 63912"/>
                <a:gd name="connsiteX3" fmla="*/ 3810 w 39052"/>
                <a:gd name="connsiteY3" fmla="*/ 63913 h 63912"/>
                <a:gd name="connsiteX4" fmla="*/ 39052 w 39052"/>
                <a:gd name="connsiteY4" fmla="*/ 24860 h 63912"/>
                <a:gd name="connsiteX5" fmla="*/ 31432 w 39052"/>
                <a:gd name="connsiteY5" fmla="*/ 0 h 6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9052" h="63912">
                  <a:moveTo>
                    <a:pt x="31432" y="0"/>
                  </a:moveTo>
                  <a:lnTo>
                    <a:pt x="18097" y="3810"/>
                  </a:lnTo>
                  <a:lnTo>
                    <a:pt x="0" y="21050"/>
                  </a:lnTo>
                  <a:lnTo>
                    <a:pt x="3810" y="63913"/>
                  </a:lnTo>
                  <a:lnTo>
                    <a:pt x="39052" y="24860"/>
                  </a:lnTo>
                  <a:lnTo>
                    <a:pt x="31432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22" name="Freeform: Shape 2621">
              <a:extLst>
                <a:ext uri="{FF2B5EF4-FFF2-40B4-BE49-F238E27FC236}">
                  <a16:creationId xmlns:a16="http://schemas.microsoft.com/office/drawing/2014/main" id="{F89D41C3-A3BB-761E-4D97-4B8CD2EB0101}"/>
                </a:ext>
              </a:extLst>
            </p:cNvPr>
            <p:cNvSpPr/>
            <p:nvPr/>
          </p:nvSpPr>
          <p:spPr>
            <a:xfrm>
              <a:off x="6792186" y="4575485"/>
              <a:ext cx="51354" cy="55090"/>
            </a:xfrm>
            <a:custGeom>
              <a:avLst/>
              <a:gdLst>
                <a:gd name="connsiteX0" fmla="*/ 17145 w 52387"/>
                <a:gd name="connsiteY0" fmla="*/ 3810 h 56197"/>
                <a:gd name="connsiteX1" fmla="*/ 41910 w 52387"/>
                <a:gd name="connsiteY1" fmla="*/ 0 h 56197"/>
                <a:gd name="connsiteX2" fmla="*/ 52388 w 52387"/>
                <a:gd name="connsiteY2" fmla="*/ 20860 h 56197"/>
                <a:gd name="connsiteX3" fmla="*/ 41910 w 52387"/>
                <a:gd name="connsiteY3" fmla="*/ 35147 h 56197"/>
                <a:gd name="connsiteX4" fmla="*/ 28575 w 52387"/>
                <a:gd name="connsiteY4" fmla="*/ 38957 h 56197"/>
                <a:gd name="connsiteX5" fmla="*/ 10478 w 52387"/>
                <a:gd name="connsiteY5" fmla="*/ 56197 h 56197"/>
                <a:gd name="connsiteX6" fmla="*/ 0 w 52387"/>
                <a:gd name="connsiteY6" fmla="*/ 28575 h 56197"/>
                <a:gd name="connsiteX7" fmla="*/ 17145 w 52387"/>
                <a:gd name="connsiteY7" fmla="*/ 3810 h 56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387" h="56197">
                  <a:moveTo>
                    <a:pt x="17145" y="3810"/>
                  </a:moveTo>
                  <a:lnTo>
                    <a:pt x="41910" y="0"/>
                  </a:lnTo>
                  <a:lnTo>
                    <a:pt x="52388" y="20860"/>
                  </a:lnTo>
                  <a:lnTo>
                    <a:pt x="41910" y="35147"/>
                  </a:lnTo>
                  <a:lnTo>
                    <a:pt x="28575" y="38957"/>
                  </a:lnTo>
                  <a:lnTo>
                    <a:pt x="10478" y="56197"/>
                  </a:lnTo>
                  <a:lnTo>
                    <a:pt x="0" y="28575"/>
                  </a:lnTo>
                  <a:lnTo>
                    <a:pt x="17145" y="381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623" name="Freeform: Shape 2622">
              <a:extLst>
                <a:ext uri="{FF2B5EF4-FFF2-40B4-BE49-F238E27FC236}">
                  <a16:creationId xmlns:a16="http://schemas.microsoft.com/office/drawing/2014/main" id="{CB80A5EC-C480-62CC-907D-2068CD3E0064}"/>
                </a:ext>
              </a:extLst>
            </p:cNvPr>
            <p:cNvSpPr/>
            <p:nvPr/>
          </p:nvSpPr>
          <p:spPr>
            <a:xfrm>
              <a:off x="6792186" y="4575485"/>
              <a:ext cx="51354" cy="55090"/>
            </a:xfrm>
            <a:custGeom>
              <a:avLst/>
              <a:gdLst>
                <a:gd name="connsiteX0" fmla="*/ 17145 w 52387"/>
                <a:gd name="connsiteY0" fmla="*/ 3810 h 56197"/>
                <a:gd name="connsiteX1" fmla="*/ 41910 w 52387"/>
                <a:gd name="connsiteY1" fmla="*/ 0 h 56197"/>
                <a:gd name="connsiteX2" fmla="*/ 52388 w 52387"/>
                <a:gd name="connsiteY2" fmla="*/ 20860 h 56197"/>
                <a:gd name="connsiteX3" fmla="*/ 41910 w 52387"/>
                <a:gd name="connsiteY3" fmla="*/ 35147 h 56197"/>
                <a:gd name="connsiteX4" fmla="*/ 28575 w 52387"/>
                <a:gd name="connsiteY4" fmla="*/ 38957 h 56197"/>
                <a:gd name="connsiteX5" fmla="*/ 10478 w 52387"/>
                <a:gd name="connsiteY5" fmla="*/ 56197 h 56197"/>
                <a:gd name="connsiteX6" fmla="*/ 0 w 52387"/>
                <a:gd name="connsiteY6" fmla="*/ 28575 h 56197"/>
                <a:gd name="connsiteX7" fmla="*/ 17145 w 52387"/>
                <a:gd name="connsiteY7" fmla="*/ 3810 h 56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2387" h="56197">
                  <a:moveTo>
                    <a:pt x="17145" y="3810"/>
                  </a:moveTo>
                  <a:lnTo>
                    <a:pt x="41910" y="0"/>
                  </a:lnTo>
                  <a:lnTo>
                    <a:pt x="52388" y="20860"/>
                  </a:lnTo>
                  <a:lnTo>
                    <a:pt x="41910" y="35147"/>
                  </a:lnTo>
                  <a:lnTo>
                    <a:pt x="28575" y="38957"/>
                  </a:lnTo>
                  <a:lnTo>
                    <a:pt x="10478" y="56197"/>
                  </a:lnTo>
                  <a:lnTo>
                    <a:pt x="0" y="28575"/>
                  </a:lnTo>
                  <a:lnTo>
                    <a:pt x="17145" y="381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20" name="Freeform: Shape 2719">
              <a:extLst>
                <a:ext uri="{FF2B5EF4-FFF2-40B4-BE49-F238E27FC236}">
                  <a16:creationId xmlns:a16="http://schemas.microsoft.com/office/drawing/2014/main" id="{9657EC54-F5B0-CDE9-3724-F1243B5FF6A6}"/>
                </a:ext>
              </a:extLst>
            </p:cNvPr>
            <p:cNvSpPr/>
            <p:nvPr/>
          </p:nvSpPr>
          <p:spPr>
            <a:xfrm>
              <a:off x="6808993" y="4433557"/>
              <a:ext cx="148462" cy="145662"/>
            </a:xfrm>
            <a:custGeom>
              <a:avLst/>
              <a:gdLst>
                <a:gd name="connsiteX0" fmla="*/ 0 w 151447"/>
                <a:gd name="connsiteY0" fmla="*/ 148590 h 148590"/>
                <a:gd name="connsiteX1" fmla="*/ 3810 w 151447"/>
                <a:gd name="connsiteY1" fmla="*/ 113252 h 148590"/>
                <a:gd name="connsiteX2" fmla="*/ 11430 w 151447"/>
                <a:gd name="connsiteY2" fmla="*/ 91440 h 148590"/>
                <a:gd name="connsiteX3" fmla="*/ 46673 w 151447"/>
                <a:gd name="connsiteY3" fmla="*/ 59912 h 148590"/>
                <a:gd name="connsiteX4" fmla="*/ 46673 w 151447"/>
                <a:gd name="connsiteY4" fmla="*/ 53340 h 148590"/>
                <a:gd name="connsiteX5" fmla="*/ 35243 w 151447"/>
                <a:gd name="connsiteY5" fmla="*/ 49530 h 148590"/>
                <a:gd name="connsiteX6" fmla="*/ 28575 w 151447"/>
                <a:gd name="connsiteY6" fmla="*/ 7525 h 148590"/>
                <a:gd name="connsiteX7" fmla="*/ 120015 w 151447"/>
                <a:gd name="connsiteY7" fmla="*/ 0 h 148590"/>
                <a:gd name="connsiteX8" fmla="*/ 140970 w 151447"/>
                <a:gd name="connsiteY8" fmla="*/ 35243 h 148590"/>
                <a:gd name="connsiteX9" fmla="*/ 151448 w 151447"/>
                <a:gd name="connsiteY9" fmla="*/ 74200 h 148590"/>
                <a:gd name="connsiteX10" fmla="*/ 127635 w 151447"/>
                <a:gd name="connsiteY10" fmla="*/ 101918 h 148590"/>
                <a:gd name="connsiteX11" fmla="*/ 134303 w 151447"/>
                <a:gd name="connsiteY11" fmla="*/ 126587 h 148590"/>
                <a:gd name="connsiteX12" fmla="*/ 123825 w 151447"/>
                <a:gd name="connsiteY12" fmla="*/ 148590 h 148590"/>
                <a:gd name="connsiteX13" fmla="*/ 63818 w 151447"/>
                <a:gd name="connsiteY13" fmla="*/ 144780 h 148590"/>
                <a:gd name="connsiteX14" fmla="*/ 24765 w 151447"/>
                <a:gd name="connsiteY14" fmla="*/ 144780 h 148590"/>
                <a:gd name="connsiteX15" fmla="*/ 0 w 151447"/>
                <a:gd name="connsiteY15" fmla="*/ 148590 h 1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447" h="148590">
                  <a:moveTo>
                    <a:pt x="0" y="148590"/>
                  </a:moveTo>
                  <a:lnTo>
                    <a:pt x="3810" y="113252"/>
                  </a:lnTo>
                  <a:lnTo>
                    <a:pt x="11430" y="91440"/>
                  </a:lnTo>
                  <a:lnTo>
                    <a:pt x="46673" y="59912"/>
                  </a:lnTo>
                  <a:lnTo>
                    <a:pt x="46673" y="53340"/>
                  </a:lnTo>
                  <a:lnTo>
                    <a:pt x="35243" y="49530"/>
                  </a:lnTo>
                  <a:lnTo>
                    <a:pt x="28575" y="7525"/>
                  </a:lnTo>
                  <a:lnTo>
                    <a:pt x="120015" y="0"/>
                  </a:lnTo>
                  <a:lnTo>
                    <a:pt x="140970" y="35243"/>
                  </a:lnTo>
                  <a:lnTo>
                    <a:pt x="151448" y="74200"/>
                  </a:lnTo>
                  <a:lnTo>
                    <a:pt x="127635" y="101918"/>
                  </a:lnTo>
                  <a:lnTo>
                    <a:pt x="134303" y="126587"/>
                  </a:lnTo>
                  <a:lnTo>
                    <a:pt x="123825" y="148590"/>
                  </a:lnTo>
                  <a:lnTo>
                    <a:pt x="63818" y="144780"/>
                  </a:lnTo>
                  <a:lnTo>
                    <a:pt x="24765" y="144780"/>
                  </a:lnTo>
                  <a:lnTo>
                    <a:pt x="0" y="14859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21" name="Freeform: Shape 2720">
              <a:extLst>
                <a:ext uri="{FF2B5EF4-FFF2-40B4-BE49-F238E27FC236}">
                  <a16:creationId xmlns:a16="http://schemas.microsoft.com/office/drawing/2014/main" id="{8E381677-D26F-9100-B70E-41321B014FFF}"/>
                </a:ext>
              </a:extLst>
            </p:cNvPr>
            <p:cNvSpPr/>
            <p:nvPr/>
          </p:nvSpPr>
          <p:spPr>
            <a:xfrm>
              <a:off x="6808993" y="4433557"/>
              <a:ext cx="148462" cy="145662"/>
            </a:xfrm>
            <a:custGeom>
              <a:avLst/>
              <a:gdLst>
                <a:gd name="connsiteX0" fmla="*/ 0 w 151447"/>
                <a:gd name="connsiteY0" fmla="*/ 148590 h 148590"/>
                <a:gd name="connsiteX1" fmla="*/ 3810 w 151447"/>
                <a:gd name="connsiteY1" fmla="*/ 113252 h 148590"/>
                <a:gd name="connsiteX2" fmla="*/ 11430 w 151447"/>
                <a:gd name="connsiteY2" fmla="*/ 91440 h 148590"/>
                <a:gd name="connsiteX3" fmla="*/ 46673 w 151447"/>
                <a:gd name="connsiteY3" fmla="*/ 59912 h 148590"/>
                <a:gd name="connsiteX4" fmla="*/ 46673 w 151447"/>
                <a:gd name="connsiteY4" fmla="*/ 53340 h 148590"/>
                <a:gd name="connsiteX5" fmla="*/ 35243 w 151447"/>
                <a:gd name="connsiteY5" fmla="*/ 49530 h 148590"/>
                <a:gd name="connsiteX6" fmla="*/ 28575 w 151447"/>
                <a:gd name="connsiteY6" fmla="*/ 7525 h 148590"/>
                <a:gd name="connsiteX7" fmla="*/ 120015 w 151447"/>
                <a:gd name="connsiteY7" fmla="*/ 0 h 148590"/>
                <a:gd name="connsiteX8" fmla="*/ 140970 w 151447"/>
                <a:gd name="connsiteY8" fmla="*/ 35243 h 148590"/>
                <a:gd name="connsiteX9" fmla="*/ 151448 w 151447"/>
                <a:gd name="connsiteY9" fmla="*/ 74200 h 148590"/>
                <a:gd name="connsiteX10" fmla="*/ 127635 w 151447"/>
                <a:gd name="connsiteY10" fmla="*/ 101918 h 148590"/>
                <a:gd name="connsiteX11" fmla="*/ 134303 w 151447"/>
                <a:gd name="connsiteY11" fmla="*/ 126587 h 148590"/>
                <a:gd name="connsiteX12" fmla="*/ 123825 w 151447"/>
                <a:gd name="connsiteY12" fmla="*/ 148590 h 148590"/>
                <a:gd name="connsiteX13" fmla="*/ 63818 w 151447"/>
                <a:gd name="connsiteY13" fmla="*/ 144780 h 148590"/>
                <a:gd name="connsiteX14" fmla="*/ 24765 w 151447"/>
                <a:gd name="connsiteY14" fmla="*/ 144780 h 148590"/>
                <a:gd name="connsiteX15" fmla="*/ 0 w 151447"/>
                <a:gd name="connsiteY15" fmla="*/ 148590 h 1485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1447" h="148590">
                  <a:moveTo>
                    <a:pt x="0" y="148590"/>
                  </a:moveTo>
                  <a:lnTo>
                    <a:pt x="3810" y="113252"/>
                  </a:lnTo>
                  <a:lnTo>
                    <a:pt x="11430" y="91440"/>
                  </a:lnTo>
                  <a:lnTo>
                    <a:pt x="46673" y="59912"/>
                  </a:lnTo>
                  <a:lnTo>
                    <a:pt x="46673" y="53340"/>
                  </a:lnTo>
                  <a:lnTo>
                    <a:pt x="35243" y="49530"/>
                  </a:lnTo>
                  <a:lnTo>
                    <a:pt x="28575" y="7525"/>
                  </a:lnTo>
                  <a:lnTo>
                    <a:pt x="120015" y="0"/>
                  </a:lnTo>
                  <a:lnTo>
                    <a:pt x="140970" y="35243"/>
                  </a:lnTo>
                  <a:lnTo>
                    <a:pt x="151448" y="74200"/>
                  </a:lnTo>
                  <a:lnTo>
                    <a:pt x="127635" y="101918"/>
                  </a:lnTo>
                  <a:lnTo>
                    <a:pt x="134303" y="126587"/>
                  </a:lnTo>
                  <a:lnTo>
                    <a:pt x="123825" y="148590"/>
                  </a:lnTo>
                  <a:lnTo>
                    <a:pt x="63818" y="144780"/>
                  </a:lnTo>
                  <a:lnTo>
                    <a:pt x="24765" y="144780"/>
                  </a:lnTo>
                  <a:lnTo>
                    <a:pt x="0" y="14859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22" name="Freeform: Shape 2721">
              <a:extLst>
                <a:ext uri="{FF2B5EF4-FFF2-40B4-BE49-F238E27FC236}">
                  <a16:creationId xmlns:a16="http://schemas.microsoft.com/office/drawing/2014/main" id="{6FFD48BC-AE2F-398A-8541-FC836A92BCD9}"/>
                </a:ext>
              </a:extLst>
            </p:cNvPr>
            <p:cNvSpPr/>
            <p:nvPr/>
          </p:nvSpPr>
          <p:spPr>
            <a:xfrm>
              <a:off x="6329993" y="4707047"/>
              <a:ext cx="362284" cy="352110"/>
            </a:xfrm>
            <a:custGeom>
              <a:avLst/>
              <a:gdLst>
                <a:gd name="connsiteX0" fmla="*/ 0 w 369569"/>
                <a:gd name="connsiteY0" fmla="*/ 327755 h 359187"/>
                <a:gd name="connsiteX1" fmla="*/ 0 w 369569"/>
                <a:gd name="connsiteY1" fmla="*/ 284893 h 359187"/>
                <a:gd name="connsiteX2" fmla="*/ 13335 w 369569"/>
                <a:gd name="connsiteY2" fmla="*/ 222028 h 359187"/>
                <a:gd name="connsiteX3" fmla="*/ 48578 w 369569"/>
                <a:gd name="connsiteY3" fmla="*/ 165830 h 359187"/>
                <a:gd name="connsiteX4" fmla="*/ 48578 w 369569"/>
                <a:gd name="connsiteY4" fmla="*/ 137255 h 359187"/>
                <a:gd name="connsiteX5" fmla="*/ 27623 w 369569"/>
                <a:gd name="connsiteY5" fmla="*/ 91440 h 359187"/>
                <a:gd name="connsiteX6" fmla="*/ 35243 w 369569"/>
                <a:gd name="connsiteY6" fmla="*/ 66675 h 359187"/>
                <a:gd name="connsiteX7" fmla="*/ 0 w 369569"/>
                <a:gd name="connsiteY7" fmla="*/ 2953 h 359187"/>
                <a:gd name="connsiteX8" fmla="*/ 17145 w 369569"/>
                <a:gd name="connsiteY8" fmla="*/ 0 h 359187"/>
                <a:gd name="connsiteX9" fmla="*/ 126682 w 369569"/>
                <a:gd name="connsiteY9" fmla="*/ 0 h 359187"/>
                <a:gd name="connsiteX10" fmla="*/ 133350 w 369569"/>
                <a:gd name="connsiteY10" fmla="*/ 23813 h 359187"/>
                <a:gd name="connsiteX11" fmla="*/ 151448 w 369569"/>
                <a:gd name="connsiteY11" fmla="*/ 56293 h 359187"/>
                <a:gd name="connsiteX12" fmla="*/ 203835 w 369569"/>
                <a:gd name="connsiteY12" fmla="*/ 60103 h 359187"/>
                <a:gd name="connsiteX13" fmla="*/ 220980 w 369569"/>
                <a:gd name="connsiteY13" fmla="*/ 31528 h 359187"/>
                <a:gd name="connsiteX14" fmla="*/ 267653 w 369569"/>
                <a:gd name="connsiteY14" fmla="*/ 42005 h 359187"/>
                <a:gd name="connsiteX15" fmla="*/ 270510 w 369569"/>
                <a:gd name="connsiteY15" fmla="*/ 112490 h 359187"/>
                <a:gd name="connsiteX16" fmla="*/ 288607 w 369569"/>
                <a:gd name="connsiteY16" fmla="*/ 122968 h 359187"/>
                <a:gd name="connsiteX17" fmla="*/ 284798 w 369569"/>
                <a:gd name="connsiteY17" fmla="*/ 143828 h 359187"/>
                <a:gd name="connsiteX18" fmla="*/ 330518 w 369569"/>
                <a:gd name="connsiteY18" fmla="*/ 143828 h 359187"/>
                <a:gd name="connsiteX19" fmla="*/ 330518 w 369569"/>
                <a:gd name="connsiteY19" fmla="*/ 203930 h 359187"/>
                <a:gd name="connsiteX20" fmla="*/ 278130 w 369569"/>
                <a:gd name="connsiteY20" fmla="*/ 203930 h 359187"/>
                <a:gd name="connsiteX21" fmla="*/ 280988 w 369569"/>
                <a:gd name="connsiteY21" fmla="*/ 296228 h 359187"/>
                <a:gd name="connsiteX22" fmla="*/ 313373 w 369569"/>
                <a:gd name="connsiteY22" fmla="*/ 331565 h 359187"/>
                <a:gd name="connsiteX23" fmla="*/ 359093 w 369569"/>
                <a:gd name="connsiteY23" fmla="*/ 334328 h 359187"/>
                <a:gd name="connsiteX24" fmla="*/ 369570 w 369569"/>
                <a:gd name="connsiteY24" fmla="*/ 344900 h 359187"/>
                <a:gd name="connsiteX25" fmla="*/ 359093 w 369569"/>
                <a:gd name="connsiteY25" fmla="*/ 344900 h 359187"/>
                <a:gd name="connsiteX26" fmla="*/ 320040 w 369569"/>
                <a:gd name="connsiteY26" fmla="*/ 359188 h 359187"/>
                <a:gd name="connsiteX27" fmla="*/ 309563 w 369569"/>
                <a:gd name="connsiteY27" fmla="*/ 344900 h 359187"/>
                <a:gd name="connsiteX28" fmla="*/ 249555 w 369569"/>
                <a:gd name="connsiteY28" fmla="*/ 352425 h 359187"/>
                <a:gd name="connsiteX29" fmla="*/ 235268 w 369569"/>
                <a:gd name="connsiteY29" fmla="*/ 342043 h 359187"/>
                <a:gd name="connsiteX30" fmla="*/ 186690 w 369569"/>
                <a:gd name="connsiteY30" fmla="*/ 338138 h 359187"/>
                <a:gd name="connsiteX31" fmla="*/ 172403 w 369569"/>
                <a:gd name="connsiteY31" fmla="*/ 327755 h 359187"/>
                <a:gd name="connsiteX32" fmla="*/ 0 w 369569"/>
                <a:gd name="connsiteY32" fmla="*/ 327755 h 359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69569" h="359187">
                  <a:moveTo>
                    <a:pt x="0" y="327755"/>
                  </a:moveTo>
                  <a:lnTo>
                    <a:pt x="0" y="284893"/>
                  </a:lnTo>
                  <a:lnTo>
                    <a:pt x="13335" y="222028"/>
                  </a:lnTo>
                  <a:lnTo>
                    <a:pt x="48578" y="165830"/>
                  </a:lnTo>
                  <a:lnTo>
                    <a:pt x="48578" y="137255"/>
                  </a:lnTo>
                  <a:lnTo>
                    <a:pt x="27623" y="91440"/>
                  </a:lnTo>
                  <a:lnTo>
                    <a:pt x="35243" y="66675"/>
                  </a:lnTo>
                  <a:lnTo>
                    <a:pt x="0" y="2953"/>
                  </a:lnTo>
                  <a:lnTo>
                    <a:pt x="17145" y="0"/>
                  </a:lnTo>
                  <a:lnTo>
                    <a:pt x="126682" y="0"/>
                  </a:lnTo>
                  <a:lnTo>
                    <a:pt x="133350" y="23813"/>
                  </a:lnTo>
                  <a:lnTo>
                    <a:pt x="151448" y="56293"/>
                  </a:lnTo>
                  <a:lnTo>
                    <a:pt x="203835" y="60103"/>
                  </a:lnTo>
                  <a:lnTo>
                    <a:pt x="220980" y="31528"/>
                  </a:lnTo>
                  <a:lnTo>
                    <a:pt x="267653" y="42005"/>
                  </a:lnTo>
                  <a:lnTo>
                    <a:pt x="270510" y="112490"/>
                  </a:lnTo>
                  <a:lnTo>
                    <a:pt x="288607" y="122968"/>
                  </a:lnTo>
                  <a:lnTo>
                    <a:pt x="284798" y="143828"/>
                  </a:lnTo>
                  <a:lnTo>
                    <a:pt x="330518" y="143828"/>
                  </a:lnTo>
                  <a:lnTo>
                    <a:pt x="330518" y="203930"/>
                  </a:lnTo>
                  <a:lnTo>
                    <a:pt x="278130" y="203930"/>
                  </a:lnTo>
                  <a:lnTo>
                    <a:pt x="280988" y="296228"/>
                  </a:lnTo>
                  <a:lnTo>
                    <a:pt x="313373" y="331565"/>
                  </a:lnTo>
                  <a:lnTo>
                    <a:pt x="359093" y="334328"/>
                  </a:lnTo>
                  <a:lnTo>
                    <a:pt x="369570" y="344900"/>
                  </a:lnTo>
                  <a:lnTo>
                    <a:pt x="359093" y="344900"/>
                  </a:lnTo>
                  <a:lnTo>
                    <a:pt x="320040" y="359188"/>
                  </a:lnTo>
                  <a:lnTo>
                    <a:pt x="309563" y="344900"/>
                  </a:lnTo>
                  <a:lnTo>
                    <a:pt x="249555" y="352425"/>
                  </a:lnTo>
                  <a:lnTo>
                    <a:pt x="235268" y="342043"/>
                  </a:lnTo>
                  <a:lnTo>
                    <a:pt x="186690" y="338138"/>
                  </a:lnTo>
                  <a:lnTo>
                    <a:pt x="172403" y="327755"/>
                  </a:lnTo>
                  <a:lnTo>
                    <a:pt x="0" y="32775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23" name="Freeform: Shape 2722">
              <a:extLst>
                <a:ext uri="{FF2B5EF4-FFF2-40B4-BE49-F238E27FC236}">
                  <a16:creationId xmlns:a16="http://schemas.microsoft.com/office/drawing/2014/main" id="{D36D7A17-611F-C2AF-9468-50AEBF3EE793}"/>
                </a:ext>
              </a:extLst>
            </p:cNvPr>
            <p:cNvSpPr/>
            <p:nvPr/>
          </p:nvSpPr>
          <p:spPr>
            <a:xfrm>
              <a:off x="6340264" y="4398916"/>
              <a:ext cx="514482" cy="518221"/>
            </a:xfrm>
            <a:custGeom>
              <a:avLst/>
              <a:gdLst>
                <a:gd name="connsiteX0" fmla="*/ 0 w 524827"/>
                <a:gd name="connsiteY0" fmla="*/ 310515 h 528637"/>
                <a:gd name="connsiteX1" fmla="*/ 10477 w 524827"/>
                <a:gd name="connsiteY1" fmla="*/ 285750 h 528637"/>
                <a:gd name="connsiteX2" fmla="*/ 24765 w 524827"/>
                <a:gd name="connsiteY2" fmla="*/ 281940 h 528637"/>
                <a:gd name="connsiteX3" fmla="*/ 59055 w 524827"/>
                <a:gd name="connsiteY3" fmla="*/ 275368 h 528637"/>
                <a:gd name="connsiteX4" fmla="*/ 105727 w 524827"/>
                <a:gd name="connsiteY4" fmla="*/ 254413 h 528637"/>
                <a:gd name="connsiteX5" fmla="*/ 112395 w 524827"/>
                <a:gd name="connsiteY5" fmla="*/ 197263 h 528637"/>
                <a:gd name="connsiteX6" fmla="*/ 154305 w 524827"/>
                <a:gd name="connsiteY6" fmla="*/ 130588 h 528637"/>
                <a:gd name="connsiteX7" fmla="*/ 164782 w 524827"/>
                <a:gd name="connsiteY7" fmla="*/ 74390 h 528637"/>
                <a:gd name="connsiteX8" fmla="*/ 168592 w 524827"/>
                <a:gd name="connsiteY8" fmla="*/ 53340 h 528637"/>
                <a:gd name="connsiteX9" fmla="*/ 172402 w 524827"/>
                <a:gd name="connsiteY9" fmla="*/ 28575 h 528637"/>
                <a:gd name="connsiteX10" fmla="*/ 197167 w 524827"/>
                <a:gd name="connsiteY10" fmla="*/ 0 h 528637"/>
                <a:gd name="connsiteX11" fmla="*/ 221932 w 524827"/>
                <a:gd name="connsiteY11" fmla="*/ 24765 h 528637"/>
                <a:gd name="connsiteX12" fmla="*/ 242888 w 524827"/>
                <a:gd name="connsiteY12" fmla="*/ 31528 h 528637"/>
                <a:gd name="connsiteX13" fmla="*/ 280988 w 524827"/>
                <a:gd name="connsiteY13" fmla="*/ 35338 h 528637"/>
                <a:gd name="connsiteX14" fmla="*/ 302895 w 524827"/>
                <a:gd name="connsiteY14" fmla="*/ 21050 h 528637"/>
                <a:gd name="connsiteX15" fmla="*/ 361950 w 524827"/>
                <a:gd name="connsiteY15" fmla="*/ 3905 h 528637"/>
                <a:gd name="connsiteX16" fmla="*/ 415290 w 524827"/>
                <a:gd name="connsiteY16" fmla="*/ 7715 h 528637"/>
                <a:gd name="connsiteX17" fmla="*/ 429577 w 524827"/>
                <a:gd name="connsiteY17" fmla="*/ 24765 h 528637"/>
                <a:gd name="connsiteX18" fmla="*/ 478155 w 524827"/>
                <a:gd name="connsiteY18" fmla="*/ 21050 h 528637"/>
                <a:gd name="connsiteX19" fmla="*/ 506730 w 524827"/>
                <a:gd name="connsiteY19" fmla="*/ 42863 h 528637"/>
                <a:gd name="connsiteX20" fmla="*/ 513397 w 524827"/>
                <a:gd name="connsiteY20" fmla="*/ 84868 h 528637"/>
                <a:gd name="connsiteX21" fmla="*/ 524827 w 524827"/>
                <a:gd name="connsiteY21" fmla="*/ 88678 h 528637"/>
                <a:gd name="connsiteX22" fmla="*/ 524827 w 524827"/>
                <a:gd name="connsiteY22" fmla="*/ 95250 h 528637"/>
                <a:gd name="connsiteX23" fmla="*/ 489585 w 524827"/>
                <a:gd name="connsiteY23" fmla="*/ 126778 h 528637"/>
                <a:gd name="connsiteX24" fmla="*/ 481965 w 524827"/>
                <a:gd name="connsiteY24" fmla="*/ 148590 h 528637"/>
                <a:gd name="connsiteX25" fmla="*/ 478155 w 524827"/>
                <a:gd name="connsiteY25" fmla="*/ 183928 h 528637"/>
                <a:gd name="connsiteX26" fmla="*/ 461010 w 524827"/>
                <a:gd name="connsiteY26" fmla="*/ 208693 h 528637"/>
                <a:gd name="connsiteX27" fmla="*/ 471488 w 524827"/>
                <a:gd name="connsiteY27" fmla="*/ 236315 h 528637"/>
                <a:gd name="connsiteX28" fmla="*/ 475297 w 524827"/>
                <a:gd name="connsiteY28" fmla="*/ 279178 h 528637"/>
                <a:gd name="connsiteX29" fmla="*/ 475297 w 524827"/>
                <a:gd name="connsiteY29" fmla="*/ 302990 h 528637"/>
                <a:gd name="connsiteX30" fmla="*/ 478155 w 524827"/>
                <a:gd name="connsiteY30" fmla="*/ 324803 h 528637"/>
                <a:gd name="connsiteX31" fmla="*/ 502920 w 524827"/>
                <a:gd name="connsiteY31" fmla="*/ 356330 h 528637"/>
                <a:gd name="connsiteX32" fmla="*/ 506730 w 524827"/>
                <a:gd name="connsiteY32" fmla="*/ 384905 h 528637"/>
                <a:gd name="connsiteX33" fmla="*/ 475297 w 524827"/>
                <a:gd name="connsiteY33" fmla="*/ 384905 h 528637"/>
                <a:gd name="connsiteX34" fmla="*/ 446722 w 524827"/>
                <a:gd name="connsiteY34" fmla="*/ 398240 h 528637"/>
                <a:gd name="connsiteX35" fmla="*/ 450532 w 524827"/>
                <a:gd name="connsiteY35" fmla="*/ 430625 h 528637"/>
                <a:gd name="connsiteX36" fmla="*/ 443865 w 524827"/>
                <a:gd name="connsiteY36" fmla="*/ 468725 h 528637"/>
                <a:gd name="connsiteX37" fmla="*/ 461010 w 524827"/>
                <a:gd name="connsiteY37" fmla="*/ 486728 h 528637"/>
                <a:gd name="connsiteX38" fmla="*/ 485775 w 524827"/>
                <a:gd name="connsiteY38" fmla="*/ 497300 h 528637"/>
                <a:gd name="connsiteX39" fmla="*/ 485775 w 524827"/>
                <a:gd name="connsiteY39" fmla="*/ 528638 h 528637"/>
                <a:gd name="connsiteX40" fmla="*/ 461010 w 524827"/>
                <a:gd name="connsiteY40" fmla="*/ 528638 h 528637"/>
                <a:gd name="connsiteX41" fmla="*/ 446722 w 524827"/>
                <a:gd name="connsiteY41" fmla="*/ 507778 h 528637"/>
                <a:gd name="connsiteX42" fmla="*/ 425767 w 524827"/>
                <a:gd name="connsiteY42" fmla="*/ 497300 h 528637"/>
                <a:gd name="connsiteX43" fmla="*/ 411480 w 524827"/>
                <a:gd name="connsiteY43" fmla="*/ 476250 h 528637"/>
                <a:gd name="connsiteX44" fmla="*/ 386715 w 524827"/>
                <a:gd name="connsiteY44" fmla="*/ 486728 h 528637"/>
                <a:gd name="connsiteX45" fmla="*/ 320040 w 524827"/>
                <a:gd name="connsiteY45" fmla="*/ 458153 h 528637"/>
                <a:gd name="connsiteX46" fmla="*/ 274320 w 524827"/>
                <a:gd name="connsiteY46" fmla="*/ 458153 h 528637"/>
                <a:gd name="connsiteX47" fmla="*/ 278130 w 524827"/>
                <a:gd name="connsiteY47" fmla="*/ 437293 h 528637"/>
                <a:gd name="connsiteX48" fmla="*/ 260032 w 524827"/>
                <a:gd name="connsiteY48" fmla="*/ 426815 h 528637"/>
                <a:gd name="connsiteX49" fmla="*/ 257175 w 524827"/>
                <a:gd name="connsiteY49" fmla="*/ 356330 h 528637"/>
                <a:gd name="connsiteX50" fmla="*/ 210502 w 524827"/>
                <a:gd name="connsiteY50" fmla="*/ 345853 h 528637"/>
                <a:gd name="connsiteX51" fmla="*/ 193357 w 524827"/>
                <a:gd name="connsiteY51" fmla="*/ 374428 h 528637"/>
                <a:gd name="connsiteX52" fmla="*/ 140970 w 524827"/>
                <a:gd name="connsiteY52" fmla="*/ 370618 h 528637"/>
                <a:gd name="connsiteX53" fmla="*/ 122872 w 524827"/>
                <a:gd name="connsiteY53" fmla="*/ 338138 h 528637"/>
                <a:gd name="connsiteX54" fmla="*/ 116205 w 524827"/>
                <a:gd name="connsiteY54" fmla="*/ 314325 h 528637"/>
                <a:gd name="connsiteX55" fmla="*/ 10477 w 524827"/>
                <a:gd name="connsiteY55" fmla="*/ 314325 h 528637"/>
                <a:gd name="connsiteX56" fmla="*/ 0 w 524827"/>
                <a:gd name="connsiteY56" fmla="*/ 310515 h 528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24827" h="528637">
                  <a:moveTo>
                    <a:pt x="0" y="310515"/>
                  </a:moveTo>
                  <a:lnTo>
                    <a:pt x="10477" y="285750"/>
                  </a:lnTo>
                  <a:lnTo>
                    <a:pt x="24765" y="281940"/>
                  </a:lnTo>
                  <a:lnTo>
                    <a:pt x="59055" y="275368"/>
                  </a:lnTo>
                  <a:lnTo>
                    <a:pt x="105727" y="254413"/>
                  </a:lnTo>
                  <a:lnTo>
                    <a:pt x="112395" y="197263"/>
                  </a:lnTo>
                  <a:lnTo>
                    <a:pt x="154305" y="130588"/>
                  </a:lnTo>
                  <a:lnTo>
                    <a:pt x="164782" y="74390"/>
                  </a:lnTo>
                  <a:lnTo>
                    <a:pt x="168592" y="53340"/>
                  </a:lnTo>
                  <a:lnTo>
                    <a:pt x="172402" y="28575"/>
                  </a:lnTo>
                  <a:lnTo>
                    <a:pt x="197167" y="0"/>
                  </a:lnTo>
                  <a:lnTo>
                    <a:pt x="221932" y="24765"/>
                  </a:lnTo>
                  <a:lnTo>
                    <a:pt x="242888" y="31528"/>
                  </a:lnTo>
                  <a:lnTo>
                    <a:pt x="280988" y="35338"/>
                  </a:lnTo>
                  <a:lnTo>
                    <a:pt x="302895" y="21050"/>
                  </a:lnTo>
                  <a:lnTo>
                    <a:pt x="361950" y="3905"/>
                  </a:lnTo>
                  <a:lnTo>
                    <a:pt x="415290" y="7715"/>
                  </a:lnTo>
                  <a:lnTo>
                    <a:pt x="429577" y="24765"/>
                  </a:lnTo>
                  <a:lnTo>
                    <a:pt x="478155" y="21050"/>
                  </a:lnTo>
                  <a:lnTo>
                    <a:pt x="506730" y="42863"/>
                  </a:lnTo>
                  <a:lnTo>
                    <a:pt x="513397" y="84868"/>
                  </a:lnTo>
                  <a:lnTo>
                    <a:pt x="524827" y="88678"/>
                  </a:lnTo>
                  <a:lnTo>
                    <a:pt x="524827" y="95250"/>
                  </a:lnTo>
                  <a:lnTo>
                    <a:pt x="489585" y="126778"/>
                  </a:lnTo>
                  <a:lnTo>
                    <a:pt x="481965" y="148590"/>
                  </a:lnTo>
                  <a:lnTo>
                    <a:pt x="478155" y="183928"/>
                  </a:lnTo>
                  <a:lnTo>
                    <a:pt x="461010" y="208693"/>
                  </a:lnTo>
                  <a:lnTo>
                    <a:pt x="471488" y="236315"/>
                  </a:lnTo>
                  <a:lnTo>
                    <a:pt x="475297" y="279178"/>
                  </a:lnTo>
                  <a:lnTo>
                    <a:pt x="475297" y="302990"/>
                  </a:lnTo>
                  <a:lnTo>
                    <a:pt x="478155" y="324803"/>
                  </a:lnTo>
                  <a:lnTo>
                    <a:pt x="502920" y="356330"/>
                  </a:lnTo>
                  <a:lnTo>
                    <a:pt x="506730" y="384905"/>
                  </a:lnTo>
                  <a:lnTo>
                    <a:pt x="475297" y="384905"/>
                  </a:lnTo>
                  <a:lnTo>
                    <a:pt x="446722" y="398240"/>
                  </a:lnTo>
                  <a:lnTo>
                    <a:pt x="450532" y="430625"/>
                  </a:lnTo>
                  <a:lnTo>
                    <a:pt x="443865" y="468725"/>
                  </a:lnTo>
                  <a:lnTo>
                    <a:pt x="461010" y="486728"/>
                  </a:lnTo>
                  <a:lnTo>
                    <a:pt x="485775" y="497300"/>
                  </a:lnTo>
                  <a:lnTo>
                    <a:pt x="485775" y="528638"/>
                  </a:lnTo>
                  <a:lnTo>
                    <a:pt x="461010" y="528638"/>
                  </a:lnTo>
                  <a:lnTo>
                    <a:pt x="446722" y="507778"/>
                  </a:lnTo>
                  <a:lnTo>
                    <a:pt x="425767" y="497300"/>
                  </a:lnTo>
                  <a:lnTo>
                    <a:pt x="411480" y="476250"/>
                  </a:lnTo>
                  <a:lnTo>
                    <a:pt x="386715" y="486728"/>
                  </a:lnTo>
                  <a:lnTo>
                    <a:pt x="320040" y="458153"/>
                  </a:lnTo>
                  <a:lnTo>
                    <a:pt x="274320" y="458153"/>
                  </a:lnTo>
                  <a:lnTo>
                    <a:pt x="278130" y="437293"/>
                  </a:lnTo>
                  <a:lnTo>
                    <a:pt x="260032" y="426815"/>
                  </a:lnTo>
                  <a:lnTo>
                    <a:pt x="257175" y="356330"/>
                  </a:lnTo>
                  <a:lnTo>
                    <a:pt x="210502" y="345853"/>
                  </a:lnTo>
                  <a:lnTo>
                    <a:pt x="193357" y="374428"/>
                  </a:lnTo>
                  <a:lnTo>
                    <a:pt x="140970" y="370618"/>
                  </a:lnTo>
                  <a:lnTo>
                    <a:pt x="122872" y="338138"/>
                  </a:lnTo>
                  <a:lnTo>
                    <a:pt x="116205" y="314325"/>
                  </a:lnTo>
                  <a:lnTo>
                    <a:pt x="10477" y="314325"/>
                  </a:lnTo>
                  <a:lnTo>
                    <a:pt x="0" y="31051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24" name="Freeform: Shape 2723">
              <a:extLst>
                <a:ext uri="{FF2B5EF4-FFF2-40B4-BE49-F238E27FC236}">
                  <a16:creationId xmlns:a16="http://schemas.microsoft.com/office/drawing/2014/main" id="{793E7996-8B95-A03B-4C13-6965CCCA0DEE}"/>
                </a:ext>
              </a:extLst>
            </p:cNvPr>
            <p:cNvSpPr/>
            <p:nvPr/>
          </p:nvSpPr>
          <p:spPr>
            <a:xfrm>
              <a:off x="6340264" y="4398916"/>
              <a:ext cx="514482" cy="518221"/>
            </a:xfrm>
            <a:custGeom>
              <a:avLst/>
              <a:gdLst>
                <a:gd name="connsiteX0" fmla="*/ 0 w 524827"/>
                <a:gd name="connsiteY0" fmla="*/ 310515 h 528637"/>
                <a:gd name="connsiteX1" fmla="*/ 10477 w 524827"/>
                <a:gd name="connsiteY1" fmla="*/ 285750 h 528637"/>
                <a:gd name="connsiteX2" fmla="*/ 24765 w 524827"/>
                <a:gd name="connsiteY2" fmla="*/ 281940 h 528637"/>
                <a:gd name="connsiteX3" fmla="*/ 59055 w 524827"/>
                <a:gd name="connsiteY3" fmla="*/ 275368 h 528637"/>
                <a:gd name="connsiteX4" fmla="*/ 105727 w 524827"/>
                <a:gd name="connsiteY4" fmla="*/ 254413 h 528637"/>
                <a:gd name="connsiteX5" fmla="*/ 112395 w 524827"/>
                <a:gd name="connsiteY5" fmla="*/ 197263 h 528637"/>
                <a:gd name="connsiteX6" fmla="*/ 154305 w 524827"/>
                <a:gd name="connsiteY6" fmla="*/ 130588 h 528637"/>
                <a:gd name="connsiteX7" fmla="*/ 164782 w 524827"/>
                <a:gd name="connsiteY7" fmla="*/ 74390 h 528637"/>
                <a:gd name="connsiteX8" fmla="*/ 168592 w 524827"/>
                <a:gd name="connsiteY8" fmla="*/ 53340 h 528637"/>
                <a:gd name="connsiteX9" fmla="*/ 172402 w 524827"/>
                <a:gd name="connsiteY9" fmla="*/ 28575 h 528637"/>
                <a:gd name="connsiteX10" fmla="*/ 197167 w 524827"/>
                <a:gd name="connsiteY10" fmla="*/ 0 h 528637"/>
                <a:gd name="connsiteX11" fmla="*/ 221932 w 524827"/>
                <a:gd name="connsiteY11" fmla="*/ 24765 h 528637"/>
                <a:gd name="connsiteX12" fmla="*/ 242888 w 524827"/>
                <a:gd name="connsiteY12" fmla="*/ 31528 h 528637"/>
                <a:gd name="connsiteX13" fmla="*/ 280988 w 524827"/>
                <a:gd name="connsiteY13" fmla="*/ 35338 h 528637"/>
                <a:gd name="connsiteX14" fmla="*/ 302895 w 524827"/>
                <a:gd name="connsiteY14" fmla="*/ 21050 h 528637"/>
                <a:gd name="connsiteX15" fmla="*/ 361950 w 524827"/>
                <a:gd name="connsiteY15" fmla="*/ 3905 h 528637"/>
                <a:gd name="connsiteX16" fmla="*/ 415290 w 524827"/>
                <a:gd name="connsiteY16" fmla="*/ 7715 h 528637"/>
                <a:gd name="connsiteX17" fmla="*/ 429577 w 524827"/>
                <a:gd name="connsiteY17" fmla="*/ 24765 h 528637"/>
                <a:gd name="connsiteX18" fmla="*/ 478155 w 524827"/>
                <a:gd name="connsiteY18" fmla="*/ 21050 h 528637"/>
                <a:gd name="connsiteX19" fmla="*/ 506730 w 524827"/>
                <a:gd name="connsiteY19" fmla="*/ 42863 h 528637"/>
                <a:gd name="connsiteX20" fmla="*/ 513397 w 524827"/>
                <a:gd name="connsiteY20" fmla="*/ 84868 h 528637"/>
                <a:gd name="connsiteX21" fmla="*/ 524827 w 524827"/>
                <a:gd name="connsiteY21" fmla="*/ 88678 h 528637"/>
                <a:gd name="connsiteX22" fmla="*/ 524827 w 524827"/>
                <a:gd name="connsiteY22" fmla="*/ 95250 h 528637"/>
                <a:gd name="connsiteX23" fmla="*/ 489585 w 524827"/>
                <a:gd name="connsiteY23" fmla="*/ 126778 h 528637"/>
                <a:gd name="connsiteX24" fmla="*/ 481965 w 524827"/>
                <a:gd name="connsiteY24" fmla="*/ 148590 h 528637"/>
                <a:gd name="connsiteX25" fmla="*/ 478155 w 524827"/>
                <a:gd name="connsiteY25" fmla="*/ 183928 h 528637"/>
                <a:gd name="connsiteX26" fmla="*/ 461010 w 524827"/>
                <a:gd name="connsiteY26" fmla="*/ 208693 h 528637"/>
                <a:gd name="connsiteX27" fmla="*/ 471488 w 524827"/>
                <a:gd name="connsiteY27" fmla="*/ 236315 h 528637"/>
                <a:gd name="connsiteX28" fmla="*/ 475297 w 524827"/>
                <a:gd name="connsiteY28" fmla="*/ 279178 h 528637"/>
                <a:gd name="connsiteX29" fmla="*/ 475297 w 524827"/>
                <a:gd name="connsiteY29" fmla="*/ 302990 h 528637"/>
                <a:gd name="connsiteX30" fmla="*/ 478155 w 524827"/>
                <a:gd name="connsiteY30" fmla="*/ 324803 h 528637"/>
                <a:gd name="connsiteX31" fmla="*/ 502920 w 524827"/>
                <a:gd name="connsiteY31" fmla="*/ 356330 h 528637"/>
                <a:gd name="connsiteX32" fmla="*/ 506730 w 524827"/>
                <a:gd name="connsiteY32" fmla="*/ 384905 h 528637"/>
                <a:gd name="connsiteX33" fmla="*/ 475297 w 524827"/>
                <a:gd name="connsiteY33" fmla="*/ 384905 h 528637"/>
                <a:gd name="connsiteX34" fmla="*/ 446722 w 524827"/>
                <a:gd name="connsiteY34" fmla="*/ 398240 h 528637"/>
                <a:gd name="connsiteX35" fmla="*/ 450532 w 524827"/>
                <a:gd name="connsiteY35" fmla="*/ 430625 h 528637"/>
                <a:gd name="connsiteX36" fmla="*/ 443865 w 524827"/>
                <a:gd name="connsiteY36" fmla="*/ 468725 h 528637"/>
                <a:gd name="connsiteX37" fmla="*/ 461010 w 524827"/>
                <a:gd name="connsiteY37" fmla="*/ 486728 h 528637"/>
                <a:gd name="connsiteX38" fmla="*/ 485775 w 524827"/>
                <a:gd name="connsiteY38" fmla="*/ 497300 h 528637"/>
                <a:gd name="connsiteX39" fmla="*/ 485775 w 524827"/>
                <a:gd name="connsiteY39" fmla="*/ 528638 h 528637"/>
                <a:gd name="connsiteX40" fmla="*/ 461010 w 524827"/>
                <a:gd name="connsiteY40" fmla="*/ 528638 h 528637"/>
                <a:gd name="connsiteX41" fmla="*/ 446722 w 524827"/>
                <a:gd name="connsiteY41" fmla="*/ 507778 h 528637"/>
                <a:gd name="connsiteX42" fmla="*/ 425767 w 524827"/>
                <a:gd name="connsiteY42" fmla="*/ 497300 h 528637"/>
                <a:gd name="connsiteX43" fmla="*/ 411480 w 524827"/>
                <a:gd name="connsiteY43" fmla="*/ 476250 h 528637"/>
                <a:gd name="connsiteX44" fmla="*/ 386715 w 524827"/>
                <a:gd name="connsiteY44" fmla="*/ 486728 h 528637"/>
                <a:gd name="connsiteX45" fmla="*/ 320040 w 524827"/>
                <a:gd name="connsiteY45" fmla="*/ 458153 h 528637"/>
                <a:gd name="connsiteX46" fmla="*/ 274320 w 524827"/>
                <a:gd name="connsiteY46" fmla="*/ 458153 h 528637"/>
                <a:gd name="connsiteX47" fmla="*/ 278130 w 524827"/>
                <a:gd name="connsiteY47" fmla="*/ 437293 h 528637"/>
                <a:gd name="connsiteX48" fmla="*/ 260032 w 524827"/>
                <a:gd name="connsiteY48" fmla="*/ 426815 h 528637"/>
                <a:gd name="connsiteX49" fmla="*/ 257175 w 524827"/>
                <a:gd name="connsiteY49" fmla="*/ 356330 h 528637"/>
                <a:gd name="connsiteX50" fmla="*/ 210502 w 524827"/>
                <a:gd name="connsiteY50" fmla="*/ 345853 h 528637"/>
                <a:gd name="connsiteX51" fmla="*/ 193357 w 524827"/>
                <a:gd name="connsiteY51" fmla="*/ 374428 h 528637"/>
                <a:gd name="connsiteX52" fmla="*/ 140970 w 524827"/>
                <a:gd name="connsiteY52" fmla="*/ 370618 h 528637"/>
                <a:gd name="connsiteX53" fmla="*/ 122872 w 524827"/>
                <a:gd name="connsiteY53" fmla="*/ 338138 h 528637"/>
                <a:gd name="connsiteX54" fmla="*/ 116205 w 524827"/>
                <a:gd name="connsiteY54" fmla="*/ 314325 h 528637"/>
                <a:gd name="connsiteX55" fmla="*/ 10477 w 524827"/>
                <a:gd name="connsiteY55" fmla="*/ 314325 h 528637"/>
                <a:gd name="connsiteX56" fmla="*/ 0 w 524827"/>
                <a:gd name="connsiteY56" fmla="*/ 310515 h 528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24827" h="528637">
                  <a:moveTo>
                    <a:pt x="0" y="310515"/>
                  </a:moveTo>
                  <a:lnTo>
                    <a:pt x="10477" y="285750"/>
                  </a:lnTo>
                  <a:lnTo>
                    <a:pt x="24765" y="281940"/>
                  </a:lnTo>
                  <a:lnTo>
                    <a:pt x="59055" y="275368"/>
                  </a:lnTo>
                  <a:lnTo>
                    <a:pt x="105727" y="254413"/>
                  </a:lnTo>
                  <a:lnTo>
                    <a:pt x="112395" y="197263"/>
                  </a:lnTo>
                  <a:lnTo>
                    <a:pt x="154305" y="130588"/>
                  </a:lnTo>
                  <a:lnTo>
                    <a:pt x="164782" y="74390"/>
                  </a:lnTo>
                  <a:lnTo>
                    <a:pt x="168592" y="53340"/>
                  </a:lnTo>
                  <a:lnTo>
                    <a:pt x="172402" y="28575"/>
                  </a:lnTo>
                  <a:lnTo>
                    <a:pt x="197167" y="0"/>
                  </a:lnTo>
                  <a:lnTo>
                    <a:pt x="221932" y="24765"/>
                  </a:lnTo>
                  <a:lnTo>
                    <a:pt x="242888" y="31528"/>
                  </a:lnTo>
                  <a:lnTo>
                    <a:pt x="280988" y="35338"/>
                  </a:lnTo>
                  <a:lnTo>
                    <a:pt x="302895" y="21050"/>
                  </a:lnTo>
                  <a:lnTo>
                    <a:pt x="361950" y="3905"/>
                  </a:lnTo>
                  <a:lnTo>
                    <a:pt x="415290" y="7715"/>
                  </a:lnTo>
                  <a:lnTo>
                    <a:pt x="429577" y="24765"/>
                  </a:lnTo>
                  <a:lnTo>
                    <a:pt x="478155" y="21050"/>
                  </a:lnTo>
                  <a:lnTo>
                    <a:pt x="506730" y="42863"/>
                  </a:lnTo>
                  <a:lnTo>
                    <a:pt x="513397" y="84868"/>
                  </a:lnTo>
                  <a:lnTo>
                    <a:pt x="524827" y="88678"/>
                  </a:lnTo>
                  <a:lnTo>
                    <a:pt x="524827" y="95250"/>
                  </a:lnTo>
                  <a:lnTo>
                    <a:pt x="489585" y="126778"/>
                  </a:lnTo>
                  <a:lnTo>
                    <a:pt x="481965" y="148590"/>
                  </a:lnTo>
                  <a:lnTo>
                    <a:pt x="478155" y="183928"/>
                  </a:lnTo>
                  <a:lnTo>
                    <a:pt x="461010" y="208693"/>
                  </a:lnTo>
                  <a:lnTo>
                    <a:pt x="471488" y="236315"/>
                  </a:lnTo>
                  <a:lnTo>
                    <a:pt x="475297" y="279178"/>
                  </a:lnTo>
                  <a:lnTo>
                    <a:pt x="475297" y="302990"/>
                  </a:lnTo>
                  <a:lnTo>
                    <a:pt x="478155" y="324803"/>
                  </a:lnTo>
                  <a:lnTo>
                    <a:pt x="502920" y="356330"/>
                  </a:lnTo>
                  <a:lnTo>
                    <a:pt x="506730" y="384905"/>
                  </a:lnTo>
                  <a:lnTo>
                    <a:pt x="475297" y="384905"/>
                  </a:lnTo>
                  <a:lnTo>
                    <a:pt x="446722" y="398240"/>
                  </a:lnTo>
                  <a:lnTo>
                    <a:pt x="450532" y="430625"/>
                  </a:lnTo>
                  <a:lnTo>
                    <a:pt x="443865" y="468725"/>
                  </a:lnTo>
                  <a:lnTo>
                    <a:pt x="461010" y="486728"/>
                  </a:lnTo>
                  <a:lnTo>
                    <a:pt x="485775" y="497300"/>
                  </a:lnTo>
                  <a:lnTo>
                    <a:pt x="485775" y="528638"/>
                  </a:lnTo>
                  <a:lnTo>
                    <a:pt x="461010" y="528638"/>
                  </a:lnTo>
                  <a:lnTo>
                    <a:pt x="446722" y="507778"/>
                  </a:lnTo>
                  <a:lnTo>
                    <a:pt x="425767" y="497300"/>
                  </a:lnTo>
                  <a:lnTo>
                    <a:pt x="411480" y="476250"/>
                  </a:lnTo>
                  <a:lnTo>
                    <a:pt x="386715" y="486728"/>
                  </a:lnTo>
                  <a:lnTo>
                    <a:pt x="320040" y="458153"/>
                  </a:lnTo>
                  <a:lnTo>
                    <a:pt x="274320" y="458153"/>
                  </a:lnTo>
                  <a:lnTo>
                    <a:pt x="278130" y="437293"/>
                  </a:lnTo>
                  <a:lnTo>
                    <a:pt x="260032" y="426815"/>
                  </a:lnTo>
                  <a:lnTo>
                    <a:pt x="257175" y="356330"/>
                  </a:lnTo>
                  <a:lnTo>
                    <a:pt x="210502" y="345853"/>
                  </a:lnTo>
                  <a:lnTo>
                    <a:pt x="193357" y="374428"/>
                  </a:lnTo>
                  <a:lnTo>
                    <a:pt x="140970" y="370618"/>
                  </a:lnTo>
                  <a:lnTo>
                    <a:pt x="122872" y="338138"/>
                  </a:lnTo>
                  <a:lnTo>
                    <a:pt x="116205" y="314325"/>
                  </a:lnTo>
                  <a:lnTo>
                    <a:pt x="10477" y="314325"/>
                  </a:lnTo>
                  <a:lnTo>
                    <a:pt x="0" y="31051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25" name="Freeform: Shape 2724">
              <a:extLst>
                <a:ext uri="{FF2B5EF4-FFF2-40B4-BE49-F238E27FC236}">
                  <a16:creationId xmlns:a16="http://schemas.microsoft.com/office/drawing/2014/main" id="{AEFCA728-1184-672A-BA38-1AED7FD2B4DB}"/>
                </a:ext>
              </a:extLst>
            </p:cNvPr>
            <p:cNvSpPr/>
            <p:nvPr/>
          </p:nvSpPr>
          <p:spPr>
            <a:xfrm>
              <a:off x="6329993" y="4668858"/>
              <a:ext cx="20542" cy="34454"/>
            </a:xfrm>
            <a:custGeom>
              <a:avLst/>
              <a:gdLst>
                <a:gd name="connsiteX0" fmla="*/ 0 w 20955"/>
                <a:gd name="connsiteY0" fmla="*/ 6572 h 35147"/>
                <a:gd name="connsiteX1" fmla="*/ 17145 w 20955"/>
                <a:gd name="connsiteY1" fmla="*/ 0 h 35147"/>
                <a:gd name="connsiteX2" fmla="*/ 20955 w 20955"/>
                <a:gd name="connsiteY2" fmla="*/ 6572 h 35147"/>
                <a:gd name="connsiteX3" fmla="*/ 17145 w 20955"/>
                <a:gd name="connsiteY3" fmla="*/ 20860 h 35147"/>
                <a:gd name="connsiteX4" fmla="*/ 0 w 20955"/>
                <a:gd name="connsiteY4" fmla="*/ 35147 h 35147"/>
                <a:gd name="connsiteX5" fmla="*/ 0 w 20955"/>
                <a:gd name="connsiteY5" fmla="*/ 6572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35147">
                  <a:moveTo>
                    <a:pt x="0" y="6572"/>
                  </a:moveTo>
                  <a:lnTo>
                    <a:pt x="17145" y="0"/>
                  </a:lnTo>
                  <a:lnTo>
                    <a:pt x="20955" y="6572"/>
                  </a:lnTo>
                  <a:lnTo>
                    <a:pt x="17145" y="20860"/>
                  </a:lnTo>
                  <a:lnTo>
                    <a:pt x="0" y="35147"/>
                  </a:lnTo>
                  <a:lnTo>
                    <a:pt x="0" y="657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26" name="Freeform: Shape 2725">
              <a:extLst>
                <a:ext uri="{FF2B5EF4-FFF2-40B4-BE49-F238E27FC236}">
                  <a16:creationId xmlns:a16="http://schemas.microsoft.com/office/drawing/2014/main" id="{DA3AFA2A-1AAA-26EA-1C51-3B28BF487D95}"/>
                </a:ext>
              </a:extLst>
            </p:cNvPr>
            <p:cNvSpPr/>
            <p:nvPr/>
          </p:nvSpPr>
          <p:spPr>
            <a:xfrm>
              <a:off x="6329993" y="4668858"/>
              <a:ext cx="20542" cy="34454"/>
            </a:xfrm>
            <a:custGeom>
              <a:avLst/>
              <a:gdLst>
                <a:gd name="connsiteX0" fmla="*/ 0 w 20955"/>
                <a:gd name="connsiteY0" fmla="*/ 6572 h 35147"/>
                <a:gd name="connsiteX1" fmla="*/ 17145 w 20955"/>
                <a:gd name="connsiteY1" fmla="*/ 0 h 35147"/>
                <a:gd name="connsiteX2" fmla="*/ 20955 w 20955"/>
                <a:gd name="connsiteY2" fmla="*/ 6572 h 35147"/>
                <a:gd name="connsiteX3" fmla="*/ 17145 w 20955"/>
                <a:gd name="connsiteY3" fmla="*/ 20860 h 35147"/>
                <a:gd name="connsiteX4" fmla="*/ 0 w 20955"/>
                <a:gd name="connsiteY4" fmla="*/ 35147 h 35147"/>
                <a:gd name="connsiteX5" fmla="*/ 0 w 20955"/>
                <a:gd name="connsiteY5" fmla="*/ 6572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35147">
                  <a:moveTo>
                    <a:pt x="0" y="6572"/>
                  </a:moveTo>
                  <a:lnTo>
                    <a:pt x="17145" y="0"/>
                  </a:lnTo>
                  <a:lnTo>
                    <a:pt x="20955" y="6572"/>
                  </a:lnTo>
                  <a:lnTo>
                    <a:pt x="17145" y="20860"/>
                  </a:lnTo>
                  <a:lnTo>
                    <a:pt x="0" y="35147"/>
                  </a:lnTo>
                  <a:lnTo>
                    <a:pt x="0" y="657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27" name="Freeform: Shape 2726">
              <a:extLst>
                <a:ext uri="{FF2B5EF4-FFF2-40B4-BE49-F238E27FC236}">
                  <a16:creationId xmlns:a16="http://schemas.microsoft.com/office/drawing/2014/main" id="{037E1D0E-4C66-0FA9-F25B-006C06D4347F}"/>
                </a:ext>
              </a:extLst>
            </p:cNvPr>
            <p:cNvSpPr/>
            <p:nvPr/>
          </p:nvSpPr>
          <p:spPr>
            <a:xfrm>
              <a:off x="6303848" y="4447564"/>
              <a:ext cx="201683" cy="227736"/>
            </a:xfrm>
            <a:custGeom>
              <a:avLst/>
              <a:gdLst>
                <a:gd name="connsiteX0" fmla="*/ 0 w 205739"/>
                <a:gd name="connsiteY0" fmla="*/ 204788 h 232314"/>
                <a:gd name="connsiteX1" fmla="*/ 26670 w 205739"/>
                <a:gd name="connsiteY1" fmla="*/ 204788 h 232314"/>
                <a:gd name="connsiteX2" fmla="*/ 26670 w 205739"/>
                <a:gd name="connsiteY2" fmla="*/ 186690 h 232314"/>
                <a:gd name="connsiteX3" fmla="*/ 12382 w 205739"/>
                <a:gd name="connsiteY3" fmla="*/ 186690 h 232314"/>
                <a:gd name="connsiteX4" fmla="*/ 12382 w 205739"/>
                <a:gd name="connsiteY4" fmla="*/ 165640 h 232314"/>
                <a:gd name="connsiteX5" fmla="*/ 26670 w 205739"/>
                <a:gd name="connsiteY5" fmla="*/ 165640 h 232314"/>
                <a:gd name="connsiteX6" fmla="*/ 43815 w 205739"/>
                <a:gd name="connsiteY6" fmla="*/ 151352 h 232314"/>
                <a:gd name="connsiteX7" fmla="*/ 54293 w 205739"/>
                <a:gd name="connsiteY7" fmla="*/ 165640 h 232314"/>
                <a:gd name="connsiteX8" fmla="*/ 85725 w 205739"/>
                <a:gd name="connsiteY8" fmla="*/ 169450 h 232314"/>
                <a:gd name="connsiteX9" fmla="*/ 93345 w 205739"/>
                <a:gd name="connsiteY9" fmla="*/ 155162 h 232314"/>
                <a:gd name="connsiteX10" fmla="*/ 93345 w 205739"/>
                <a:gd name="connsiteY10" fmla="*/ 120015 h 232314"/>
                <a:gd name="connsiteX11" fmla="*/ 79057 w 205739"/>
                <a:gd name="connsiteY11" fmla="*/ 109538 h 232314"/>
                <a:gd name="connsiteX12" fmla="*/ 79057 w 205739"/>
                <a:gd name="connsiteY12" fmla="*/ 87630 h 232314"/>
                <a:gd name="connsiteX13" fmla="*/ 93345 w 205739"/>
                <a:gd name="connsiteY13" fmla="*/ 77153 h 232314"/>
                <a:gd name="connsiteX14" fmla="*/ 85725 w 205739"/>
                <a:gd name="connsiteY14" fmla="*/ 59912 h 232314"/>
                <a:gd name="connsiteX15" fmla="*/ 61913 w 205739"/>
                <a:gd name="connsiteY15" fmla="*/ 63818 h 232314"/>
                <a:gd name="connsiteX16" fmla="*/ 54293 w 205739"/>
                <a:gd name="connsiteY16" fmla="*/ 35243 h 232314"/>
                <a:gd name="connsiteX17" fmla="*/ 103823 w 205739"/>
                <a:gd name="connsiteY17" fmla="*/ 35243 h 232314"/>
                <a:gd name="connsiteX18" fmla="*/ 103823 w 205739"/>
                <a:gd name="connsiteY18" fmla="*/ 49530 h 232314"/>
                <a:gd name="connsiteX19" fmla="*/ 135255 w 205739"/>
                <a:gd name="connsiteY19" fmla="*/ 45625 h 232314"/>
                <a:gd name="connsiteX20" fmla="*/ 139065 w 205739"/>
                <a:gd name="connsiteY20" fmla="*/ 20955 h 232314"/>
                <a:gd name="connsiteX21" fmla="*/ 153352 w 205739"/>
                <a:gd name="connsiteY21" fmla="*/ 0 h 232314"/>
                <a:gd name="connsiteX22" fmla="*/ 205740 w 205739"/>
                <a:gd name="connsiteY22" fmla="*/ 3715 h 232314"/>
                <a:gd name="connsiteX23" fmla="*/ 191452 w 205739"/>
                <a:gd name="connsiteY23" fmla="*/ 80963 h 232314"/>
                <a:gd name="connsiteX24" fmla="*/ 149543 w 205739"/>
                <a:gd name="connsiteY24" fmla="*/ 147638 h 232314"/>
                <a:gd name="connsiteX25" fmla="*/ 142875 w 205739"/>
                <a:gd name="connsiteY25" fmla="*/ 204788 h 232314"/>
                <a:gd name="connsiteX26" fmla="*/ 96202 w 205739"/>
                <a:gd name="connsiteY26" fmla="*/ 225743 h 232314"/>
                <a:gd name="connsiteX27" fmla="*/ 47625 w 205739"/>
                <a:gd name="connsiteY27" fmla="*/ 232315 h 232314"/>
                <a:gd name="connsiteX28" fmla="*/ 43815 w 205739"/>
                <a:gd name="connsiteY28" fmla="*/ 225743 h 232314"/>
                <a:gd name="connsiteX29" fmla="*/ 26670 w 205739"/>
                <a:gd name="connsiteY29" fmla="*/ 232315 h 232314"/>
                <a:gd name="connsiteX30" fmla="*/ 0 w 205739"/>
                <a:gd name="connsiteY30" fmla="*/ 204788 h 23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5739" h="232314">
                  <a:moveTo>
                    <a:pt x="0" y="204788"/>
                  </a:moveTo>
                  <a:lnTo>
                    <a:pt x="26670" y="204788"/>
                  </a:lnTo>
                  <a:lnTo>
                    <a:pt x="26670" y="186690"/>
                  </a:lnTo>
                  <a:lnTo>
                    <a:pt x="12382" y="186690"/>
                  </a:lnTo>
                  <a:lnTo>
                    <a:pt x="12382" y="165640"/>
                  </a:lnTo>
                  <a:lnTo>
                    <a:pt x="26670" y="165640"/>
                  </a:lnTo>
                  <a:lnTo>
                    <a:pt x="43815" y="151352"/>
                  </a:lnTo>
                  <a:lnTo>
                    <a:pt x="54293" y="165640"/>
                  </a:lnTo>
                  <a:lnTo>
                    <a:pt x="85725" y="169450"/>
                  </a:lnTo>
                  <a:lnTo>
                    <a:pt x="93345" y="155162"/>
                  </a:lnTo>
                  <a:lnTo>
                    <a:pt x="93345" y="120015"/>
                  </a:lnTo>
                  <a:lnTo>
                    <a:pt x="79057" y="109538"/>
                  </a:lnTo>
                  <a:lnTo>
                    <a:pt x="79057" y="87630"/>
                  </a:lnTo>
                  <a:lnTo>
                    <a:pt x="93345" y="77153"/>
                  </a:lnTo>
                  <a:lnTo>
                    <a:pt x="85725" y="59912"/>
                  </a:lnTo>
                  <a:lnTo>
                    <a:pt x="61913" y="63818"/>
                  </a:lnTo>
                  <a:lnTo>
                    <a:pt x="54293" y="35243"/>
                  </a:lnTo>
                  <a:lnTo>
                    <a:pt x="103823" y="35243"/>
                  </a:lnTo>
                  <a:lnTo>
                    <a:pt x="103823" y="49530"/>
                  </a:lnTo>
                  <a:lnTo>
                    <a:pt x="135255" y="45625"/>
                  </a:lnTo>
                  <a:lnTo>
                    <a:pt x="139065" y="20955"/>
                  </a:lnTo>
                  <a:lnTo>
                    <a:pt x="153352" y="0"/>
                  </a:lnTo>
                  <a:lnTo>
                    <a:pt x="205740" y="3715"/>
                  </a:lnTo>
                  <a:lnTo>
                    <a:pt x="191452" y="80963"/>
                  </a:lnTo>
                  <a:lnTo>
                    <a:pt x="149543" y="147638"/>
                  </a:lnTo>
                  <a:lnTo>
                    <a:pt x="142875" y="204788"/>
                  </a:lnTo>
                  <a:lnTo>
                    <a:pt x="96202" y="225743"/>
                  </a:lnTo>
                  <a:lnTo>
                    <a:pt x="47625" y="232315"/>
                  </a:lnTo>
                  <a:lnTo>
                    <a:pt x="43815" y="225743"/>
                  </a:lnTo>
                  <a:lnTo>
                    <a:pt x="26670" y="232315"/>
                  </a:lnTo>
                  <a:lnTo>
                    <a:pt x="0" y="20478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28" name="Freeform: Shape 2727">
              <a:extLst>
                <a:ext uri="{FF2B5EF4-FFF2-40B4-BE49-F238E27FC236}">
                  <a16:creationId xmlns:a16="http://schemas.microsoft.com/office/drawing/2014/main" id="{5413FDB4-623F-1C95-A30C-2AE69211EC83}"/>
                </a:ext>
              </a:extLst>
            </p:cNvPr>
            <p:cNvSpPr/>
            <p:nvPr/>
          </p:nvSpPr>
          <p:spPr>
            <a:xfrm>
              <a:off x="6303848" y="4447564"/>
              <a:ext cx="201683" cy="227736"/>
            </a:xfrm>
            <a:custGeom>
              <a:avLst/>
              <a:gdLst>
                <a:gd name="connsiteX0" fmla="*/ 0 w 205739"/>
                <a:gd name="connsiteY0" fmla="*/ 204788 h 232314"/>
                <a:gd name="connsiteX1" fmla="*/ 26670 w 205739"/>
                <a:gd name="connsiteY1" fmla="*/ 204788 h 232314"/>
                <a:gd name="connsiteX2" fmla="*/ 26670 w 205739"/>
                <a:gd name="connsiteY2" fmla="*/ 186690 h 232314"/>
                <a:gd name="connsiteX3" fmla="*/ 12382 w 205739"/>
                <a:gd name="connsiteY3" fmla="*/ 186690 h 232314"/>
                <a:gd name="connsiteX4" fmla="*/ 12382 w 205739"/>
                <a:gd name="connsiteY4" fmla="*/ 165640 h 232314"/>
                <a:gd name="connsiteX5" fmla="*/ 26670 w 205739"/>
                <a:gd name="connsiteY5" fmla="*/ 165640 h 232314"/>
                <a:gd name="connsiteX6" fmla="*/ 43815 w 205739"/>
                <a:gd name="connsiteY6" fmla="*/ 151352 h 232314"/>
                <a:gd name="connsiteX7" fmla="*/ 54293 w 205739"/>
                <a:gd name="connsiteY7" fmla="*/ 165640 h 232314"/>
                <a:gd name="connsiteX8" fmla="*/ 85725 w 205739"/>
                <a:gd name="connsiteY8" fmla="*/ 169450 h 232314"/>
                <a:gd name="connsiteX9" fmla="*/ 93345 w 205739"/>
                <a:gd name="connsiteY9" fmla="*/ 155162 h 232314"/>
                <a:gd name="connsiteX10" fmla="*/ 93345 w 205739"/>
                <a:gd name="connsiteY10" fmla="*/ 120015 h 232314"/>
                <a:gd name="connsiteX11" fmla="*/ 79057 w 205739"/>
                <a:gd name="connsiteY11" fmla="*/ 109538 h 232314"/>
                <a:gd name="connsiteX12" fmla="*/ 79057 w 205739"/>
                <a:gd name="connsiteY12" fmla="*/ 87630 h 232314"/>
                <a:gd name="connsiteX13" fmla="*/ 93345 w 205739"/>
                <a:gd name="connsiteY13" fmla="*/ 77153 h 232314"/>
                <a:gd name="connsiteX14" fmla="*/ 85725 w 205739"/>
                <a:gd name="connsiteY14" fmla="*/ 59912 h 232314"/>
                <a:gd name="connsiteX15" fmla="*/ 61913 w 205739"/>
                <a:gd name="connsiteY15" fmla="*/ 63818 h 232314"/>
                <a:gd name="connsiteX16" fmla="*/ 54293 w 205739"/>
                <a:gd name="connsiteY16" fmla="*/ 35243 h 232314"/>
                <a:gd name="connsiteX17" fmla="*/ 103823 w 205739"/>
                <a:gd name="connsiteY17" fmla="*/ 35243 h 232314"/>
                <a:gd name="connsiteX18" fmla="*/ 103823 w 205739"/>
                <a:gd name="connsiteY18" fmla="*/ 49530 h 232314"/>
                <a:gd name="connsiteX19" fmla="*/ 135255 w 205739"/>
                <a:gd name="connsiteY19" fmla="*/ 45625 h 232314"/>
                <a:gd name="connsiteX20" fmla="*/ 139065 w 205739"/>
                <a:gd name="connsiteY20" fmla="*/ 20955 h 232314"/>
                <a:gd name="connsiteX21" fmla="*/ 153352 w 205739"/>
                <a:gd name="connsiteY21" fmla="*/ 0 h 232314"/>
                <a:gd name="connsiteX22" fmla="*/ 205740 w 205739"/>
                <a:gd name="connsiteY22" fmla="*/ 3715 h 232314"/>
                <a:gd name="connsiteX23" fmla="*/ 191452 w 205739"/>
                <a:gd name="connsiteY23" fmla="*/ 80963 h 232314"/>
                <a:gd name="connsiteX24" fmla="*/ 149543 w 205739"/>
                <a:gd name="connsiteY24" fmla="*/ 147638 h 232314"/>
                <a:gd name="connsiteX25" fmla="*/ 142875 w 205739"/>
                <a:gd name="connsiteY25" fmla="*/ 204788 h 232314"/>
                <a:gd name="connsiteX26" fmla="*/ 96202 w 205739"/>
                <a:gd name="connsiteY26" fmla="*/ 225743 h 232314"/>
                <a:gd name="connsiteX27" fmla="*/ 47625 w 205739"/>
                <a:gd name="connsiteY27" fmla="*/ 232315 h 232314"/>
                <a:gd name="connsiteX28" fmla="*/ 43815 w 205739"/>
                <a:gd name="connsiteY28" fmla="*/ 225743 h 232314"/>
                <a:gd name="connsiteX29" fmla="*/ 26670 w 205739"/>
                <a:gd name="connsiteY29" fmla="*/ 232315 h 232314"/>
                <a:gd name="connsiteX30" fmla="*/ 0 w 205739"/>
                <a:gd name="connsiteY30" fmla="*/ 204788 h 232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05739" h="232314">
                  <a:moveTo>
                    <a:pt x="0" y="204788"/>
                  </a:moveTo>
                  <a:lnTo>
                    <a:pt x="26670" y="204788"/>
                  </a:lnTo>
                  <a:lnTo>
                    <a:pt x="26670" y="186690"/>
                  </a:lnTo>
                  <a:lnTo>
                    <a:pt x="12382" y="186690"/>
                  </a:lnTo>
                  <a:lnTo>
                    <a:pt x="12382" y="165640"/>
                  </a:lnTo>
                  <a:lnTo>
                    <a:pt x="26670" y="165640"/>
                  </a:lnTo>
                  <a:lnTo>
                    <a:pt x="43815" y="151352"/>
                  </a:lnTo>
                  <a:lnTo>
                    <a:pt x="54293" y="165640"/>
                  </a:lnTo>
                  <a:lnTo>
                    <a:pt x="85725" y="169450"/>
                  </a:lnTo>
                  <a:lnTo>
                    <a:pt x="93345" y="155162"/>
                  </a:lnTo>
                  <a:lnTo>
                    <a:pt x="93345" y="120015"/>
                  </a:lnTo>
                  <a:lnTo>
                    <a:pt x="79057" y="109538"/>
                  </a:lnTo>
                  <a:lnTo>
                    <a:pt x="79057" y="87630"/>
                  </a:lnTo>
                  <a:lnTo>
                    <a:pt x="93345" y="77153"/>
                  </a:lnTo>
                  <a:lnTo>
                    <a:pt x="85725" y="59912"/>
                  </a:lnTo>
                  <a:lnTo>
                    <a:pt x="61913" y="63818"/>
                  </a:lnTo>
                  <a:lnTo>
                    <a:pt x="54293" y="35243"/>
                  </a:lnTo>
                  <a:lnTo>
                    <a:pt x="103823" y="35243"/>
                  </a:lnTo>
                  <a:lnTo>
                    <a:pt x="103823" y="49530"/>
                  </a:lnTo>
                  <a:lnTo>
                    <a:pt x="135255" y="45625"/>
                  </a:lnTo>
                  <a:lnTo>
                    <a:pt x="139065" y="20955"/>
                  </a:lnTo>
                  <a:lnTo>
                    <a:pt x="153352" y="0"/>
                  </a:lnTo>
                  <a:lnTo>
                    <a:pt x="205740" y="3715"/>
                  </a:lnTo>
                  <a:lnTo>
                    <a:pt x="191452" y="80963"/>
                  </a:lnTo>
                  <a:lnTo>
                    <a:pt x="149543" y="147638"/>
                  </a:lnTo>
                  <a:lnTo>
                    <a:pt x="142875" y="204788"/>
                  </a:lnTo>
                  <a:lnTo>
                    <a:pt x="96202" y="225743"/>
                  </a:lnTo>
                  <a:lnTo>
                    <a:pt x="47625" y="232315"/>
                  </a:lnTo>
                  <a:lnTo>
                    <a:pt x="43815" y="225743"/>
                  </a:lnTo>
                  <a:lnTo>
                    <a:pt x="26670" y="232315"/>
                  </a:lnTo>
                  <a:lnTo>
                    <a:pt x="0" y="20478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29" name="Freeform: Shape 2728">
              <a:extLst>
                <a:ext uri="{FF2B5EF4-FFF2-40B4-BE49-F238E27FC236}">
                  <a16:creationId xmlns:a16="http://schemas.microsoft.com/office/drawing/2014/main" id="{17C42500-7787-9B33-E429-A7BB7BBC4BEA}"/>
                </a:ext>
              </a:extLst>
            </p:cNvPr>
            <p:cNvSpPr/>
            <p:nvPr/>
          </p:nvSpPr>
          <p:spPr>
            <a:xfrm>
              <a:off x="6926643" y="4419552"/>
              <a:ext cx="217557" cy="255748"/>
            </a:xfrm>
            <a:custGeom>
              <a:avLst/>
              <a:gdLst>
                <a:gd name="connsiteX0" fmla="*/ 14288 w 221932"/>
                <a:gd name="connsiteY0" fmla="*/ 0 h 260889"/>
                <a:gd name="connsiteX1" fmla="*/ 49530 w 221932"/>
                <a:gd name="connsiteY1" fmla="*/ 0 h 260889"/>
                <a:gd name="connsiteX2" fmla="*/ 113347 w 221932"/>
                <a:gd name="connsiteY2" fmla="*/ 28575 h 260889"/>
                <a:gd name="connsiteX3" fmla="*/ 155257 w 221932"/>
                <a:gd name="connsiteY3" fmla="*/ 32290 h 260889"/>
                <a:gd name="connsiteX4" fmla="*/ 190500 w 221932"/>
                <a:gd name="connsiteY4" fmla="*/ 10478 h 260889"/>
                <a:gd name="connsiteX5" fmla="*/ 200977 w 221932"/>
                <a:gd name="connsiteY5" fmla="*/ 24765 h 260889"/>
                <a:gd name="connsiteX6" fmla="*/ 221932 w 221932"/>
                <a:gd name="connsiteY6" fmla="*/ 18002 h 260889"/>
                <a:gd name="connsiteX7" fmla="*/ 221932 w 221932"/>
                <a:gd name="connsiteY7" fmla="*/ 35243 h 260889"/>
                <a:gd name="connsiteX8" fmla="*/ 194310 w 221932"/>
                <a:gd name="connsiteY8" fmla="*/ 53340 h 260889"/>
                <a:gd name="connsiteX9" fmla="*/ 197168 w 221932"/>
                <a:gd name="connsiteY9" fmla="*/ 152400 h 260889"/>
                <a:gd name="connsiteX10" fmla="*/ 215265 w 221932"/>
                <a:gd name="connsiteY10" fmla="*/ 173355 h 260889"/>
                <a:gd name="connsiteX11" fmla="*/ 197168 w 221932"/>
                <a:gd name="connsiteY11" fmla="*/ 187643 h 260889"/>
                <a:gd name="connsiteX12" fmla="*/ 176213 w 221932"/>
                <a:gd name="connsiteY12" fmla="*/ 208502 h 260889"/>
                <a:gd name="connsiteX13" fmla="*/ 161925 w 221932"/>
                <a:gd name="connsiteY13" fmla="*/ 240030 h 260889"/>
                <a:gd name="connsiteX14" fmla="*/ 151447 w 221932"/>
                <a:gd name="connsiteY14" fmla="*/ 260890 h 260889"/>
                <a:gd name="connsiteX15" fmla="*/ 109538 w 221932"/>
                <a:gd name="connsiteY15" fmla="*/ 229553 h 260889"/>
                <a:gd name="connsiteX16" fmla="*/ 101918 w 221932"/>
                <a:gd name="connsiteY16" fmla="*/ 211455 h 260889"/>
                <a:gd name="connsiteX17" fmla="*/ 10477 w 221932"/>
                <a:gd name="connsiteY17" fmla="*/ 162878 h 260889"/>
                <a:gd name="connsiteX18" fmla="*/ 3810 w 221932"/>
                <a:gd name="connsiteY18" fmla="*/ 162878 h 260889"/>
                <a:gd name="connsiteX19" fmla="*/ 10477 w 221932"/>
                <a:gd name="connsiteY19" fmla="*/ 138113 h 260889"/>
                <a:gd name="connsiteX20" fmla="*/ 7620 w 221932"/>
                <a:gd name="connsiteY20" fmla="*/ 116205 h 260889"/>
                <a:gd name="connsiteX21" fmla="*/ 31432 w 221932"/>
                <a:gd name="connsiteY21" fmla="*/ 88487 h 260889"/>
                <a:gd name="connsiteX22" fmla="*/ 20955 w 221932"/>
                <a:gd name="connsiteY22" fmla="*/ 49530 h 260889"/>
                <a:gd name="connsiteX23" fmla="*/ 0 w 221932"/>
                <a:gd name="connsiteY23" fmla="*/ 14288 h 260889"/>
                <a:gd name="connsiteX24" fmla="*/ 14288 w 221932"/>
                <a:gd name="connsiteY24" fmla="*/ 0 h 26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1932" h="260889">
                  <a:moveTo>
                    <a:pt x="14288" y="0"/>
                  </a:moveTo>
                  <a:lnTo>
                    <a:pt x="49530" y="0"/>
                  </a:lnTo>
                  <a:lnTo>
                    <a:pt x="113347" y="28575"/>
                  </a:lnTo>
                  <a:lnTo>
                    <a:pt x="155257" y="32290"/>
                  </a:lnTo>
                  <a:lnTo>
                    <a:pt x="190500" y="10478"/>
                  </a:lnTo>
                  <a:lnTo>
                    <a:pt x="200977" y="24765"/>
                  </a:lnTo>
                  <a:lnTo>
                    <a:pt x="221932" y="18002"/>
                  </a:lnTo>
                  <a:lnTo>
                    <a:pt x="221932" y="35243"/>
                  </a:lnTo>
                  <a:lnTo>
                    <a:pt x="194310" y="53340"/>
                  </a:lnTo>
                  <a:lnTo>
                    <a:pt x="197168" y="152400"/>
                  </a:lnTo>
                  <a:lnTo>
                    <a:pt x="215265" y="173355"/>
                  </a:lnTo>
                  <a:lnTo>
                    <a:pt x="197168" y="187643"/>
                  </a:lnTo>
                  <a:lnTo>
                    <a:pt x="176213" y="208502"/>
                  </a:lnTo>
                  <a:lnTo>
                    <a:pt x="161925" y="240030"/>
                  </a:lnTo>
                  <a:lnTo>
                    <a:pt x="151447" y="260890"/>
                  </a:lnTo>
                  <a:lnTo>
                    <a:pt x="109538" y="229553"/>
                  </a:lnTo>
                  <a:lnTo>
                    <a:pt x="101918" y="211455"/>
                  </a:lnTo>
                  <a:lnTo>
                    <a:pt x="10477" y="162878"/>
                  </a:lnTo>
                  <a:lnTo>
                    <a:pt x="3810" y="162878"/>
                  </a:lnTo>
                  <a:lnTo>
                    <a:pt x="10477" y="138113"/>
                  </a:lnTo>
                  <a:lnTo>
                    <a:pt x="7620" y="116205"/>
                  </a:lnTo>
                  <a:lnTo>
                    <a:pt x="31432" y="88487"/>
                  </a:lnTo>
                  <a:lnTo>
                    <a:pt x="20955" y="49530"/>
                  </a:lnTo>
                  <a:lnTo>
                    <a:pt x="0" y="14288"/>
                  </a:lnTo>
                  <a:lnTo>
                    <a:pt x="1428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31" name="Freeform: Shape 2730">
              <a:extLst>
                <a:ext uri="{FF2B5EF4-FFF2-40B4-BE49-F238E27FC236}">
                  <a16:creationId xmlns:a16="http://schemas.microsoft.com/office/drawing/2014/main" id="{CCDE4495-92CF-CA66-D93C-0182B0E76B45}"/>
                </a:ext>
              </a:extLst>
            </p:cNvPr>
            <p:cNvSpPr/>
            <p:nvPr/>
          </p:nvSpPr>
          <p:spPr>
            <a:xfrm>
              <a:off x="6926643" y="4419552"/>
              <a:ext cx="217557" cy="255748"/>
            </a:xfrm>
            <a:custGeom>
              <a:avLst/>
              <a:gdLst>
                <a:gd name="connsiteX0" fmla="*/ 14288 w 221932"/>
                <a:gd name="connsiteY0" fmla="*/ 0 h 260889"/>
                <a:gd name="connsiteX1" fmla="*/ 49530 w 221932"/>
                <a:gd name="connsiteY1" fmla="*/ 0 h 260889"/>
                <a:gd name="connsiteX2" fmla="*/ 113347 w 221932"/>
                <a:gd name="connsiteY2" fmla="*/ 28575 h 260889"/>
                <a:gd name="connsiteX3" fmla="*/ 155257 w 221932"/>
                <a:gd name="connsiteY3" fmla="*/ 32290 h 260889"/>
                <a:gd name="connsiteX4" fmla="*/ 190500 w 221932"/>
                <a:gd name="connsiteY4" fmla="*/ 10478 h 260889"/>
                <a:gd name="connsiteX5" fmla="*/ 200977 w 221932"/>
                <a:gd name="connsiteY5" fmla="*/ 24765 h 260889"/>
                <a:gd name="connsiteX6" fmla="*/ 221932 w 221932"/>
                <a:gd name="connsiteY6" fmla="*/ 18002 h 260889"/>
                <a:gd name="connsiteX7" fmla="*/ 221932 w 221932"/>
                <a:gd name="connsiteY7" fmla="*/ 35243 h 260889"/>
                <a:gd name="connsiteX8" fmla="*/ 194310 w 221932"/>
                <a:gd name="connsiteY8" fmla="*/ 53340 h 260889"/>
                <a:gd name="connsiteX9" fmla="*/ 197168 w 221932"/>
                <a:gd name="connsiteY9" fmla="*/ 152400 h 260889"/>
                <a:gd name="connsiteX10" fmla="*/ 215265 w 221932"/>
                <a:gd name="connsiteY10" fmla="*/ 173355 h 260889"/>
                <a:gd name="connsiteX11" fmla="*/ 197168 w 221932"/>
                <a:gd name="connsiteY11" fmla="*/ 187643 h 260889"/>
                <a:gd name="connsiteX12" fmla="*/ 176213 w 221932"/>
                <a:gd name="connsiteY12" fmla="*/ 208502 h 260889"/>
                <a:gd name="connsiteX13" fmla="*/ 161925 w 221932"/>
                <a:gd name="connsiteY13" fmla="*/ 240030 h 260889"/>
                <a:gd name="connsiteX14" fmla="*/ 151447 w 221932"/>
                <a:gd name="connsiteY14" fmla="*/ 260890 h 260889"/>
                <a:gd name="connsiteX15" fmla="*/ 109538 w 221932"/>
                <a:gd name="connsiteY15" fmla="*/ 229553 h 260889"/>
                <a:gd name="connsiteX16" fmla="*/ 101918 w 221932"/>
                <a:gd name="connsiteY16" fmla="*/ 211455 h 260889"/>
                <a:gd name="connsiteX17" fmla="*/ 10477 w 221932"/>
                <a:gd name="connsiteY17" fmla="*/ 162878 h 260889"/>
                <a:gd name="connsiteX18" fmla="*/ 3810 w 221932"/>
                <a:gd name="connsiteY18" fmla="*/ 162878 h 260889"/>
                <a:gd name="connsiteX19" fmla="*/ 10477 w 221932"/>
                <a:gd name="connsiteY19" fmla="*/ 138113 h 260889"/>
                <a:gd name="connsiteX20" fmla="*/ 7620 w 221932"/>
                <a:gd name="connsiteY20" fmla="*/ 116205 h 260889"/>
                <a:gd name="connsiteX21" fmla="*/ 31432 w 221932"/>
                <a:gd name="connsiteY21" fmla="*/ 88487 h 260889"/>
                <a:gd name="connsiteX22" fmla="*/ 20955 w 221932"/>
                <a:gd name="connsiteY22" fmla="*/ 49530 h 260889"/>
                <a:gd name="connsiteX23" fmla="*/ 0 w 221932"/>
                <a:gd name="connsiteY23" fmla="*/ 14288 h 260889"/>
                <a:gd name="connsiteX24" fmla="*/ 14288 w 221932"/>
                <a:gd name="connsiteY24" fmla="*/ 0 h 260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21932" h="260889">
                  <a:moveTo>
                    <a:pt x="14288" y="0"/>
                  </a:moveTo>
                  <a:lnTo>
                    <a:pt x="49530" y="0"/>
                  </a:lnTo>
                  <a:lnTo>
                    <a:pt x="113347" y="28575"/>
                  </a:lnTo>
                  <a:lnTo>
                    <a:pt x="155257" y="32290"/>
                  </a:lnTo>
                  <a:lnTo>
                    <a:pt x="190500" y="10478"/>
                  </a:lnTo>
                  <a:lnTo>
                    <a:pt x="200977" y="24765"/>
                  </a:lnTo>
                  <a:lnTo>
                    <a:pt x="221932" y="18002"/>
                  </a:lnTo>
                  <a:lnTo>
                    <a:pt x="221932" y="35243"/>
                  </a:lnTo>
                  <a:lnTo>
                    <a:pt x="194310" y="53340"/>
                  </a:lnTo>
                  <a:lnTo>
                    <a:pt x="197168" y="152400"/>
                  </a:lnTo>
                  <a:lnTo>
                    <a:pt x="215265" y="173355"/>
                  </a:lnTo>
                  <a:lnTo>
                    <a:pt x="197168" y="187643"/>
                  </a:lnTo>
                  <a:lnTo>
                    <a:pt x="176213" y="208502"/>
                  </a:lnTo>
                  <a:lnTo>
                    <a:pt x="161925" y="240030"/>
                  </a:lnTo>
                  <a:lnTo>
                    <a:pt x="151447" y="260890"/>
                  </a:lnTo>
                  <a:lnTo>
                    <a:pt x="109538" y="229553"/>
                  </a:lnTo>
                  <a:lnTo>
                    <a:pt x="101918" y="211455"/>
                  </a:lnTo>
                  <a:lnTo>
                    <a:pt x="10477" y="162878"/>
                  </a:lnTo>
                  <a:lnTo>
                    <a:pt x="3810" y="162878"/>
                  </a:lnTo>
                  <a:lnTo>
                    <a:pt x="10477" y="138113"/>
                  </a:lnTo>
                  <a:lnTo>
                    <a:pt x="7620" y="116205"/>
                  </a:lnTo>
                  <a:lnTo>
                    <a:pt x="31432" y="88487"/>
                  </a:lnTo>
                  <a:lnTo>
                    <a:pt x="20955" y="49530"/>
                  </a:lnTo>
                  <a:lnTo>
                    <a:pt x="0" y="14288"/>
                  </a:lnTo>
                  <a:lnTo>
                    <a:pt x="1428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32" name="Freeform: Shape 2731">
              <a:extLst>
                <a:ext uri="{FF2B5EF4-FFF2-40B4-BE49-F238E27FC236}">
                  <a16:creationId xmlns:a16="http://schemas.microsoft.com/office/drawing/2014/main" id="{BD14891D-85E1-DD9C-3F18-26EAAA7FAD37}"/>
                </a:ext>
              </a:extLst>
            </p:cNvPr>
            <p:cNvSpPr/>
            <p:nvPr/>
          </p:nvSpPr>
          <p:spPr>
            <a:xfrm>
              <a:off x="6241288" y="4482111"/>
              <a:ext cx="154064" cy="166203"/>
            </a:xfrm>
            <a:custGeom>
              <a:avLst/>
              <a:gdLst>
                <a:gd name="connsiteX0" fmla="*/ 68580 w 157162"/>
                <a:gd name="connsiteY0" fmla="*/ 0 h 169544"/>
                <a:gd name="connsiteX1" fmla="*/ 118110 w 157162"/>
                <a:gd name="connsiteY1" fmla="*/ 0 h 169544"/>
                <a:gd name="connsiteX2" fmla="*/ 125730 w 157162"/>
                <a:gd name="connsiteY2" fmla="*/ 28575 h 169544"/>
                <a:gd name="connsiteX3" fmla="*/ 149543 w 157162"/>
                <a:gd name="connsiteY3" fmla="*/ 24670 h 169544"/>
                <a:gd name="connsiteX4" fmla="*/ 157163 w 157162"/>
                <a:gd name="connsiteY4" fmla="*/ 41910 h 169544"/>
                <a:gd name="connsiteX5" fmla="*/ 142875 w 157162"/>
                <a:gd name="connsiteY5" fmla="*/ 52388 h 169544"/>
                <a:gd name="connsiteX6" fmla="*/ 142875 w 157162"/>
                <a:gd name="connsiteY6" fmla="*/ 74295 h 169544"/>
                <a:gd name="connsiteX7" fmla="*/ 157163 w 157162"/>
                <a:gd name="connsiteY7" fmla="*/ 84772 h 169544"/>
                <a:gd name="connsiteX8" fmla="*/ 157163 w 157162"/>
                <a:gd name="connsiteY8" fmla="*/ 119920 h 169544"/>
                <a:gd name="connsiteX9" fmla="*/ 149543 w 157162"/>
                <a:gd name="connsiteY9" fmla="*/ 134207 h 169544"/>
                <a:gd name="connsiteX10" fmla="*/ 118110 w 157162"/>
                <a:gd name="connsiteY10" fmla="*/ 130397 h 169544"/>
                <a:gd name="connsiteX11" fmla="*/ 107632 w 157162"/>
                <a:gd name="connsiteY11" fmla="*/ 116110 h 169544"/>
                <a:gd name="connsiteX12" fmla="*/ 90488 w 157162"/>
                <a:gd name="connsiteY12" fmla="*/ 130397 h 169544"/>
                <a:gd name="connsiteX13" fmla="*/ 76200 w 157162"/>
                <a:gd name="connsiteY13" fmla="*/ 130397 h 169544"/>
                <a:gd name="connsiteX14" fmla="*/ 76200 w 157162"/>
                <a:gd name="connsiteY14" fmla="*/ 151447 h 169544"/>
                <a:gd name="connsiteX15" fmla="*/ 90488 w 157162"/>
                <a:gd name="connsiteY15" fmla="*/ 151447 h 169544"/>
                <a:gd name="connsiteX16" fmla="*/ 90488 w 157162"/>
                <a:gd name="connsiteY16" fmla="*/ 169545 h 169544"/>
                <a:gd name="connsiteX17" fmla="*/ 63818 w 157162"/>
                <a:gd name="connsiteY17" fmla="*/ 169545 h 169544"/>
                <a:gd name="connsiteX18" fmla="*/ 32385 w 157162"/>
                <a:gd name="connsiteY18" fmla="*/ 144685 h 169544"/>
                <a:gd name="connsiteX19" fmla="*/ 18098 w 157162"/>
                <a:gd name="connsiteY19" fmla="*/ 119920 h 169544"/>
                <a:gd name="connsiteX20" fmla="*/ 0 w 157162"/>
                <a:gd name="connsiteY20" fmla="*/ 84772 h 169544"/>
                <a:gd name="connsiteX21" fmla="*/ 18098 w 157162"/>
                <a:gd name="connsiteY21" fmla="*/ 56197 h 169544"/>
                <a:gd name="connsiteX22" fmla="*/ 20955 w 157162"/>
                <a:gd name="connsiteY22" fmla="*/ 41910 h 169544"/>
                <a:gd name="connsiteX23" fmla="*/ 63818 w 157162"/>
                <a:gd name="connsiteY23" fmla="*/ 38957 h 169544"/>
                <a:gd name="connsiteX24" fmla="*/ 68580 w 157162"/>
                <a:gd name="connsiteY24" fmla="*/ 0 h 16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7162" h="169544">
                  <a:moveTo>
                    <a:pt x="68580" y="0"/>
                  </a:moveTo>
                  <a:lnTo>
                    <a:pt x="118110" y="0"/>
                  </a:lnTo>
                  <a:lnTo>
                    <a:pt x="125730" y="28575"/>
                  </a:lnTo>
                  <a:lnTo>
                    <a:pt x="149543" y="24670"/>
                  </a:lnTo>
                  <a:lnTo>
                    <a:pt x="157163" y="41910"/>
                  </a:lnTo>
                  <a:lnTo>
                    <a:pt x="142875" y="52388"/>
                  </a:lnTo>
                  <a:lnTo>
                    <a:pt x="142875" y="74295"/>
                  </a:lnTo>
                  <a:lnTo>
                    <a:pt x="157163" y="84772"/>
                  </a:lnTo>
                  <a:lnTo>
                    <a:pt x="157163" y="119920"/>
                  </a:lnTo>
                  <a:lnTo>
                    <a:pt x="149543" y="134207"/>
                  </a:lnTo>
                  <a:lnTo>
                    <a:pt x="118110" y="130397"/>
                  </a:lnTo>
                  <a:lnTo>
                    <a:pt x="107632" y="116110"/>
                  </a:lnTo>
                  <a:lnTo>
                    <a:pt x="90488" y="130397"/>
                  </a:lnTo>
                  <a:lnTo>
                    <a:pt x="76200" y="130397"/>
                  </a:lnTo>
                  <a:lnTo>
                    <a:pt x="76200" y="151447"/>
                  </a:lnTo>
                  <a:lnTo>
                    <a:pt x="90488" y="151447"/>
                  </a:lnTo>
                  <a:lnTo>
                    <a:pt x="90488" y="169545"/>
                  </a:lnTo>
                  <a:lnTo>
                    <a:pt x="63818" y="169545"/>
                  </a:lnTo>
                  <a:lnTo>
                    <a:pt x="32385" y="144685"/>
                  </a:lnTo>
                  <a:lnTo>
                    <a:pt x="18098" y="119920"/>
                  </a:lnTo>
                  <a:lnTo>
                    <a:pt x="0" y="84772"/>
                  </a:lnTo>
                  <a:lnTo>
                    <a:pt x="18098" y="56197"/>
                  </a:lnTo>
                  <a:lnTo>
                    <a:pt x="20955" y="41910"/>
                  </a:lnTo>
                  <a:lnTo>
                    <a:pt x="63818" y="38957"/>
                  </a:lnTo>
                  <a:lnTo>
                    <a:pt x="6858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33" name="Freeform: Shape 2732">
              <a:extLst>
                <a:ext uri="{FF2B5EF4-FFF2-40B4-BE49-F238E27FC236}">
                  <a16:creationId xmlns:a16="http://schemas.microsoft.com/office/drawing/2014/main" id="{22D33A1F-921D-31A2-ED5D-F895B749EB9E}"/>
                </a:ext>
              </a:extLst>
            </p:cNvPr>
            <p:cNvSpPr/>
            <p:nvPr/>
          </p:nvSpPr>
          <p:spPr>
            <a:xfrm>
              <a:off x="6241288" y="4482111"/>
              <a:ext cx="154064" cy="166203"/>
            </a:xfrm>
            <a:custGeom>
              <a:avLst/>
              <a:gdLst>
                <a:gd name="connsiteX0" fmla="*/ 68580 w 157162"/>
                <a:gd name="connsiteY0" fmla="*/ 0 h 169544"/>
                <a:gd name="connsiteX1" fmla="*/ 118110 w 157162"/>
                <a:gd name="connsiteY1" fmla="*/ 0 h 169544"/>
                <a:gd name="connsiteX2" fmla="*/ 125730 w 157162"/>
                <a:gd name="connsiteY2" fmla="*/ 28575 h 169544"/>
                <a:gd name="connsiteX3" fmla="*/ 149543 w 157162"/>
                <a:gd name="connsiteY3" fmla="*/ 24670 h 169544"/>
                <a:gd name="connsiteX4" fmla="*/ 157163 w 157162"/>
                <a:gd name="connsiteY4" fmla="*/ 41910 h 169544"/>
                <a:gd name="connsiteX5" fmla="*/ 142875 w 157162"/>
                <a:gd name="connsiteY5" fmla="*/ 52388 h 169544"/>
                <a:gd name="connsiteX6" fmla="*/ 142875 w 157162"/>
                <a:gd name="connsiteY6" fmla="*/ 74295 h 169544"/>
                <a:gd name="connsiteX7" fmla="*/ 157163 w 157162"/>
                <a:gd name="connsiteY7" fmla="*/ 84772 h 169544"/>
                <a:gd name="connsiteX8" fmla="*/ 157163 w 157162"/>
                <a:gd name="connsiteY8" fmla="*/ 119920 h 169544"/>
                <a:gd name="connsiteX9" fmla="*/ 149543 w 157162"/>
                <a:gd name="connsiteY9" fmla="*/ 134207 h 169544"/>
                <a:gd name="connsiteX10" fmla="*/ 118110 w 157162"/>
                <a:gd name="connsiteY10" fmla="*/ 130397 h 169544"/>
                <a:gd name="connsiteX11" fmla="*/ 107632 w 157162"/>
                <a:gd name="connsiteY11" fmla="*/ 116110 h 169544"/>
                <a:gd name="connsiteX12" fmla="*/ 90488 w 157162"/>
                <a:gd name="connsiteY12" fmla="*/ 130397 h 169544"/>
                <a:gd name="connsiteX13" fmla="*/ 76200 w 157162"/>
                <a:gd name="connsiteY13" fmla="*/ 130397 h 169544"/>
                <a:gd name="connsiteX14" fmla="*/ 76200 w 157162"/>
                <a:gd name="connsiteY14" fmla="*/ 151447 h 169544"/>
                <a:gd name="connsiteX15" fmla="*/ 90488 w 157162"/>
                <a:gd name="connsiteY15" fmla="*/ 151447 h 169544"/>
                <a:gd name="connsiteX16" fmla="*/ 90488 w 157162"/>
                <a:gd name="connsiteY16" fmla="*/ 169545 h 169544"/>
                <a:gd name="connsiteX17" fmla="*/ 63818 w 157162"/>
                <a:gd name="connsiteY17" fmla="*/ 169545 h 169544"/>
                <a:gd name="connsiteX18" fmla="*/ 32385 w 157162"/>
                <a:gd name="connsiteY18" fmla="*/ 144685 h 169544"/>
                <a:gd name="connsiteX19" fmla="*/ 18098 w 157162"/>
                <a:gd name="connsiteY19" fmla="*/ 119920 h 169544"/>
                <a:gd name="connsiteX20" fmla="*/ 0 w 157162"/>
                <a:gd name="connsiteY20" fmla="*/ 84772 h 169544"/>
                <a:gd name="connsiteX21" fmla="*/ 18098 w 157162"/>
                <a:gd name="connsiteY21" fmla="*/ 56197 h 169544"/>
                <a:gd name="connsiteX22" fmla="*/ 20955 w 157162"/>
                <a:gd name="connsiteY22" fmla="*/ 41910 h 169544"/>
                <a:gd name="connsiteX23" fmla="*/ 63818 w 157162"/>
                <a:gd name="connsiteY23" fmla="*/ 38957 h 169544"/>
                <a:gd name="connsiteX24" fmla="*/ 68580 w 157162"/>
                <a:gd name="connsiteY24" fmla="*/ 0 h 16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57162" h="169544">
                  <a:moveTo>
                    <a:pt x="68580" y="0"/>
                  </a:moveTo>
                  <a:lnTo>
                    <a:pt x="118110" y="0"/>
                  </a:lnTo>
                  <a:lnTo>
                    <a:pt x="125730" y="28575"/>
                  </a:lnTo>
                  <a:lnTo>
                    <a:pt x="149543" y="24670"/>
                  </a:lnTo>
                  <a:lnTo>
                    <a:pt x="157163" y="41910"/>
                  </a:lnTo>
                  <a:lnTo>
                    <a:pt x="142875" y="52388"/>
                  </a:lnTo>
                  <a:lnTo>
                    <a:pt x="142875" y="74295"/>
                  </a:lnTo>
                  <a:lnTo>
                    <a:pt x="157163" y="84772"/>
                  </a:lnTo>
                  <a:lnTo>
                    <a:pt x="157163" y="119920"/>
                  </a:lnTo>
                  <a:lnTo>
                    <a:pt x="149543" y="134207"/>
                  </a:lnTo>
                  <a:lnTo>
                    <a:pt x="118110" y="130397"/>
                  </a:lnTo>
                  <a:lnTo>
                    <a:pt x="107632" y="116110"/>
                  </a:lnTo>
                  <a:lnTo>
                    <a:pt x="90488" y="130397"/>
                  </a:lnTo>
                  <a:lnTo>
                    <a:pt x="76200" y="130397"/>
                  </a:lnTo>
                  <a:lnTo>
                    <a:pt x="76200" y="151447"/>
                  </a:lnTo>
                  <a:lnTo>
                    <a:pt x="90488" y="151447"/>
                  </a:lnTo>
                  <a:lnTo>
                    <a:pt x="90488" y="169545"/>
                  </a:lnTo>
                  <a:lnTo>
                    <a:pt x="63818" y="169545"/>
                  </a:lnTo>
                  <a:lnTo>
                    <a:pt x="32385" y="144685"/>
                  </a:lnTo>
                  <a:lnTo>
                    <a:pt x="18098" y="119920"/>
                  </a:lnTo>
                  <a:lnTo>
                    <a:pt x="0" y="84772"/>
                  </a:lnTo>
                  <a:lnTo>
                    <a:pt x="18098" y="56197"/>
                  </a:lnTo>
                  <a:lnTo>
                    <a:pt x="20955" y="41910"/>
                  </a:lnTo>
                  <a:lnTo>
                    <a:pt x="63818" y="38957"/>
                  </a:lnTo>
                  <a:lnTo>
                    <a:pt x="6858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34" name="Freeform: Shape 2733">
              <a:extLst>
                <a:ext uri="{FF2B5EF4-FFF2-40B4-BE49-F238E27FC236}">
                  <a16:creationId xmlns:a16="http://schemas.microsoft.com/office/drawing/2014/main" id="{7FB71726-55D4-B124-F8AC-6462DCF31DFB}"/>
                </a:ext>
              </a:extLst>
            </p:cNvPr>
            <p:cNvSpPr/>
            <p:nvPr/>
          </p:nvSpPr>
          <p:spPr>
            <a:xfrm>
              <a:off x="5533525" y="4167444"/>
              <a:ext cx="86836" cy="20542"/>
            </a:xfrm>
            <a:custGeom>
              <a:avLst/>
              <a:gdLst>
                <a:gd name="connsiteX0" fmla="*/ 14288 w 88582"/>
                <a:gd name="connsiteY0" fmla="*/ 0 h 20955"/>
                <a:gd name="connsiteX1" fmla="*/ 35243 w 88582"/>
                <a:gd name="connsiteY1" fmla="*/ 0 h 20955"/>
                <a:gd name="connsiteX2" fmla="*/ 56197 w 88582"/>
                <a:gd name="connsiteY2" fmla="*/ 3715 h 20955"/>
                <a:gd name="connsiteX3" fmla="*/ 74295 w 88582"/>
                <a:gd name="connsiteY3" fmla="*/ 6668 h 20955"/>
                <a:gd name="connsiteX4" fmla="*/ 88582 w 88582"/>
                <a:gd name="connsiteY4" fmla="*/ 10478 h 20955"/>
                <a:gd name="connsiteX5" fmla="*/ 80963 w 88582"/>
                <a:gd name="connsiteY5" fmla="*/ 14288 h 20955"/>
                <a:gd name="connsiteX6" fmla="*/ 60007 w 88582"/>
                <a:gd name="connsiteY6" fmla="*/ 14288 h 20955"/>
                <a:gd name="connsiteX7" fmla="*/ 45720 w 88582"/>
                <a:gd name="connsiteY7" fmla="*/ 14288 h 20955"/>
                <a:gd name="connsiteX8" fmla="*/ 28575 w 88582"/>
                <a:gd name="connsiteY8" fmla="*/ 14288 h 20955"/>
                <a:gd name="connsiteX9" fmla="*/ 10478 w 88582"/>
                <a:gd name="connsiteY9" fmla="*/ 20955 h 20955"/>
                <a:gd name="connsiteX10" fmla="*/ 0 w 88582"/>
                <a:gd name="connsiteY10" fmla="*/ 18002 h 20955"/>
                <a:gd name="connsiteX11" fmla="*/ 7620 w 88582"/>
                <a:gd name="connsiteY11" fmla="*/ 0 h 20955"/>
                <a:gd name="connsiteX12" fmla="*/ 14288 w 88582"/>
                <a:gd name="connsiteY12" fmla="*/ 0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8582" h="20955">
                  <a:moveTo>
                    <a:pt x="14288" y="0"/>
                  </a:moveTo>
                  <a:lnTo>
                    <a:pt x="35243" y="0"/>
                  </a:lnTo>
                  <a:lnTo>
                    <a:pt x="56197" y="3715"/>
                  </a:lnTo>
                  <a:lnTo>
                    <a:pt x="74295" y="6668"/>
                  </a:lnTo>
                  <a:lnTo>
                    <a:pt x="88582" y="10478"/>
                  </a:lnTo>
                  <a:lnTo>
                    <a:pt x="80963" y="14288"/>
                  </a:lnTo>
                  <a:lnTo>
                    <a:pt x="60007" y="14288"/>
                  </a:lnTo>
                  <a:lnTo>
                    <a:pt x="45720" y="14288"/>
                  </a:lnTo>
                  <a:lnTo>
                    <a:pt x="28575" y="14288"/>
                  </a:lnTo>
                  <a:lnTo>
                    <a:pt x="10478" y="20955"/>
                  </a:lnTo>
                  <a:lnTo>
                    <a:pt x="0" y="18002"/>
                  </a:lnTo>
                  <a:lnTo>
                    <a:pt x="7620" y="0"/>
                  </a:lnTo>
                  <a:lnTo>
                    <a:pt x="1428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35" name="Freeform: Shape 2734">
              <a:extLst>
                <a:ext uri="{FF2B5EF4-FFF2-40B4-BE49-F238E27FC236}">
                  <a16:creationId xmlns:a16="http://schemas.microsoft.com/office/drawing/2014/main" id="{71E51A7B-0FFC-A61E-86DA-D515CEDEBE44}"/>
                </a:ext>
              </a:extLst>
            </p:cNvPr>
            <p:cNvSpPr/>
            <p:nvPr/>
          </p:nvSpPr>
          <p:spPr>
            <a:xfrm>
              <a:off x="5533525" y="4167444"/>
              <a:ext cx="86836" cy="20542"/>
            </a:xfrm>
            <a:custGeom>
              <a:avLst/>
              <a:gdLst>
                <a:gd name="connsiteX0" fmla="*/ 14288 w 88582"/>
                <a:gd name="connsiteY0" fmla="*/ 0 h 20955"/>
                <a:gd name="connsiteX1" fmla="*/ 35243 w 88582"/>
                <a:gd name="connsiteY1" fmla="*/ 0 h 20955"/>
                <a:gd name="connsiteX2" fmla="*/ 56197 w 88582"/>
                <a:gd name="connsiteY2" fmla="*/ 3715 h 20955"/>
                <a:gd name="connsiteX3" fmla="*/ 74295 w 88582"/>
                <a:gd name="connsiteY3" fmla="*/ 6668 h 20955"/>
                <a:gd name="connsiteX4" fmla="*/ 88582 w 88582"/>
                <a:gd name="connsiteY4" fmla="*/ 10478 h 20955"/>
                <a:gd name="connsiteX5" fmla="*/ 80963 w 88582"/>
                <a:gd name="connsiteY5" fmla="*/ 14288 h 20955"/>
                <a:gd name="connsiteX6" fmla="*/ 60007 w 88582"/>
                <a:gd name="connsiteY6" fmla="*/ 14288 h 20955"/>
                <a:gd name="connsiteX7" fmla="*/ 45720 w 88582"/>
                <a:gd name="connsiteY7" fmla="*/ 14288 h 20955"/>
                <a:gd name="connsiteX8" fmla="*/ 28575 w 88582"/>
                <a:gd name="connsiteY8" fmla="*/ 14288 h 20955"/>
                <a:gd name="connsiteX9" fmla="*/ 10478 w 88582"/>
                <a:gd name="connsiteY9" fmla="*/ 20955 h 20955"/>
                <a:gd name="connsiteX10" fmla="*/ 0 w 88582"/>
                <a:gd name="connsiteY10" fmla="*/ 18002 h 20955"/>
                <a:gd name="connsiteX11" fmla="*/ 7620 w 88582"/>
                <a:gd name="connsiteY11" fmla="*/ 0 h 20955"/>
                <a:gd name="connsiteX12" fmla="*/ 14288 w 88582"/>
                <a:gd name="connsiteY12" fmla="*/ 0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8582" h="20955">
                  <a:moveTo>
                    <a:pt x="14288" y="0"/>
                  </a:moveTo>
                  <a:lnTo>
                    <a:pt x="35243" y="0"/>
                  </a:lnTo>
                  <a:lnTo>
                    <a:pt x="56197" y="3715"/>
                  </a:lnTo>
                  <a:lnTo>
                    <a:pt x="74295" y="6668"/>
                  </a:lnTo>
                  <a:lnTo>
                    <a:pt x="88582" y="10478"/>
                  </a:lnTo>
                  <a:lnTo>
                    <a:pt x="80963" y="14288"/>
                  </a:lnTo>
                  <a:lnTo>
                    <a:pt x="60007" y="14288"/>
                  </a:lnTo>
                  <a:lnTo>
                    <a:pt x="45720" y="14288"/>
                  </a:lnTo>
                  <a:lnTo>
                    <a:pt x="28575" y="14288"/>
                  </a:lnTo>
                  <a:lnTo>
                    <a:pt x="10478" y="20955"/>
                  </a:lnTo>
                  <a:lnTo>
                    <a:pt x="0" y="18002"/>
                  </a:lnTo>
                  <a:lnTo>
                    <a:pt x="7620" y="0"/>
                  </a:lnTo>
                  <a:lnTo>
                    <a:pt x="1428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36" name="Freeform: Shape 2735">
              <a:extLst>
                <a:ext uri="{FF2B5EF4-FFF2-40B4-BE49-F238E27FC236}">
                  <a16:creationId xmlns:a16="http://schemas.microsoft.com/office/drawing/2014/main" id="{3E2BC1DD-3156-0883-ED52-9528481C1F75}"/>
                </a:ext>
              </a:extLst>
            </p:cNvPr>
            <p:cNvSpPr/>
            <p:nvPr/>
          </p:nvSpPr>
          <p:spPr>
            <a:xfrm>
              <a:off x="5533525" y="4167444"/>
              <a:ext cx="86836" cy="20542"/>
            </a:xfrm>
            <a:custGeom>
              <a:avLst/>
              <a:gdLst>
                <a:gd name="connsiteX0" fmla="*/ 14288 w 88582"/>
                <a:gd name="connsiteY0" fmla="*/ 0 h 20955"/>
                <a:gd name="connsiteX1" fmla="*/ 35243 w 88582"/>
                <a:gd name="connsiteY1" fmla="*/ 0 h 20955"/>
                <a:gd name="connsiteX2" fmla="*/ 56197 w 88582"/>
                <a:gd name="connsiteY2" fmla="*/ 3715 h 20955"/>
                <a:gd name="connsiteX3" fmla="*/ 74295 w 88582"/>
                <a:gd name="connsiteY3" fmla="*/ 6668 h 20955"/>
                <a:gd name="connsiteX4" fmla="*/ 88582 w 88582"/>
                <a:gd name="connsiteY4" fmla="*/ 10478 h 20955"/>
                <a:gd name="connsiteX5" fmla="*/ 80963 w 88582"/>
                <a:gd name="connsiteY5" fmla="*/ 14288 h 20955"/>
                <a:gd name="connsiteX6" fmla="*/ 60007 w 88582"/>
                <a:gd name="connsiteY6" fmla="*/ 14288 h 20955"/>
                <a:gd name="connsiteX7" fmla="*/ 45720 w 88582"/>
                <a:gd name="connsiteY7" fmla="*/ 14288 h 20955"/>
                <a:gd name="connsiteX8" fmla="*/ 28575 w 88582"/>
                <a:gd name="connsiteY8" fmla="*/ 14288 h 20955"/>
                <a:gd name="connsiteX9" fmla="*/ 10478 w 88582"/>
                <a:gd name="connsiteY9" fmla="*/ 20955 h 20955"/>
                <a:gd name="connsiteX10" fmla="*/ 0 w 88582"/>
                <a:gd name="connsiteY10" fmla="*/ 18002 h 20955"/>
                <a:gd name="connsiteX11" fmla="*/ 7620 w 88582"/>
                <a:gd name="connsiteY11" fmla="*/ 0 h 20955"/>
                <a:gd name="connsiteX12" fmla="*/ 14288 w 88582"/>
                <a:gd name="connsiteY12" fmla="*/ 0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8582" h="20955">
                  <a:moveTo>
                    <a:pt x="14288" y="0"/>
                  </a:moveTo>
                  <a:lnTo>
                    <a:pt x="35243" y="0"/>
                  </a:lnTo>
                  <a:lnTo>
                    <a:pt x="56197" y="3715"/>
                  </a:lnTo>
                  <a:lnTo>
                    <a:pt x="74295" y="6668"/>
                  </a:lnTo>
                  <a:lnTo>
                    <a:pt x="88582" y="10478"/>
                  </a:lnTo>
                  <a:lnTo>
                    <a:pt x="80963" y="14288"/>
                  </a:lnTo>
                  <a:lnTo>
                    <a:pt x="60007" y="14288"/>
                  </a:lnTo>
                  <a:lnTo>
                    <a:pt x="45720" y="14288"/>
                  </a:lnTo>
                  <a:lnTo>
                    <a:pt x="28575" y="14288"/>
                  </a:lnTo>
                  <a:lnTo>
                    <a:pt x="10478" y="20955"/>
                  </a:lnTo>
                  <a:lnTo>
                    <a:pt x="0" y="18002"/>
                  </a:lnTo>
                  <a:lnTo>
                    <a:pt x="7620" y="0"/>
                  </a:lnTo>
                  <a:lnTo>
                    <a:pt x="1428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37" name="Freeform: Shape 2736">
              <a:extLst>
                <a:ext uri="{FF2B5EF4-FFF2-40B4-BE49-F238E27FC236}">
                  <a16:creationId xmlns:a16="http://schemas.microsoft.com/office/drawing/2014/main" id="{BE9E1B2A-F312-80CB-DEFB-8A31ABAC5E92}"/>
                </a:ext>
              </a:extLst>
            </p:cNvPr>
            <p:cNvSpPr/>
            <p:nvPr/>
          </p:nvSpPr>
          <p:spPr>
            <a:xfrm>
              <a:off x="5533525" y="4167444"/>
              <a:ext cx="86836" cy="20542"/>
            </a:xfrm>
            <a:custGeom>
              <a:avLst/>
              <a:gdLst>
                <a:gd name="connsiteX0" fmla="*/ 14288 w 88582"/>
                <a:gd name="connsiteY0" fmla="*/ 0 h 20955"/>
                <a:gd name="connsiteX1" fmla="*/ 35243 w 88582"/>
                <a:gd name="connsiteY1" fmla="*/ 0 h 20955"/>
                <a:gd name="connsiteX2" fmla="*/ 56197 w 88582"/>
                <a:gd name="connsiteY2" fmla="*/ 3715 h 20955"/>
                <a:gd name="connsiteX3" fmla="*/ 74295 w 88582"/>
                <a:gd name="connsiteY3" fmla="*/ 6668 h 20955"/>
                <a:gd name="connsiteX4" fmla="*/ 88582 w 88582"/>
                <a:gd name="connsiteY4" fmla="*/ 10478 h 20955"/>
                <a:gd name="connsiteX5" fmla="*/ 80963 w 88582"/>
                <a:gd name="connsiteY5" fmla="*/ 14288 h 20955"/>
                <a:gd name="connsiteX6" fmla="*/ 60007 w 88582"/>
                <a:gd name="connsiteY6" fmla="*/ 14288 h 20955"/>
                <a:gd name="connsiteX7" fmla="*/ 45720 w 88582"/>
                <a:gd name="connsiteY7" fmla="*/ 14288 h 20955"/>
                <a:gd name="connsiteX8" fmla="*/ 28575 w 88582"/>
                <a:gd name="connsiteY8" fmla="*/ 14288 h 20955"/>
                <a:gd name="connsiteX9" fmla="*/ 10478 w 88582"/>
                <a:gd name="connsiteY9" fmla="*/ 20955 h 20955"/>
                <a:gd name="connsiteX10" fmla="*/ 0 w 88582"/>
                <a:gd name="connsiteY10" fmla="*/ 18002 h 20955"/>
                <a:gd name="connsiteX11" fmla="*/ 7620 w 88582"/>
                <a:gd name="connsiteY11" fmla="*/ 0 h 20955"/>
                <a:gd name="connsiteX12" fmla="*/ 14288 w 88582"/>
                <a:gd name="connsiteY12" fmla="*/ 0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8582" h="20955">
                  <a:moveTo>
                    <a:pt x="14288" y="0"/>
                  </a:moveTo>
                  <a:lnTo>
                    <a:pt x="35243" y="0"/>
                  </a:lnTo>
                  <a:lnTo>
                    <a:pt x="56197" y="3715"/>
                  </a:lnTo>
                  <a:lnTo>
                    <a:pt x="74295" y="6668"/>
                  </a:lnTo>
                  <a:lnTo>
                    <a:pt x="88582" y="10478"/>
                  </a:lnTo>
                  <a:lnTo>
                    <a:pt x="80963" y="14288"/>
                  </a:lnTo>
                  <a:lnTo>
                    <a:pt x="60007" y="14288"/>
                  </a:lnTo>
                  <a:lnTo>
                    <a:pt x="45720" y="14288"/>
                  </a:lnTo>
                  <a:lnTo>
                    <a:pt x="28575" y="14288"/>
                  </a:lnTo>
                  <a:lnTo>
                    <a:pt x="10478" y="20955"/>
                  </a:lnTo>
                  <a:lnTo>
                    <a:pt x="0" y="18002"/>
                  </a:lnTo>
                  <a:lnTo>
                    <a:pt x="7620" y="0"/>
                  </a:lnTo>
                  <a:lnTo>
                    <a:pt x="1428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38" name="Freeform: Shape 2737">
              <a:extLst>
                <a:ext uri="{FF2B5EF4-FFF2-40B4-BE49-F238E27FC236}">
                  <a16:creationId xmlns:a16="http://schemas.microsoft.com/office/drawing/2014/main" id="{2FFD4E32-27FC-B376-B650-2EA21713CEA6}"/>
                </a:ext>
              </a:extLst>
            </p:cNvPr>
            <p:cNvSpPr/>
            <p:nvPr/>
          </p:nvSpPr>
          <p:spPr>
            <a:xfrm>
              <a:off x="5526990" y="4084342"/>
              <a:ext cx="158733" cy="121385"/>
            </a:xfrm>
            <a:custGeom>
              <a:avLst/>
              <a:gdLst>
                <a:gd name="connsiteX0" fmla="*/ 3810 w 161925"/>
                <a:gd name="connsiteY0" fmla="*/ 59912 h 123825"/>
                <a:gd name="connsiteX1" fmla="*/ 0 w 161925"/>
                <a:gd name="connsiteY1" fmla="*/ 49435 h 123825"/>
                <a:gd name="connsiteX2" fmla="*/ 10478 w 161925"/>
                <a:gd name="connsiteY2" fmla="*/ 35147 h 123825"/>
                <a:gd name="connsiteX3" fmla="*/ 20955 w 161925"/>
                <a:gd name="connsiteY3" fmla="*/ 20860 h 123825"/>
                <a:gd name="connsiteX4" fmla="*/ 24765 w 161925"/>
                <a:gd name="connsiteY4" fmla="*/ 3810 h 123825"/>
                <a:gd name="connsiteX5" fmla="*/ 49530 w 161925"/>
                <a:gd name="connsiteY5" fmla="*/ 0 h 123825"/>
                <a:gd name="connsiteX6" fmla="*/ 74295 w 161925"/>
                <a:gd name="connsiteY6" fmla="*/ 0 h 123825"/>
                <a:gd name="connsiteX7" fmla="*/ 95250 w 161925"/>
                <a:gd name="connsiteY7" fmla="*/ 10478 h 123825"/>
                <a:gd name="connsiteX8" fmla="*/ 109538 w 161925"/>
                <a:gd name="connsiteY8" fmla="*/ 20860 h 123825"/>
                <a:gd name="connsiteX9" fmla="*/ 122873 w 161925"/>
                <a:gd name="connsiteY9" fmla="*/ 42863 h 123825"/>
                <a:gd name="connsiteX10" fmla="*/ 140970 w 161925"/>
                <a:gd name="connsiteY10" fmla="*/ 56197 h 123825"/>
                <a:gd name="connsiteX11" fmla="*/ 143828 w 161925"/>
                <a:gd name="connsiteY11" fmla="*/ 67628 h 123825"/>
                <a:gd name="connsiteX12" fmla="*/ 147638 w 161925"/>
                <a:gd name="connsiteY12" fmla="*/ 88487 h 123825"/>
                <a:gd name="connsiteX13" fmla="*/ 158115 w 161925"/>
                <a:gd name="connsiteY13" fmla="*/ 102775 h 123825"/>
                <a:gd name="connsiteX14" fmla="*/ 161925 w 161925"/>
                <a:gd name="connsiteY14" fmla="*/ 116110 h 123825"/>
                <a:gd name="connsiteX15" fmla="*/ 161925 w 161925"/>
                <a:gd name="connsiteY15" fmla="*/ 123825 h 123825"/>
                <a:gd name="connsiteX16" fmla="*/ 122873 w 161925"/>
                <a:gd name="connsiteY16" fmla="*/ 120015 h 123825"/>
                <a:gd name="connsiteX17" fmla="*/ 112395 w 161925"/>
                <a:gd name="connsiteY17" fmla="*/ 113347 h 123825"/>
                <a:gd name="connsiteX18" fmla="*/ 101918 w 161925"/>
                <a:gd name="connsiteY18" fmla="*/ 113347 h 123825"/>
                <a:gd name="connsiteX19" fmla="*/ 87630 w 161925"/>
                <a:gd name="connsiteY19" fmla="*/ 113347 h 123825"/>
                <a:gd name="connsiteX20" fmla="*/ 66675 w 161925"/>
                <a:gd name="connsiteY20" fmla="*/ 113347 h 123825"/>
                <a:gd name="connsiteX21" fmla="*/ 56198 w 161925"/>
                <a:gd name="connsiteY21" fmla="*/ 113347 h 123825"/>
                <a:gd name="connsiteX22" fmla="*/ 49530 w 161925"/>
                <a:gd name="connsiteY22" fmla="*/ 120015 h 123825"/>
                <a:gd name="connsiteX23" fmla="*/ 17145 w 161925"/>
                <a:gd name="connsiteY23" fmla="*/ 123825 h 123825"/>
                <a:gd name="connsiteX24" fmla="*/ 17145 w 161925"/>
                <a:gd name="connsiteY24" fmla="*/ 105728 h 123825"/>
                <a:gd name="connsiteX25" fmla="*/ 35243 w 161925"/>
                <a:gd name="connsiteY25" fmla="*/ 99060 h 123825"/>
                <a:gd name="connsiteX26" fmla="*/ 52388 w 161925"/>
                <a:gd name="connsiteY26" fmla="*/ 99060 h 123825"/>
                <a:gd name="connsiteX27" fmla="*/ 66675 w 161925"/>
                <a:gd name="connsiteY27" fmla="*/ 99060 h 123825"/>
                <a:gd name="connsiteX28" fmla="*/ 87630 w 161925"/>
                <a:gd name="connsiteY28" fmla="*/ 99060 h 123825"/>
                <a:gd name="connsiteX29" fmla="*/ 95250 w 161925"/>
                <a:gd name="connsiteY29" fmla="*/ 95250 h 123825"/>
                <a:gd name="connsiteX30" fmla="*/ 70485 w 161925"/>
                <a:gd name="connsiteY30" fmla="*/ 88487 h 123825"/>
                <a:gd name="connsiteX31" fmla="*/ 62865 w 161925"/>
                <a:gd name="connsiteY31" fmla="*/ 88487 h 123825"/>
                <a:gd name="connsiteX32" fmla="*/ 39053 w 161925"/>
                <a:gd name="connsiteY32" fmla="*/ 84772 h 123825"/>
                <a:gd name="connsiteX33" fmla="*/ 20955 w 161925"/>
                <a:gd name="connsiteY33" fmla="*/ 84772 h 123825"/>
                <a:gd name="connsiteX34" fmla="*/ 14288 w 161925"/>
                <a:gd name="connsiteY34" fmla="*/ 84772 h 123825"/>
                <a:gd name="connsiteX35" fmla="*/ 6668 w 161925"/>
                <a:gd name="connsiteY35" fmla="*/ 70485 h 123825"/>
                <a:gd name="connsiteX36" fmla="*/ 3810 w 161925"/>
                <a:gd name="connsiteY36" fmla="*/ 59912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61925" h="123825">
                  <a:moveTo>
                    <a:pt x="3810" y="59912"/>
                  </a:moveTo>
                  <a:lnTo>
                    <a:pt x="0" y="49435"/>
                  </a:lnTo>
                  <a:lnTo>
                    <a:pt x="10478" y="35147"/>
                  </a:lnTo>
                  <a:lnTo>
                    <a:pt x="20955" y="20860"/>
                  </a:lnTo>
                  <a:lnTo>
                    <a:pt x="24765" y="3810"/>
                  </a:lnTo>
                  <a:lnTo>
                    <a:pt x="49530" y="0"/>
                  </a:lnTo>
                  <a:lnTo>
                    <a:pt x="74295" y="0"/>
                  </a:lnTo>
                  <a:lnTo>
                    <a:pt x="95250" y="10478"/>
                  </a:lnTo>
                  <a:lnTo>
                    <a:pt x="109538" y="20860"/>
                  </a:lnTo>
                  <a:lnTo>
                    <a:pt x="122873" y="42863"/>
                  </a:lnTo>
                  <a:lnTo>
                    <a:pt x="140970" y="56197"/>
                  </a:lnTo>
                  <a:lnTo>
                    <a:pt x="143828" y="67628"/>
                  </a:lnTo>
                  <a:lnTo>
                    <a:pt x="147638" y="88487"/>
                  </a:lnTo>
                  <a:lnTo>
                    <a:pt x="158115" y="102775"/>
                  </a:lnTo>
                  <a:lnTo>
                    <a:pt x="161925" y="116110"/>
                  </a:lnTo>
                  <a:lnTo>
                    <a:pt x="161925" y="123825"/>
                  </a:lnTo>
                  <a:lnTo>
                    <a:pt x="122873" y="120015"/>
                  </a:lnTo>
                  <a:lnTo>
                    <a:pt x="112395" y="113347"/>
                  </a:lnTo>
                  <a:lnTo>
                    <a:pt x="101918" y="113347"/>
                  </a:lnTo>
                  <a:lnTo>
                    <a:pt x="87630" y="113347"/>
                  </a:lnTo>
                  <a:lnTo>
                    <a:pt x="66675" y="113347"/>
                  </a:lnTo>
                  <a:lnTo>
                    <a:pt x="56198" y="113347"/>
                  </a:lnTo>
                  <a:lnTo>
                    <a:pt x="49530" y="120015"/>
                  </a:lnTo>
                  <a:lnTo>
                    <a:pt x="17145" y="123825"/>
                  </a:lnTo>
                  <a:lnTo>
                    <a:pt x="17145" y="105728"/>
                  </a:lnTo>
                  <a:lnTo>
                    <a:pt x="35243" y="99060"/>
                  </a:lnTo>
                  <a:lnTo>
                    <a:pt x="52388" y="99060"/>
                  </a:lnTo>
                  <a:lnTo>
                    <a:pt x="66675" y="99060"/>
                  </a:lnTo>
                  <a:lnTo>
                    <a:pt x="87630" y="99060"/>
                  </a:lnTo>
                  <a:lnTo>
                    <a:pt x="95250" y="95250"/>
                  </a:lnTo>
                  <a:lnTo>
                    <a:pt x="70485" y="88487"/>
                  </a:lnTo>
                  <a:lnTo>
                    <a:pt x="62865" y="88487"/>
                  </a:lnTo>
                  <a:lnTo>
                    <a:pt x="39053" y="84772"/>
                  </a:lnTo>
                  <a:lnTo>
                    <a:pt x="20955" y="84772"/>
                  </a:lnTo>
                  <a:lnTo>
                    <a:pt x="14288" y="84772"/>
                  </a:lnTo>
                  <a:lnTo>
                    <a:pt x="6668" y="70485"/>
                  </a:lnTo>
                  <a:lnTo>
                    <a:pt x="3810" y="5991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39" name="Freeform: Shape 2738">
              <a:extLst>
                <a:ext uri="{FF2B5EF4-FFF2-40B4-BE49-F238E27FC236}">
                  <a16:creationId xmlns:a16="http://schemas.microsoft.com/office/drawing/2014/main" id="{DA235261-FC3A-F483-2DE0-4E5E076A9386}"/>
                </a:ext>
              </a:extLst>
            </p:cNvPr>
            <p:cNvSpPr/>
            <p:nvPr/>
          </p:nvSpPr>
          <p:spPr>
            <a:xfrm>
              <a:off x="5526990" y="4084342"/>
              <a:ext cx="158733" cy="121385"/>
            </a:xfrm>
            <a:custGeom>
              <a:avLst/>
              <a:gdLst>
                <a:gd name="connsiteX0" fmla="*/ 3810 w 161925"/>
                <a:gd name="connsiteY0" fmla="*/ 59912 h 123825"/>
                <a:gd name="connsiteX1" fmla="*/ 0 w 161925"/>
                <a:gd name="connsiteY1" fmla="*/ 49435 h 123825"/>
                <a:gd name="connsiteX2" fmla="*/ 10478 w 161925"/>
                <a:gd name="connsiteY2" fmla="*/ 35147 h 123825"/>
                <a:gd name="connsiteX3" fmla="*/ 20955 w 161925"/>
                <a:gd name="connsiteY3" fmla="*/ 20860 h 123825"/>
                <a:gd name="connsiteX4" fmla="*/ 24765 w 161925"/>
                <a:gd name="connsiteY4" fmla="*/ 3810 h 123825"/>
                <a:gd name="connsiteX5" fmla="*/ 49530 w 161925"/>
                <a:gd name="connsiteY5" fmla="*/ 0 h 123825"/>
                <a:gd name="connsiteX6" fmla="*/ 74295 w 161925"/>
                <a:gd name="connsiteY6" fmla="*/ 0 h 123825"/>
                <a:gd name="connsiteX7" fmla="*/ 95250 w 161925"/>
                <a:gd name="connsiteY7" fmla="*/ 10478 h 123825"/>
                <a:gd name="connsiteX8" fmla="*/ 109538 w 161925"/>
                <a:gd name="connsiteY8" fmla="*/ 20860 h 123825"/>
                <a:gd name="connsiteX9" fmla="*/ 122873 w 161925"/>
                <a:gd name="connsiteY9" fmla="*/ 42863 h 123825"/>
                <a:gd name="connsiteX10" fmla="*/ 140970 w 161925"/>
                <a:gd name="connsiteY10" fmla="*/ 56197 h 123825"/>
                <a:gd name="connsiteX11" fmla="*/ 143828 w 161925"/>
                <a:gd name="connsiteY11" fmla="*/ 67628 h 123825"/>
                <a:gd name="connsiteX12" fmla="*/ 147638 w 161925"/>
                <a:gd name="connsiteY12" fmla="*/ 88487 h 123825"/>
                <a:gd name="connsiteX13" fmla="*/ 158115 w 161925"/>
                <a:gd name="connsiteY13" fmla="*/ 102775 h 123825"/>
                <a:gd name="connsiteX14" fmla="*/ 161925 w 161925"/>
                <a:gd name="connsiteY14" fmla="*/ 116110 h 123825"/>
                <a:gd name="connsiteX15" fmla="*/ 161925 w 161925"/>
                <a:gd name="connsiteY15" fmla="*/ 123825 h 123825"/>
                <a:gd name="connsiteX16" fmla="*/ 122873 w 161925"/>
                <a:gd name="connsiteY16" fmla="*/ 120015 h 123825"/>
                <a:gd name="connsiteX17" fmla="*/ 112395 w 161925"/>
                <a:gd name="connsiteY17" fmla="*/ 113347 h 123825"/>
                <a:gd name="connsiteX18" fmla="*/ 101918 w 161925"/>
                <a:gd name="connsiteY18" fmla="*/ 113347 h 123825"/>
                <a:gd name="connsiteX19" fmla="*/ 87630 w 161925"/>
                <a:gd name="connsiteY19" fmla="*/ 113347 h 123825"/>
                <a:gd name="connsiteX20" fmla="*/ 66675 w 161925"/>
                <a:gd name="connsiteY20" fmla="*/ 113347 h 123825"/>
                <a:gd name="connsiteX21" fmla="*/ 56198 w 161925"/>
                <a:gd name="connsiteY21" fmla="*/ 113347 h 123825"/>
                <a:gd name="connsiteX22" fmla="*/ 49530 w 161925"/>
                <a:gd name="connsiteY22" fmla="*/ 120015 h 123825"/>
                <a:gd name="connsiteX23" fmla="*/ 17145 w 161925"/>
                <a:gd name="connsiteY23" fmla="*/ 123825 h 123825"/>
                <a:gd name="connsiteX24" fmla="*/ 17145 w 161925"/>
                <a:gd name="connsiteY24" fmla="*/ 105728 h 123825"/>
                <a:gd name="connsiteX25" fmla="*/ 35243 w 161925"/>
                <a:gd name="connsiteY25" fmla="*/ 99060 h 123825"/>
                <a:gd name="connsiteX26" fmla="*/ 52388 w 161925"/>
                <a:gd name="connsiteY26" fmla="*/ 99060 h 123825"/>
                <a:gd name="connsiteX27" fmla="*/ 66675 w 161925"/>
                <a:gd name="connsiteY27" fmla="*/ 99060 h 123825"/>
                <a:gd name="connsiteX28" fmla="*/ 87630 w 161925"/>
                <a:gd name="connsiteY28" fmla="*/ 99060 h 123825"/>
                <a:gd name="connsiteX29" fmla="*/ 95250 w 161925"/>
                <a:gd name="connsiteY29" fmla="*/ 95250 h 123825"/>
                <a:gd name="connsiteX30" fmla="*/ 70485 w 161925"/>
                <a:gd name="connsiteY30" fmla="*/ 88487 h 123825"/>
                <a:gd name="connsiteX31" fmla="*/ 62865 w 161925"/>
                <a:gd name="connsiteY31" fmla="*/ 88487 h 123825"/>
                <a:gd name="connsiteX32" fmla="*/ 39053 w 161925"/>
                <a:gd name="connsiteY32" fmla="*/ 84772 h 123825"/>
                <a:gd name="connsiteX33" fmla="*/ 20955 w 161925"/>
                <a:gd name="connsiteY33" fmla="*/ 84772 h 123825"/>
                <a:gd name="connsiteX34" fmla="*/ 14288 w 161925"/>
                <a:gd name="connsiteY34" fmla="*/ 84772 h 123825"/>
                <a:gd name="connsiteX35" fmla="*/ 6668 w 161925"/>
                <a:gd name="connsiteY35" fmla="*/ 70485 h 123825"/>
                <a:gd name="connsiteX36" fmla="*/ 3810 w 161925"/>
                <a:gd name="connsiteY36" fmla="*/ 59912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61925" h="123825">
                  <a:moveTo>
                    <a:pt x="3810" y="59912"/>
                  </a:moveTo>
                  <a:lnTo>
                    <a:pt x="0" y="49435"/>
                  </a:lnTo>
                  <a:lnTo>
                    <a:pt x="10478" y="35147"/>
                  </a:lnTo>
                  <a:lnTo>
                    <a:pt x="20955" y="20860"/>
                  </a:lnTo>
                  <a:lnTo>
                    <a:pt x="24765" y="3810"/>
                  </a:lnTo>
                  <a:lnTo>
                    <a:pt x="49530" y="0"/>
                  </a:lnTo>
                  <a:lnTo>
                    <a:pt x="74295" y="0"/>
                  </a:lnTo>
                  <a:lnTo>
                    <a:pt x="95250" y="10478"/>
                  </a:lnTo>
                  <a:lnTo>
                    <a:pt x="109538" y="20860"/>
                  </a:lnTo>
                  <a:lnTo>
                    <a:pt x="122873" y="42863"/>
                  </a:lnTo>
                  <a:lnTo>
                    <a:pt x="140970" y="56197"/>
                  </a:lnTo>
                  <a:lnTo>
                    <a:pt x="143828" y="67628"/>
                  </a:lnTo>
                  <a:lnTo>
                    <a:pt x="147638" y="88487"/>
                  </a:lnTo>
                  <a:lnTo>
                    <a:pt x="158115" y="102775"/>
                  </a:lnTo>
                  <a:lnTo>
                    <a:pt x="161925" y="116110"/>
                  </a:lnTo>
                  <a:lnTo>
                    <a:pt x="161925" y="123825"/>
                  </a:lnTo>
                  <a:lnTo>
                    <a:pt x="122873" y="120015"/>
                  </a:lnTo>
                  <a:lnTo>
                    <a:pt x="112395" y="113347"/>
                  </a:lnTo>
                  <a:lnTo>
                    <a:pt x="101918" y="113347"/>
                  </a:lnTo>
                  <a:lnTo>
                    <a:pt x="87630" y="113347"/>
                  </a:lnTo>
                  <a:lnTo>
                    <a:pt x="66675" y="113347"/>
                  </a:lnTo>
                  <a:lnTo>
                    <a:pt x="56198" y="113347"/>
                  </a:lnTo>
                  <a:lnTo>
                    <a:pt x="49530" y="120015"/>
                  </a:lnTo>
                  <a:lnTo>
                    <a:pt x="17145" y="123825"/>
                  </a:lnTo>
                  <a:lnTo>
                    <a:pt x="17145" y="105728"/>
                  </a:lnTo>
                  <a:lnTo>
                    <a:pt x="35243" y="99060"/>
                  </a:lnTo>
                  <a:lnTo>
                    <a:pt x="52388" y="99060"/>
                  </a:lnTo>
                  <a:lnTo>
                    <a:pt x="66675" y="99060"/>
                  </a:lnTo>
                  <a:lnTo>
                    <a:pt x="87630" y="99060"/>
                  </a:lnTo>
                  <a:lnTo>
                    <a:pt x="95250" y="95250"/>
                  </a:lnTo>
                  <a:lnTo>
                    <a:pt x="70485" y="88487"/>
                  </a:lnTo>
                  <a:lnTo>
                    <a:pt x="62865" y="88487"/>
                  </a:lnTo>
                  <a:lnTo>
                    <a:pt x="39053" y="84772"/>
                  </a:lnTo>
                  <a:lnTo>
                    <a:pt x="20955" y="84772"/>
                  </a:lnTo>
                  <a:lnTo>
                    <a:pt x="14288" y="84772"/>
                  </a:lnTo>
                  <a:lnTo>
                    <a:pt x="6668" y="70485"/>
                  </a:lnTo>
                  <a:lnTo>
                    <a:pt x="3810" y="5991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40" name="Freeform: Shape 2739">
              <a:extLst>
                <a:ext uri="{FF2B5EF4-FFF2-40B4-BE49-F238E27FC236}">
                  <a16:creationId xmlns:a16="http://schemas.microsoft.com/office/drawing/2014/main" id="{14400585-D430-FC83-129D-53D5F4259EFF}"/>
                </a:ext>
              </a:extLst>
            </p:cNvPr>
            <p:cNvSpPr/>
            <p:nvPr/>
          </p:nvSpPr>
          <p:spPr>
            <a:xfrm>
              <a:off x="7192754" y="3344733"/>
              <a:ext cx="89637" cy="75725"/>
            </a:xfrm>
            <a:custGeom>
              <a:avLst/>
              <a:gdLst>
                <a:gd name="connsiteX0" fmla="*/ 0 w 91439"/>
                <a:gd name="connsiteY0" fmla="*/ 10573 h 77247"/>
                <a:gd name="connsiteX1" fmla="*/ 10477 w 91439"/>
                <a:gd name="connsiteY1" fmla="*/ 6763 h 77247"/>
                <a:gd name="connsiteX2" fmla="*/ 27622 w 91439"/>
                <a:gd name="connsiteY2" fmla="*/ 0 h 77247"/>
                <a:gd name="connsiteX3" fmla="*/ 41910 w 91439"/>
                <a:gd name="connsiteY3" fmla="*/ 0 h 77247"/>
                <a:gd name="connsiteX4" fmla="*/ 49530 w 91439"/>
                <a:gd name="connsiteY4" fmla="*/ 6763 h 77247"/>
                <a:gd name="connsiteX5" fmla="*/ 52388 w 91439"/>
                <a:gd name="connsiteY5" fmla="*/ 17145 h 77247"/>
                <a:gd name="connsiteX6" fmla="*/ 56197 w 91439"/>
                <a:gd name="connsiteY6" fmla="*/ 31433 h 77247"/>
                <a:gd name="connsiteX7" fmla="*/ 62865 w 91439"/>
                <a:gd name="connsiteY7" fmla="*/ 42005 h 77247"/>
                <a:gd name="connsiteX8" fmla="*/ 70485 w 91439"/>
                <a:gd name="connsiteY8" fmla="*/ 49625 h 77247"/>
                <a:gd name="connsiteX9" fmla="*/ 80963 w 91439"/>
                <a:gd name="connsiteY9" fmla="*/ 52388 h 77247"/>
                <a:gd name="connsiteX10" fmla="*/ 87630 w 91439"/>
                <a:gd name="connsiteY10" fmla="*/ 60008 h 77247"/>
                <a:gd name="connsiteX11" fmla="*/ 91440 w 91439"/>
                <a:gd name="connsiteY11" fmla="*/ 66675 h 77247"/>
                <a:gd name="connsiteX12" fmla="*/ 87630 w 91439"/>
                <a:gd name="connsiteY12" fmla="*/ 77248 h 77247"/>
                <a:gd name="connsiteX13" fmla="*/ 74295 w 91439"/>
                <a:gd name="connsiteY13" fmla="*/ 74295 h 77247"/>
                <a:gd name="connsiteX14" fmla="*/ 70485 w 91439"/>
                <a:gd name="connsiteY14" fmla="*/ 60008 h 77247"/>
                <a:gd name="connsiteX15" fmla="*/ 60007 w 91439"/>
                <a:gd name="connsiteY15" fmla="*/ 56293 h 77247"/>
                <a:gd name="connsiteX16" fmla="*/ 49530 w 91439"/>
                <a:gd name="connsiteY16" fmla="*/ 49625 h 77247"/>
                <a:gd name="connsiteX17" fmla="*/ 35243 w 91439"/>
                <a:gd name="connsiteY17" fmla="*/ 49625 h 77247"/>
                <a:gd name="connsiteX18" fmla="*/ 31432 w 91439"/>
                <a:gd name="connsiteY18" fmla="*/ 56293 h 77247"/>
                <a:gd name="connsiteX19" fmla="*/ 20955 w 91439"/>
                <a:gd name="connsiteY19" fmla="*/ 49625 h 77247"/>
                <a:gd name="connsiteX20" fmla="*/ 0 w 91439"/>
                <a:gd name="connsiteY20" fmla="*/ 49625 h 77247"/>
                <a:gd name="connsiteX21" fmla="*/ 0 w 91439"/>
                <a:gd name="connsiteY21" fmla="*/ 28575 h 77247"/>
                <a:gd name="connsiteX22" fmla="*/ 0 w 91439"/>
                <a:gd name="connsiteY22" fmla="*/ 10573 h 7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1439" h="77247">
                  <a:moveTo>
                    <a:pt x="0" y="10573"/>
                  </a:moveTo>
                  <a:lnTo>
                    <a:pt x="10477" y="6763"/>
                  </a:lnTo>
                  <a:lnTo>
                    <a:pt x="27622" y="0"/>
                  </a:lnTo>
                  <a:lnTo>
                    <a:pt x="41910" y="0"/>
                  </a:lnTo>
                  <a:lnTo>
                    <a:pt x="49530" y="6763"/>
                  </a:lnTo>
                  <a:lnTo>
                    <a:pt x="52388" y="17145"/>
                  </a:lnTo>
                  <a:lnTo>
                    <a:pt x="56197" y="31433"/>
                  </a:lnTo>
                  <a:lnTo>
                    <a:pt x="62865" y="42005"/>
                  </a:lnTo>
                  <a:lnTo>
                    <a:pt x="70485" y="49625"/>
                  </a:lnTo>
                  <a:lnTo>
                    <a:pt x="80963" y="52388"/>
                  </a:lnTo>
                  <a:lnTo>
                    <a:pt x="87630" y="60008"/>
                  </a:lnTo>
                  <a:lnTo>
                    <a:pt x="91440" y="66675"/>
                  </a:lnTo>
                  <a:lnTo>
                    <a:pt x="87630" y="77248"/>
                  </a:lnTo>
                  <a:lnTo>
                    <a:pt x="74295" y="74295"/>
                  </a:lnTo>
                  <a:lnTo>
                    <a:pt x="70485" y="60008"/>
                  </a:lnTo>
                  <a:lnTo>
                    <a:pt x="60007" y="56293"/>
                  </a:lnTo>
                  <a:lnTo>
                    <a:pt x="49530" y="49625"/>
                  </a:lnTo>
                  <a:lnTo>
                    <a:pt x="35243" y="49625"/>
                  </a:lnTo>
                  <a:lnTo>
                    <a:pt x="31432" y="56293"/>
                  </a:lnTo>
                  <a:lnTo>
                    <a:pt x="20955" y="49625"/>
                  </a:lnTo>
                  <a:lnTo>
                    <a:pt x="0" y="49625"/>
                  </a:lnTo>
                  <a:lnTo>
                    <a:pt x="0" y="28575"/>
                  </a:lnTo>
                  <a:lnTo>
                    <a:pt x="0" y="1057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41" name="Freeform: Shape 2740">
              <a:extLst>
                <a:ext uri="{FF2B5EF4-FFF2-40B4-BE49-F238E27FC236}">
                  <a16:creationId xmlns:a16="http://schemas.microsoft.com/office/drawing/2014/main" id="{BAF8789B-1772-3E4B-D7DC-76C19AC21ADD}"/>
                </a:ext>
              </a:extLst>
            </p:cNvPr>
            <p:cNvSpPr/>
            <p:nvPr/>
          </p:nvSpPr>
          <p:spPr>
            <a:xfrm>
              <a:off x="7192754" y="3344733"/>
              <a:ext cx="89637" cy="75725"/>
            </a:xfrm>
            <a:custGeom>
              <a:avLst/>
              <a:gdLst>
                <a:gd name="connsiteX0" fmla="*/ 0 w 91439"/>
                <a:gd name="connsiteY0" fmla="*/ 10573 h 77247"/>
                <a:gd name="connsiteX1" fmla="*/ 10477 w 91439"/>
                <a:gd name="connsiteY1" fmla="*/ 6763 h 77247"/>
                <a:gd name="connsiteX2" fmla="*/ 27622 w 91439"/>
                <a:gd name="connsiteY2" fmla="*/ 0 h 77247"/>
                <a:gd name="connsiteX3" fmla="*/ 41910 w 91439"/>
                <a:gd name="connsiteY3" fmla="*/ 0 h 77247"/>
                <a:gd name="connsiteX4" fmla="*/ 49530 w 91439"/>
                <a:gd name="connsiteY4" fmla="*/ 6763 h 77247"/>
                <a:gd name="connsiteX5" fmla="*/ 52388 w 91439"/>
                <a:gd name="connsiteY5" fmla="*/ 17145 h 77247"/>
                <a:gd name="connsiteX6" fmla="*/ 56197 w 91439"/>
                <a:gd name="connsiteY6" fmla="*/ 31433 h 77247"/>
                <a:gd name="connsiteX7" fmla="*/ 62865 w 91439"/>
                <a:gd name="connsiteY7" fmla="*/ 42005 h 77247"/>
                <a:gd name="connsiteX8" fmla="*/ 70485 w 91439"/>
                <a:gd name="connsiteY8" fmla="*/ 49625 h 77247"/>
                <a:gd name="connsiteX9" fmla="*/ 80963 w 91439"/>
                <a:gd name="connsiteY9" fmla="*/ 52388 h 77247"/>
                <a:gd name="connsiteX10" fmla="*/ 87630 w 91439"/>
                <a:gd name="connsiteY10" fmla="*/ 60008 h 77247"/>
                <a:gd name="connsiteX11" fmla="*/ 91440 w 91439"/>
                <a:gd name="connsiteY11" fmla="*/ 66675 h 77247"/>
                <a:gd name="connsiteX12" fmla="*/ 87630 w 91439"/>
                <a:gd name="connsiteY12" fmla="*/ 77248 h 77247"/>
                <a:gd name="connsiteX13" fmla="*/ 74295 w 91439"/>
                <a:gd name="connsiteY13" fmla="*/ 74295 h 77247"/>
                <a:gd name="connsiteX14" fmla="*/ 70485 w 91439"/>
                <a:gd name="connsiteY14" fmla="*/ 60008 h 77247"/>
                <a:gd name="connsiteX15" fmla="*/ 60007 w 91439"/>
                <a:gd name="connsiteY15" fmla="*/ 56293 h 77247"/>
                <a:gd name="connsiteX16" fmla="*/ 49530 w 91439"/>
                <a:gd name="connsiteY16" fmla="*/ 49625 h 77247"/>
                <a:gd name="connsiteX17" fmla="*/ 35243 w 91439"/>
                <a:gd name="connsiteY17" fmla="*/ 49625 h 77247"/>
                <a:gd name="connsiteX18" fmla="*/ 31432 w 91439"/>
                <a:gd name="connsiteY18" fmla="*/ 56293 h 77247"/>
                <a:gd name="connsiteX19" fmla="*/ 20955 w 91439"/>
                <a:gd name="connsiteY19" fmla="*/ 49625 h 77247"/>
                <a:gd name="connsiteX20" fmla="*/ 0 w 91439"/>
                <a:gd name="connsiteY20" fmla="*/ 49625 h 77247"/>
                <a:gd name="connsiteX21" fmla="*/ 0 w 91439"/>
                <a:gd name="connsiteY21" fmla="*/ 28575 h 77247"/>
                <a:gd name="connsiteX22" fmla="*/ 0 w 91439"/>
                <a:gd name="connsiteY22" fmla="*/ 10573 h 7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1439" h="77247">
                  <a:moveTo>
                    <a:pt x="0" y="10573"/>
                  </a:moveTo>
                  <a:lnTo>
                    <a:pt x="10477" y="6763"/>
                  </a:lnTo>
                  <a:lnTo>
                    <a:pt x="27622" y="0"/>
                  </a:lnTo>
                  <a:lnTo>
                    <a:pt x="41910" y="0"/>
                  </a:lnTo>
                  <a:lnTo>
                    <a:pt x="49530" y="6763"/>
                  </a:lnTo>
                  <a:lnTo>
                    <a:pt x="52388" y="17145"/>
                  </a:lnTo>
                  <a:lnTo>
                    <a:pt x="56197" y="31433"/>
                  </a:lnTo>
                  <a:lnTo>
                    <a:pt x="62865" y="42005"/>
                  </a:lnTo>
                  <a:lnTo>
                    <a:pt x="70485" y="49625"/>
                  </a:lnTo>
                  <a:lnTo>
                    <a:pt x="80963" y="52388"/>
                  </a:lnTo>
                  <a:lnTo>
                    <a:pt x="87630" y="60008"/>
                  </a:lnTo>
                  <a:lnTo>
                    <a:pt x="91440" y="66675"/>
                  </a:lnTo>
                  <a:lnTo>
                    <a:pt x="87630" y="77248"/>
                  </a:lnTo>
                  <a:lnTo>
                    <a:pt x="74295" y="74295"/>
                  </a:lnTo>
                  <a:lnTo>
                    <a:pt x="70485" y="60008"/>
                  </a:lnTo>
                  <a:lnTo>
                    <a:pt x="60007" y="56293"/>
                  </a:lnTo>
                  <a:lnTo>
                    <a:pt x="49530" y="49625"/>
                  </a:lnTo>
                  <a:lnTo>
                    <a:pt x="35243" y="49625"/>
                  </a:lnTo>
                  <a:lnTo>
                    <a:pt x="31432" y="56293"/>
                  </a:lnTo>
                  <a:lnTo>
                    <a:pt x="20955" y="49625"/>
                  </a:lnTo>
                  <a:lnTo>
                    <a:pt x="0" y="49625"/>
                  </a:lnTo>
                  <a:lnTo>
                    <a:pt x="0" y="28575"/>
                  </a:lnTo>
                  <a:lnTo>
                    <a:pt x="0" y="1057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42" name="Freeform: Shape 2741">
              <a:extLst>
                <a:ext uri="{FF2B5EF4-FFF2-40B4-BE49-F238E27FC236}">
                  <a16:creationId xmlns:a16="http://schemas.microsoft.com/office/drawing/2014/main" id="{FC78B2A9-7332-3F64-617D-C04455A02BEC}"/>
                </a:ext>
              </a:extLst>
            </p:cNvPr>
            <p:cNvSpPr/>
            <p:nvPr/>
          </p:nvSpPr>
          <p:spPr>
            <a:xfrm>
              <a:off x="7233838" y="3324191"/>
              <a:ext cx="145661" cy="113914"/>
            </a:xfrm>
            <a:custGeom>
              <a:avLst/>
              <a:gdLst>
                <a:gd name="connsiteX0" fmla="*/ 35243 w 148590"/>
                <a:gd name="connsiteY0" fmla="*/ 0 h 116204"/>
                <a:gd name="connsiteX1" fmla="*/ 45720 w 148590"/>
                <a:gd name="connsiteY1" fmla="*/ 2953 h 116204"/>
                <a:gd name="connsiteX2" fmla="*/ 56198 w 148590"/>
                <a:gd name="connsiteY2" fmla="*/ 14288 h 116204"/>
                <a:gd name="connsiteX3" fmla="*/ 74295 w 148590"/>
                <a:gd name="connsiteY3" fmla="*/ 24860 h 116204"/>
                <a:gd name="connsiteX4" fmla="*/ 80963 w 148590"/>
                <a:gd name="connsiteY4" fmla="*/ 20955 h 116204"/>
                <a:gd name="connsiteX5" fmla="*/ 91440 w 148590"/>
                <a:gd name="connsiteY5" fmla="*/ 10573 h 116204"/>
                <a:gd name="connsiteX6" fmla="*/ 99060 w 148590"/>
                <a:gd name="connsiteY6" fmla="*/ 2953 h 116204"/>
                <a:gd name="connsiteX7" fmla="*/ 105728 w 148590"/>
                <a:gd name="connsiteY7" fmla="*/ 14288 h 116204"/>
                <a:gd name="connsiteX8" fmla="*/ 116205 w 148590"/>
                <a:gd name="connsiteY8" fmla="*/ 35242 h 116204"/>
                <a:gd name="connsiteX9" fmla="*/ 123825 w 148590"/>
                <a:gd name="connsiteY9" fmla="*/ 42005 h 116204"/>
                <a:gd name="connsiteX10" fmla="*/ 140970 w 148590"/>
                <a:gd name="connsiteY10" fmla="*/ 49530 h 116204"/>
                <a:gd name="connsiteX11" fmla="*/ 148590 w 148590"/>
                <a:gd name="connsiteY11" fmla="*/ 52388 h 116204"/>
                <a:gd name="connsiteX12" fmla="*/ 148590 w 148590"/>
                <a:gd name="connsiteY12" fmla="*/ 62960 h 116204"/>
                <a:gd name="connsiteX13" fmla="*/ 126683 w 148590"/>
                <a:gd name="connsiteY13" fmla="*/ 62960 h 116204"/>
                <a:gd name="connsiteX14" fmla="*/ 120015 w 148590"/>
                <a:gd name="connsiteY14" fmla="*/ 66675 h 116204"/>
                <a:gd name="connsiteX15" fmla="*/ 116205 w 148590"/>
                <a:gd name="connsiteY15" fmla="*/ 77248 h 116204"/>
                <a:gd name="connsiteX16" fmla="*/ 120015 w 148590"/>
                <a:gd name="connsiteY16" fmla="*/ 84868 h 116204"/>
                <a:gd name="connsiteX17" fmla="*/ 120015 w 148590"/>
                <a:gd name="connsiteY17" fmla="*/ 87630 h 116204"/>
                <a:gd name="connsiteX18" fmla="*/ 120015 w 148590"/>
                <a:gd name="connsiteY18" fmla="*/ 91535 h 116204"/>
                <a:gd name="connsiteX19" fmla="*/ 120015 w 148590"/>
                <a:gd name="connsiteY19" fmla="*/ 95250 h 116204"/>
                <a:gd name="connsiteX20" fmla="*/ 105728 w 148590"/>
                <a:gd name="connsiteY20" fmla="*/ 95250 h 116204"/>
                <a:gd name="connsiteX21" fmla="*/ 105728 w 148590"/>
                <a:gd name="connsiteY21" fmla="*/ 101917 h 116204"/>
                <a:gd name="connsiteX22" fmla="*/ 105728 w 148590"/>
                <a:gd name="connsiteY22" fmla="*/ 108680 h 116204"/>
                <a:gd name="connsiteX23" fmla="*/ 105728 w 148590"/>
                <a:gd name="connsiteY23" fmla="*/ 116205 h 116204"/>
                <a:gd name="connsiteX24" fmla="*/ 91440 w 148590"/>
                <a:gd name="connsiteY24" fmla="*/ 116205 h 116204"/>
                <a:gd name="connsiteX25" fmla="*/ 80963 w 148590"/>
                <a:gd name="connsiteY25" fmla="*/ 108680 h 116204"/>
                <a:gd name="connsiteX26" fmla="*/ 91440 w 148590"/>
                <a:gd name="connsiteY26" fmla="*/ 101917 h 116204"/>
                <a:gd name="connsiteX27" fmla="*/ 84773 w 148590"/>
                <a:gd name="connsiteY27" fmla="*/ 91535 h 116204"/>
                <a:gd name="connsiteX28" fmla="*/ 84773 w 148590"/>
                <a:gd name="connsiteY28" fmla="*/ 77248 h 116204"/>
                <a:gd name="connsiteX29" fmla="*/ 78105 w 148590"/>
                <a:gd name="connsiteY29" fmla="*/ 73342 h 116204"/>
                <a:gd name="connsiteX30" fmla="*/ 74295 w 148590"/>
                <a:gd name="connsiteY30" fmla="*/ 77248 h 116204"/>
                <a:gd name="connsiteX31" fmla="*/ 67628 w 148590"/>
                <a:gd name="connsiteY31" fmla="*/ 84868 h 116204"/>
                <a:gd name="connsiteX32" fmla="*/ 56198 w 148590"/>
                <a:gd name="connsiteY32" fmla="*/ 91535 h 116204"/>
                <a:gd name="connsiteX33" fmla="*/ 45720 w 148590"/>
                <a:gd name="connsiteY33" fmla="*/ 98203 h 116204"/>
                <a:gd name="connsiteX34" fmla="*/ 49530 w 148590"/>
                <a:gd name="connsiteY34" fmla="*/ 87630 h 116204"/>
                <a:gd name="connsiteX35" fmla="*/ 45720 w 148590"/>
                <a:gd name="connsiteY35" fmla="*/ 80963 h 116204"/>
                <a:gd name="connsiteX36" fmla="*/ 20955 w 148590"/>
                <a:gd name="connsiteY36" fmla="*/ 62960 h 116204"/>
                <a:gd name="connsiteX37" fmla="*/ 10478 w 148590"/>
                <a:gd name="connsiteY37" fmla="*/ 35242 h 116204"/>
                <a:gd name="connsiteX38" fmla="*/ 7620 w 148590"/>
                <a:gd name="connsiteY38" fmla="*/ 27718 h 116204"/>
                <a:gd name="connsiteX39" fmla="*/ 0 w 148590"/>
                <a:gd name="connsiteY39" fmla="*/ 20955 h 116204"/>
                <a:gd name="connsiteX40" fmla="*/ 10478 w 148590"/>
                <a:gd name="connsiteY40" fmla="*/ 14288 h 116204"/>
                <a:gd name="connsiteX41" fmla="*/ 20955 w 148590"/>
                <a:gd name="connsiteY41" fmla="*/ 20955 h 116204"/>
                <a:gd name="connsiteX42" fmla="*/ 32385 w 148590"/>
                <a:gd name="connsiteY42" fmla="*/ 31528 h 116204"/>
                <a:gd name="connsiteX43" fmla="*/ 42863 w 148590"/>
                <a:gd name="connsiteY43" fmla="*/ 31528 h 116204"/>
                <a:gd name="connsiteX44" fmla="*/ 45720 w 148590"/>
                <a:gd name="connsiteY44" fmla="*/ 24860 h 116204"/>
                <a:gd name="connsiteX45" fmla="*/ 39053 w 148590"/>
                <a:gd name="connsiteY45" fmla="*/ 14288 h 116204"/>
                <a:gd name="connsiteX46" fmla="*/ 28575 w 148590"/>
                <a:gd name="connsiteY46" fmla="*/ 2953 h 116204"/>
                <a:gd name="connsiteX47" fmla="*/ 35243 w 148590"/>
                <a:gd name="connsiteY47" fmla="*/ 0 h 116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48590" h="116204">
                  <a:moveTo>
                    <a:pt x="35243" y="0"/>
                  </a:moveTo>
                  <a:lnTo>
                    <a:pt x="45720" y="2953"/>
                  </a:lnTo>
                  <a:lnTo>
                    <a:pt x="56198" y="14288"/>
                  </a:lnTo>
                  <a:lnTo>
                    <a:pt x="74295" y="24860"/>
                  </a:lnTo>
                  <a:lnTo>
                    <a:pt x="80963" y="20955"/>
                  </a:lnTo>
                  <a:lnTo>
                    <a:pt x="91440" y="10573"/>
                  </a:lnTo>
                  <a:lnTo>
                    <a:pt x="99060" y="2953"/>
                  </a:lnTo>
                  <a:lnTo>
                    <a:pt x="105728" y="14288"/>
                  </a:lnTo>
                  <a:lnTo>
                    <a:pt x="116205" y="35242"/>
                  </a:lnTo>
                  <a:lnTo>
                    <a:pt x="123825" y="42005"/>
                  </a:lnTo>
                  <a:lnTo>
                    <a:pt x="140970" y="49530"/>
                  </a:lnTo>
                  <a:lnTo>
                    <a:pt x="148590" y="52388"/>
                  </a:lnTo>
                  <a:lnTo>
                    <a:pt x="148590" y="62960"/>
                  </a:lnTo>
                  <a:lnTo>
                    <a:pt x="126683" y="62960"/>
                  </a:lnTo>
                  <a:lnTo>
                    <a:pt x="120015" y="66675"/>
                  </a:lnTo>
                  <a:lnTo>
                    <a:pt x="116205" y="77248"/>
                  </a:lnTo>
                  <a:lnTo>
                    <a:pt x="120015" y="84868"/>
                  </a:lnTo>
                  <a:lnTo>
                    <a:pt x="120015" y="87630"/>
                  </a:lnTo>
                  <a:lnTo>
                    <a:pt x="120015" y="91535"/>
                  </a:lnTo>
                  <a:lnTo>
                    <a:pt x="120015" y="95250"/>
                  </a:lnTo>
                  <a:lnTo>
                    <a:pt x="105728" y="95250"/>
                  </a:lnTo>
                  <a:lnTo>
                    <a:pt x="105728" y="101917"/>
                  </a:lnTo>
                  <a:lnTo>
                    <a:pt x="105728" y="108680"/>
                  </a:lnTo>
                  <a:lnTo>
                    <a:pt x="105728" y="116205"/>
                  </a:lnTo>
                  <a:lnTo>
                    <a:pt x="91440" y="116205"/>
                  </a:lnTo>
                  <a:lnTo>
                    <a:pt x="80963" y="108680"/>
                  </a:lnTo>
                  <a:lnTo>
                    <a:pt x="91440" y="101917"/>
                  </a:lnTo>
                  <a:lnTo>
                    <a:pt x="84773" y="91535"/>
                  </a:lnTo>
                  <a:lnTo>
                    <a:pt x="84773" y="77248"/>
                  </a:lnTo>
                  <a:lnTo>
                    <a:pt x="78105" y="73342"/>
                  </a:lnTo>
                  <a:lnTo>
                    <a:pt x="74295" y="77248"/>
                  </a:lnTo>
                  <a:lnTo>
                    <a:pt x="67628" y="84868"/>
                  </a:lnTo>
                  <a:lnTo>
                    <a:pt x="56198" y="91535"/>
                  </a:lnTo>
                  <a:lnTo>
                    <a:pt x="45720" y="98203"/>
                  </a:lnTo>
                  <a:lnTo>
                    <a:pt x="49530" y="87630"/>
                  </a:lnTo>
                  <a:lnTo>
                    <a:pt x="45720" y="80963"/>
                  </a:lnTo>
                  <a:lnTo>
                    <a:pt x="20955" y="62960"/>
                  </a:lnTo>
                  <a:lnTo>
                    <a:pt x="10478" y="35242"/>
                  </a:lnTo>
                  <a:lnTo>
                    <a:pt x="7620" y="27718"/>
                  </a:lnTo>
                  <a:lnTo>
                    <a:pt x="0" y="20955"/>
                  </a:lnTo>
                  <a:lnTo>
                    <a:pt x="10478" y="14288"/>
                  </a:lnTo>
                  <a:lnTo>
                    <a:pt x="20955" y="20955"/>
                  </a:lnTo>
                  <a:lnTo>
                    <a:pt x="32385" y="31528"/>
                  </a:lnTo>
                  <a:lnTo>
                    <a:pt x="42863" y="31528"/>
                  </a:lnTo>
                  <a:lnTo>
                    <a:pt x="45720" y="24860"/>
                  </a:lnTo>
                  <a:lnTo>
                    <a:pt x="39053" y="14288"/>
                  </a:lnTo>
                  <a:lnTo>
                    <a:pt x="28575" y="2953"/>
                  </a:lnTo>
                  <a:lnTo>
                    <a:pt x="35243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43" name="Freeform: Shape 2742">
              <a:extLst>
                <a:ext uri="{FF2B5EF4-FFF2-40B4-BE49-F238E27FC236}">
                  <a16:creationId xmlns:a16="http://schemas.microsoft.com/office/drawing/2014/main" id="{B29BA9D9-829E-FF9E-D7B4-E072E2A5DBCC}"/>
                </a:ext>
              </a:extLst>
            </p:cNvPr>
            <p:cNvSpPr/>
            <p:nvPr/>
          </p:nvSpPr>
          <p:spPr>
            <a:xfrm>
              <a:off x="7233838" y="3324191"/>
              <a:ext cx="145661" cy="113914"/>
            </a:xfrm>
            <a:custGeom>
              <a:avLst/>
              <a:gdLst>
                <a:gd name="connsiteX0" fmla="*/ 35243 w 148590"/>
                <a:gd name="connsiteY0" fmla="*/ 0 h 116204"/>
                <a:gd name="connsiteX1" fmla="*/ 45720 w 148590"/>
                <a:gd name="connsiteY1" fmla="*/ 2953 h 116204"/>
                <a:gd name="connsiteX2" fmla="*/ 56198 w 148590"/>
                <a:gd name="connsiteY2" fmla="*/ 14288 h 116204"/>
                <a:gd name="connsiteX3" fmla="*/ 74295 w 148590"/>
                <a:gd name="connsiteY3" fmla="*/ 24860 h 116204"/>
                <a:gd name="connsiteX4" fmla="*/ 80963 w 148590"/>
                <a:gd name="connsiteY4" fmla="*/ 20955 h 116204"/>
                <a:gd name="connsiteX5" fmla="*/ 91440 w 148590"/>
                <a:gd name="connsiteY5" fmla="*/ 10573 h 116204"/>
                <a:gd name="connsiteX6" fmla="*/ 99060 w 148590"/>
                <a:gd name="connsiteY6" fmla="*/ 2953 h 116204"/>
                <a:gd name="connsiteX7" fmla="*/ 105728 w 148590"/>
                <a:gd name="connsiteY7" fmla="*/ 14288 h 116204"/>
                <a:gd name="connsiteX8" fmla="*/ 116205 w 148590"/>
                <a:gd name="connsiteY8" fmla="*/ 35242 h 116204"/>
                <a:gd name="connsiteX9" fmla="*/ 123825 w 148590"/>
                <a:gd name="connsiteY9" fmla="*/ 42005 h 116204"/>
                <a:gd name="connsiteX10" fmla="*/ 140970 w 148590"/>
                <a:gd name="connsiteY10" fmla="*/ 49530 h 116204"/>
                <a:gd name="connsiteX11" fmla="*/ 148590 w 148590"/>
                <a:gd name="connsiteY11" fmla="*/ 52388 h 116204"/>
                <a:gd name="connsiteX12" fmla="*/ 148590 w 148590"/>
                <a:gd name="connsiteY12" fmla="*/ 62960 h 116204"/>
                <a:gd name="connsiteX13" fmla="*/ 126683 w 148590"/>
                <a:gd name="connsiteY13" fmla="*/ 62960 h 116204"/>
                <a:gd name="connsiteX14" fmla="*/ 120015 w 148590"/>
                <a:gd name="connsiteY14" fmla="*/ 66675 h 116204"/>
                <a:gd name="connsiteX15" fmla="*/ 116205 w 148590"/>
                <a:gd name="connsiteY15" fmla="*/ 77248 h 116204"/>
                <a:gd name="connsiteX16" fmla="*/ 120015 w 148590"/>
                <a:gd name="connsiteY16" fmla="*/ 84868 h 116204"/>
                <a:gd name="connsiteX17" fmla="*/ 120015 w 148590"/>
                <a:gd name="connsiteY17" fmla="*/ 87630 h 116204"/>
                <a:gd name="connsiteX18" fmla="*/ 120015 w 148590"/>
                <a:gd name="connsiteY18" fmla="*/ 91535 h 116204"/>
                <a:gd name="connsiteX19" fmla="*/ 120015 w 148590"/>
                <a:gd name="connsiteY19" fmla="*/ 95250 h 116204"/>
                <a:gd name="connsiteX20" fmla="*/ 105728 w 148590"/>
                <a:gd name="connsiteY20" fmla="*/ 95250 h 116204"/>
                <a:gd name="connsiteX21" fmla="*/ 105728 w 148590"/>
                <a:gd name="connsiteY21" fmla="*/ 101917 h 116204"/>
                <a:gd name="connsiteX22" fmla="*/ 105728 w 148590"/>
                <a:gd name="connsiteY22" fmla="*/ 108680 h 116204"/>
                <a:gd name="connsiteX23" fmla="*/ 105728 w 148590"/>
                <a:gd name="connsiteY23" fmla="*/ 116205 h 116204"/>
                <a:gd name="connsiteX24" fmla="*/ 91440 w 148590"/>
                <a:gd name="connsiteY24" fmla="*/ 116205 h 116204"/>
                <a:gd name="connsiteX25" fmla="*/ 80963 w 148590"/>
                <a:gd name="connsiteY25" fmla="*/ 108680 h 116204"/>
                <a:gd name="connsiteX26" fmla="*/ 91440 w 148590"/>
                <a:gd name="connsiteY26" fmla="*/ 101917 h 116204"/>
                <a:gd name="connsiteX27" fmla="*/ 84773 w 148590"/>
                <a:gd name="connsiteY27" fmla="*/ 91535 h 116204"/>
                <a:gd name="connsiteX28" fmla="*/ 84773 w 148590"/>
                <a:gd name="connsiteY28" fmla="*/ 77248 h 116204"/>
                <a:gd name="connsiteX29" fmla="*/ 78105 w 148590"/>
                <a:gd name="connsiteY29" fmla="*/ 73342 h 116204"/>
                <a:gd name="connsiteX30" fmla="*/ 74295 w 148590"/>
                <a:gd name="connsiteY30" fmla="*/ 77248 h 116204"/>
                <a:gd name="connsiteX31" fmla="*/ 67628 w 148590"/>
                <a:gd name="connsiteY31" fmla="*/ 84868 h 116204"/>
                <a:gd name="connsiteX32" fmla="*/ 56198 w 148590"/>
                <a:gd name="connsiteY32" fmla="*/ 91535 h 116204"/>
                <a:gd name="connsiteX33" fmla="*/ 45720 w 148590"/>
                <a:gd name="connsiteY33" fmla="*/ 98203 h 116204"/>
                <a:gd name="connsiteX34" fmla="*/ 49530 w 148590"/>
                <a:gd name="connsiteY34" fmla="*/ 87630 h 116204"/>
                <a:gd name="connsiteX35" fmla="*/ 45720 w 148590"/>
                <a:gd name="connsiteY35" fmla="*/ 80963 h 116204"/>
                <a:gd name="connsiteX36" fmla="*/ 20955 w 148590"/>
                <a:gd name="connsiteY36" fmla="*/ 62960 h 116204"/>
                <a:gd name="connsiteX37" fmla="*/ 10478 w 148590"/>
                <a:gd name="connsiteY37" fmla="*/ 35242 h 116204"/>
                <a:gd name="connsiteX38" fmla="*/ 7620 w 148590"/>
                <a:gd name="connsiteY38" fmla="*/ 27718 h 116204"/>
                <a:gd name="connsiteX39" fmla="*/ 0 w 148590"/>
                <a:gd name="connsiteY39" fmla="*/ 20955 h 116204"/>
                <a:gd name="connsiteX40" fmla="*/ 10478 w 148590"/>
                <a:gd name="connsiteY40" fmla="*/ 14288 h 116204"/>
                <a:gd name="connsiteX41" fmla="*/ 20955 w 148590"/>
                <a:gd name="connsiteY41" fmla="*/ 20955 h 116204"/>
                <a:gd name="connsiteX42" fmla="*/ 32385 w 148590"/>
                <a:gd name="connsiteY42" fmla="*/ 31528 h 116204"/>
                <a:gd name="connsiteX43" fmla="*/ 42863 w 148590"/>
                <a:gd name="connsiteY43" fmla="*/ 31528 h 116204"/>
                <a:gd name="connsiteX44" fmla="*/ 45720 w 148590"/>
                <a:gd name="connsiteY44" fmla="*/ 24860 h 116204"/>
                <a:gd name="connsiteX45" fmla="*/ 39053 w 148590"/>
                <a:gd name="connsiteY45" fmla="*/ 14288 h 116204"/>
                <a:gd name="connsiteX46" fmla="*/ 28575 w 148590"/>
                <a:gd name="connsiteY46" fmla="*/ 2953 h 116204"/>
                <a:gd name="connsiteX47" fmla="*/ 35243 w 148590"/>
                <a:gd name="connsiteY47" fmla="*/ 0 h 116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148590" h="116204">
                  <a:moveTo>
                    <a:pt x="35243" y="0"/>
                  </a:moveTo>
                  <a:lnTo>
                    <a:pt x="45720" y="2953"/>
                  </a:lnTo>
                  <a:lnTo>
                    <a:pt x="56198" y="14288"/>
                  </a:lnTo>
                  <a:lnTo>
                    <a:pt x="74295" y="24860"/>
                  </a:lnTo>
                  <a:lnTo>
                    <a:pt x="80963" y="20955"/>
                  </a:lnTo>
                  <a:lnTo>
                    <a:pt x="91440" y="10573"/>
                  </a:lnTo>
                  <a:lnTo>
                    <a:pt x="99060" y="2953"/>
                  </a:lnTo>
                  <a:lnTo>
                    <a:pt x="105728" y="14288"/>
                  </a:lnTo>
                  <a:lnTo>
                    <a:pt x="116205" y="35242"/>
                  </a:lnTo>
                  <a:lnTo>
                    <a:pt x="123825" y="42005"/>
                  </a:lnTo>
                  <a:lnTo>
                    <a:pt x="140970" y="49530"/>
                  </a:lnTo>
                  <a:lnTo>
                    <a:pt x="148590" y="52388"/>
                  </a:lnTo>
                  <a:lnTo>
                    <a:pt x="148590" y="62960"/>
                  </a:lnTo>
                  <a:lnTo>
                    <a:pt x="126683" y="62960"/>
                  </a:lnTo>
                  <a:lnTo>
                    <a:pt x="120015" y="66675"/>
                  </a:lnTo>
                  <a:lnTo>
                    <a:pt x="116205" y="77248"/>
                  </a:lnTo>
                  <a:lnTo>
                    <a:pt x="120015" y="84868"/>
                  </a:lnTo>
                  <a:lnTo>
                    <a:pt x="120015" y="87630"/>
                  </a:lnTo>
                  <a:lnTo>
                    <a:pt x="120015" y="91535"/>
                  </a:lnTo>
                  <a:lnTo>
                    <a:pt x="120015" y="95250"/>
                  </a:lnTo>
                  <a:lnTo>
                    <a:pt x="105728" y="95250"/>
                  </a:lnTo>
                  <a:lnTo>
                    <a:pt x="105728" y="101917"/>
                  </a:lnTo>
                  <a:lnTo>
                    <a:pt x="105728" y="108680"/>
                  </a:lnTo>
                  <a:lnTo>
                    <a:pt x="105728" y="116205"/>
                  </a:lnTo>
                  <a:lnTo>
                    <a:pt x="91440" y="116205"/>
                  </a:lnTo>
                  <a:lnTo>
                    <a:pt x="80963" y="108680"/>
                  </a:lnTo>
                  <a:lnTo>
                    <a:pt x="91440" y="101917"/>
                  </a:lnTo>
                  <a:lnTo>
                    <a:pt x="84773" y="91535"/>
                  </a:lnTo>
                  <a:lnTo>
                    <a:pt x="84773" y="77248"/>
                  </a:lnTo>
                  <a:lnTo>
                    <a:pt x="78105" y="73342"/>
                  </a:lnTo>
                  <a:lnTo>
                    <a:pt x="74295" y="77248"/>
                  </a:lnTo>
                  <a:lnTo>
                    <a:pt x="67628" y="84868"/>
                  </a:lnTo>
                  <a:lnTo>
                    <a:pt x="56198" y="91535"/>
                  </a:lnTo>
                  <a:lnTo>
                    <a:pt x="45720" y="98203"/>
                  </a:lnTo>
                  <a:lnTo>
                    <a:pt x="49530" y="87630"/>
                  </a:lnTo>
                  <a:lnTo>
                    <a:pt x="45720" y="80963"/>
                  </a:lnTo>
                  <a:lnTo>
                    <a:pt x="20955" y="62960"/>
                  </a:lnTo>
                  <a:lnTo>
                    <a:pt x="10478" y="35242"/>
                  </a:lnTo>
                  <a:lnTo>
                    <a:pt x="7620" y="27718"/>
                  </a:lnTo>
                  <a:lnTo>
                    <a:pt x="0" y="20955"/>
                  </a:lnTo>
                  <a:lnTo>
                    <a:pt x="10478" y="14288"/>
                  </a:lnTo>
                  <a:lnTo>
                    <a:pt x="20955" y="20955"/>
                  </a:lnTo>
                  <a:lnTo>
                    <a:pt x="32385" y="31528"/>
                  </a:lnTo>
                  <a:lnTo>
                    <a:pt x="42863" y="31528"/>
                  </a:lnTo>
                  <a:lnTo>
                    <a:pt x="45720" y="24860"/>
                  </a:lnTo>
                  <a:lnTo>
                    <a:pt x="39053" y="14288"/>
                  </a:lnTo>
                  <a:lnTo>
                    <a:pt x="28575" y="2953"/>
                  </a:lnTo>
                  <a:lnTo>
                    <a:pt x="35243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44" name="Freeform: Shape 2743">
              <a:extLst>
                <a:ext uri="{FF2B5EF4-FFF2-40B4-BE49-F238E27FC236}">
                  <a16:creationId xmlns:a16="http://schemas.microsoft.com/office/drawing/2014/main" id="{8B614D44-C106-473B-9ED2-92D8B7751536}"/>
                </a:ext>
              </a:extLst>
            </p:cNvPr>
            <p:cNvSpPr/>
            <p:nvPr/>
          </p:nvSpPr>
          <p:spPr>
            <a:xfrm>
              <a:off x="7092845" y="3268167"/>
              <a:ext cx="185811" cy="86930"/>
            </a:xfrm>
            <a:custGeom>
              <a:avLst/>
              <a:gdLst>
                <a:gd name="connsiteX0" fmla="*/ 0 w 189547"/>
                <a:gd name="connsiteY0" fmla="*/ 3905 h 88677"/>
                <a:gd name="connsiteX1" fmla="*/ 20955 w 189547"/>
                <a:gd name="connsiteY1" fmla="*/ 0 h 88677"/>
                <a:gd name="connsiteX2" fmla="*/ 31432 w 189547"/>
                <a:gd name="connsiteY2" fmla="*/ 7715 h 88677"/>
                <a:gd name="connsiteX3" fmla="*/ 41910 w 189547"/>
                <a:gd name="connsiteY3" fmla="*/ 14288 h 88677"/>
                <a:gd name="connsiteX4" fmla="*/ 60007 w 189547"/>
                <a:gd name="connsiteY4" fmla="*/ 11430 h 88677"/>
                <a:gd name="connsiteX5" fmla="*/ 73343 w 189547"/>
                <a:gd name="connsiteY5" fmla="*/ 11430 h 88677"/>
                <a:gd name="connsiteX6" fmla="*/ 91440 w 189547"/>
                <a:gd name="connsiteY6" fmla="*/ 22003 h 88677"/>
                <a:gd name="connsiteX7" fmla="*/ 98107 w 189547"/>
                <a:gd name="connsiteY7" fmla="*/ 24860 h 88677"/>
                <a:gd name="connsiteX8" fmla="*/ 116205 w 189547"/>
                <a:gd name="connsiteY8" fmla="*/ 32480 h 88677"/>
                <a:gd name="connsiteX9" fmla="*/ 126682 w 189547"/>
                <a:gd name="connsiteY9" fmla="*/ 32480 h 88677"/>
                <a:gd name="connsiteX10" fmla="*/ 143827 w 189547"/>
                <a:gd name="connsiteY10" fmla="*/ 28575 h 88677"/>
                <a:gd name="connsiteX11" fmla="*/ 161925 w 189547"/>
                <a:gd name="connsiteY11" fmla="*/ 39148 h 88677"/>
                <a:gd name="connsiteX12" fmla="*/ 164782 w 189547"/>
                <a:gd name="connsiteY12" fmla="*/ 42863 h 88677"/>
                <a:gd name="connsiteX13" fmla="*/ 179070 w 189547"/>
                <a:gd name="connsiteY13" fmla="*/ 57150 h 88677"/>
                <a:gd name="connsiteX14" fmla="*/ 172402 w 189547"/>
                <a:gd name="connsiteY14" fmla="*/ 60103 h 88677"/>
                <a:gd name="connsiteX15" fmla="*/ 182880 w 189547"/>
                <a:gd name="connsiteY15" fmla="*/ 71438 h 88677"/>
                <a:gd name="connsiteX16" fmla="*/ 189548 w 189547"/>
                <a:gd name="connsiteY16" fmla="*/ 82010 h 88677"/>
                <a:gd name="connsiteX17" fmla="*/ 186690 w 189547"/>
                <a:gd name="connsiteY17" fmla="*/ 88678 h 88677"/>
                <a:gd name="connsiteX18" fmla="*/ 176213 w 189547"/>
                <a:gd name="connsiteY18" fmla="*/ 88678 h 88677"/>
                <a:gd name="connsiteX19" fmla="*/ 154305 w 189547"/>
                <a:gd name="connsiteY19" fmla="*/ 71438 h 88677"/>
                <a:gd name="connsiteX20" fmla="*/ 143827 w 189547"/>
                <a:gd name="connsiteY20" fmla="*/ 78105 h 88677"/>
                <a:gd name="connsiteX21" fmla="*/ 129540 w 189547"/>
                <a:gd name="connsiteY21" fmla="*/ 78105 h 88677"/>
                <a:gd name="connsiteX22" fmla="*/ 116205 w 189547"/>
                <a:gd name="connsiteY22" fmla="*/ 82010 h 88677"/>
                <a:gd name="connsiteX23" fmla="*/ 101918 w 189547"/>
                <a:gd name="connsiteY23" fmla="*/ 88678 h 88677"/>
                <a:gd name="connsiteX24" fmla="*/ 91440 w 189547"/>
                <a:gd name="connsiteY24" fmla="*/ 82010 h 88677"/>
                <a:gd name="connsiteX25" fmla="*/ 80963 w 189547"/>
                <a:gd name="connsiteY25" fmla="*/ 71438 h 88677"/>
                <a:gd name="connsiteX26" fmla="*/ 66675 w 189547"/>
                <a:gd name="connsiteY26" fmla="*/ 67723 h 88677"/>
                <a:gd name="connsiteX27" fmla="*/ 62865 w 189547"/>
                <a:gd name="connsiteY27" fmla="*/ 78105 h 88677"/>
                <a:gd name="connsiteX28" fmla="*/ 45720 w 189547"/>
                <a:gd name="connsiteY28" fmla="*/ 71438 h 88677"/>
                <a:gd name="connsiteX29" fmla="*/ 52388 w 189547"/>
                <a:gd name="connsiteY29" fmla="*/ 57150 h 88677"/>
                <a:gd name="connsiteX30" fmla="*/ 45720 w 189547"/>
                <a:gd name="connsiteY30" fmla="*/ 39148 h 88677"/>
                <a:gd name="connsiteX31" fmla="*/ 35243 w 189547"/>
                <a:gd name="connsiteY31" fmla="*/ 24860 h 88677"/>
                <a:gd name="connsiteX32" fmla="*/ 20955 w 189547"/>
                <a:gd name="connsiteY32" fmla="*/ 18193 h 88677"/>
                <a:gd name="connsiteX33" fmla="*/ 10477 w 189547"/>
                <a:gd name="connsiteY33" fmla="*/ 11430 h 88677"/>
                <a:gd name="connsiteX34" fmla="*/ 0 w 189547"/>
                <a:gd name="connsiteY34" fmla="*/ 3905 h 8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89547" h="88677">
                  <a:moveTo>
                    <a:pt x="0" y="3905"/>
                  </a:moveTo>
                  <a:lnTo>
                    <a:pt x="20955" y="0"/>
                  </a:lnTo>
                  <a:lnTo>
                    <a:pt x="31432" y="7715"/>
                  </a:lnTo>
                  <a:lnTo>
                    <a:pt x="41910" y="14288"/>
                  </a:lnTo>
                  <a:lnTo>
                    <a:pt x="60007" y="11430"/>
                  </a:lnTo>
                  <a:lnTo>
                    <a:pt x="73343" y="11430"/>
                  </a:lnTo>
                  <a:lnTo>
                    <a:pt x="91440" y="22003"/>
                  </a:lnTo>
                  <a:lnTo>
                    <a:pt x="98107" y="24860"/>
                  </a:lnTo>
                  <a:lnTo>
                    <a:pt x="116205" y="32480"/>
                  </a:lnTo>
                  <a:lnTo>
                    <a:pt x="126682" y="32480"/>
                  </a:lnTo>
                  <a:lnTo>
                    <a:pt x="143827" y="28575"/>
                  </a:lnTo>
                  <a:lnTo>
                    <a:pt x="161925" y="39148"/>
                  </a:lnTo>
                  <a:lnTo>
                    <a:pt x="164782" y="42863"/>
                  </a:lnTo>
                  <a:lnTo>
                    <a:pt x="179070" y="57150"/>
                  </a:lnTo>
                  <a:lnTo>
                    <a:pt x="172402" y="60103"/>
                  </a:lnTo>
                  <a:lnTo>
                    <a:pt x="182880" y="71438"/>
                  </a:lnTo>
                  <a:lnTo>
                    <a:pt x="189548" y="82010"/>
                  </a:lnTo>
                  <a:lnTo>
                    <a:pt x="186690" y="88678"/>
                  </a:lnTo>
                  <a:lnTo>
                    <a:pt x="176213" y="88678"/>
                  </a:lnTo>
                  <a:lnTo>
                    <a:pt x="154305" y="71438"/>
                  </a:lnTo>
                  <a:lnTo>
                    <a:pt x="143827" y="78105"/>
                  </a:lnTo>
                  <a:lnTo>
                    <a:pt x="129540" y="78105"/>
                  </a:lnTo>
                  <a:lnTo>
                    <a:pt x="116205" y="82010"/>
                  </a:lnTo>
                  <a:lnTo>
                    <a:pt x="101918" y="88678"/>
                  </a:lnTo>
                  <a:lnTo>
                    <a:pt x="91440" y="82010"/>
                  </a:lnTo>
                  <a:lnTo>
                    <a:pt x="80963" y="71438"/>
                  </a:lnTo>
                  <a:lnTo>
                    <a:pt x="66675" y="67723"/>
                  </a:lnTo>
                  <a:lnTo>
                    <a:pt x="62865" y="78105"/>
                  </a:lnTo>
                  <a:lnTo>
                    <a:pt x="45720" y="71438"/>
                  </a:lnTo>
                  <a:lnTo>
                    <a:pt x="52388" y="57150"/>
                  </a:lnTo>
                  <a:lnTo>
                    <a:pt x="45720" y="39148"/>
                  </a:lnTo>
                  <a:lnTo>
                    <a:pt x="35243" y="24860"/>
                  </a:lnTo>
                  <a:lnTo>
                    <a:pt x="20955" y="18193"/>
                  </a:lnTo>
                  <a:lnTo>
                    <a:pt x="10477" y="11430"/>
                  </a:lnTo>
                  <a:lnTo>
                    <a:pt x="0" y="390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45" name="Freeform: Shape 2744">
              <a:extLst>
                <a:ext uri="{FF2B5EF4-FFF2-40B4-BE49-F238E27FC236}">
                  <a16:creationId xmlns:a16="http://schemas.microsoft.com/office/drawing/2014/main" id="{3C34F2A6-2C41-C373-DFA3-6A1304E69846}"/>
                </a:ext>
              </a:extLst>
            </p:cNvPr>
            <p:cNvSpPr/>
            <p:nvPr/>
          </p:nvSpPr>
          <p:spPr>
            <a:xfrm>
              <a:off x="7092845" y="3268167"/>
              <a:ext cx="185811" cy="86930"/>
            </a:xfrm>
            <a:custGeom>
              <a:avLst/>
              <a:gdLst>
                <a:gd name="connsiteX0" fmla="*/ 0 w 189547"/>
                <a:gd name="connsiteY0" fmla="*/ 3905 h 88677"/>
                <a:gd name="connsiteX1" fmla="*/ 20955 w 189547"/>
                <a:gd name="connsiteY1" fmla="*/ 0 h 88677"/>
                <a:gd name="connsiteX2" fmla="*/ 31432 w 189547"/>
                <a:gd name="connsiteY2" fmla="*/ 7715 h 88677"/>
                <a:gd name="connsiteX3" fmla="*/ 41910 w 189547"/>
                <a:gd name="connsiteY3" fmla="*/ 14288 h 88677"/>
                <a:gd name="connsiteX4" fmla="*/ 60007 w 189547"/>
                <a:gd name="connsiteY4" fmla="*/ 11430 h 88677"/>
                <a:gd name="connsiteX5" fmla="*/ 73343 w 189547"/>
                <a:gd name="connsiteY5" fmla="*/ 11430 h 88677"/>
                <a:gd name="connsiteX6" fmla="*/ 91440 w 189547"/>
                <a:gd name="connsiteY6" fmla="*/ 22003 h 88677"/>
                <a:gd name="connsiteX7" fmla="*/ 98107 w 189547"/>
                <a:gd name="connsiteY7" fmla="*/ 24860 h 88677"/>
                <a:gd name="connsiteX8" fmla="*/ 116205 w 189547"/>
                <a:gd name="connsiteY8" fmla="*/ 32480 h 88677"/>
                <a:gd name="connsiteX9" fmla="*/ 126682 w 189547"/>
                <a:gd name="connsiteY9" fmla="*/ 32480 h 88677"/>
                <a:gd name="connsiteX10" fmla="*/ 143827 w 189547"/>
                <a:gd name="connsiteY10" fmla="*/ 28575 h 88677"/>
                <a:gd name="connsiteX11" fmla="*/ 161925 w 189547"/>
                <a:gd name="connsiteY11" fmla="*/ 39148 h 88677"/>
                <a:gd name="connsiteX12" fmla="*/ 164782 w 189547"/>
                <a:gd name="connsiteY12" fmla="*/ 42863 h 88677"/>
                <a:gd name="connsiteX13" fmla="*/ 179070 w 189547"/>
                <a:gd name="connsiteY13" fmla="*/ 57150 h 88677"/>
                <a:gd name="connsiteX14" fmla="*/ 172402 w 189547"/>
                <a:gd name="connsiteY14" fmla="*/ 60103 h 88677"/>
                <a:gd name="connsiteX15" fmla="*/ 182880 w 189547"/>
                <a:gd name="connsiteY15" fmla="*/ 71438 h 88677"/>
                <a:gd name="connsiteX16" fmla="*/ 189548 w 189547"/>
                <a:gd name="connsiteY16" fmla="*/ 82010 h 88677"/>
                <a:gd name="connsiteX17" fmla="*/ 186690 w 189547"/>
                <a:gd name="connsiteY17" fmla="*/ 88678 h 88677"/>
                <a:gd name="connsiteX18" fmla="*/ 176213 w 189547"/>
                <a:gd name="connsiteY18" fmla="*/ 88678 h 88677"/>
                <a:gd name="connsiteX19" fmla="*/ 154305 w 189547"/>
                <a:gd name="connsiteY19" fmla="*/ 71438 h 88677"/>
                <a:gd name="connsiteX20" fmla="*/ 143827 w 189547"/>
                <a:gd name="connsiteY20" fmla="*/ 78105 h 88677"/>
                <a:gd name="connsiteX21" fmla="*/ 129540 w 189547"/>
                <a:gd name="connsiteY21" fmla="*/ 78105 h 88677"/>
                <a:gd name="connsiteX22" fmla="*/ 116205 w 189547"/>
                <a:gd name="connsiteY22" fmla="*/ 82010 h 88677"/>
                <a:gd name="connsiteX23" fmla="*/ 101918 w 189547"/>
                <a:gd name="connsiteY23" fmla="*/ 88678 h 88677"/>
                <a:gd name="connsiteX24" fmla="*/ 91440 w 189547"/>
                <a:gd name="connsiteY24" fmla="*/ 82010 h 88677"/>
                <a:gd name="connsiteX25" fmla="*/ 80963 w 189547"/>
                <a:gd name="connsiteY25" fmla="*/ 71438 h 88677"/>
                <a:gd name="connsiteX26" fmla="*/ 66675 w 189547"/>
                <a:gd name="connsiteY26" fmla="*/ 67723 h 88677"/>
                <a:gd name="connsiteX27" fmla="*/ 62865 w 189547"/>
                <a:gd name="connsiteY27" fmla="*/ 78105 h 88677"/>
                <a:gd name="connsiteX28" fmla="*/ 45720 w 189547"/>
                <a:gd name="connsiteY28" fmla="*/ 71438 h 88677"/>
                <a:gd name="connsiteX29" fmla="*/ 52388 w 189547"/>
                <a:gd name="connsiteY29" fmla="*/ 57150 h 88677"/>
                <a:gd name="connsiteX30" fmla="*/ 45720 w 189547"/>
                <a:gd name="connsiteY30" fmla="*/ 39148 h 88677"/>
                <a:gd name="connsiteX31" fmla="*/ 35243 w 189547"/>
                <a:gd name="connsiteY31" fmla="*/ 24860 h 88677"/>
                <a:gd name="connsiteX32" fmla="*/ 20955 w 189547"/>
                <a:gd name="connsiteY32" fmla="*/ 18193 h 88677"/>
                <a:gd name="connsiteX33" fmla="*/ 10477 w 189547"/>
                <a:gd name="connsiteY33" fmla="*/ 11430 h 88677"/>
                <a:gd name="connsiteX34" fmla="*/ 0 w 189547"/>
                <a:gd name="connsiteY34" fmla="*/ 3905 h 8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89547" h="88677">
                  <a:moveTo>
                    <a:pt x="0" y="3905"/>
                  </a:moveTo>
                  <a:lnTo>
                    <a:pt x="20955" y="0"/>
                  </a:lnTo>
                  <a:lnTo>
                    <a:pt x="31432" y="7715"/>
                  </a:lnTo>
                  <a:lnTo>
                    <a:pt x="41910" y="14288"/>
                  </a:lnTo>
                  <a:lnTo>
                    <a:pt x="60007" y="11430"/>
                  </a:lnTo>
                  <a:lnTo>
                    <a:pt x="73343" y="11430"/>
                  </a:lnTo>
                  <a:lnTo>
                    <a:pt x="91440" y="22003"/>
                  </a:lnTo>
                  <a:lnTo>
                    <a:pt x="98107" y="24860"/>
                  </a:lnTo>
                  <a:lnTo>
                    <a:pt x="116205" y="32480"/>
                  </a:lnTo>
                  <a:lnTo>
                    <a:pt x="126682" y="32480"/>
                  </a:lnTo>
                  <a:lnTo>
                    <a:pt x="143827" y="28575"/>
                  </a:lnTo>
                  <a:lnTo>
                    <a:pt x="161925" y="39148"/>
                  </a:lnTo>
                  <a:lnTo>
                    <a:pt x="164782" y="42863"/>
                  </a:lnTo>
                  <a:lnTo>
                    <a:pt x="179070" y="57150"/>
                  </a:lnTo>
                  <a:lnTo>
                    <a:pt x="172402" y="60103"/>
                  </a:lnTo>
                  <a:lnTo>
                    <a:pt x="182880" y="71438"/>
                  </a:lnTo>
                  <a:lnTo>
                    <a:pt x="189548" y="82010"/>
                  </a:lnTo>
                  <a:lnTo>
                    <a:pt x="186690" y="88678"/>
                  </a:lnTo>
                  <a:lnTo>
                    <a:pt x="176213" y="88678"/>
                  </a:lnTo>
                  <a:lnTo>
                    <a:pt x="154305" y="71438"/>
                  </a:lnTo>
                  <a:lnTo>
                    <a:pt x="143827" y="78105"/>
                  </a:lnTo>
                  <a:lnTo>
                    <a:pt x="129540" y="78105"/>
                  </a:lnTo>
                  <a:lnTo>
                    <a:pt x="116205" y="82010"/>
                  </a:lnTo>
                  <a:lnTo>
                    <a:pt x="101918" y="88678"/>
                  </a:lnTo>
                  <a:lnTo>
                    <a:pt x="91440" y="82010"/>
                  </a:lnTo>
                  <a:lnTo>
                    <a:pt x="80963" y="71438"/>
                  </a:lnTo>
                  <a:lnTo>
                    <a:pt x="66675" y="67723"/>
                  </a:lnTo>
                  <a:lnTo>
                    <a:pt x="62865" y="78105"/>
                  </a:lnTo>
                  <a:lnTo>
                    <a:pt x="45720" y="71438"/>
                  </a:lnTo>
                  <a:lnTo>
                    <a:pt x="52388" y="57150"/>
                  </a:lnTo>
                  <a:lnTo>
                    <a:pt x="45720" y="39148"/>
                  </a:lnTo>
                  <a:lnTo>
                    <a:pt x="35243" y="24860"/>
                  </a:lnTo>
                  <a:lnTo>
                    <a:pt x="20955" y="18193"/>
                  </a:lnTo>
                  <a:lnTo>
                    <a:pt x="10477" y="11430"/>
                  </a:lnTo>
                  <a:lnTo>
                    <a:pt x="0" y="390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46" name="Freeform: Shape 2745">
              <a:extLst>
                <a:ext uri="{FF2B5EF4-FFF2-40B4-BE49-F238E27FC236}">
                  <a16:creationId xmlns:a16="http://schemas.microsoft.com/office/drawing/2014/main" id="{344EC063-1288-F56D-2A25-1DDC1D37EDEE}"/>
                </a:ext>
              </a:extLst>
            </p:cNvPr>
            <p:cNvSpPr/>
            <p:nvPr/>
          </p:nvSpPr>
          <p:spPr>
            <a:xfrm>
              <a:off x="7441125" y="3300007"/>
              <a:ext cx="383760" cy="238101"/>
            </a:xfrm>
            <a:custGeom>
              <a:avLst/>
              <a:gdLst>
                <a:gd name="connsiteX0" fmla="*/ 35243 w 391477"/>
                <a:gd name="connsiteY0" fmla="*/ 182880 h 242887"/>
                <a:gd name="connsiteX1" fmla="*/ 31432 w 391477"/>
                <a:gd name="connsiteY1" fmla="*/ 140875 h 242887"/>
                <a:gd name="connsiteX2" fmla="*/ 41910 w 391477"/>
                <a:gd name="connsiteY2" fmla="*/ 126587 h 242887"/>
                <a:gd name="connsiteX3" fmla="*/ 20955 w 391477"/>
                <a:gd name="connsiteY3" fmla="*/ 98012 h 242887"/>
                <a:gd name="connsiteX4" fmla="*/ 14288 w 391477"/>
                <a:gd name="connsiteY4" fmla="*/ 87630 h 242887"/>
                <a:gd name="connsiteX5" fmla="*/ 0 w 391477"/>
                <a:gd name="connsiteY5" fmla="*/ 91345 h 242887"/>
                <a:gd name="connsiteX6" fmla="*/ 0 w 391477"/>
                <a:gd name="connsiteY6" fmla="*/ 77057 h 242887"/>
                <a:gd name="connsiteX7" fmla="*/ 10478 w 391477"/>
                <a:gd name="connsiteY7" fmla="*/ 62770 h 242887"/>
                <a:gd name="connsiteX8" fmla="*/ 20955 w 391477"/>
                <a:gd name="connsiteY8" fmla="*/ 70485 h 242887"/>
                <a:gd name="connsiteX9" fmla="*/ 49530 w 391477"/>
                <a:gd name="connsiteY9" fmla="*/ 70485 h 242887"/>
                <a:gd name="connsiteX10" fmla="*/ 60007 w 391477"/>
                <a:gd name="connsiteY10" fmla="*/ 56198 h 242887"/>
                <a:gd name="connsiteX11" fmla="*/ 45720 w 391477"/>
                <a:gd name="connsiteY11" fmla="*/ 41910 h 242887"/>
                <a:gd name="connsiteX12" fmla="*/ 35243 w 391477"/>
                <a:gd name="connsiteY12" fmla="*/ 27623 h 242887"/>
                <a:gd name="connsiteX13" fmla="*/ 24765 w 391477"/>
                <a:gd name="connsiteY13" fmla="*/ 17050 h 242887"/>
                <a:gd name="connsiteX14" fmla="*/ 7620 w 391477"/>
                <a:gd name="connsiteY14" fmla="*/ 24670 h 242887"/>
                <a:gd name="connsiteX15" fmla="*/ 3810 w 391477"/>
                <a:gd name="connsiteY15" fmla="*/ 49530 h 242887"/>
                <a:gd name="connsiteX16" fmla="*/ 0 w 391477"/>
                <a:gd name="connsiteY16" fmla="*/ 38957 h 242887"/>
                <a:gd name="connsiteX17" fmla="*/ 0 w 391477"/>
                <a:gd name="connsiteY17" fmla="*/ 20955 h 242887"/>
                <a:gd name="connsiteX18" fmla="*/ 18098 w 391477"/>
                <a:gd name="connsiteY18" fmla="*/ 10382 h 242887"/>
                <a:gd name="connsiteX19" fmla="*/ 41910 w 391477"/>
                <a:gd name="connsiteY19" fmla="*/ 6668 h 242887"/>
                <a:gd name="connsiteX20" fmla="*/ 63818 w 391477"/>
                <a:gd name="connsiteY20" fmla="*/ 20955 h 242887"/>
                <a:gd name="connsiteX21" fmla="*/ 77153 w 391477"/>
                <a:gd name="connsiteY21" fmla="*/ 45625 h 242887"/>
                <a:gd name="connsiteX22" fmla="*/ 95250 w 391477"/>
                <a:gd name="connsiteY22" fmla="*/ 49530 h 242887"/>
                <a:gd name="connsiteX23" fmla="*/ 120015 w 391477"/>
                <a:gd name="connsiteY23" fmla="*/ 45625 h 242887"/>
                <a:gd name="connsiteX24" fmla="*/ 120015 w 391477"/>
                <a:gd name="connsiteY24" fmla="*/ 24670 h 242887"/>
                <a:gd name="connsiteX25" fmla="*/ 169545 w 391477"/>
                <a:gd name="connsiteY25" fmla="*/ 0 h 242887"/>
                <a:gd name="connsiteX26" fmla="*/ 180023 w 391477"/>
                <a:gd name="connsiteY26" fmla="*/ 10382 h 242887"/>
                <a:gd name="connsiteX27" fmla="*/ 204788 w 391477"/>
                <a:gd name="connsiteY27" fmla="*/ 14288 h 242887"/>
                <a:gd name="connsiteX28" fmla="*/ 207645 w 391477"/>
                <a:gd name="connsiteY28" fmla="*/ 20955 h 242887"/>
                <a:gd name="connsiteX29" fmla="*/ 207645 w 391477"/>
                <a:gd name="connsiteY29" fmla="*/ 49530 h 242887"/>
                <a:gd name="connsiteX30" fmla="*/ 253365 w 391477"/>
                <a:gd name="connsiteY30" fmla="*/ 49530 h 242887"/>
                <a:gd name="connsiteX31" fmla="*/ 278130 w 391477"/>
                <a:gd name="connsiteY31" fmla="*/ 95250 h 242887"/>
                <a:gd name="connsiteX32" fmla="*/ 313373 w 391477"/>
                <a:gd name="connsiteY32" fmla="*/ 116205 h 242887"/>
                <a:gd name="connsiteX33" fmla="*/ 352425 w 391477"/>
                <a:gd name="connsiteY33" fmla="*/ 144780 h 242887"/>
                <a:gd name="connsiteX34" fmla="*/ 373380 w 391477"/>
                <a:gd name="connsiteY34" fmla="*/ 147638 h 242887"/>
                <a:gd name="connsiteX35" fmla="*/ 391478 w 391477"/>
                <a:gd name="connsiteY35" fmla="*/ 158020 h 242887"/>
                <a:gd name="connsiteX36" fmla="*/ 391478 w 391477"/>
                <a:gd name="connsiteY36" fmla="*/ 172307 h 242887"/>
                <a:gd name="connsiteX37" fmla="*/ 369570 w 391477"/>
                <a:gd name="connsiteY37" fmla="*/ 172307 h 242887"/>
                <a:gd name="connsiteX38" fmla="*/ 341948 w 391477"/>
                <a:gd name="connsiteY38" fmla="*/ 182880 h 242887"/>
                <a:gd name="connsiteX39" fmla="*/ 320993 w 391477"/>
                <a:gd name="connsiteY39" fmla="*/ 215170 h 242887"/>
                <a:gd name="connsiteX40" fmla="*/ 299085 w 391477"/>
                <a:gd name="connsiteY40" fmla="*/ 221837 h 242887"/>
                <a:gd name="connsiteX41" fmla="*/ 281940 w 391477"/>
                <a:gd name="connsiteY41" fmla="*/ 242888 h 242887"/>
                <a:gd name="connsiteX42" fmla="*/ 263843 w 391477"/>
                <a:gd name="connsiteY42" fmla="*/ 236125 h 242887"/>
                <a:gd name="connsiteX43" fmla="*/ 242888 w 391477"/>
                <a:gd name="connsiteY43" fmla="*/ 236125 h 242887"/>
                <a:gd name="connsiteX44" fmla="*/ 240030 w 391477"/>
                <a:gd name="connsiteY44" fmla="*/ 197168 h 242887"/>
                <a:gd name="connsiteX45" fmla="*/ 221932 w 391477"/>
                <a:gd name="connsiteY45" fmla="*/ 193262 h 242887"/>
                <a:gd name="connsiteX46" fmla="*/ 120015 w 391477"/>
                <a:gd name="connsiteY46" fmla="*/ 147638 h 242887"/>
                <a:gd name="connsiteX47" fmla="*/ 74295 w 391477"/>
                <a:gd name="connsiteY47" fmla="*/ 155162 h 242887"/>
                <a:gd name="connsiteX48" fmla="*/ 35243 w 391477"/>
                <a:gd name="connsiteY48" fmla="*/ 182880 h 242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1477" h="242887">
                  <a:moveTo>
                    <a:pt x="35243" y="182880"/>
                  </a:moveTo>
                  <a:lnTo>
                    <a:pt x="31432" y="140875"/>
                  </a:lnTo>
                  <a:lnTo>
                    <a:pt x="41910" y="126587"/>
                  </a:lnTo>
                  <a:lnTo>
                    <a:pt x="20955" y="98012"/>
                  </a:lnTo>
                  <a:lnTo>
                    <a:pt x="14288" y="87630"/>
                  </a:lnTo>
                  <a:lnTo>
                    <a:pt x="0" y="91345"/>
                  </a:lnTo>
                  <a:lnTo>
                    <a:pt x="0" y="77057"/>
                  </a:lnTo>
                  <a:lnTo>
                    <a:pt x="10478" y="62770"/>
                  </a:lnTo>
                  <a:lnTo>
                    <a:pt x="20955" y="70485"/>
                  </a:lnTo>
                  <a:lnTo>
                    <a:pt x="49530" y="70485"/>
                  </a:lnTo>
                  <a:lnTo>
                    <a:pt x="60007" y="56198"/>
                  </a:lnTo>
                  <a:lnTo>
                    <a:pt x="45720" y="41910"/>
                  </a:lnTo>
                  <a:lnTo>
                    <a:pt x="35243" y="27623"/>
                  </a:lnTo>
                  <a:lnTo>
                    <a:pt x="24765" y="17050"/>
                  </a:lnTo>
                  <a:lnTo>
                    <a:pt x="7620" y="24670"/>
                  </a:lnTo>
                  <a:lnTo>
                    <a:pt x="3810" y="49530"/>
                  </a:lnTo>
                  <a:lnTo>
                    <a:pt x="0" y="38957"/>
                  </a:lnTo>
                  <a:lnTo>
                    <a:pt x="0" y="20955"/>
                  </a:lnTo>
                  <a:lnTo>
                    <a:pt x="18098" y="10382"/>
                  </a:lnTo>
                  <a:lnTo>
                    <a:pt x="41910" y="6668"/>
                  </a:lnTo>
                  <a:lnTo>
                    <a:pt x="63818" y="20955"/>
                  </a:lnTo>
                  <a:lnTo>
                    <a:pt x="77153" y="45625"/>
                  </a:lnTo>
                  <a:lnTo>
                    <a:pt x="95250" y="49530"/>
                  </a:lnTo>
                  <a:lnTo>
                    <a:pt x="120015" y="45625"/>
                  </a:lnTo>
                  <a:lnTo>
                    <a:pt x="120015" y="24670"/>
                  </a:lnTo>
                  <a:lnTo>
                    <a:pt x="169545" y="0"/>
                  </a:lnTo>
                  <a:lnTo>
                    <a:pt x="180023" y="10382"/>
                  </a:lnTo>
                  <a:lnTo>
                    <a:pt x="204788" y="14288"/>
                  </a:lnTo>
                  <a:lnTo>
                    <a:pt x="207645" y="20955"/>
                  </a:lnTo>
                  <a:lnTo>
                    <a:pt x="207645" y="49530"/>
                  </a:lnTo>
                  <a:lnTo>
                    <a:pt x="253365" y="49530"/>
                  </a:lnTo>
                  <a:lnTo>
                    <a:pt x="278130" y="95250"/>
                  </a:lnTo>
                  <a:lnTo>
                    <a:pt x="313373" y="116205"/>
                  </a:lnTo>
                  <a:lnTo>
                    <a:pt x="352425" y="144780"/>
                  </a:lnTo>
                  <a:lnTo>
                    <a:pt x="373380" y="147638"/>
                  </a:lnTo>
                  <a:lnTo>
                    <a:pt x="391478" y="158020"/>
                  </a:lnTo>
                  <a:lnTo>
                    <a:pt x="391478" y="172307"/>
                  </a:lnTo>
                  <a:lnTo>
                    <a:pt x="369570" y="172307"/>
                  </a:lnTo>
                  <a:lnTo>
                    <a:pt x="341948" y="182880"/>
                  </a:lnTo>
                  <a:lnTo>
                    <a:pt x="320993" y="215170"/>
                  </a:lnTo>
                  <a:lnTo>
                    <a:pt x="299085" y="221837"/>
                  </a:lnTo>
                  <a:lnTo>
                    <a:pt x="281940" y="242888"/>
                  </a:lnTo>
                  <a:lnTo>
                    <a:pt x="263843" y="236125"/>
                  </a:lnTo>
                  <a:lnTo>
                    <a:pt x="242888" y="236125"/>
                  </a:lnTo>
                  <a:lnTo>
                    <a:pt x="240030" y="197168"/>
                  </a:lnTo>
                  <a:lnTo>
                    <a:pt x="221932" y="193262"/>
                  </a:lnTo>
                  <a:lnTo>
                    <a:pt x="120015" y="147638"/>
                  </a:lnTo>
                  <a:lnTo>
                    <a:pt x="74295" y="155162"/>
                  </a:lnTo>
                  <a:lnTo>
                    <a:pt x="35243" y="18288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47" name="Freeform: Shape 2746">
              <a:extLst>
                <a:ext uri="{FF2B5EF4-FFF2-40B4-BE49-F238E27FC236}">
                  <a16:creationId xmlns:a16="http://schemas.microsoft.com/office/drawing/2014/main" id="{8197B9E4-15D4-D4F2-EAB3-B1D73E09B2E2}"/>
                </a:ext>
              </a:extLst>
            </p:cNvPr>
            <p:cNvSpPr/>
            <p:nvPr/>
          </p:nvSpPr>
          <p:spPr>
            <a:xfrm>
              <a:off x="7441125" y="3300007"/>
              <a:ext cx="383760" cy="238101"/>
            </a:xfrm>
            <a:custGeom>
              <a:avLst/>
              <a:gdLst>
                <a:gd name="connsiteX0" fmla="*/ 35243 w 391477"/>
                <a:gd name="connsiteY0" fmla="*/ 182880 h 242887"/>
                <a:gd name="connsiteX1" fmla="*/ 31432 w 391477"/>
                <a:gd name="connsiteY1" fmla="*/ 140875 h 242887"/>
                <a:gd name="connsiteX2" fmla="*/ 41910 w 391477"/>
                <a:gd name="connsiteY2" fmla="*/ 126587 h 242887"/>
                <a:gd name="connsiteX3" fmla="*/ 20955 w 391477"/>
                <a:gd name="connsiteY3" fmla="*/ 98012 h 242887"/>
                <a:gd name="connsiteX4" fmla="*/ 14288 w 391477"/>
                <a:gd name="connsiteY4" fmla="*/ 87630 h 242887"/>
                <a:gd name="connsiteX5" fmla="*/ 0 w 391477"/>
                <a:gd name="connsiteY5" fmla="*/ 91345 h 242887"/>
                <a:gd name="connsiteX6" fmla="*/ 0 w 391477"/>
                <a:gd name="connsiteY6" fmla="*/ 77057 h 242887"/>
                <a:gd name="connsiteX7" fmla="*/ 10478 w 391477"/>
                <a:gd name="connsiteY7" fmla="*/ 62770 h 242887"/>
                <a:gd name="connsiteX8" fmla="*/ 20955 w 391477"/>
                <a:gd name="connsiteY8" fmla="*/ 70485 h 242887"/>
                <a:gd name="connsiteX9" fmla="*/ 49530 w 391477"/>
                <a:gd name="connsiteY9" fmla="*/ 70485 h 242887"/>
                <a:gd name="connsiteX10" fmla="*/ 60007 w 391477"/>
                <a:gd name="connsiteY10" fmla="*/ 56198 h 242887"/>
                <a:gd name="connsiteX11" fmla="*/ 45720 w 391477"/>
                <a:gd name="connsiteY11" fmla="*/ 41910 h 242887"/>
                <a:gd name="connsiteX12" fmla="*/ 35243 w 391477"/>
                <a:gd name="connsiteY12" fmla="*/ 27623 h 242887"/>
                <a:gd name="connsiteX13" fmla="*/ 24765 w 391477"/>
                <a:gd name="connsiteY13" fmla="*/ 17050 h 242887"/>
                <a:gd name="connsiteX14" fmla="*/ 7620 w 391477"/>
                <a:gd name="connsiteY14" fmla="*/ 24670 h 242887"/>
                <a:gd name="connsiteX15" fmla="*/ 3810 w 391477"/>
                <a:gd name="connsiteY15" fmla="*/ 49530 h 242887"/>
                <a:gd name="connsiteX16" fmla="*/ 0 w 391477"/>
                <a:gd name="connsiteY16" fmla="*/ 38957 h 242887"/>
                <a:gd name="connsiteX17" fmla="*/ 0 w 391477"/>
                <a:gd name="connsiteY17" fmla="*/ 20955 h 242887"/>
                <a:gd name="connsiteX18" fmla="*/ 18098 w 391477"/>
                <a:gd name="connsiteY18" fmla="*/ 10382 h 242887"/>
                <a:gd name="connsiteX19" fmla="*/ 41910 w 391477"/>
                <a:gd name="connsiteY19" fmla="*/ 6668 h 242887"/>
                <a:gd name="connsiteX20" fmla="*/ 63818 w 391477"/>
                <a:gd name="connsiteY20" fmla="*/ 20955 h 242887"/>
                <a:gd name="connsiteX21" fmla="*/ 77153 w 391477"/>
                <a:gd name="connsiteY21" fmla="*/ 45625 h 242887"/>
                <a:gd name="connsiteX22" fmla="*/ 95250 w 391477"/>
                <a:gd name="connsiteY22" fmla="*/ 49530 h 242887"/>
                <a:gd name="connsiteX23" fmla="*/ 120015 w 391477"/>
                <a:gd name="connsiteY23" fmla="*/ 45625 h 242887"/>
                <a:gd name="connsiteX24" fmla="*/ 120015 w 391477"/>
                <a:gd name="connsiteY24" fmla="*/ 24670 h 242887"/>
                <a:gd name="connsiteX25" fmla="*/ 169545 w 391477"/>
                <a:gd name="connsiteY25" fmla="*/ 0 h 242887"/>
                <a:gd name="connsiteX26" fmla="*/ 180023 w 391477"/>
                <a:gd name="connsiteY26" fmla="*/ 10382 h 242887"/>
                <a:gd name="connsiteX27" fmla="*/ 204788 w 391477"/>
                <a:gd name="connsiteY27" fmla="*/ 14288 h 242887"/>
                <a:gd name="connsiteX28" fmla="*/ 207645 w 391477"/>
                <a:gd name="connsiteY28" fmla="*/ 20955 h 242887"/>
                <a:gd name="connsiteX29" fmla="*/ 207645 w 391477"/>
                <a:gd name="connsiteY29" fmla="*/ 49530 h 242887"/>
                <a:gd name="connsiteX30" fmla="*/ 253365 w 391477"/>
                <a:gd name="connsiteY30" fmla="*/ 49530 h 242887"/>
                <a:gd name="connsiteX31" fmla="*/ 278130 w 391477"/>
                <a:gd name="connsiteY31" fmla="*/ 95250 h 242887"/>
                <a:gd name="connsiteX32" fmla="*/ 313373 w 391477"/>
                <a:gd name="connsiteY32" fmla="*/ 116205 h 242887"/>
                <a:gd name="connsiteX33" fmla="*/ 352425 w 391477"/>
                <a:gd name="connsiteY33" fmla="*/ 144780 h 242887"/>
                <a:gd name="connsiteX34" fmla="*/ 373380 w 391477"/>
                <a:gd name="connsiteY34" fmla="*/ 147638 h 242887"/>
                <a:gd name="connsiteX35" fmla="*/ 391478 w 391477"/>
                <a:gd name="connsiteY35" fmla="*/ 158020 h 242887"/>
                <a:gd name="connsiteX36" fmla="*/ 391478 w 391477"/>
                <a:gd name="connsiteY36" fmla="*/ 172307 h 242887"/>
                <a:gd name="connsiteX37" fmla="*/ 369570 w 391477"/>
                <a:gd name="connsiteY37" fmla="*/ 172307 h 242887"/>
                <a:gd name="connsiteX38" fmla="*/ 341948 w 391477"/>
                <a:gd name="connsiteY38" fmla="*/ 182880 h 242887"/>
                <a:gd name="connsiteX39" fmla="*/ 320993 w 391477"/>
                <a:gd name="connsiteY39" fmla="*/ 215170 h 242887"/>
                <a:gd name="connsiteX40" fmla="*/ 299085 w 391477"/>
                <a:gd name="connsiteY40" fmla="*/ 221837 h 242887"/>
                <a:gd name="connsiteX41" fmla="*/ 281940 w 391477"/>
                <a:gd name="connsiteY41" fmla="*/ 242888 h 242887"/>
                <a:gd name="connsiteX42" fmla="*/ 263843 w 391477"/>
                <a:gd name="connsiteY42" fmla="*/ 236125 h 242887"/>
                <a:gd name="connsiteX43" fmla="*/ 242888 w 391477"/>
                <a:gd name="connsiteY43" fmla="*/ 236125 h 242887"/>
                <a:gd name="connsiteX44" fmla="*/ 240030 w 391477"/>
                <a:gd name="connsiteY44" fmla="*/ 197168 h 242887"/>
                <a:gd name="connsiteX45" fmla="*/ 221932 w 391477"/>
                <a:gd name="connsiteY45" fmla="*/ 193262 h 242887"/>
                <a:gd name="connsiteX46" fmla="*/ 120015 w 391477"/>
                <a:gd name="connsiteY46" fmla="*/ 147638 h 242887"/>
                <a:gd name="connsiteX47" fmla="*/ 74295 w 391477"/>
                <a:gd name="connsiteY47" fmla="*/ 155162 h 242887"/>
                <a:gd name="connsiteX48" fmla="*/ 35243 w 391477"/>
                <a:gd name="connsiteY48" fmla="*/ 182880 h 242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391477" h="242887">
                  <a:moveTo>
                    <a:pt x="35243" y="182880"/>
                  </a:moveTo>
                  <a:lnTo>
                    <a:pt x="31432" y="140875"/>
                  </a:lnTo>
                  <a:lnTo>
                    <a:pt x="41910" y="126587"/>
                  </a:lnTo>
                  <a:lnTo>
                    <a:pt x="20955" y="98012"/>
                  </a:lnTo>
                  <a:lnTo>
                    <a:pt x="14288" y="87630"/>
                  </a:lnTo>
                  <a:lnTo>
                    <a:pt x="0" y="91345"/>
                  </a:lnTo>
                  <a:lnTo>
                    <a:pt x="0" y="77057"/>
                  </a:lnTo>
                  <a:lnTo>
                    <a:pt x="10478" y="62770"/>
                  </a:lnTo>
                  <a:lnTo>
                    <a:pt x="20955" y="70485"/>
                  </a:lnTo>
                  <a:lnTo>
                    <a:pt x="49530" y="70485"/>
                  </a:lnTo>
                  <a:lnTo>
                    <a:pt x="60007" y="56198"/>
                  </a:lnTo>
                  <a:lnTo>
                    <a:pt x="45720" y="41910"/>
                  </a:lnTo>
                  <a:lnTo>
                    <a:pt x="35243" y="27623"/>
                  </a:lnTo>
                  <a:lnTo>
                    <a:pt x="24765" y="17050"/>
                  </a:lnTo>
                  <a:lnTo>
                    <a:pt x="7620" y="24670"/>
                  </a:lnTo>
                  <a:lnTo>
                    <a:pt x="3810" y="49530"/>
                  </a:lnTo>
                  <a:lnTo>
                    <a:pt x="0" y="38957"/>
                  </a:lnTo>
                  <a:lnTo>
                    <a:pt x="0" y="20955"/>
                  </a:lnTo>
                  <a:lnTo>
                    <a:pt x="18098" y="10382"/>
                  </a:lnTo>
                  <a:lnTo>
                    <a:pt x="41910" y="6668"/>
                  </a:lnTo>
                  <a:lnTo>
                    <a:pt x="63818" y="20955"/>
                  </a:lnTo>
                  <a:lnTo>
                    <a:pt x="77153" y="45625"/>
                  </a:lnTo>
                  <a:lnTo>
                    <a:pt x="95250" y="49530"/>
                  </a:lnTo>
                  <a:lnTo>
                    <a:pt x="120015" y="45625"/>
                  </a:lnTo>
                  <a:lnTo>
                    <a:pt x="120015" y="24670"/>
                  </a:lnTo>
                  <a:lnTo>
                    <a:pt x="169545" y="0"/>
                  </a:lnTo>
                  <a:lnTo>
                    <a:pt x="180023" y="10382"/>
                  </a:lnTo>
                  <a:lnTo>
                    <a:pt x="204788" y="14288"/>
                  </a:lnTo>
                  <a:lnTo>
                    <a:pt x="207645" y="20955"/>
                  </a:lnTo>
                  <a:lnTo>
                    <a:pt x="207645" y="49530"/>
                  </a:lnTo>
                  <a:lnTo>
                    <a:pt x="253365" y="49530"/>
                  </a:lnTo>
                  <a:lnTo>
                    <a:pt x="278130" y="95250"/>
                  </a:lnTo>
                  <a:lnTo>
                    <a:pt x="313373" y="116205"/>
                  </a:lnTo>
                  <a:lnTo>
                    <a:pt x="352425" y="144780"/>
                  </a:lnTo>
                  <a:lnTo>
                    <a:pt x="373380" y="147638"/>
                  </a:lnTo>
                  <a:lnTo>
                    <a:pt x="391478" y="158020"/>
                  </a:lnTo>
                  <a:lnTo>
                    <a:pt x="391478" y="172307"/>
                  </a:lnTo>
                  <a:lnTo>
                    <a:pt x="369570" y="172307"/>
                  </a:lnTo>
                  <a:lnTo>
                    <a:pt x="341948" y="182880"/>
                  </a:lnTo>
                  <a:lnTo>
                    <a:pt x="320993" y="215170"/>
                  </a:lnTo>
                  <a:lnTo>
                    <a:pt x="299085" y="221837"/>
                  </a:lnTo>
                  <a:lnTo>
                    <a:pt x="281940" y="242888"/>
                  </a:lnTo>
                  <a:lnTo>
                    <a:pt x="263843" y="236125"/>
                  </a:lnTo>
                  <a:lnTo>
                    <a:pt x="242888" y="236125"/>
                  </a:lnTo>
                  <a:lnTo>
                    <a:pt x="240030" y="197168"/>
                  </a:lnTo>
                  <a:lnTo>
                    <a:pt x="221932" y="193262"/>
                  </a:lnTo>
                  <a:lnTo>
                    <a:pt x="120015" y="147638"/>
                  </a:lnTo>
                  <a:lnTo>
                    <a:pt x="74295" y="155162"/>
                  </a:lnTo>
                  <a:lnTo>
                    <a:pt x="35243" y="18288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48" name="Freeform: Shape 2747">
              <a:extLst>
                <a:ext uri="{FF2B5EF4-FFF2-40B4-BE49-F238E27FC236}">
                  <a16:creationId xmlns:a16="http://schemas.microsoft.com/office/drawing/2014/main" id="{1E5A8AE6-7D55-D02F-C364-A84037B06482}"/>
                </a:ext>
              </a:extLst>
            </p:cNvPr>
            <p:cNvSpPr/>
            <p:nvPr/>
          </p:nvSpPr>
          <p:spPr>
            <a:xfrm>
              <a:off x="7845427" y="3358739"/>
              <a:ext cx="203552" cy="130722"/>
            </a:xfrm>
            <a:custGeom>
              <a:avLst/>
              <a:gdLst>
                <a:gd name="connsiteX0" fmla="*/ 41910 w 207645"/>
                <a:gd name="connsiteY0" fmla="*/ 24860 h 133350"/>
                <a:gd name="connsiteX1" fmla="*/ 56198 w 207645"/>
                <a:gd name="connsiteY1" fmla="*/ 17145 h 133350"/>
                <a:gd name="connsiteX2" fmla="*/ 62865 w 207645"/>
                <a:gd name="connsiteY2" fmla="*/ 2858 h 133350"/>
                <a:gd name="connsiteX3" fmla="*/ 83820 w 207645"/>
                <a:gd name="connsiteY3" fmla="*/ 0 h 133350"/>
                <a:gd name="connsiteX4" fmla="*/ 95250 w 207645"/>
                <a:gd name="connsiteY4" fmla="*/ 2858 h 133350"/>
                <a:gd name="connsiteX5" fmla="*/ 91440 w 207645"/>
                <a:gd name="connsiteY5" fmla="*/ 14288 h 133350"/>
                <a:gd name="connsiteX6" fmla="*/ 87630 w 207645"/>
                <a:gd name="connsiteY6" fmla="*/ 24860 h 133350"/>
                <a:gd name="connsiteX7" fmla="*/ 91440 w 207645"/>
                <a:gd name="connsiteY7" fmla="*/ 35338 h 133350"/>
                <a:gd name="connsiteX8" fmla="*/ 95250 w 207645"/>
                <a:gd name="connsiteY8" fmla="*/ 49625 h 133350"/>
                <a:gd name="connsiteX9" fmla="*/ 116205 w 207645"/>
                <a:gd name="connsiteY9" fmla="*/ 49625 h 133350"/>
                <a:gd name="connsiteX10" fmla="*/ 140970 w 207645"/>
                <a:gd name="connsiteY10" fmla="*/ 52388 h 133350"/>
                <a:gd name="connsiteX11" fmla="*/ 176213 w 207645"/>
                <a:gd name="connsiteY11" fmla="*/ 52388 h 133350"/>
                <a:gd name="connsiteX12" fmla="*/ 172403 w 207645"/>
                <a:gd name="connsiteY12" fmla="*/ 62960 h 133350"/>
                <a:gd name="connsiteX13" fmla="*/ 176213 w 207645"/>
                <a:gd name="connsiteY13" fmla="*/ 77248 h 133350"/>
                <a:gd name="connsiteX14" fmla="*/ 186690 w 207645"/>
                <a:gd name="connsiteY14" fmla="*/ 80963 h 133350"/>
                <a:gd name="connsiteX15" fmla="*/ 207645 w 207645"/>
                <a:gd name="connsiteY15" fmla="*/ 77248 h 133350"/>
                <a:gd name="connsiteX16" fmla="*/ 207645 w 207645"/>
                <a:gd name="connsiteY16" fmla="*/ 112395 h 133350"/>
                <a:gd name="connsiteX17" fmla="*/ 158115 w 207645"/>
                <a:gd name="connsiteY17" fmla="*/ 112395 h 133350"/>
                <a:gd name="connsiteX18" fmla="*/ 140970 w 207645"/>
                <a:gd name="connsiteY18" fmla="*/ 122968 h 133350"/>
                <a:gd name="connsiteX19" fmla="*/ 112395 w 207645"/>
                <a:gd name="connsiteY19" fmla="*/ 133350 h 133350"/>
                <a:gd name="connsiteX20" fmla="*/ 112395 w 207645"/>
                <a:gd name="connsiteY20" fmla="*/ 122968 h 133350"/>
                <a:gd name="connsiteX21" fmla="*/ 116205 w 207645"/>
                <a:gd name="connsiteY21" fmla="*/ 109538 h 133350"/>
                <a:gd name="connsiteX22" fmla="*/ 112395 w 207645"/>
                <a:gd name="connsiteY22" fmla="*/ 87725 h 133350"/>
                <a:gd name="connsiteX23" fmla="*/ 98108 w 207645"/>
                <a:gd name="connsiteY23" fmla="*/ 77248 h 133350"/>
                <a:gd name="connsiteX24" fmla="*/ 80963 w 207645"/>
                <a:gd name="connsiteY24" fmla="*/ 105823 h 133350"/>
                <a:gd name="connsiteX25" fmla="*/ 66675 w 207645"/>
                <a:gd name="connsiteY25" fmla="*/ 109538 h 133350"/>
                <a:gd name="connsiteX26" fmla="*/ 31433 w 207645"/>
                <a:gd name="connsiteY26" fmla="*/ 130588 h 133350"/>
                <a:gd name="connsiteX27" fmla="*/ 13335 w 207645"/>
                <a:gd name="connsiteY27" fmla="*/ 122968 h 133350"/>
                <a:gd name="connsiteX28" fmla="*/ 13335 w 207645"/>
                <a:gd name="connsiteY28" fmla="*/ 109538 h 133350"/>
                <a:gd name="connsiteX29" fmla="*/ 27623 w 207645"/>
                <a:gd name="connsiteY29" fmla="*/ 91535 h 133350"/>
                <a:gd name="connsiteX30" fmla="*/ 17145 w 207645"/>
                <a:gd name="connsiteY30" fmla="*/ 87725 h 133350"/>
                <a:gd name="connsiteX31" fmla="*/ 20955 w 207645"/>
                <a:gd name="connsiteY31" fmla="*/ 62960 h 133350"/>
                <a:gd name="connsiteX32" fmla="*/ 0 w 207645"/>
                <a:gd name="connsiteY32" fmla="*/ 62960 h 133350"/>
                <a:gd name="connsiteX33" fmla="*/ 0 w 207645"/>
                <a:gd name="connsiteY33" fmla="*/ 45720 h 133350"/>
                <a:gd name="connsiteX34" fmla="*/ 35243 w 207645"/>
                <a:gd name="connsiteY34" fmla="*/ 45720 h 133350"/>
                <a:gd name="connsiteX35" fmla="*/ 31433 w 207645"/>
                <a:gd name="connsiteY35" fmla="*/ 21050 h 133350"/>
                <a:gd name="connsiteX36" fmla="*/ 41910 w 207645"/>
                <a:gd name="connsiteY36" fmla="*/ 2486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07645" h="133350">
                  <a:moveTo>
                    <a:pt x="41910" y="24860"/>
                  </a:moveTo>
                  <a:lnTo>
                    <a:pt x="56198" y="17145"/>
                  </a:lnTo>
                  <a:lnTo>
                    <a:pt x="62865" y="2858"/>
                  </a:lnTo>
                  <a:lnTo>
                    <a:pt x="83820" y="0"/>
                  </a:lnTo>
                  <a:lnTo>
                    <a:pt x="95250" y="2858"/>
                  </a:lnTo>
                  <a:lnTo>
                    <a:pt x="91440" y="14288"/>
                  </a:lnTo>
                  <a:lnTo>
                    <a:pt x="87630" y="24860"/>
                  </a:lnTo>
                  <a:lnTo>
                    <a:pt x="91440" y="35338"/>
                  </a:lnTo>
                  <a:lnTo>
                    <a:pt x="95250" y="49625"/>
                  </a:lnTo>
                  <a:lnTo>
                    <a:pt x="116205" y="49625"/>
                  </a:lnTo>
                  <a:lnTo>
                    <a:pt x="140970" y="52388"/>
                  </a:lnTo>
                  <a:lnTo>
                    <a:pt x="176213" y="52388"/>
                  </a:lnTo>
                  <a:lnTo>
                    <a:pt x="172403" y="62960"/>
                  </a:lnTo>
                  <a:lnTo>
                    <a:pt x="176213" y="77248"/>
                  </a:lnTo>
                  <a:lnTo>
                    <a:pt x="186690" y="80963"/>
                  </a:lnTo>
                  <a:lnTo>
                    <a:pt x="207645" y="77248"/>
                  </a:lnTo>
                  <a:lnTo>
                    <a:pt x="207645" y="112395"/>
                  </a:lnTo>
                  <a:lnTo>
                    <a:pt x="158115" y="112395"/>
                  </a:lnTo>
                  <a:lnTo>
                    <a:pt x="140970" y="122968"/>
                  </a:lnTo>
                  <a:lnTo>
                    <a:pt x="112395" y="133350"/>
                  </a:lnTo>
                  <a:lnTo>
                    <a:pt x="112395" y="122968"/>
                  </a:lnTo>
                  <a:lnTo>
                    <a:pt x="116205" y="109538"/>
                  </a:lnTo>
                  <a:lnTo>
                    <a:pt x="112395" y="87725"/>
                  </a:lnTo>
                  <a:lnTo>
                    <a:pt x="98108" y="77248"/>
                  </a:lnTo>
                  <a:lnTo>
                    <a:pt x="80963" y="105823"/>
                  </a:lnTo>
                  <a:lnTo>
                    <a:pt x="66675" y="109538"/>
                  </a:lnTo>
                  <a:lnTo>
                    <a:pt x="31433" y="130588"/>
                  </a:lnTo>
                  <a:lnTo>
                    <a:pt x="13335" y="122968"/>
                  </a:lnTo>
                  <a:lnTo>
                    <a:pt x="13335" y="109538"/>
                  </a:lnTo>
                  <a:lnTo>
                    <a:pt x="27623" y="91535"/>
                  </a:lnTo>
                  <a:lnTo>
                    <a:pt x="17145" y="87725"/>
                  </a:lnTo>
                  <a:lnTo>
                    <a:pt x="20955" y="62960"/>
                  </a:lnTo>
                  <a:lnTo>
                    <a:pt x="0" y="62960"/>
                  </a:lnTo>
                  <a:lnTo>
                    <a:pt x="0" y="45720"/>
                  </a:lnTo>
                  <a:lnTo>
                    <a:pt x="35243" y="45720"/>
                  </a:lnTo>
                  <a:lnTo>
                    <a:pt x="31433" y="21050"/>
                  </a:lnTo>
                  <a:lnTo>
                    <a:pt x="41910" y="2486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49" name="Freeform: Shape 2748">
              <a:extLst>
                <a:ext uri="{FF2B5EF4-FFF2-40B4-BE49-F238E27FC236}">
                  <a16:creationId xmlns:a16="http://schemas.microsoft.com/office/drawing/2014/main" id="{1598D957-6090-D1CB-C7C9-443CB84084E7}"/>
                </a:ext>
              </a:extLst>
            </p:cNvPr>
            <p:cNvSpPr/>
            <p:nvPr/>
          </p:nvSpPr>
          <p:spPr>
            <a:xfrm>
              <a:off x="7534497" y="3206634"/>
              <a:ext cx="459392" cy="272650"/>
            </a:xfrm>
            <a:custGeom>
              <a:avLst/>
              <a:gdLst>
                <a:gd name="connsiteX0" fmla="*/ 0 w 468630"/>
                <a:gd name="connsiteY0" fmla="*/ 144780 h 278130"/>
                <a:gd name="connsiteX1" fmla="*/ 0 w 468630"/>
                <a:gd name="connsiteY1" fmla="*/ 14288 h 278130"/>
                <a:gd name="connsiteX2" fmla="*/ 31432 w 468630"/>
                <a:gd name="connsiteY2" fmla="*/ 6668 h 278130"/>
                <a:gd name="connsiteX3" fmla="*/ 80963 w 468630"/>
                <a:gd name="connsiteY3" fmla="*/ 0 h 278130"/>
                <a:gd name="connsiteX4" fmla="*/ 95250 w 468630"/>
                <a:gd name="connsiteY4" fmla="*/ 10382 h 278130"/>
                <a:gd name="connsiteX5" fmla="*/ 122873 w 468630"/>
                <a:gd name="connsiteY5" fmla="*/ 27623 h 278130"/>
                <a:gd name="connsiteX6" fmla="*/ 140970 w 468630"/>
                <a:gd name="connsiteY6" fmla="*/ 35243 h 278130"/>
                <a:gd name="connsiteX7" fmla="*/ 165735 w 468630"/>
                <a:gd name="connsiteY7" fmla="*/ 66675 h 278130"/>
                <a:gd name="connsiteX8" fmla="*/ 232410 w 468630"/>
                <a:gd name="connsiteY8" fmla="*/ 62770 h 278130"/>
                <a:gd name="connsiteX9" fmla="*/ 246698 w 468630"/>
                <a:gd name="connsiteY9" fmla="*/ 59912 h 278130"/>
                <a:gd name="connsiteX10" fmla="*/ 278130 w 468630"/>
                <a:gd name="connsiteY10" fmla="*/ 91345 h 278130"/>
                <a:gd name="connsiteX11" fmla="*/ 278130 w 468630"/>
                <a:gd name="connsiteY11" fmla="*/ 105632 h 278130"/>
                <a:gd name="connsiteX12" fmla="*/ 296228 w 468630"/>
                <a:gd name="connsiteY12" fmla="*/ 119920 h 278130"/>
                <a:gd name="connsiteX13" fmla="*/ 299085 w 468630"/>
                <a:gd name="connsiteY13" fmla="*/ 147638 h 278130"/>
                <a:gd name="connsiteX14" fmla="*/ 330518 w 468630"/>
                <a:gd name="connsiteY14" fmla="*/ 144780 h 278130"/>
                <a:gd name="connsiteX15" fmla="*/ 338138 w 468630"/>
                <a:gd name="connsiteY15" fmla="*/ 147638 h 278130"/>
                <a:gd name="connsiteX16" fmla="*/ 338138 w 468630"/>
                <a:gd name="connsiteY16" fmla="*/ 165735 h 278130"/>
                <a:gd name="connsiteX17" fmla="*/ 352425 w 468630"/>
                <a:gd name="connsiteY17" fmla="*/ 165735 h 278130"/>
                <a:gd name="connsiteX18" fmla="*/ 355282 w 468630"/>
                <a:gd name="connsiteY18" fmla="*/ 147638 h 278130"/>
                <a:gd name="connsiteX19" fmla="*/ 377190 w 468630"/>
                <a:gd name="connsiteY19" fmla="*/ 130493 h 278130"/>
                <a:gd name="connsiteX20" fmla="*/ 412432 w 468630"/>
                <a:gd name="connsiteY20" fmla="*/ 109538 h 278130"/>
                <a:gd name="connsiteX21" fmla="*/ 404813 w 468630"/>
                <a:gd name="connsiteY21" fmla="*/ 126587 h 278130"/>
                <a:gd name="connsiteX22" fmla="*/ 401003 w 468630"/>
                <a:gd name="connsiteY22" fmla="*/ 134207 h 278130"/>
                <a:gd name="connsiteX23" fmla="*/ 415290 w 468630"/>
                <a:gd name="connsiteY23" fmla="*/ 140875 h 278130"/>
                <a:gd name="connsiteX24" fmla="*/ 436245 w 468630"/>
                <a:gd name="connsiteY24" fmla="*/ 134207 h 278130"/>
                <a:gd name="connsiteX25" fmla="*/ 454343 w 468630"/>
                <a:gd name="connsiteY25" fmla="*/ 144780 h 278130"/>
                <a:gd name="connsiteX26" fmla="*/ 468630 w 468630"/>
                <a:gd name="connsiteY26" fmla="*/ 158020 h 278130"/>
                <a:gd name="connsiteX27" fmla="*/ 454343 w 468630"/>
                <a:gd name="connsiteY27" fmla="*/ 172307 h 278130"/>
                <a:gd name="connsiteX28" fmla="*/ 436245 w 468630"/>
                <a:gd name="connsiteY28" fmla="*/ 180023 h 278130"/>
                <a:gd name="connsiteX29" fmla="*/ 415290 w 468630"/>
                <a:gd name="connsiteY29" fmla="*/ 180023 h 278130"/>
                <a:gd name="connsiteX30" fmla="*/ 408623 w 468630"/>
                <a:gd name="connsiteY30" fmla="*/ 172307 h 278130"/>
                <a:gd name="connsiteX31" fmla="*/ 412432 w 468630"/>
                <a:gd name="connsiteY31" fmla="*/ 158020 h 278130"/>
                <a:gd name="connsiteX32" fmla="*/ 401003 w 468630"/>
                <a:gd name="connsiteY32" fmla="*/ 155162 h 278130"/>
                <a:gd name="connsiteX33" fmla="*/ 380048 w 468630"/>
                <a:gd name="connsiteY33" fmla="*/ 158020 h 278130"/>
                <a:gd name="connsiteX34" fmla="*/ 373380 w 468630"/>
                <a:gd name="connsiteY34" fmla="*/ 172307 h 278130"/>
                <a:gd name="connsiteX35" fmla="*/ 359093 w 468630"/>
                <a:gd name="connsiteY35" fmla="*/ 180023 h 278130"/>
                <a:gd name="connsiteX36" fmla="*/ 348615 w 468630"/>
                <a:gd name="connsiteY36" fmla="*/ 176213 h 278130"/>
                <a:gd name="connsiteX37" fmla="*/ 352425 w 468630"/>
                <a:gd name="connsiteY37" fmla="*/ 200882 h 278130"/>
                <a:gd name="connsiteX38" fmla="*/ 317182 w 468630"/>
                <a:gd name="connsiteY38" fmla="*/ 200882 h 278130"/>
                <a:gd name="connsiteX39" fmla="*/ 317182 w 468630"/>
                <a:gd name="connsiteY39" fmla="*/ 218123 h 278130"/>
                <a:gd name="connsiteX40" fmla="*/ 338138 w 468630"/>
                <a:gd name="connsiteY40" fmla="*/ 218123 h 278130"/>
                <a:gd name="connsiteX41" fmla="*/ 334328 w 468630"/>
                <a:gd name="connsiteY41" fmla="*/ 242888 h 278130"/>
                <a:gd name="connsiteX42" fmla="*/ 344805 w 468630"/>
                <a:gd name="connsiteY42" fmla="*/ 246698 h 278130"/>
                <a:gd name="connsiteX43" fmla="*/ 330518 w 468630"/>
                <a:gd name="connsiteY43" fmla="*/ 264700 h 278130"/>
                <a:gd name="connsiteX44" fmla="*/ 330518 w 468630"/>
                <a:gd name="connsiteY44" fmla="*/ 278130 h 278130"/>
                <a:gd name="connsiteX45" fmla="*/ 296228 w 468630"/>
                <a:gd name="connsiteY45" fmla="*/ 267557 h 278130"/>
                <a:gd name="connsiteX46" fmla="*/ 296228 w 468630"/>
                <a:gd name="connsiteY46" fmla="*/ 253270 h 278130"/>
                <a:gd name="connsiteX47" fmla="*/ 278130 w 468630"/>
                <a:gd name="connsiteY47" fmla="*/ 242888 h 278130"/>
                <a:gd name="connsiteX48" fmla="*/ 257175 w 468630"/>
                <a:gd name="connsiteY48" fmla="*/ 240030 h 278130"/>
                <a:gd name="connsiteX49" fmla="*/ 182880 w 468630"/>
                <a:gd name="connsiteY49" fmla="*/ 190500 h 278130"/>
                <a:gd name="connsiteX50" fmla="*/ 158115 w 468630"/>
                <a:gd name="connsiteY50" fmla="*/ 144780 h 278130"/>
                <a:gd name="connsiteX51" fmla="*/ 112395 w 468630"/>
                <a:gd name="connsiteY51" fmla="*/ 144780 h 278130"/>
                <a:gd name="connsiteX52" fmla="*/ 112395 w 468630"/>
                <a:gd name="connsiteY52" fmla="*/ 116205 h 278130"/>
                <a:gd name="connsiteX53" fmla="*/ 109538 w 468630"/>
                <a:gd name="connsiteY53" fmla="*/ 109538 h 278130"/>
                <a:gd name="connsiteX54" fmla="*/ 84773 w 468630"/>
                <a:gd name="connsiteY54" fmla="*/ 105632 h 278130"/>
                <a:gd name="connsiteX55" fmla="*/ 74295 w 468630"/>
                <a:gd name="connsiteY55" fmla="*/ 95250 h 278130"/>
                <a:gd name="connsiteX56" fmla="*/ 24765 w 468630"/>
                <a:gd name="connsiteY56" fmla="*/ 119920 h 278130"/>
                <a:gd name="connsiteX57" fmla="*/ 24765 w 468630"/>
                <a:gd name="connsiteY57" fmla="*/ 140875 h 278130"/>
                <a:gd name="connsiteX58" fmla="*/ 0 w 468630"/>
                <a:gd name="connsiteY58" fmla="*/ 144780 h 278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468630" h="278130">
                  <a:moveTo>
                    <a:pt x="0" y="144780"/>
                  </a:moveTo>
                  <a:lnTo>
                    <a:pt x="0" y="14288"/>
                  </a:lnTo>
                  <a:lnTo>
                    <a:pt x="31432" y="6668"/>
                  </a:lnTo>
                  <a:lnTo>
                    <a:pt x="80963" y="0"/>
                  </a:lnTo>
                  <a:lnTo>
                    <a:pt x="95250" y="10382"/>
                  </a:lnTo>
                  <a:lnTo>
                    <a:pt x="122873" y="27623"/>
                  </a:lnTo>
                  <a:lnTo>
                    <a:pt x="140970" y="35243"/>
                  </a:lnTo>
                  <a:lnTo>
                    <a:pt x="165735" y="66675"/>
                  </a:lnTo>
                  <a:lnTo>
                    <a:pt x="232410" y="62770"/>
                  </a:lnTo>
                  <a:lnTo>
                    <a:pt x="246698" y="59912"/>
                  </a:lnTo>
                  <a:lnTo>
                    <a:pt x="278130" y="91345"/>
                  </a:lnTo>
                  <a:lnTo>
                    <a:pt x="278130" y="105632"/>
                  </a:lnTo>
                  <a:lnTo>
                    <a:pt x="296228" y="119920"/>
                  </a:lnTo>
                  <a:lnTo>
                    <a:pt x="299085" y="147638"/>
                  </a:lnTo>
                  <a:lnTo>
                    <a:pt x="330518" y="144780"/>
                  </a:lnTo>
                  <a:lnTo>
                    <a:pt x="338138" y="147638"/>
                  </a:lnTo>
                  <a:lnTo>
                    <a:pt x="338138" y="165735"/>
                  </a:lnTo>
                  <a:lnTo>
                    <a:pt x="352425" y="165735"/>
                  </a:lnTo>
                  <a:lnTo>
                    <a:pt x="355282" y="147638"/>
                  </a:lnTo>
                  <a:lnTo>
                    <a:pt x="377190" y="130493"/>
                  </a:lnTo>
                  <a:lnTo>
                    <a:pt x="412432" y="109538"/>
                  </a:lnTo>
                  <a:lnTo>
                    <a:pt x="404813" y="126587"/>
                  </a:lnTo>
                  <a:lnTo>
                    <a:pt x="401003" y="134207"/>
                  </a:lnTo>
                  <a:lnTo>
                    <a:pt x="415290" y="140875"/>
                  </a:lnTo>
                  <a:lnTo>
                    <a:pt x="436245" y="134207"/>
                  </a:lnTo>
                  <a:lnTo>
                    <a:pt x="454343" y="144780"/>
                  </a:lnTo>
                  <a:lnTo>
                    <a:pt x="468630" y="158020"/>
                  </a:lnTo>
                  <a:lnTo>
                    <a:pt x="454343" y="172307"/>
                  </a:lnTo>
                  <a:lnTo>
                    <a:pt x="436245" y="180023"/>
                  </a:lnTo>
                  <a:lnTo>
                    <a:pt x="415290" y="180023"/>
                  </a:lnTo>
                  <a:lnTo>
                    <a:pt x="408623" y="172307"/>
                  </a:lnTo>
                  <a:lnTo>
                    <a:pt x="412432" y="158020"/>
                  </a:lnTo>
                  <a:lnTo>
                    <a:pt x="401003" y="155162"/>
                  </a:lnTo>
                  <a:lnTo>
                    <a:pt x="380048" y="158020"/>
                  </a:lnTo>
                  <a:lnTo>
                    <a:pt x="373380" y="172307"/>
                  </a:lnTo>
                  <a:lnTo>
                    <a:pt x="359093" y="180023"/>
                  </a:lnTo>
                  <a:lnTo>
                    <a:pt x="348615" y="176213"/>
                  </a:lnTo>
                  <a:lnTo>
                    <a:pt x="352425" y="200882"/>
                  </a:lnTo>
                  <a:lnTo>
                    <a:pt x="317182" y="200882"/>
                  </a:lnTo>
                  <a:lnTo>
                    <a:pt x="317182" y="218123"/>
                  </a:lnTo>
                  <a:lnTo>
                    <a:pt x="338138" y="218123"/>
                  </a:lnTo>
                  <a:lnTo>
                    <a:pt x="334328" y="242888"/>
                  </a:lnTo>
                  <a:lnTo>
                    <a:pt x="344805" y="246698"/>
                  </a:lnTo>
                  <a:lnTo>
                    <a:pt x="330518" y="264700"/>
                  </a:lnTo>
                  <a:lnTo>
                    <a:pt x="330518" y="278130"/>
                  </a:lnTo>
                  <a:lnTo>
                    <a:pt x="296228" y="267557"/>
                  </a:lnTo>
                  <a:lnTo>
                    <a:pt x="296228" y="253270"/>
                  </a:lnTo>
                  <a:lnTo>
                    <a:pt x="278130" y="242888"/>
                  </a:lnTo>
                  <a:lnTo>
                    <a:pt x="257175" y="240030"/>
                  </a:lnTo>
                  <a:lnTo>
                    <a:pt x="182880" y="190500"/>
                  </a:lnTo>
                  <a:lnTo>
                    <a:pt x="158115" y="144780"/>
                  </a:lnTo>
                  <a:lnTo>
                    <a:pt x="112395" y="144780"/>
                  </a:lnTo>
                  <a:lnTo>
                    <a:pt x="112395" y="116205"/>
                  </a:lnTo>
                  <a:lnTo>
                    <a:pt x="109538" y="109538"/>
                  </a:lnTo>
                  <a:lnTo>
                    <a:pt x="84773" y="105632"/>
                  </a:lnTo>
                  <a:lnTo>
                    <a:pt x="74295" y="95250"/>
                  </a:lnTo>
                  <a:lnTo>
                    <a:pt x="24765" y="119920"/>
                  </a:lnTo>
                  <a:lnTo>
                    <a:pt x="24765" y="140875"/>
                  </a:lnTo>
                  <a:lnTo>
                    <a:pt x="0" y="14478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50" name="Freeform: Shape 2749">
              <a:extLst>
                <a:ext uri="{FF2B5EF4-FFF2-40B4-BE49-F238E27FC236}">
                  <a16:creationId xmlns:a16="http://schemas.microsoft.com/office/drawing/2014/main" id="{131B2E85-B791-BCA5-E1D1-12D78FFC4B3E}"/>
                </a:ext>
              </a:extLst>
            </p:cNvPr>
            <p:cNvSpPr/>
            <p:nvPr/>
          </p:nvSpPr>
          <p:spPr>
            <a:xfrm>
              <a:off x="7927596" y="3279372"/>
              <a:ext cx="273581" cy="130722"/>
            </a:xfrm>
            <a:custGeom>
              <a:avLst/>
              <a:gdLst>
                <a:gd name="connsiteX0" fmla="*/ 11430 w 279082"/>
                <a:gd name="connsiteY0" fmla="*/ 35338 h 133350"/>
                <a:gd name="connsiteX1" fmla="*/ 28575 w 279082"/>
                <a:gd name="connsiteY1" fmla="*/ 13430 h 133350"/>
                <a:gd name="connsiteX2" fmla="*/ 49530 w 279082"/>
                <a:gd name="connsiteY2" fmla="*/ 13430 h 133350"/>
                <a:gd name="connsiteX3" fmla="*/ 57150 w 279082"/>
                <a:gd name="connsiteY3" fmla="*/ 21050 h 133350"/>
                <a:gd name="connsiteX4" fmla="*/ 88582 w 279082"/>
                <a:gd name="connsiteY4" fmla="*/ 17145 h 133350"/>
                <a:gd name="connsiteX5" fmla="*/ 92392 w 279082"/>
                <a:gd name="connsiteY5" fmla="*/ 6763 h 133350"/>
                <a:gd name="connsiteX6" fmla="*/ 105727 w 279082"/>
                <a:gd name="connsiteY6" fmla="*/ 0 h 133350"/>
                <a:gd name="connsiteX7" fmla="*/ 127635 w 279082"/>
                <a:gd name="connsiteY7" fmla="*/ 2858 h 133350"/>
                <a:gd name="connsiteX8" fmla="*/ 130492 w 279082"/>
                <a:gd name="connsiteY8" fmla="*/ 17145 h 133350"/>
                <a:gd name="connsiteX9" fmla="*/ 236220 w 279082"/>
                <a:gd name="connsiteY9" fmla="*/ 13430 h 133350"/>
                <a:gd name="connsiteX10" fmla="*/ 246697 w 279082"/>
                <a:gd name="connsiteY10" fmla="*/ 24860 h 133350"/>
                <a:gd name="connsiteX11" fmla="*/ 260985 w 279082"/>
                <a:gd name="connsiteY11" fmla="*/ 27718 h 133350"/>
                <a:gd name="connsiteX12" fmla="*/ 279082 w 279082"/>
                <a:gd name="connsiteY12" fmla="*/ 35338 h 133350"/>
                <a:gd name="connsiteX13" fmla="*/ 267652 w 279082"/>
                <a:gd name="connsiteY13" fmla="*/ 42005 h 133350"/>
                <a:gd name="connsiteX14" fmla="*/ 243840 w 279082"/>
                <a:gd name="connsiteY14" fmla="*/ 56293 h 133350"/>
                <a:gd name="connsiteX15" fmla="*/ 221932 w 279082"/>
                <a:gd name="connsiteY15" fmla="*/ 62960 h 133350"/>
                <a:gd name="connsiteX16" fmla="*/ 215265 w 279082"/>
                <a:gd name="connsiteY16" fmla="*/ 77248 h 133350"/>
                <a:gd name="connsiteX17" fmla="*/ 180022 w 279082"/>
                <a:gd name="connsiteY17" fmla="*/ 77248 h 133350"/>
                <a:gd name="connsiteX18" fmla="*/ 173355 w 279082"/>
                <a:gd name="connsiteY18" fmla="*/ 95250 h 133350"/>
                <a:gd name="connsiteX19" fmla="*/ 144780 w 279082"/>
                <a:gd name="connsiteY19" fmla="*/ 102013 h 133350"/>
                <a:gd name="connsiteX20" fmla="*/ 144780 w 279082"/>
                <a:gd name="connsiteY20" fmla="*/ 91535 h 133350"/>
                <a:gd name="connsiteX21" fmla="*/ 120015 w 279082"/>
                <a:gd name="connsiteY21" fmla="*/ 91535 h 133350"/>
                <a:gd name="connsiteX22" fmla="*/ 116205 w 279082"/>
                <a:gd name="connsiteY22" fmla="*/ 102013 h 133350"/>
                <a:gd name="connsiteX23" fmla="*/ 102870 w 279082"/>
                <a:gd name="connsiteY23" fmla="*/ 108680 h 133350"/>
                <a:gd name="connsiteX24" fmla="*/ 95250 w 279082"/>
                <a:gd name="connsiteY24" fmla="*/ 116300 h 133350"/>
                <a:gd name="connsiteX25" fmla="*/ 92392 w 279082"/>
                <a:gd name="connsiteY25" fmla="*/ 133350 h 133350"/>
                <a:gd name="connsiteX26" fmla="*/ 57150 w 279082"/>
                <a:gd name="connsiteY26" fmla="*/ 133350 h 133350"/>
                <a:gd name="connsiteX27" fmla="*/ 32385 w 279082"/>
                <a:gd name="connsiteY27" fmla="*/ 130588 h 133350"/>
                <a:gd name="connsiteX28" fmla="*/ 11430 w 279082"/>
                <a:gd name="connsiteY28" fmla="*/ 130588 h 133350"/>
                <a:gd name="connsiteX29" fmla="*/ 7620 w 279082"/>
                <a:gd name="connsiteY29" fmla="*/ 116300 h 133350"/>
                <a:gd name="connsiteX30" fmla="*/ 3810 w 279082"/>
                <a:gd name="connsiteY30" fmla="*/ 105823 h 133350"/>
                <a:gd name="connsiteX31" fmla="*/ 7620 w 279082"/>
                <a:gd name="connsiteY31" fmla="*/ 98108 h 133350"/>
                <a:gd name="connsiteX32" fmla="*/ 14288 w 279082"/>
                <a:gd name="connsiteY32" fmla="*/ 105823 h 133350"/>
                <a:gd name="connsiteX33" fmla="*/ 35242 w 279082"/>
                <a:gd name="connsiteY33" fmla="*/ 105823 h 133350"/>
                <a:gd name="connsiteX34" fmla="*/ 53340 w 279082"/>
                <a:gd name="connsiteY34" fmla="*/ 98108 h 133350"/>
                <a:gd name="connsiteX35" fmla="*/ 67627 w 279082"/>
                <a:gd name="connsiteY35" fmla="*/ 83820 h 133350"/>
                <a:gd name="connsiteX36" fmla="*/ 53340 w 279082"/>
                <a:gd name="connsiteY36" fmla="*/ 70580 h 133350"/>
                <a:gd name="connsiteX37" fmla="*/ 35242 w 279082"/>
                <a:gd name="connsiteY37" fmla="*/ 60008 h 133350"/>
                <a:gd name="connsiteX38" fmla="*/ 14288 w 279082"/>
                <a:gd name="connsiteY38" fmla="*/ 66675 h 133350"/>
                <a:gd name="connsiteX39" fmla="*/ 0 w 279082"/>
                <a:gd name="connsiteY39" fmla="*/ 60008 h 133350"/>
                <a:gd name="connsiteX40" fmla="*/ 3810 w 279082"/>
                <a:gd name="connsiteY40" fmla="*/ 52388 h 133350"/>
                <a:gd name="connsiteX41" fmla="*/ 11430 w 279082"/>
                <a:gd name="connsiteY41" fmla="*/ 35338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79082" h="133350">
                  <a:moveTo>
                    <a:pt x="11430" y="35338"/>
                  </a:moveTo>
                  <a:lnTo>
                    <a:pt x="28575" y="13430"/>
                  </a:lnTo>
                  <a:lnTo>
                    <a:pt x="49530" y="13430"/>
                  </a:lnTo>
                  <a:lnTo>
                    <a:pt x="57150" y="21050"/>
                  </a:lnTo>
                  <a:lnTo>
                    <a:pt x="88582" y="17145"/>
                  </a:lnTo>
                  <a:lnTo>
                    <a:pt x="92392" y="6763"/>
                  </a:lnTo>
                  <a:lnTo>
                    <a:pt x="105727" y="0"/>
                  </a:lnTo>
                  <a:lnTo>
                    <a:pt x="127635" y="2858"/>
                  </a:lnTo>
                  <a:lnTo>
                    <a:pt x="130492" y="17145"/>
                  </a:lnTo>
                  <a:lnTo>
                    <a:pt x="236220" y="13430"/>
                  </a:lnTo>
                  <a:lnTo>
                    <a:pt x="246697" y="24860"/>
                  </a:lnTo>
                  <a:lnTo>
                    <a:pt x="260985" y="27718"/>
                  </a:lnTo>
                  <a:lnTo>
                    <a:pt x="279082" y="35338"/>
                  </a:lnTo>
                  <a:lnTo>
                    <a:pt x="267652" y="42005"/>
                  </a:lnTo>
                  <a:lnTo>
                    <a:pt x="243840" y="56293"/>
                  </a:lnTo>
                  <a:lnTo>
                    <a:pt x="221932" y="62960"/>
                  </a:lnTo>
                  <a:lnTo>
                    <a:pt x="215265" y="77248"/>
                  </a:lnTo>
                  <a:lnTo>
                    <a:pt x="180022" y="77248"/>
                  </a:lnTo>
                  <a:lnTo>
                    <a:pt x="173355" y="95250"/>
                  </a:lnTo>
                  <a:lnTo>
                    <a:pt x="144780" y="102013"/>
                  </a:lnTo>
                  <a:lnTo>
                    <a:pt x="144780" y="91535"/>
                  </a:lnTo>
                  <a:lnTo>
                    <a:pt x="120015" y="91535"/>
                  </a:lnTo>
                  <a:lnTo>
                    <a:pt x="116205" y="102013"/>
                  </a:lnTo>
                  <a:lnTo>
                    <a:pt x="102870" y="108680"/>
                  </a:lnTo>
                  <a:lnTo>
                    <a:pt x="95250" y="116300"/>
                  </a:lnTo>
                  <a:lnTo>
                    <a:pt x="92392" y="133350"/>
                  </a:lnTo>
                  <a:lnTo>
                    <a:pt x="57150" y="133350"/>
                  </a:lnTo>
                  <a:lnTo>
                    <a:pt x="32385" y="130588"/>
                  </a:lnTo>
                  <a:lnTo>
                    <a:pt x="11430" y="130588"/>
                  </a:lnTo>
                  <a:lnTo>
                    <a:pt x="7620" y="116300"/>
                  </a:lnTo>
                  <a:lnTo>
                    <a:pt x="3810" y="105823"/>
                  </a:lnTo>
                  <a:lnTo>
                    <a:pt x="7620" y="98108"/>
                  </a:lnTo>
                  <a:lnTo>
                    <a:pt x="14288" y="105823"/>
                  </a:lnTo>
                  <a:lnTo>
                    <a:pt x="35242" y="105823"/>
                  </a:lnTo>
                  <a:lnTo>
                    <a:pt x="53340" y="98108"/>
                  </a:lnTo>
                  <a:lnTo>
                    <a:pt x="67627" y="83820"/>
                  </a:lnTo>
                  <a:lnTo>
                    <a:pt x="53340" y="70580"/>
                  </a:lnTo>
                  <a:lnTo>
                    <a:pt x="35242" y="60008"/>
                  </a:lnTo>
                  <a:lnTo>
                    <a:pt x="14288" y="66675"/>
                  </a:lnTo>
                  <a:lnTo>
                    <a:pt x="0" y="60008"/>
                  </a:lnTo>
                  <a:lnTo>
                    <a:pt x="3810" y="52388"/>
                  </a:lnTo>
                  <a:lnTo>
                    <a:pt x="11430" y="3533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2751" name="Freeform: Shape 2750">
              <a:extLst>
                <a:ext uri="{FF2B5EF4-FFF2-40B4-BE49-F238E27FC236}">
                  <a16:creationId xmlns:a16="http://schemas.microsoft.com/office/drawing/2014/main" id="{8A08CFA8-640C-A178-A761-C4F2EB4446C6}"/>
                </a:ext>
              </a:extLst>
            </p:cNvPr>
            <p:cNvSpPr/>
            <p:nvPr/>
          </p:nvSpPr>
          <p:spPr>
            <a:xfrm>
              <a:off x="7275855" y="2853683"/>
              <a:ext cx="1104595" cy="515419"/>
            </a:xfrm>
            <a:custGeom>
              <a:avLst/>
              <a:gdLst>
                <a:gd name="connsiteX0" fmla="*/ 189548 w 1126807"/>
                <a:gd name="connsiteY0" fmla="*/ 461963 h 525779"/>
                <a:gd name="connsiteX1" fmla="*/ 164783 w 1126807"/>
                <a:gd name="connsiteY1" fmla="*/ 459105 h 525779"/>
                <a:gd name="connsiteX2" fmla="*/ 137160 w 1126807"/>
                <a:gd name="connsiteY2" fmla="*/ 437102 h 525779"/>
                <a:gd name="connsiteX3" fmla="*/ 116205 w 1126807"/>
                <a:gd name="connsiteY3" fmla="*/ 412432 h 525779"/>
                <a:gd name="connsiteX4" fmla="*/ 101918 w 1126807"/>
                <a:gd name="connsiteY4" fmla="*/ 395288 h 525779"/>
                <a:gd name="connsiteX5" fmla="*/ 112395 w 1126807"/>
                <a:gd name="connsiteY5" fmla="*/ 387667 h 525779"/>
                <a:gd name="connsiteX6" fmla="*/ 137160 w 1126807"/>
                <a:gd name="connsiteY6" fmla="*/ 391382 h 525779"/>
                <a:gd name="connsiteX7" fmla="*/ 133350 w 1126807"/>
                <a:gd name="connsiteY7" fmla="*/ 370427 h 525779"/>
                <a:gd name="connsiteX8" fmla="*/ 143828 w 1126807"/>
                <a:gd name="connsiteY8" fmla="*/ 363855 h 525779"/>
                <a:gd name="connsiteX9" fmla="*/ 164783 w 1126807"/>
                <a:gd name="connsiteY9" fmla="*/ 366713 h 525779"/>
                <a:gd name="connsiteX10" fmla="*/ 182880 w 1126807"/>
                <a:gd name="connsiteY10" fmla="*/ 370427 h 525779"/>
                <a:gd name="connsiteX11" fmla="*/ 189548 w 1126807"/>
                <a:gd name="connsiteY11" fmla="*/ 345757 h 525779"/>
                <a:gd name="connsiteX12" fmla="*/ 176213 w 1126807"/>
                <a:gd name="connsiteY12" fmla="*/ 310420 h 525779"/>
                <a:gd name="connsiteX13" fmla="*/ 143828 w 1126807"/>
                <a:gd name="connsiteY13" fmla="*/ 310420 h 525779"/>
                <a:gd name="connsiteX14" fmla="*/ 112395 w 1126807"/>
                <a:gd name="connsiteY14" fmla="*/ 314325 h 525779"/>
                <a:gd name="connsiteX15" fmla="*/ 70485 w 1126807"/>
                <a:gd name="connsiteY15" fmla="*/ 331470 h 525779"/>
                <a:gd name="connsiteX16" fmla="*/ 62865 w 1126807"/>
                <a:gd name="connsiteY16" fmla="*/ 306705 h 525779"/>
                <a:gd name="connsiteX17" fmla="*/ 41910 w 1126807"/>
                <a:gd name="connsiteY17" fmla="*/ 279082 h 525779"/>
                <a:gd name="connsiteX18" fmla="*/ 17145 w 1126807"/>
                <a:gd name="connsiteY18" fmla="*/ 271463 h 525779"/>
                <a:gd name="connsiteX19" fmla="*/ 0 w 1126807"/>
                <a:gd name="connsiteY19" fmla="*/ 246602 h 525779"/>
                <a:gd name="connsiteX20" fmla="*/ 10478 w 1126807"/>
                <a:gd name="connsiteY20" fmla="*/ 204788 h 525779"/>
                <a:gd name="connsiteX21" fmla="*/ 31433 w 1126807"/>
                <a:gd name="connsiteY21" fmla="*/ 179927 h 525779"/>
                <a:gd name="connsiteX22" fmla="*/ 45720 w 1126807"/>
                <a:gd name="connsiteY22" fmla="*/ 208502 h 525779"/>
                <a:gd name="connsiteX23" fmla="*/ 59055 w 1126807"/>
                <a:gd name="connsiteY23" fmla="*/ 200882 h 525779"/>
                <a:gd name="connsiteX24" fmla="*/ 62865 w 1126807"/>
                <a:gd name="connsiteY24" fmla="*/ 179927 h 525779"/>
                <a:gd name="connsiteX25" fmla="*/ 105728 w 1126807"/>
                <a:gd name="connsiteY25" fmla="*/ 148495 h 525779"/>
                <a:gd name="connsiteX26" fmla="*/ 133350 w 1126807"/>
                <a:gd name="connsiteY26" fmla="*/ 138113 h 525779"/>
                <a:gd name="connsiteX27" fmla="*/ 197168 w 1126807"/>
                <a:gd name="connsiteY27" fmla="*/ 148495 h 525779"/>
                <a:gd name="connsiteX28" fmla="*/ 239078 w 1126807"/>
                <a:gd name="connsiteY28" fmla="*/ 173355 h 525779"/>
                <a:gd name="connsiteX29" fmla="*/ 263843 w 1126807"/>
                <a:gd name="connsiteY29" fmla="*/ 176213 h 525779"/>
                <a:gd name="connsiteX30" fmla="*/ 302895 w 1126807"/>
                <a:gd name="connsiteY30" fmla="*/ 159067 h 525779"/>
                <a:gd name="connsiteX31" fmla="*/ 334328 w 1126807"/>
                <a:gd name="connsiteY31" fmla="*/ 159067 h 525779"/>
                <a:gd name="connsiteX32" fmla="*/ 351473 w 1126807"/>
                <a:gd name="connsiteY32" fmla="*/ 176213 h 525779"/>
                <a:gd name="connsiteX33" fmla="*/ 397193 w 1126807"/>
                <a:gd name="connsiteY33" fmla="*/ 173355 h 525779"/>
                <a:gd name="connsiteX34" fmla="*/ 419100 w 1126807"/>
                <a:gd name="connsiteY34" fmla="*/ 155257 h 525779"/>
                <a:gd name="connsiteX35" fmla="*/ 401003 w 1126807"/>
                <a:gd name="connsiteY35" fmla="*/ 140970 h 525779"/>
                <a:gd name="connsiteX36" fmla="*/ 376238 w 1126807"/>
                <a:gd name="connsiteY36" fmla="*/ 134207 h 525779"/>
                <a:gd name="connsiteX37" fmla="*/ 386715 w 1126807"/>
                <a:gd name="connsiteY37" fmla="*/ 119920 h 525779"/>
                <a:gd name="connsiteX38" fmla="*/ 397193 w 1126807"/>
                <a:gd name="connsiteY38" fmla="*/ 109538 h 525779"/>
                <a:gd name="connsiteX39" fmla="*/ 401003 w 1126807"/>
                <a:gd name="connsiteY39" fmla="*/ 91345 h 525779"/>
                <a:gd name="connsiteX40" fmla="*/ 421958 w 1126807"/>
                <a:gd name="connsiteY40" fmla="*/ 84677 h 525779"/>
                <a:gd name="connsiteX41" fmla="*/ 415290 w 1126807"/>
                <a:gd name="connsiteY41" fmla="*/ 70390 h 525779"/>
                <a:gd name="connsiteX42" fmla="*/ 408623 w 1126807"/>
                <a:gd name="connsiteY42" fmla="*/ 53245 h 525779"/>
                <a:gd name="connsiteX43" fmla="*/ 446723 w 1126807"/>
                <a:gd name="connsiteY43" fmla="*/ 49530 h 525779"/>
                <a:gd name="connsiteX44" fmla="*/ 492443 w 1126807"/>
                <a:gd name="connsiteY44" fmla="*/ 35242 h 525779"/>
                <a:gd name="connsiteX45" fmla="*/ 556260 w 1126807"/>
                <a:gd name="connsiteY45" fmla="*/ 18002 h 525779"/>
                <a:gd name="connsiteX46" fmla="*/ 608648 w 1126807"/>
                <a:gd name="connsiteY46" fmla="*/ 7620 h 525779"/>
                <a:gd name="connsiteX47" fmla="*/ 641033 w 1126807"/>
                <a:gd name="connsiteY47" fmla="*/ 0 h 525779"/>
                <a:gd name="connsiteX48" fmla="*/ 676275 w 1126807"/>
                <a:gd name="connsiteY48" fmla="*/ 3715 h 525779"/>
                <a:gd name="connsiteX49" fmla="*/ 682943 w 1126807"/>
                <a:gd name="connsiteY49" fmla="*/ 28575 h 525779"/>
                <a:gd name="connsiteX50" fmla="*/ 700088 w 1126807"/>
                <a:gd name="connsiteY50" fmla="*/ 38957 h 525779"/>
                <a:gd name="connsiteX51" fmla="*/ 735330 w 1126807"/>
                <a:gd name="connsiteY51" fmla="*/ 49530 h 525779"/>
                <a:gd name="connsiteX52" fmla="*/ 770573 w 1126807"/>
                <a:gd name="connsiteY52" fmla="*/ 67532 h 525779"/>
                <a:gd name="connsiteX53" fmla="*/ 802958 w 1126807"/>
                <a:gd name="connsiteY53" fmla="*/ 49530 h 525779"/>
                <a:gd name="connsiteX54" fmla="*/ 841058 w 1126807"/>
                <a:gd name="connsiteY54" fmla="*/ 38957 h 525779"/>
                <a:gd name="connsiteX55" fmla="*/ 844868 w 1126807"/>
                <a:gd name="connsiteY55" fmla="*/ 56102 h 525779"/>
                <a:gd name="connsiteX56" fmla="*/ 876300 w 1126807"/>
                <a:gd name="connsiteY56" fmla="*/ 78105 h 525779"/>
                <a:gd name="connsiteX57" fmla="*/ 897255 w 1126807"/>
                <a:gd name="connsiteY57" fmla="*/ 105632 h 525779"/>
                <a:gd name="connsiteX58" fmla="*/ 922020 w 1126807"/>
                <a:gd name="connsiteY58" fmla="*/ 148495 h 525779"/>
                <a:gd name="connsiteX59" fmla="*/ 929640 w 1126807"/>
                <a:gd name="connsiteY59" fmla="*/ 162782 h 525779"/>
                <a:gd name="connsiteX60" fmla="*/ 943928 w 1126807"/>
                <a:gd name="connsiteY60" fmla="*/ 162782 h 525779"/>
                <a:gd name="connsiteX61" fmla="*/ 950595 w 1126807"/>
                <a:gd name="connsiteY61" fmla="*/ 148495 h 525779"/>
                <a:gd name="connsiteX62" fmla="*/ 967740 w 1126807"/>
                <a:gd name="connsiteY62" fmla="*/ 159067 h 525779"/>
                <a:gd name="connsiteX63" fmla="*/ 989648 w 1126807"/>
                <a:gd name="connsiteY63" fmla="*/ 169545 h 525779"/>
                <a:gd name="connsiteX64" fmla="*/ 1006793 w 1126807"/>
                <a:gd name="connsiteY64" fmla="*/ 165640 h 525779"/>
                <a:gd name="connsiteX65" fmla="*/ 1038225 w 1126807"/>
                <a:gd name="connsiteY65" fmla="*/ 162782 h 525779"/>
                <a:gd name="connsiteX66" fmla="*/ 1056323 w 1126807"/>
                <a:gd name="connsiteY66" fmla="*/ 186595 h 525779"/>
                <a:gd name="connsiteX67" fmla="*/ 1081088 w 1126807"/>
                <a:gd name="connsiteY67" fmla="*/ 204788 h 525779"/>
                <a:gd name="connsiteX68" fmla="*/ 1119188 w 1126807"/>
                <a:gd name="connsiteY68" fmla="*/ 208502 h 525779"/>
                <a:gd name="connsiteX69" fmla="*/ 1126808 w 1126807"/>
                <a:gd name="connsiteY69" fmla="*/ 233363 h 525779"/>
                <a:gd name="connsiteX70" fmla="*/ 1122998 w 1126807"/>
                <a:gd name="connsiteY70" fmla="*/ 250507 h 525779"/>
                <a:gd name="connsiteX71" fmla="*/ 1102043 w 1126807"/>
                <a:gd name="connsiteY71" fmla="*/ 250507 h 525779"/>
                <a:gd name="connsiteX72" fmla="*/ 1095375 w 1126807"/>
                <a:gd name="connsiteY72" fmla="*/ 275177 h 525779"/>
                <a:gd name="connsiteX73" fmla="*/ 1095375 w 1126807"/>
                <a:gd name="connsiteY73" fmla="*/ 300038 h 525779"/>
                <a:gd name="connsiteX74" fmla="*/ 1077278 w 1126807"/>
                <a:gd name="connsiteY74" fmla="*/ 303752 h 525779"/>
                <a:gd name="connsiteX75" fmla="*/ 1048703 w 1126807"/>
                <a:gd name="connsiteY75" fmla="*/ 303752 h 525779"/>
                <a:gd name="connsiteX76" fmla="*/ 1021080 w 1126807"/>
                <a:gd name="connsiteY76" fmla="*/ 300038 h 525779"/>
                <a:gd name="connsiteX77" fmla="*/ 1002983 w 1126807"/>
                <a:gd name="connsiteY77" fmla="*/ 341852 h 525779"/>
                <a:gd name="connsiteX78" fmla="*/ 996315 w 1126807"/>
                <a:gd name="connsiteY78" fmla="*/ 366713 h 525779"/>
                <a:gd name="connsiteX79" fmla="*/ 964883 w 1126807"/>
                <a:gd name="connsiteY79" fmla="*/ 366713 h 525779"/>
                <a:gd name="connsiteX80" fmla="*/ 943928 w 1126807"/>
                <a:gd name="connsiteY80" fmla="*/ 377095 h 525779"/>
                <a:gd name="connsiteX81" fmla="*/ 946785 w 1126807"/>
                <a:gd name="connsiteY81" fmla="*/ 409575 h 525779"/>
                <a:gd name="connsiteX82" fmla="*/ 957263 w 1126807"/>
                <a:gd name="connsiteY82" fmla="*/ 437102 h 525779"/>
                <a:gd name="connsiteX83" fmla="*/ 943928 w 1126807"/>
                <a:gd name="connsiteY83" fmla="*/ 451390 h 525779"/>
                <a:gd name="connsiteX84" fmla="*/ 943928 w 1126807"/>
                <a:gd name="connsiteY84" fmla="*/ 469582 h 525779"/>
                <a:gd name="connsiteX85" fmla="*/ 925830 w 1126807"/>
                <a:gd name="connsiteY85" fmla="*/ 461963 h 525779"/>
                <a:gd name="connsiteX86" fmla="*/ 911543 w 1126807"/>
                <a:gd name="connsiteY86" fmla="*/ 459105 h 525779"/>
                <a:gd name="connsiteX87" fmla="*/ 901065 w 1126807"/>
                <a:gd name="connsiteY87" fmla="*/ 447675 h 525779"/>
                <a:gd name="connsiteX88" fmla="*/ 795338 w 1126807"/>
                <a:gd name="connsiteY88" fmla="*/ 451390 h 525779"/>
                <a:gd name="connsiteX89" fmla="*/ 792480 w 1126807"/>
                <a:gd name="connsiteY89" fmla="*/ 437102 h 525779"/>
                <a:gd name="connsiteX90" fmla="*/ 770573 w 1126807"/>
                <a:gd name="connsiteY90" fmla="*/ 434245 h 525779"/>
                <a:gd name="connsiteX91" fmla="*/ 757238 w 1126807"/>
                <a:gd name="connsiteY91" fmla="*/ 441007 h 525779"/>
                <a:gd name="connsiteX92" fmla="*/ 753428 w 1126807"/>
                <a:gd name="connsiteY92" fmla="*/ 451390 h 525779"/>
                <a:gd name="connsiteX93" fmla="*/ 721995 w 1126807"/>
                <a:gd name="connsiteY93" fmla="*/ 455295 h 525779"/>
                <a:gd name="connsiteX94" fmla="*/ 714375 w 1126807"/>
                <a:gd name="connsiteY94" fmla="*/ 447675 h 525779"/>
                <a:gd name="connsiteX95" fmla="*/ 693420 w 1126807"/>
                <a:gd name="connsiteY95" fmla="*/ 447675 h 525779"/>
                <a:gd name="connsiteX96" fmla="*/ 676275 w 1126807"/>
                <a:gd name="connsiteY96" fmla="*/ 469582 h 525779"/>
                <a:gd name="connsiteX97" fmla="*/ 661988 w 1126807"/>
                <a:gd name="connsiteY97" fmla="*/ 476250 h 525779"/>
                <a:gd name="connsiteX98" fmla="*/ 619125 w 1126807"/>
                <a:gd name="connsiteY98" fmla="*/ 507682 h 525779"/>
                <a:gd name="connsiteX99" fmla="*/ 616268 w 1126807"/>
                <a:gd name="connsiteY99" fmla="*/ 525780 h 525779"/>
                <a:gd name="connsiteX100" fmla="*/ 601980 w 1126807"/>
                <a:gd name="connsiteY100" fmla="*/ 525780 h 525779"/>
                <a:gd name="connsiteX101" fmla="*/ 601980 w 1126807"/>
                <a:gd name="connsiteY101" fmla="*/ 507682 h 525779"/>
                <a:gd name="connsiteX102" fmla="*/ 594360 w 1126807"/>
                <a:gd name="connsiteY102" fmla="*/ 504825 h 525779"/>
                <a:gd name="connsiteX103" fmla="*/ 562928 w 1126807"/>
                <a:gd name="connsiteY103" fmla="*/ 507682 h 525779"/>
                <a:gd name="connsiteX104" fmla="*/ 560070 w 1126807"/>
                <a:gd name="connsiteY104" fmla="*/ 479965 h 525779"/>
                <a:gd name="connsiteX105" fmla="*/ 541973 w 1126807"/>
                <a:gd name="connsiteY105" fmla="*/ 465677 h 525779"/>
                <a:gd name="connsiteX106" fmla="*/ 541973 w 1126807"/>
                <a:gd name="connsiteY106" fmla="*/ 451390 h 525779"/>
                <a:gd name="connsiteX107" fmla="*/ 510540 w 1126807"/>
                <a:gd name="connsiteY107" fmla="*/ 419957 h 525779"/>
                <a:gd name="connsiteX108" fmla="*/ 496253 w 1126807"/>
                <a:gd name="connsiteY108" fmla="*/ 422815 h 525779"/>
                <a:gd name="connsiteX109" fmla="*/ 429578 w 1126807"/>
                <a:gd name="connsiteY109" fmla="*/ 426720 h 525779"/>
                <a:gd name="connsiteX110" fmla="*/ 404813 w 1126807"/>
                <a:gd name="connsiteY110" fmla="*/ 395288 h 525779"/>
                <a:gd name="connsiteX111" fmla="*/ 359093 w 1126807"/>
                <a:gd name="connsiteY111" fmla="*/ 370427 h 525779"/>
                <a:gd name="connsiteX112" fmla="*/ 344805 w 1126807"/>
                <a:gd name="connsiteY112" fmla="*/ 360045 h 525779"/>
                <a:gd name="connsiteX113" fmla="*/ 295275 w 1126807"/>
                <a:gd name="connsiteY113" fmla="*/ 366713 h 525779"/>
                <a:gd name="connsiteX114" fmla="*/ 263843 w 1126807"/>
                <a:gd name="connsiteY114" fmla="*/ 374332 h 525779"/>
                <a:gd name="connsiteX115" fmla="*/ 263843 w 1126807"/>
                <a:gd name="connsiteY115" fmla="*/ 504825 h 525779"/>
                <a:gd name="connsiteX116" fmla="*/ 245745 w 1126807"/>
                <a:gd name="connsiteY116" fmla="*/ 500920 h 525779"/>
                <a:gd name="connsiteX117" fmla="*/ 232410 w 1126807"/>
                <a:gd name="connsiteY117" fmla="*/ 476250 h 525779"/>
                <a:gd name="connsiteX118" fmla="*/ 210503 w 1126807"/>
                <a:gd name="connsiteY118" fmla="*/ 461963 h 525779"/>
                <a:gd name="connsiteX119" fmla="*/ 200025 w 1126807"/>
                <a:gd name="connsiteY119" fmla="*/ 465677 h 525779"/>
                <a:gd name="connsiteX120" fmla="*/ 189548 w 1126807"/>
                <a:gd name="connsiteY120" fmla="*/ 461963 h 525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1126807" h="525779">
                  <a:moveTo>
                    <a:pt x="189548" y="461963"/>
                  </a:moveTo>
                  <a:lnTo>
                    <a:pt x="164783" y="459105"/>
                  </a:lnTo>
                  <a:lnTo>
                    <a:pt x="137160" y="437102"/>
                  </a:lnTo>
                  <a:lnTo>
                    <a:pt x="116205" y="412432"/>
                  </a:lnTo>
                  <a:lnTo>
                    <a:pt x="101918" y="395288"/>
                  </a:lnTo>
                  <a:lnTo>
                    <a:pt x="112395" y="387667"/>
                  </a:lnTo>
                  <a:lnTo>
                    <a:pt x="137160" y="391382"/>
                  </a:lnTo>
                  <a:lnTo>
                    <a:pt x="133350" y="370427"/>
                  </a:lnTo>
                  <a:lnTo>
                    <a:pt x="143828" y="363855"/>
                  </a:lnTo>
                  <a:lnTo>
                    <a:pt x="164783" y="366713"/>
                  </a:lnTo>
                  <a:lnTo>
                    <a:pt x="182880" y="370427"/>
                  </a:lnTo>
                  <a:lnTo>
                    <a:pt x="189548" y="345757"/>
                  </a:lnTo>
                  <a:lnTo>
                    <a:pt x="176213" y="310420"/>
                  </a:lnTo>
                  <a:lnTo>
                    <a:pt x="143828" y="310420"/>
                  </a:lnTo>
                  <a:lnTo>
                    <a:pt x="112395" y="314325"/>
                  </a:lnTo>
                  <a:lnTo>
                    <a:pt x="70485" y="331470"/>
                  </a:lnTo>
                  <a:lnTo>
                    <a:pt x="62865" y="306705"/>
                  </a:lnTo>
                  <a:lnTo>
                    <a:pt x="41910" y="279082"/>
                  </a:lnTo>
                  <a:lnTo>
                    <a:pt x="17145" y="271463"/>
                  </a:lnTo>
                  <a:lnTo>
                    <a:pt x="0" y="246602"/>
                  </a:lnTo>
                  <a:lnTo>
                    <a:pt x="10478" y="204788"/>
                  </a:lnTo>
                  <a:lnTo>
                    <a:pt x="31433" y="179927"/>
                  </a:lnTo>
                  <a:lnTo>
                    <a:pt x="45720" y="208502"/>
                  </a:lnTo>
                  <a:lnTo>
                    <a:pt x="59055" y="200882"/>
                  </a:lnTo>
                  <a:lnTo>
                    <a:pt x="62865" y="179927"/>
                  </a:lnTo>
                  <a:lnTo>
                    <a:pt x="105728" y="148495"/>
                  </a:lnTo>
                  <a:lnTo>
                    <a:pt x="133350" y="138113"/>
                  </a:lnTo>
                  <a:lnTo>
                    <a:pt x="197168" y="148495"/>
                  </a:lnTo>
                  <a:lnTo>
                    <a:pt x="239078" y="173355"/>
                  </a:lnTo>
                  <a:lnTo>
                    <a:pt x="263843" y="176213"/>
                  </a:lnTo>
                  <a:lnTo>
                    <a:pt x="302895" y="159067"/>
                  </a:lnTo>
                  <a:lnTo>
                    <a:pt x="334328" y="159067"/>
                  </a:lnTo>
                  <a:lnTo>
                    <a:pt x="351473" y="176213"/>
                  </a:lnTo>
                  <a:lnTo>
                    <a:pt x="397193" y="173355"/>
                  </a:lnTo>
                  <a:lnTo>
                    <a:pt x="419100" y="155257"/>
                  </a:lnTo>
                  <a:lnTo>
                    <a:pt x="401003" y="140970"/>
                  </a:lnTo>
                  <a:lnTo>
                    <a:pt x="376238" y="134207"/>
                  </a:lnTo>
                  <a:lnTo>
                    <a:pt x="386715" y="119920"/>
                  </a:lnTo>
                  <a:lnTo>
                    <a:pt x="397193" y="109538"/>
                  </a:lnTo>
                  <a:lnTo>
                    <a:pt x="401003" y="91345"/>
                  </a:lnTo>
                  <a:lnTo>
                    <a:pt x="421958" y="84677"/>
                  </a:lnTo>
                  <a:lnTo>
                    <a:pt x="415290" y="70390"/>
                  </a:lnTo>
                  <a:lnTo>
                    <a:pt x="408623" y="53245"/>
                  </a:lnTo>
                  <a:lnTo>
                    <a:pt x="446723" y="49530"/>
                  </a:lnTo>
                  <a:lnTo>
                    <a:pt x="492443" y="35242"/>
                  </a:lnTo>
                  <a:lnTo>
                    <a:pt x="556260" y="18002"/>
                  </a:lnTo>
                  <a:lnTo>
                    <a:pt x="608648" y="7620"/>
                  </a:lnTo>
                  <a:lnTo>
                    <a:pt x="641033" y="0"/>
                  </a:lnTo>
                  <a:lnTo>
                    <a:pt x="676275" y="3715"/>
                  </a:lnTo>
                  <a:lnTo>
                    <a:pt x="682943" y="28575"/>
                  </a:lnTo>
                  <a:lnTo>
                    <a:pt x="700088" y="38957"/>
                  </a:lnTo>
                  <a:lnTo>
                    <a:pt x="735330" y="49530"/>
                  </a:lnTo>
                  <a:lnTo>
                    <a:pt x="770573" y="67532"/>
                  </a:lnTo>
                  <a:lnTo>
                    <a:pt x="802958" y="49530"/>
                  </a:lnTo>
                  <a:lnTo>
                    <a:pt x="841058" y="38957"/>
                  </a:lnTo>
                  <a:lnTo>
                    <a:pt x="844868" y="56102"/>
                  </a:lnTo>
                  <a:lnTo>
                    <a:pt x="876300" y="78105"/>
                  </a:lnTo>
                  <a:lnTo>
                    <a:pt x="897255" y="105632"/>
                  </a:lnTo>
                  <a:lnTo>
                    <a:pt x="922020" y="148495"/>
                  </a:lnTo>
                  <a:lnTo>
                    <a:pt x="929640" y="162782"/>
                  </a:lnTo>
                  <a:lnTo>
                    <a:pt x="943928" y="162782"/>
                  </a:lnTo>
                  <a:lnTo>
                    <a:pt x="950595" y="148495"/>
                  </a:lnTo>
                  <a:lnTo>
                    <a:pt x="967740" y="159067"/>
                  </a:lnTo>
                  <a:lnTo>
                    <a:pt x="989648" y="169545"/>
                  </a:lnTo>
                  <a:lnTo>
                    <a:pt x="1006793" y="165640"/>
                  </a:lnTo>
                  <a:lnTo>
                    <a:pt x="1038225" y="162782"/>
                  </a:lnTo>
                  <a:lnTo>
                    <a:pt x="1056323" y="186595"/>
                  </a:lnTo>
                  <a:lnTo>
                    <a:pt x="1081088" y="204788"/>
                  </a:lnTo>
                  <a:lnTo>
                    <a:pt x="1119188" y="208502"/>
                  </a:lnTo>
                  <a:lnTo>
                    <a:pt x="1126808" y="233363"/>
                  </a:lnTo>
                  <a:lnTo>
                    <a:pt x="1122998" y="250507"/>
                  </a:lnTo>
                  <a:lnTo>
                    <a:pt x="1102043" y="250507"/>
                  </a:lnTo>
                  <a:lnTo>
                    <a:pt x="1095375" y="275177"/>
                  </a:lnTo>
                  <a:lnTo>
                    <a:pt x="1095375" y="300038"/>
                  </a:lnTo>
                  <a:lnTo>
                    <a:pt x="1077278" y="303752"/>
                  </a:lnTo>
                  <a:lnTo>
                    <a:pt x="1048703" y="303752"/>
                  </a:lnTo>
                  <a:lnTo>
                    <a:pt x="1021080" y="300038"/>
                  </a:lnTo>
                  <a:lnTo>
                    <a:pt x="1002983" y="341852"/>
                  </a:lnTo>
                  <a:lnTo>
                    <a:pt x="996315" y="366713"/>
                  </a:lnTo>
                  <a:lnTo>
                    <a:pt x="964883" y="366713"/>
                  </a:lnTo>
                  <a:lnTo>
                    <a:pt x="943928" y="377095"/>
                  </a:lnTo>
                  <a:lnTo>
                    <a:pt x="946785" y="409575"/>
                  </a:lnTo>
                  <a:lnTo>
                    <a:pt x="957263" y="437102"/>
                  </a:lnTo>
                  <a:lnTo>
                    <a:pt x="943928" y="451390"/>
                  </a:lnTo>
                  <a:lnTo>
                    <a:pt x="943928" y="469582"/>
                  </a:lnTo>
                  <a:lnTo>
                    <a:pt x="925830" y="461963"/>
                  </a:lnTo>
                  <a:lnTo>
                    <a:pt x="911543" y="459105"/>
                  </a:lnTo>
                  <a:lnTo>
                    <a:pt x="901065" y="447675"/>
                  </a:lnTo>
                  <a:lnTo>
                    <a:pt x="795338" y="451390"/>
                  </a:lnTo>
                  <a:lnTo>
                    <a:pt x="792480" y="437102"/>
                  </a:lnTo>
                  <a:lnTo>
                    <a:pt x="770573" y="434245"/>
                  </a:lnTo>
                  <a:lnTo>
                    <a:pt x="757238" y="441007"/>
                  </a:lnTo>
                  <a:lnTo>
                    <a:pt x="753428" y="451390"/>
                  </a:lnTo>
                  <a:lnTo>
                    <a:pt x="721995" y="455295"/>
                  </a:lnTo>
                  <a:lnTo>
                    <a:pt x="714375" y="447675"/>
                  </a:lnTo>
                  <a:lnTo>
                    <a:pt x="693420" y="447675"/>
                  </a:lnTo>
                  <a:lnTo>
                    <a:pt x="676275" y="469582"/>
                  </a:lnTo>
                  <a:lnTo>
                    <a:pt x="661988" y="476250"/>
                  </a:lnTo>
                  <a:lnTo>
                    <a:pt x="619125" y="507682"/>
                  </a:lnTo>
                  <a:lnTo>
                    <a:pt x="616268" y="525780"/>
                  </a:lnTo>
                  <a:lnTo>
                    <a:pt x="601980" y="525780"/>
                  </a:lnTo>
                  <a:lnTo>
                    <a:pt x="601980" y="507682"/>
                  </a:lnTo>
                  <a:lnTo>
                    <a:pt x="594360" y="504825"/>
                  </a:lnTo>
                  <a:lnTo>
                    <a:pt x="562928" y="507682"/>
                  </a:lnTo>
                  <a:lnTo>
                    <a:pt x="560070" y="479965"/>
                  </a:lnTo>
                  <a:lnTo>
                    <a:pt x="541973" y="465677"/>
                  </a:lnTo>
                  <a:lnTo>
                    <a:pt x="541973" y="451390"/>
                  </a:lnTo>
                  <a:lnTo>
                    <a:pt x="510540" y="419957"/>
                  </a:lnTo>
                  <a:lnTo>
                    <a:pt x="496253" y="422815"/>
                  </a:lnTo>
                  <a:lnTo>
                    <a:pt x="429578" y="426720"/>
                  </a:lnTo>
                  <a:lnTo>
                    <a:pt x="404813" y="395288"/>
                  </a:lnTo>
                  <a:lnTo>
                    <a:pt x="359093" y="370427"/>
                  </a:lnTo>
                  <a:lnTo>
                    <a:pt x="344805" y="360045"/>
                  </a:lnTo>
                  <a:lnTo>
                    <a:pt x="295275" y="366713"/>
                  </a:lnTo>
                  <a:lnTo>
                    <a:pt x="263843" y="374332"/>
                  </a:lnTo>
                  <a:lnTo>
                    <a:pt x="263843" y="504825"/>
                  </a:lnTo>
                  <a:lnTo>
                    <a:pt x="245745" y="500920"/>
                  </a:lnTo>
                  <a:lnTo>
                    <a:pt x="232410" y="476250"/>
                  </a:lnTo>
                  <a:lnTo>
                    <a:pt x="210503" y="461963"/>
                  </a:lnTo>
                  <a:lnTo>
                    <a:pt x="200025" y="465677"/>
                  </a:lnTo>
                  <a:lnTo>
                    <a:pt x="189548" y="46196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48" name="Freeform: Shape 3647">
              <a:extLst>
                <a:ext uri="{FF2B5EF4-FFF2-40B4-BE49-F238E27FC236}">
                  <a16:creationId xmlns:a16="http://schemas.microsoft.com/office/drawing/2014/main" id="{1103FEF2-4432-85CD-9F23-5717D2459CDA}"/>
                </a:ext>
              </a:extLst>
            </p:cNvPr>
            <p:cNvSpPr/>
            <p:nvPr/>
          </p:nvSpPr>
          <p:spPr>
            <a:xfrm>
              <a:off x="9881880" y="2888231"/>
              <a:ext cx="72830" cy="300568"/>
            </a:xfrm>
            <a:custGeom>
              <a:avLst/>
              <a:gdLst>
                <a:gd name="connsiteX0" fmla="*/ 0 w 74294"/>
                <a:gd name="connsiteY0" fmla="*/ 293370 h 306609"/>
                <a:gd name="connsiteX1" fmla="*/ 10477 w 74294"/>
                <a:gd name="connsiteY1" fmla="*/ 306610 h 306609"/>
                <a:gd name="connsiteX2" fmla="*/ 18097 w 74294"/>
                <a:gd name="connsiteY2" fmla="*/ 281940 h 306609"/>
                <a:gd name="connsiteX3" fmla="*/ 31432 w 74294"/>
                <a:gd name="connsiteY3" fmla="*/ 285750 h 306609"/>
                <a:gd name="connsiteX4" fmla="*/ 42863 w 74294"/>
                <a:gd name="connsiteY4" fmla="*/ 300038 h 306609"/>
                <a:gd name="connsiteX5" fmla="*/ 45720 w 74294"/>
                <a:gd name="connsiteY5" fmla="*/ 285750 h 306609"/>
                <a:gd name="connsiteX6" fmla="*/ 39052 w 74294"/>
                <a:gd name="connsiteY6" fmla="*/ 271463 h 306609"/>
                <a:gd name="connsiteX7" fmla="*/ 24765 w 74294"/>
                <a:gd name="connsiteY7" fmla="*/ 254222 h 306609"/>
                <a:gd name="connsiteX8" fmla="*/ 18097 w 74294"/>
                <a:gd name="connsiteY8" fmla="*/ 236220 h 306609"/>
                <a:gd name="connsiteX9" fmla="*/ 24765 w 74294"/>
                <a:gd name="connsiteY9" fmla="*/ 221933 h 306609"/>
                <a:gd name="connsiteX10" fmla="*/ 31432 w 74294"/>
                <a:gd name="connsiteY10" fmla="*/ 200977 h 306609"/>
                <a:gd name="connsiteX11" fmla="*/ 39052 w 74294"/>
                <a:gd name="connsiteY11" fmla="*/ 190500 h 306609"/>
                <a:gd name="connsiteX12" fmla="*/ 53340 w 74294"/>
                <a:gd name="connsiteY12" fmla="*/ 186690 h 306609"/>
                <a:gd name="connsiteX13" fmla="*/ 74295 w 74294"/>
                <a:gd name="connsiteY13" fmla="*/ 204788 h 306609"/>
                <a:gd name="connsiteX14" fmla="*/ 74295 w 74294"/>
                <a:gd name="connsiteY14" fmla="*/ 183833 h 306609"/>
                <a:gd name="connsiteX15" fmla="*/ 56197 w 74294"/>
                <a:gd name="connsiteY15" fmla="*/ 155258 h 306609"/>
                <a:gd name="connsiteX16" fmla="*/ 49530 w 74294"/>
                <a:gd name="connsiteY16" fmla="*/ 109538 h 306609"/>
                <a:gd name="connsiteX17" fmla="*/ 42863 w 74294"/>
                <a:gd name="connsiteY17" fmla="*/ 74295 h 306609"/>
                <a:gd name="connsiteX18" fmla="*/ 39052 w 74294"/>
                <a:gd name="connsiteY18" fmla="*/ 45720 h 306609"/>
                <a:gd name="connsiteX19" fmla="*/ 35243 w 74294"/>
                <a:gd name="connsiteY19" fmla="*/ 20860 h 306609"/>
                <a:gd name="connsiteX20" fmla="*/ 28575 w 74294"/>
                <a:gd name="connsiteY20" fmla="*/ 0 h 306609"/>
                <a:gd name="connsiteX21" fmla="*/ 20955 w 74294"/>
                <a:gd name="connsiteY21" fmla="*/ 10477 h 306609"/>
                <a:gd name="connsiteX22" fmla="*/ 20955 w 74294"/>
                <a:gd name="connsiteY22" fmla="*/ 28575 h 306609"/>
                <a:gd name="connsiteX23" fmla="*/ 3810 w 74294"/>
                <a:gd name="connsiteY23" fmla="*/ 35147 h 306609"/>
                <a:gd name="connsiteX24" fmla="*/ 3810 w 74294"/>
                <a:gd name="connsiteY24" fmla="*/ 63722 h 306609"/>
                <a:gd name="connsiteX25" fmla="*/ 3810 w 74294"/>
                <a:gd name="connsiteY25" fmla="*/ 88583 h 306609"/>
                <a:gd name="connsiteX26" fmla="*/ 3810 w 74294"/>
                <a:gd name="connsiteY26" fmla="*/ 109538 h 306609"/>
                <a:gd name="connsiteX27" fmla="*/ 14288 w 74294"/>
                <a:gd name="connsiteY27" fmla="*/ 123825 h 306609"/>
                <a:gd name="connsiteX28" fmla="*/ 10477 w 74294"/>
                <a:gd name="connsiteY28" fmla="*/ 144685 h 306609"/>
                <a:gd name="connsiteX29" fmla="*/ 10477 w 74294"/>
                <a:gd name="connsiteY29" fmla="*/ 179927 h 306609"/>
                <a:gd name="connsiteX30" fmla="*/ 10477 w 74294"/>
                <a:gd name="connsiteY30" fmla="*/ 221933 h 306609"/>
                <a:gd name="connsiteX31" fmla="*/ 10477 w 74294"/>
                <a:gd name="connsiteY31" fmla="*/ 258127 h 306609"/>
                <a:gd name="connsiteX32" fmla="*/ 10477 w 74294"/>
                <a:gd name="connsiteY32" fmla="*/ 279083 h 306609"/>
                <a:gd name="connsiteX33" fmla="*/ 0 w 74294"/>
                <a:gd name="connsiteY33" fmla="*/ 293370 h 30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74294" h="306609">
                  <a:moveTo>
                    <a:pt x="0" y="293370"/>
                  </a:moveTo>
                  <a:lnTo>
                    <a:pt x="10477" y="306610"/>
                  </a:lnTo>
                  <a:lnTo>
                    <a:pt x="18097" y="281940"/>
                  </a:lnTo>
                  <a:lnTo>
                    <a:pt x="31432" y="285750"/>
                  </a:lnTo>
                  <a:lnTo>
                    <a:pt x="42863" y="300038"/>
                  </a:lnTo>
                  <a:lnTo>
                    <a:pt x="45720" y="285750"/>
                  </a:lnTo>
                  <a:lnTo>
                    <a:pt x="39052" y="271463"/>
                  </a:lnTo>
                  <a:lnTo>
                    <a:pt x="24765" y="254222"/>
                  </a:lnTo>
                  <a:lnTo>
                    <a:pt x="18097" y="236220"/>
                  </a:lnTo>
                  <a:lnTo>
                    <a:pt x="24765" y="221933"/>
                  </a:lnTo>
                  <a:lnTo>
                    <a:pt x="31432" y="200977"/>
                  </a:lnTo>
                  <a:lnTo>
                    <a:pt x="39052" y="190500"/>
                  </a:lnTo>
                  <a:lnTo>
                    <a:pt x="53340" y="186690"/>
                  </a:lnTo>
                  <a:lnTo>
                    <a:pt x="74295" y="204788"/>
                  </a:lnTo>
                  <a:lnTo>
                    <a:pt x="74295" y="183833"/>
                  </a:lnTo>
                  <a:lnTo>
                    <a:pt x="56197" y="155258"/>
                  </a:lnTo>
                  <a:lnTo>
                    <a:pt x="49530" y="109538"/>
                  </a:lnTo>
                  <a:lnTo>
                    <a:pt x="42863" y="74295"/>
                  </a:lnTo>
                  <a:lnTo>
                    <a:pt x="39052" y="45720"/>
                  </a:lnTo>
                  <a:lnTo>
                    <a:pt x="35243" y="20860"/>
                  </a:lnTo>
                  <a:lnTo>
                    <a:pt x="28575" y="0"/>
                  </a:lnTo>
                  <a:lnTo>
                    <a:pt x="20955" y="10477"/>
                  </a:lnTo>
                  <a:lnTo>
                    <a:pt x="20955" y="28575"/>
                  </a:lnTo>
                  <a:lnTo>
                    <a:pt x="3810" y="35147"/>
                  </a:lnTo>
                  <a:lnTo>
                    <a:pt x="3810" y="63722"/>
                  </a:lnTo>
                  <a:lnTo>
                    <a:pt x="3810" y="88583"/>
                  </a:lnTo>
                  <a:lnTo>
                    <a:pt x="3810" y="109538"/>
                  </a:lnTo>
                  <a:lnTo>
                    <a:pt x="14288" y="123825"/>
                  </a:lnTo>
                  <a:lnTo>
                    <a:pt x="10477" y="144685"/>
                  </a:lnTo>
                  <a:lnTo>
                    <a:pt x="10477" y="179927"/>
                  </a:lnTo>
                  <a:lnTo>
                    <a:pt x="10477" y="221933"/>
                  </a:lnTo>
                  <a:lnTo>
                    <a:pt x="10477" y="258127"/>
                  </a:lnTo>
                  <a:lnTo>
                    <a:pt x="10477" y="279083"/>
                  </a:lnTo>
                  <a:lnTo>
                    <a:pt x="0" y="29337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49" name="Freeform: Shape 3648">
              <a:extLst>
                <a:ext uri="{FF2B5EF4-FFF2-40B4-BE49-F238E27FC236}">
                  <a16:creationId xmlns:a16="http://schemas.microsoft.com/office/drawing/2014/main" id="{9DF6681D-671A-ED23-1DC4-D380FC50E3A3}"/>
                </a:ext>
              </a:extLst>
            </p:cNvPr>
            <p:cNvSpPr/>
            <p:nvPr/>
          </p:nvSpPr>
          <p:spPr>
            <a:xfrm>
              <a:off x="9881880" y="2888231"/>
              <a:ext cx="72830" cy="300568"/>
            </a:xfrm>
            <a:custGeom>
              <a:avLst/>
              <a:gdLst>
                <a:gd name="connsiteX0" fmla="*/ 0 w 74294"/>
                <a:gd name="connsiteY0" fmla="*/ 293370 h 306609"/>
                <a:gd name="connsiteX1" fmla="*/ 10477 w 74294"/>
                <a:gd name="connsiteY1" fmla="*/ 306610 h 306609"/>
                <a:gd name="connsiteX2" fmla="*/ 18097 w 74294"/>
                <a:gd name="connsiteY2" fmla="*/ 281940 h 306609"/>
                <a:gd name="connsiteX3" fmla="*/ 31432 w 74294"/>
                <a:gd name="connsiteY3" fmla="*/ 285750 h 306609"/>
                <a:gd name="connsiteX4" fmla="*/ 42863 w 74294"/>
                <a:gd name="connsiteY4" fmla="*/ 300038 h 306609"/>
                <a:gd name="connsiteX5" fmla="*/ 45720 w 74294"/>
                <a:gd name="connsiteY5" fmla="*/ 285750 h 306609"/>
                <a:gd name="connsiteX6" fmla="*/ 39052 w 74294"/>
                <a:gd name="connsiteY6" fmla="*/ 271463 h 306609"/>
                <a:gd name="connsiteX7" fmla="*/ 24765 w 74294"/>
                <a:gd name="connsiteY7" fmla="*/ 254222 h 306609"/>
                <a:gd name="connsiteX8" fmla="*/ 18097 w 74294"/>
                <a:gd name="connsiteY8" fmla="*/ 236220 h 306609"/>
                <a:gd name="connsiteX9" fmla="*/ 24765 w 74294"/>
                <a:gd name="connsiteY9" fmla="*/ 221933 h 306609"/>
                <a:gd name="connsiteX10" fmla="*/ 31432 w 74294"/>
                <a:gd name="connsiteY10" fmla="*/ 200977 h 306609"/>
                <a:gd name="connsiteX11" fmla="*/ 39052 w 74294"/>
                <a:gd name="connsiteY11" fmla="*/ 190500 h 306609"/>
                <a:gd name="connsiteX12" fmla="*/ 53340 w 74294"/>
                <a:gd name="connsiteY12" fmla="*/ 186690 h 306609"/>
                <a:gd name="connsiteX13" fmla="*/ 74295 w 74294"/>
                <a:gd name="connsiteY13" fmla="*/ 204788 h 306609"/>
                <a:gd name="connsiteX14" fmla="*/ 74295 w 74294"/>
                <a:gd name="connsiteY14" fmla="*/ 183833 h 306609"/>
                <a:gd name="connsiteX15" fmla="*/ 56197 w 74294"/>
                <a:gd name="connsiteY15" fmla="*/ 155258 h 306609"/>
                <a:gd name="connsiteX16" fmla="*/ 49530 w 74294"/>
                <a:gd name="connsiteY16" fmla="*/ 109538 h 306609"/>
                <a:gd name="connsiteX17" fmla="*/ 42863 w 74294"/>
                <a:gd name="connsiteY17" fmla="*/ 74295 h 306609"/>
                <a:gd name="connsiteX18" fmla="*/ 39052 w 74294"/>
                <a:gd name="connsiteY18" fmla="*/ 45720 h 306609"/>
                <a:gd name="connsiteX19" fmla="*/ 35243 w 74294"/>
                <a:gd name="connsiteY19" fmla="*/ 20860 h 306609"/>
                <a:gd name="connsiteX20" fmla="*/ 28575 w 74294"/>
                <a:gd name="connsiteY20" fmla="*/ 0 h 306609"/>
                <a:gd name="connsiteX21" fmla="*/ 20955 w 74294"/>
                <a:gd name="connsiteY21" fmla="*/ 10477 h 306609"/>
                <a:gd name="connsiteX22" fmla="*/ 20955 w 74294"/>
                <a:gd name="connsiteY22" fmla="*/ 28575 h 306609"/>
                <a:gd name="connsiteX23" fmla="*/ 3810 w 74294"/>
                <a:gd name="connsiteY23" fmla="*/ 35147 h 306609"/>
                <a:gd name="connsiteX24" fmla="*/ 3810 w 74294"/>
                <a:gd name="connsiteY24" fmla="*/ 63722 h 306609"/>
                <a:gd name="connsiteX25" fmla="*/ 3810 w 74294"/>
                <a:gd name="connsiteY25" fmla="*/ 88583 h 306609"/>
                <a:gd name="connsiteX26" fmla="*/ 3810 w 74294"/>
                <a:gd name="connsiteY26" fmla="*/ 109538 h 306609"/>
                <a:gd name="connsiteX27" fmla="*/ 14288 w 74294"/>
                <a:gd name="connsiteY27" fmla="*/ 123825 h 306609"/>
                <a:gd name="connsiteX28" fmla="*/ 10477 w 74294"/>
                <a:gd name="connsiteY28" fmla="*/ 144685 h 306609"/>
                <a:gd name="connsiteX29" fmla="*/ 10477 w 74294"/>
                <a:gd name="connsiteY29" fmla="*/ 179927 h 306609"/>
                <a:gd name="connsiteX30" fmla="*/ 10477 w 74294"/>
                <a:gd name="connsiteY30" fmla="*/ 221933 h 306609"/>
                <a:gd name="connsiteX31" fmla="*/ 10477 w 74294"/>
                <a:gd name="connsiteY31" fmla="*/ 258127 h 306609"/>
                <a:gd name="connsiteX32" fmla="*/ 10477 w 74294"/>
                <a:gd name="connsiteY32" fmla="*/ 279083 h 306609"/>
                <a:gd name="connsiteX33" fmla="*/ 0 w 74294"/>
                <a:gd name="connsiteY33" fmla="*/ 293370 h 306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74294" h="306609">
                  <a:moveTo>
                    <a:pt x="0" y="293370"/>
                  </a:moveTo>
                  <a:lnTo>
                    <a:pt x="10477" y="306610"/>
                  </a:lnTo>
                  <a:lnTo>
                    <a:pt x="18097" y="281940"/>
                  </a:lnTo>
                  <a:lnTo>
                    <a:pt x="31432" y="285750"/>
                  </a:lnTo>
                  <a:lnTo>
                    <a:pt x="42863" y="300038"/>
                  </a:lnTo>
                  <a:lnTo>
                    <a:pt x="45720" y="285750"/>
                  </a:lnTo>
                  <a:lnTo>
                    <a:pt x="39052" y="271463"/>
                  </a:lnTo>
                  <a:lnTo>
                    <a:pt x="24765" y="254222"/>
                  </a:lnTo>
                  <a:lnTo>
                    <a:pt x="18097" y="236220"/>
                  </a:lnTo>
                  <a:lnTo>
                    <a:pt x="24765" y="221933"/>
                  </a:lnTo>
                  <a:lnTo>
                    <a:pt x="31432" y="200977"/>
                  </a:lnTo>
                  <a:lnTo>
                    <a:pt x="39052" y="190500"/>
                  </a:lnTo>
                  <a:lnTo>
                    <a:pt x="53340" y="186690"/>
                  </a:lnTo>
                  <a:lnTo>
                    <a:pt x="74295" y="204788"/>
                  </a:lnTo>
                  <a:lnTo>
                    <a:pt x="74295" y="183833"/>
                  </a:lnTo>
                  <a:lnTo>
                    <a:pt x="56197" y="155258"/>
                  </a:lnTo>
                  <a:lnTo>
                    <a:pt x="49530" y="109538"/>
                  </a:lnTo>
                  <a:lnTo>
                    <a:pt x="42863" y="74295"/>
                  </a:lnTo>
                  <a:lnTo>
                    <a:pt x="39052" y="45720"/>
                  </a:lnTo>
                  <a:lnTo>
                    <a:pt x="35243" y="20860"/>
                  </a:lnTo>
                  <a:lnTo>
                    <a:pt x="28575" y="0"/>
                  </a:lnTo>
                  <a:lnTo>
                    <a:pt x="20955" y="10477"/>
                  </a:lnTo>
                  <a:lnTo>
                    <a:pt x="20955" y="28575"/>
                  </a:lnTo>
                  <a:lnTo>
                    <a:pt x="3810" y="35147"/>
                  </a:lnTo>
                  <a:lnTo>
                    <a:pt x="3810" y="63722"/>
                  </a:lnTo>
                  <a:lnTo>
                    <a:pt x="3810" y="88583"/>
                  </a:lnTo>
                  <a:lnTo>
                    <a:pt x="3810" y="109538"/>
                  </a:lnTo>
                  <a:lnTo>
                    <a:pt x="14288" y="123825"/>
                  </a:lnTo>
                  <a:lnTo>
                    <a:pt x="10477" y="144685"/>
                  </a:lnTo>
                  <a:lnTo>
                    <a:pt x="10477" y="179927"/>
                  </a:lnTo>
                  <a:lnTo>
                    <a:pt x="10477" y="221933"/>
                  </a:lnTo>
                  <a:lnTo>
                    <a:pt x="10477" y="258127"/>
                  </a:lnTo>
                  <a:lnTo>
                    <a:pt x="10477" y="279083"/>
                  </a:lnTo>
                  <a:lnTo>
                    <a:pt x="0" y="29337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50" name="Freeform: Shape 3649">
              <a:extLst>
                <a:ext uri="{FF2B5EF4-FFF2-40B4-BE49-F238E27FC236}">
                  <a16:creationId xmlns:a16="http://schemas.microsoft.com/office/drawing/2014/main" id="{7AA2A4D6-6E1C-C4CC-8508-396827C48BF6}"/>
                </a:ext>
              </a:extLst>
            </p:cNvPr>
            <p:cNvSpPr/>
            <p:nvPr/>
          </p:nvSpPr>
          <p:spPr>
            <a:xfrm>
              <a:off x="7223567" y="3393380"/>
              <a:ext cx="42017" cy="34548"/>
            </a:xfrm>
            <a:custGeom>
              <a:avLst/>
              <a:gdLst>
                <a:gd name="connsiteX0" fmla="*/ 39052 w 42862"/>
                <a:gd name="connsiteY0" fmla="*/ 35243 h 35242"/>
                <a:gd name="connsiteX1" fmla="*/ 24765 w 42862"/>
                <a:gd name="connsiteY1" fmla="*/ 27623 h 35242"/>
                <a:gd name="connsiteX2" fmla="*/ 14288 w 42862"/>
                <a:gd name="connsiteY2" fmla="*/ 20955 h 35242"/>
                <a:gd name="connsiteX3" fmla="*/ 0 w 42862"/>
                <a:gd name="connsiteY3" fmla="*/ 6668 h 35242"/>
                <a:gd name="connsiteX4" fmla="*/ 3810 w 42862"/>
                <a:gd name="connsiteY4" fmla="*/ 0 h 35242"/>
                <a:gd name="connsiteX5" fmla="*/ 18098 w 42862"/>
                <a:gd name="connsiteY5" fmla="*/ 0 h 35242"/>
                <a:gd name="connsiteX6" fmla="*/ 28575 w 42862"/>
                <a:gd name="connsiteY6" fmla="*/ 6668 h 35242"/>
                <a:gd name="connsiteX7" fmla="*/ 39052 w 42862"/>
                <a:gd name="connsiteY7" fmla="*/ 10382 h 35242"/>
                <a:gd name="connsiteX8" fmla="*/ 42863 w 42862"/>
                <a:gd name="connsiteY8" fmla="*/ 24670 h 35242"/>
                <a:gd name="connsiteX9" fmla="*/ 39052 w 42862"/>
                <a:gd name="connsiteY9" fmla="*/ 35243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862" h="35242">
                  <a:moveTo>
                    <a:pt x="39052" y="35243"/>
                  </a:moveTo>
                  <a:lnTo>
                    <a:pt x="24765" y="27623"/>
                  </a:lnTo>
                  <a:lnTo>
                    <a:pt x="14288" y="20955"/>
                  </a:lnTo>
                  <a:lnTo>
                    <a:pt x="0" y="6668"/>
                  </a:lnTo>
                  <a:lnTo>
                    <a:pt x="3810" y="0"/>
                  </a:lnTo>
                  <a:lnTo>
                    <a:pt x="18098" y="0"/>
                  </a:lnTo>
                  <a:lnTo>
                    <a:pt x="28575" y="6668"/>
                  </a:lnTo>
                  <a:lnTo>
                    <a:pt x="39052" y="10382"/>
                  </a:lnTo>
                  <a:lnTo>
                    <a:pt x="42863" y="24670"/>
                  </a:lnTo>
                  <a:lnTo>
                    <a:pt x="39052" y="3524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51" name="Freeform: Shape 3650">
              <a:extLst>
                <a:ext uri="{FF2B5EF4-FFF2-40B4-BE49-F238E27FC236}">
                  <a16:creationId xmlns:a16="http://schemas.microsoft.com/office/drawing/2014/main" id="{FF58895A-093A-4AF6-BE34-2335D2DB60D5}"/>
                </a:ext>
              </a:extLst>
            </p:cNvPr>
            <p:cNvSpPr/>
            <p:nvPr/>
          </p:nvSpPr>
          <p:spPr>
            <a:xfrm>
              <a:off x="7223567" y="3393380"/>
              <a:ext cx="42017" cy="34548"/>
            </a:xfrm>
            <a:custGeom>
              <a:avLst/>
              <a:gdLst>
                <a:gd name="connsiteX0" fmla="*/ 39052 w 42862"/>
                <a:gd name="connsiteY0" fmla="*/ 35243 h 35242"/>
                <a:gd name="connsiteX1" fmla="*/ 24765 w 42862"/>
                <a:gd name="connsiteY1" fmla="*/ 27623 h 35242"/>
                <a:gd name="connsiteX2" fmla="*/ 14288 w 42862"/>
                <a:gd name="connsiteY2" fmla="*/ 20955 h 35242"/>
                <a:gd name="connsiteX3" fmla="*/ 0 w 42862"/>
                <a:gd name="connsiteY3" fmla="*/ 6668 h 35242"/>
                <a:gd name="connsiteX4" fmla="*/ 3810 w 42862"/>
                <a:gd name="connsiteY4" fmla="*/ 0 h 35242"/>
                <a:gd name="connsiteX5" fmla="*/ 18098 w 42862"/>
                <a:gd name="connsiteY5" fmla="*/ 0 h 35242"/>
                <a:gd name="connsiteX6" fmla="*/ 28575 w 42862"/>
                <a:gd name="connsiteY6" fmla="*/ 6668 h 35242"/>
                <a:gd name="connsiteX7" fmla="*/ 39052 w 42862"/>
                <a:gd name="connsiteY7" fmla="*/ 10382 h 35242"/>
                <a:gd name="connsiteX8" fmla="*/ 42863 w 42862"/>
                <a:gd name="connsiteY8" fmla="*/ 24670 h 35242"/>
                <a:gd name="connsiteX9" fmla="*/ 39052 w 42862"/>
                <a:gd name="connsiteY9" fmla="*/ 35243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2862" h="35242">
                  <a:moveTo>
                    <a:pt x="39052" y="35243"/>
                  </a:moveTo>
                  <a:lnTo>
                    <a:pt x="24765" y="27623"/>
                  </a:lnTo>
                  <a:lnTo>
                    <a:pt x="14288" y="20955"/>
                  </a:lnTo>
                  <a:lnTo>
                    <a:pt x="0" y="6668"/>
                  </a:lnTo>
                  <a:lnTo>
                    <a:pt x="3810" y="0"/>
                  </a:lnTo>
                  <a:lnTo>
                    <a:pt x="18098" y="0"/>
                  </a:lnTo>
                  <a:lnTo>
                    <a:pt x="28575" y="6668"/>
                  </a:lnTo>
                  <a:lnTo>
                    <a:pt x="39052" y="10382"/>
                  </a:lnTo>
                  <a:lnTo>
                    <a:pt x="42863" y="24670"/>
                  </a:lnTo>
                  <a:lnTo>
                    <a:pt x="39052" y="3524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52" name="Freeform: Shape 3651">
              <a:extLst>
                <a:ext uri="{FF2B5EF4-FFF2-40B4-BE49-F238E27FC236}">
                  <a16:creationId xmlns:a16="http://schemas.microsoft.com/office/drawing/2014/main" id="{0106CC4B-6606-FEFD-6B69-F0CF24254D0A}"/>
                </a:ext>
              </a:extLst>
            </p:cNvPr>
            <p:cNvSpPr/>
            <p:nvPr/>
          </p:nvSpPr>
          <p:spPr>
            <a:xfrm>
              <a:off x="6957456" y="3558557"/>
              <a:ext cx="48554" cy="48647"/>
            </a:xfrm>
            <a:custGeom>
              <a:avLst/>
              <a:gdLst>
                <a:gd name="connsiteX0" fmla="*/ 28575 w 49530"/>
                <a:gd name="connsiteY0" fmla="*/ 3905 h 49625"/>
                <a:gd name="connsiteX1" fmla="*/ 42863 w 49530"/>
                <a:gd name="connsiteY1" fmla="*/ 0 h 49625"/>
                <a:gd name="connsiteX2" fmla="*/ 49530 w 49530"/>
                <a:gd name="connsiteY2" fmla="*/ 7715 h 49625"/>
                <a:gd name="connsiteX3" fmla="*/ 42863 w 49530"/>
                <a:gd name="connsiteY3" fmla="*/ 18193 h 49625"/>
                <a:gd name="connsiteX4" fmla="*/ 32385 w 49530"/>
                <a:gd name="connsiteY4" fmla="*/ 24765 h 49625"/>
                <a:gd name="connsiteX5" fmla="*/ 28575 w 49530"/>
                <a:gd name="connsiteY5" fmla="*/ 36290 h 49625"/>
                <a:gd name="connsiteX6" fmla="*/ 18098 w 49530"/>
                <a:gd name="connsiteY6" fmla="*/ 42863 h 49625"/>
                <a:gd name="connsiteX7" fmla="*/ 11430 w 49530"/>
                <a:gd name="connsiteY7" fmla="*/ 49625 h 49625"/>
                <a:gd name="connsiteX8" fmla="*/ 0 w 49530"/>
                <a:gd name="connsiteY8" fmla="*/ 46768 h 49625"/>
                <a:gd name="connsiteX9" fmla="*/ 11430 w 49530"/>
                <a:gd name="connsiteY9" fmla="*/ 32480 h 49625"/>
                <a:gd name="connsiteX10" fmla="*/ 21907 w 49530"/>
                <a:gd name="connsiteY10" fmla="*/ 14288 h 49625"/>
                <a:gd name="connsiteX11" fmla="*/ 28575 w 49530"/>
                <a:gd name="connsiteY11" fmla="*/ 3905 h 49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530" h="49625">
                  <a:moveTo>
                    <a:pt x="28575" y="3905"/>
                  </a:moveTo>
                  <a:lnTo>
                    <a:pt x="42863" y="0"/>
                  </a:lnTo>
                  <a:lnTo>
                    <a:pt x="49530" y="7715"/>
                  </a:lnTo>
                  <a:lnTo>
                    <a:pt x="42863" y="18193"/>
                  </a:lnTo>
                  <a:lnTo>
                    <a:pt x="32385" y="24765"/>
                  </a:lnTo>
                  <a:lnTo>
                    <a:pt x="28575" y="36290"/>
                  </a:lnTo>
                  <a:lnTo>
                    <a:pt x="18098" y="42863"/>
                  </a:lnTo>
                  <a:lnTo>
                    <a:pt x="11430" y="49625"/>
                  </a:lnTo>
                  <a:lnTo>
                    <a:pt x="0" y="46768"/>
                  </a:lnTo>
                  <a:lnTo>
                    <a:pt x="11430" y="32480"/>
                  </a:lnTo>
                  <a:lnTo>
                    <a:pt x="21907" y="14288"/>
                  </a:lnTo>
                  <a:lnTo>
                    <a:pt x="28575" y="390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53" name="Freeform: Shape 3652">
              <a:extLst>
                <a:ext uri="{FF2B5EF4-FFF2-40B4-BE49-F238E27FC236}">
                  <a16:creationId xmlns:a16="http://schemas.microsoft.com/office/drawing/2014/main" id="{F611B88D-B620-9AAB-A789-7EDCCC88660A}"/>
                </a:ext>
              </a:extLst>
            </p:cNvPr>
            <p:cNvSpPr/>
            <p:nvPr/>
          </p:nvSpPr>
          <p:spPr>
            <a:xfrm>
              <a:off x="6957456" y="3558557"/>
              <a:ext cx="48554" cy="48647"/>
            </a:xfrm>
            <a:custGeom>
              <a:avLst/>
              <a:gdLst>
                <a:gd name="connsiteX0" fmla="*/ 28575 w 49530"/>
                <a:gd name="connsiteY0" fmla="*/ 3905 h 49625"/>
                <a:gd name="connsiteX1" fmla="*/ 42863 w 49530"/>
                <a:gd name="connsiteY1" fmla="*/ 0 h 49625"/>
                <a:gd name="connsiteX2" fmla="*/ 49530 w 49530"/>
                <a:gd name="connsiteY2" fmla="*/ 7715 h 49625"/>
                <a:gd name="connsiteX3" fmla="*/ 42863 w 49530"/>
                <a:gd name="connsiteY3" fmla="*/ 18193 h 49625"/>
                <a:gd name="connsiteX4" fmla="*/ 32385 w 49530"/>
                <a:gd name="connsiteY4" fmla="*/ 24765 h 49625"/>
                <a:gd name="connsiteX5" fmla="*/ 28575 w 49530"/>
                <a:gd name="connsiteY5" fmla="*/ 36290 h 49625"/>
                <a:gd name="connsiteX6" fmla="*/ 18098 w 49530"/>
                <a:gd name="connsiteY6" fmla="*/ 42863 h 49625"/>
                <a:gd name="connsiteX7" fmla="*/ 11430 w 49530"/>
                <a:gd name="connsiteY7" fmla="*/ 49625 h 49625"/>
                <a:gd name="connsiteX8" fmla="*/ 0 w 49530"/>
                <a:gd name="connsiteY8" fmla="*/ 46768 h 49625"/>
                <a:gd name="connsiteX9" fmla="*/ 11430 w 49530"/>
                <a:gd name="connsiteY9" fmla="*/ 32480 h 49625"/>
                <a:gd name="connsiteX10" fmla="*/ 21907 w 49530"/>
                <a:gd name="connsiteY10" fmla="*/ 14288 h 49625"/>
                <a:gd name="connsiteX11" fmla="*/ 28575 w 49530"/>
                <a:gd name="connsiteY11" fmla="*/ 3905 h 49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9530" h="49625">
                  <a:moveTo>
                    <a:pt x="28575" y="3905"/>
                  </a:moveTo>
                  <a:lnTo>
                    <a:pt x="42863" y="0"/>
                  </a:lnTo>
                  <a:lnTo>
                    <a:pt x="49530" y="7715"/>
                  </a:lnTo>
                  <a:lnTo>
                    <a:pt x="42863" y="18193"/>
                  </a:lnTo>
                  <a:lnTo>
                    <a:pt x="32385" y="24765"/>
                  </a:lnTo>
                  <a:lnTo>
                    <a:pt x="28575" y="36290"/>
                  </a:lnTo>
                  <a:lnTo>
                    <a:pt x="18098" y="42863"/>
                  </a:lnTo>
                  <a:lnTo>
                    <a:pt x="11430" y="49625"/>
                  </a:lnTo>
                  <a:lnTo>
                    <a:pt x="0" y="46768"/>
                  </a:lnTo>
                  <a:lnTo>
                    <a:pt x="11430" y="32480"/>
                  </a:lnTo>
                  <a:lnTo>
                    <a:pt x="21907" y="14288"/>
                  </a:lnTo>
                  <a:lnTo>
                    <a:pt x="28575" y="390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9E7E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54" name="Freeform: Shape 3653">
              <a:extLst>
                <a:ext uri="{FF2B5EF4-FFF2-40B4-BE49-F238E27FC236}">
                  <a16:creationId xmlns:a16="http://schemas.microsoft.com/office/drawing/2014/main" id="{2A01BF9F-BC9E-354C-2EBE-8563F5D3FD66}"/>
                </a:ext>
              </a:extLst>
            </p:cNvPr>
            <p:cNvSpPr/>
            <p:nvPr/>
          </p:nvSpPr>
          <p:spPr>
            <a:xfrm>
              <a:off x="6968660" y="3479283"/>
              <a:ext cx="185811" cy="149303"/>
            </a:xfrm>
            <a:custGeom>
              <a:avLst/>
              <a:gdLst>
                <a:gd name="connsiteX0" fmla="*/ 17145 w 189547"/>
                <a:gd name="connsiteY0" fmla="*/ 84772 h 152304"/>
                <a:gd name="connsiteX1" fmla="*/ 13335 w 189547"/>
                <a:gd name="connsiteY1" fmla="*/ 57150 h 152304"/>
                <a:gd name="connsiteX2" fmla="*/ 13335 w 189547"/>
                <a:gd name="connsiteY2" fmla="*/ 42863 h 152304"/>
                <a:gd name="connsiteX3" fmla="*/ 17145 w 189547"/>
                <a:gd name="connsiteY3" fmla="*/ 35242 h 152304"/>
                <a:gd name="connsiteX4" fmla="*/ 31432 w 189547"/>
                <a:gd name="connsiteY4" fmla="*/ 21907 h 152304"/>
                <a:gd name="connsiteX5" fmla="*/ 35243 w 189547"/>
                <a:gd name="connsiteY5" fmla="*/ 7620 h 152304"/>
                <a:gd name="connsiteX6" fmla="*/ 45720 w 189547"/>
                <a:gd name="connsiteY6" fmla="*/ 14288 h 152304"/>
                <a:gd name="connsiteX7" fmla="*/ 66675 w 189547"/>
                <a:gd name="connsiteY7" fmla="*/ 14288 h 152304"/>
                <a:gd name="connsiteX8" fmla="*/ 70485 w 189547"/>
                <a:gd name="connsiteY8" fmla="*/ 7620 h 152304"/>
                <a:gd name="connsiteX9" fmla="*/ 80963 w 189547"/>
                <a:gd name="connsiteY9" fmla="*/ 7620 h 152304"/>
                <a:gd name="connsiteX10" fmla="*/ 91440 w 189547"/>
                <a:gd name="connsiteY10" fmla="*/ 18002 h 152304"/>
                <a:gd name="connsiteX11" fmla="*/ 122872 w 189547"/>
                <a:gd name="connsiteY11" fmla="*/ 14288 h 152304"/>
                <a:gd name="connsiteX12" fmla="*/ 143827 w 189547"/>
                <a:gd name="connsiteY12" fmla="*/ 0 h 152304"/>
                <a:gd name="connsiteX13" fmla="*/ 189547 w 189547"/>
                <a:gd name="connsiteY13" fmla="*/ 0 h 152304"/>
                <a:gd name="connsiteX14" fmla="*/ 189547 w 189547"/>
                <a:gd name="connsiteY14" fmla="*/ 7620 h 152304"/>
                <a:gd name="connsiteX15" fmla="*/ 164782 w 189547"/>
                <a:gd name="connsiteY15" fmla="*/ 24670 h 152304"/>
                <a:gd name="connsiteX16" fmla="*/ 158115 w 189547"/>
                <a:gd name="connsiteY16" fmla="*/ 80867 h 152304"/>
                <a:gd name="connsiteX17" fmla="*/ 94297 w 189547"/>
                <a:gd name="connsiteY17" fmla="*/ 119920 h 152304"/>
                <a:gd name="connsiteX18" fmla="*/ 48577 w 189547"/>
                <a:gd name="connsiteY18" fmla="*/ 148495 h 152304"/>
                <a:gd name="connsiteX19" fmla="*/ 35243 w 189547"/>
                <a:gd name="connsiteY19" fmla="*/ 152305 h 152304"/>
                <a:gd name="connsiteX20" fmla="*/ 20955 w 189547"/>
                <a:gd name="connsiteY20" fmla="*/ 144780 h 152304"/>
                <a:gd name="connsiteX21" fmla="*/ 10477 w 189547"/>
                <a:gd name="connsiteY21" fmla="*/ 140970 h 152304"/>
                <a:gd name="connsiteX22" fmla="*/ 2857 w 189547"/>
                <a:gd name="connsiteY22" fmla="*/ 138017 h 152304"/>
                <a:gd name="connsiteX23" fmla="*/ 0 w 189547"/>
                <a:gd name="connsiteY23" fmla="*/ 130492 h 152304"/>
                <a:gd name="connsiteX24" fmla="*/ 17145 w 189547"/>
                <a:gd name="connsiteY24" fmla="*/ 117157 h 152304"/>
                <a:gd name="connsiteX25" fmla="*/ 20955 w 189547"/>
                <a:gd name="connsiteY25" fmla="*/ 105632 h 152304"/>
                <a:gd name="connsiteX26" fmla="*/ 31432 w 189547"/>
                <a:gd name="connsiteY26" fmla="*/ 99060 h 152304"/>
                <a:gd name="connsiteX27" fmla="*/ 38100 w 189547"/>
                <a:gd name="connsiteY27" fmla="*/ 88582 h 152304"/>
                <a:gd name="connsiteX28" fmla="*/ 31432 w 189547"/>
                <a:gd name="connsiteY28" fmla="*/ 80867 h 152304"/>
                <a:gd name="connsiteX29" fmla="*/ 17145 w 189547"/>
                <a:gd name="connsiteY29" fmla="*/ 84772 h 152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9547" h="152304">
                  <a:moveTo>
                    <a:pt x="17145" y="84772"/>
                  </a:moveTo>
                  <a:lnTo>
                    <a:pt x="13335" y="57150"/>
                  </a:lnTo>
                  <a:lnTo>
                    <a:pt x="13335" y="42863"/>
                  </a:lnTo>
                  <a:lnTo>
                    <a:pt x="17145" y="35242"/>
                  </a:lnTo>
                  <a:lnTo>
                    <a:pt x="31432" y="21907"/>
                  </a:lnTo>
                  <a:lnTo>
                    <a:pt x="35243" y="7620"/>
                  </a:lnTo>
                  <a:lnTo>
                    <a:pt x="45720" y="14288"/>
                  </a:lnTo>
                  <a:lnTo>
                    <a:pt x="66675" y="14288"/>
                  </a:lnTo>
                  <a:lnTo>
                    <a:pt x="70485" y="7620"/>
                  </a:lnTo>
                  <a:lnTo>
                    <a:pt x="80963" y="7620"/>
                  </a:lnTo>
                  <a:lnTo>
                    <a:pt x="91440" y="18002"/>
                  </a:lnTo>
                  <a:lnTo>
                    <a:pt x="122872" y="14288"/>
                  </a:lnTo>
                  <a:lnTo>
                    <a:pt x="143827" y="0"/>
                  </a:lnTo>
                  <a:lnTo>
                    <a:pt x="189547" y="0"/>
                  </a:lnTo>
                  <a:lnTo>
                    <a:pt x="189547" y="7620"/>
                  </a:lnTo>
                  <a:lnTo>
                    <a:pt x="164782" y="24670"/>
                  </a:lnTo>
                  <a:lnTo>
                    <a:pt x="158115" y="80867"/>
                  </a:lnTo>
                  <a:lnTo>
                    <a:pt x="94297" y="119920"/>
                  </a:lnTo>
                  <a:lnTo>
                    <a:pt x="48577" y="148495"/>
                  </a:lnTo>
                  <a:lnTo>
                    <a:pt x="35243" y="152305"/>
                  </a:lnTo>
                  <a:lnTo>
                    <a:pt x="20955" y="144780"/>
                  </a:lnTo>
                  <a:lnTo>
                    <a:pt x="10477" y="140970"/>
                  </a:lnTo>
                  <a:lnTo>
                    <a:pt x="2857" y="138017"/>
                  </a:lnTo>
                  <a:lnTo>
                    <a:pt x="0" y="130492"/>
                  </a:lnTo>
                  <a:lnTo>
                    <a:pt x="17145" y="117157"/>
                  </a:lnTo>
                  <a:lnTo>
                    <a:pt x="20955" y="105632"/>
                  </a:lnTo>
                  <a:lnTo>
                    <a:pt x="31432" y="99060"/>
                  </a:lnTo>
                  <a:lnTo>
                    <a:pt x="38100" y="88582"/>
                  </a:lnTo>
                  <a:lnTo>
                    <a:pt x="31432" y="80867"/>
                  </a:lnTo>
                  <a:lnTo>
                    <a:pt x="17145" y="8477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55" name="Freeform: Shape 3654">
              <a:extLst>
                <a:ext uri="{FF2B5EF4-FFF2-40B4-BE49-F238E27FC236}">
                  <a16:creationId xmlns:a16="http://schemas.microsoft.com/office/drawing/2014/main" id="{2D623DCF-4840-36F9-05BF-784716A4CBD8}"/>
                </a:ext>
              </a:extLst>
            </p:cNvPr>
            <p:cNvSpPr/>
            <p:nvPr/>
          </p:nvSpPr>
          <p:spPr>
            <a:xfrm>
              <a:off x="6968660" y="3479283"/>
              <a:ext cx="185811" cy="149303"/>
            </a:xfrm>
            <a:custGeom>
              <a:avLst/>
              <a:gdLst>
                <a:gd name="connsiteX0" fmla="*/ 17145 w 189547"/>
                <a:gd name="connsiteY0" fmla="*/ 84772 h 152304"/>
                <a:gd name="connsiteX1" fmla="*/ 13335 w 189547"/>
                <a:gd name="connsiteY1" fmla="*/ 57150 h 152304"/>
                <a:gd name="connsiteX2" fmla="*/ 13335 w 189547"/>
                <a:gd name="connsiteY2" fmla="*/ 42863 h 152304"/>
                <a:gd name="connsiteX3" fmla="*/ 17145 w 189547"/>
                <a:gd name="connsiteY3" fmla="*/ 35242 h 152304"/>
                <a:gd name="connsiteX4" fmla="*/ 31432 w 189547"/>
                <a:gd name="connsiteY4" fmla="*/ 21907 h 152304"/>
                <a:gd name="connsiteX5" fmla="*/ 35243 w 189547"/>
                <a:gd name="connsiteY5" fmla="*/ 7620 h 152304"/>
                <a:gd name="connsiteX6" fmla="*/ 45720 w 189547"/>
                <a:gd name="connsiteY6" fmla="*/ 14288 h 152304"/>
                <a:gd name="connsiteX7" fmla="*/ 66675 w 189547"/>
                <a:gd name="connsiteY7" fmla="*/ 14288 h 152304"/>
                <a:gd name="connsiteX8" fmla="*/ 70485 w 189547"/>
                <a:gd name="connsiteY8" fmla="*/ 7620 h 152304"/>
                <a:gd name="connsiteX9" fmla="*/ 80963 w 189547"/>
                <a:gd name="connsiteY9" fmla="*/ 7620 h 152304"/>
                <a:gd name="connsiteX10" fmla="*/ 91440 w 189547"/>
                <a:gd name="connsiteY10" fmla="*/ 18002 h 152304"/>
                <a:gd name="connsiteX11" fmla="*/ 122872 w 189547"/>
                <a:gd name="connsiteY11" fmla="*/ 14288 h 152304"/>
                <a:gd name="connsiteX12" fmla="*/ 143827 w 189547"/>
                <a:gd name="connsiteY12" fmla="*/ 0 h 152304"/>
                <a:gd name="connsiteX13" fmla="*/ 189547 w 189547"/>
                <a:gd name="connsiteY13" fmla="*/ 0 h 152304"/>
                <a:gd name="connsiteX14" fmla="*/ 189547 w 189547"/>
                <a:gd name="connsiteY14" fmla="*/ 7620 h 152304"/>
                <a:gd name="connsiteX15" fmla="*/ 164782 w 189547"/>
                <a:gd name="connsiteY15" fmla="*/ 24670 h 152304"/>
                <a:gd name="connsiteX16" fmla="*/ 158115 w 189547"/>
                <a:gd name="connsiteY16" fmla="*/ 80867 h 152304"/>
                <a:gd name="connsiteX17" fmla="*/ 94297 w 189547"/>
                <a:gd name="connsiteY17" fmla="*/ 119920 h 152304"/>
                <a:gd name="connsiteX18" fmla="*/ 48577 w 189547"/>
                <a:gd name="connsiteY18" fmla="*/ 148495 h 152304"/>
                <a:gd name="connsiteX19" fmla="*/ 35243 w 189547"/>
                <a:gd name="connsiteY19" fmla="*/ 152305 h 152304"/>
                <a:gd name="connsiteX20" fmla="*/ 20955 w 189547"/>
                <a:gd name="connsiteY20" fmla="*/ 144780 h 152304"/>
                <a:gd name="connsiteX21" fmla="*/ 10477 w 189547"/>
                <a:gd name="connsiteY21" fmla="*/ 140970 h 152304"/>
                <a:gd name="connsiteX22" fmla="*/ 2857 w 189547"/>
                <a:gd name="connsiteY22" fmla="*/ 138017 h 152304"/>
                <a:gd name="connsiteX23" fmla="*/ 0 w 189547"/>
                <a:gd name="connsiteY23" fmla="*/ 130492 h 152304"/>
                <a:gd name="connsiteX24" fmla="*/ 17145 w 189547"/>
                <a:gd name="connsiteY24" fmla="*/ 117157 h 152304"/>
                <a:gd name="connsiteX25" fmla="*/ 20955 w 189547"/>
                <a:gd name="connsiteY25" fmla="*/ 105632 h 152304"/>
                <a:gd name="connsiteX26" fmla="*/ 31432 w 189547"/>
                <a:gd name="connsiteY26" fmla="*/ 99060 h 152304"/>
                <a:gd name="connsiteX27" fmla="*/ 38100 w 189547"/>
                <a:gd name="connsiteY27" fmla="*/ 88582 h 152304"/>
                <a:gd name="connsiteX28" fmla="*/ 31432 w 189547"/>
                <a:gd name="connsiteY28" fmla="*/ 80867 h 152304"/>
                <a:gd name="connsiteX29" fmla="*/ 17145 w 189547"/>
                <a:gd name="connsiteY29" fmla="*/ 84772 h 152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89547" h="152304">
                  <a:moveTo>
                    <a:pt x="17145" y="84772"/>
                  </a:moveTo>
                  <a:lnTo>
                    <a:pt x="13335" y="57150"/>
                  </a:lnTo>
                  <a:lnTo>
                    <a:pt x="13335" y="42863"/>
                  </a:lnTo>
                  <a:lnTo>
                    <a:pt x="17145" y="35242"/>
                  </a:lnTo>
                  <a:lnTo>
                    <a:pt x="31432" y="21907"/>
                  </a:lnTo>
                  <a:lnTo>
                    <a:pt x="35243" y="7620"/>
                  </a:lnTo>
                  <a:lnTo>
                    <a:pt x="45720" y="14288"/>
                  </a:lnTo>
                  <a:lnTo>
                    <a:pt x="66675" y="14288"/>
                  </a:lnTo>
                  <a:lnTo>
                    <a:pt x="70485" y="7620"/>
                  </a:lnTo>
                  <a:lnTo>
                    <a:pt x="80963" y="7620"/>
                  </a:lnTo>
                  <a:lnTo>
                    <a:pt x="91440" y="18002"/>
                  </a:lnTo>
                  <a:lnTo>
                    <a:pt x="122872" y="14288"/>
                  </a:lnTo>
                  <a:lnTo>
                    <a:pt x="143827" y="0"/>
                  </a:lnTo>
                  <a:lnTo>
                    <a:pt x="189547" y="0"/>
                  </a:lnTo>
                  <a:lnTo>
                    <a:pt x="189547" y="7620"/>
                  </a:lnTo>
                  <a:lnTo>
                    <a:pt x="164782" y="24670"/>
                  </a:lnTo>
                  <a:lnTo>
                    <a:pt x="158115" y="80867"/>
                  </a:lnTo>
                  <a:lnTo>
                    <a:pt x="94297" y="119920"/>
                  </a:lnTo>
                  <a:lnTo>
                    <a:pt x="48577" y="148495"/>
                  </a:lnTo>
                  <a:lnTo>
                    <a:pt x="35243" y="152305"/>
                  </a:lnTo>
                  <a:lnTo>
                    <a:pt x="20955" y="144780"/>
                  </a:lnTo>
                  <a:lnTo>
                    <a:pt x="10477" y="140970"/>
                  </a:lnTo>
                  <a:lnTo>
                    <a:pt x="2857" y="138017"/>
                  </a:lnTo>
                  <a:lnTo>
                    <a:pt x="0" y="130492"/>
                  </a:lnTo>
                  <a:lnTo>
                    <a:pt x="17145" y="117157"/>
                  </a:lnTo>
                  <a:lnTo>
                    <a:pt x="20955" y="105632"/>
                  </a:lnTo>
                  <a:lnTo>
                    <a:pt x="31432" y="99060"/>
                  </a:lnTo>
                  <a:lnTo>
                    <a:pt x="38100" y="88582"/>
                  </a:lnTo>
                  <a:lnTo>
                    <a:pt x="31432" y="80867"/>
                  </a:lnTo>
                  <a:lnTo>
                    <a:pt x="17145" y="8477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56" name="Freeform: Shape 3655">
              <a:extLst>
                <a:ext uri="{FF2B5EF4-FFF2-40B4-BE49-F238E27FC236}">
                  <a16:creationId xmlns:a16="http://schemas.microsoft.com/office/drawing/2014/main" id="{C1FD2E56-86CE-4F03-C938-7EECCD7C1383}"/>
                </a:ext>
              </a:extLst>
            </p:cNvPr>
            <p:cNvSpPr/>
            <p:nvPr/>
          </p:nvSpPr>
          <p:spPr>
            <a:xfrm>
              <a:off x="6934112" y="3604403"/>
              <a:ext cx="41084" cy="110180"/>
            </a:xfrm>
            <a:custGeom>
              <a:avLst/>
              <a:gdLst>
                <a:gd name="connsiteX0" fmla="*/ 27623 w 41910"/>
                <a:gd name="connsiteY0" fmla="*/ 24670 h 112395"/>
                <a:gd name="connsiteX1" fmla="*/ 38100 w 41910"/>
                <a:gd name="connsiteY1" fmla="*/ 24670 h 112395"/>
                <a:gd name="connsiteX2" fmla="*/ 41910 w 41910"/>
                <a:gd name="connsiteY2" fmla="*/ 13335 h 112395"/>
                <a:gd name="connsiteX3" fmla="*/ 38100 w 41910"/>
                <a:gd name="connsiteY3" fmla="*/ 10382 h 112395"/>
                <a:gd name="connsiteX4" fmla="*/ 35243 w 41910"/>
                <a:gd name="connsiteY4" fmla="*/ 2858 h 112395"/>
                <a:gd name="connsiteX5" fmla="*/ 23813 w 41910"/>
                <a:gd name="connsiteY5" fmla="*/ 0 h 112395"/>
                <a:gd name="connsiteX6" fmla="*/ 23813 w 41910"/>
                <a:gd name="connsiteY6" fmla="*/ 10382 h 112395"/>
                <a:gd name="connsiteX7" fmla="*/ 20955 w 41910"/>
                <a:gd name="connsiteY7" fmla="*/ 24670 h 112395"/>
                <a:gd name="connsiteX8" fmla="*/ 17145 w 41910"/>
                <a:gd name="connsiteY8" fmla="*/ 35147 h 112395"/>
                <a:gd name="connsiteX9" fmla="*/ 10477 w 41910"/>
                <a:gd name="connsiteY9" fmla="*/ 45720 h 112395"/>
                <a:gd name="connsiteX10" fmla="*/ 6668 w 41910"/>
                <a:gd name="connsiteY10" fmla="*/ 52388 h 112395"/>
                <a:gd name="connsiteX11" fmla="*/ 0 w 41910"/>
                <a:gd name="connsiteY11" fmla="*/ 62770 h 112395"/>
                <a:gd name="connsiteX12" fmla="*/ 2857 w 41910"/>
                <a:gd name="connsiteY12" fmla="*/ 70485 h 112395"/>
                <a:gd name="connsiteX13" fmla="*/ 10477 w 41910"/>
                <a:gd name="connsiteY13" fmla="*/ 83820 h 112395"/>
                <a:gd name="connsiteX14" fmla="*/ 17145 w 41910"/>
                <a:gd name="connsiteY14" fmla="*/ 101822 h 112395"/>
                <a:gd name="connsiteX15" fmla="*/ 20955 w 41910"/>
                <a:gd name="connsiteY15" fmla="*/ 112395 h 112395"/>
                <a:gd name="connsiteX16" fmla="*/ 31432 w 41910"/>
                <a:gd name="connsiteY16" fmla="*/ 91345 h 112395"/>
                <a:gd name="connsiteX17" fmla="*/ 35243 w 41910"/>
                <a:gd name="connsiteY17" fmla="*/ 73247 h 112395"/>
                <a:gd name="connsiteX18" fmla="*/ 35243 w 41910"/>
                <a:gd name="connsiteY18" fmla="*/ 52388 h 112395"/>
                <a:gd name="connsiteX19" fmla="*/ 27623 w 41910"/>
                <a:gd name="connsiteY19" fmla="*/ 52388 h 112395"/>
                <a:gd name="connsiteX20" fmla="*/ 23813 w 41910"/>
                <a:gd name="connsiteY20" fmla="*/ 31433 h 112395"/>
                <a:gd name="connsiteX21" fmla="*/ 27623 w 41910"/>
                <a:gd name="connsiteY21" fmla="*/ 24670 h 112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1910" h="112395">
                  <a:moveTo>
                    <a:pt x="27623" y="24670"/>
                  </a:moveTo>
                  <a:lnTo>
                    <a:pt x="38100" y="24670"/>
                  </a:lnTo>
                  <a:lnTo>
                    <a:pt x="41910" y="13335"/>
                  </a:lnTo>
                  <a:lnTo>
                    <a:pt x="38100" y="10382"/>
                  </a:lnTo>
                  <a:lnTo>
                    <a:pt x="35243" y="2858"/>
                  </a:lnTo>
                  <a:lnTo>
                    <a:pt x="23813" y="0"/>
                  </a:lnTo>
                  <a:lnTo>
                    <a:pt x="23813" y="10382"/>
                  </a:lnTo>
                  <a:lnTo>
                    <a:pt x="20955" y="24670"/>
                  </a:lnTo>
                  <a:lnTo>
                    <a:pt x="17145" y="35147"/>
                  </a:lnTo>
                  <a:lnTo>
                    <a:pt x="10477" y="45720"/>
                  </a:lnTo>
                  <a:lnTo>
                    <a:pt x="6668" y="52388"/>
                  </a:lnTo>
                  <a:lnTo>
                    <a:pt x="0" y="62770"/>
                  </a:lnTo>
                  <a:lnTo>
                    <a:pt x="2857" y="70485"/>
                  </a:lnTo>
                  <a:lnTo>
                    <a:pt x="10477" y="83820"/>
                  </a:lnTo>
                  <a:lnTo>
                    <a:pt x="17145" y="101822"/>
                  </a:lnTo>
                  <a:lnTo>
                    <a:pt x="20955" y="112395"/>
                  </a:lnTo>
                  <a:lnTo>
                    <a:pt x="31432" y="91345"/>
                  </a:lnTo>
                  <a:lnTo>
                    <a:pt x="35243" y="73247"/>
                  </a:lnTo>
                  <a:lnTo>
                    <a:pt x="35243" y="52388"/>
                  </a:lnTo>
                  <a:lnTo>
                    <a:pt x="27623" y="52388"/>
                  </a:lnTo>
                  <a:lnTo>
                    <a:pt x="23813" y="31433"/>
                  </a:lnTo>
                  <a:lnTo>
                    <a:pt x="27623" y="2467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57" name="Freeform: Shape 3656">
              <a:extLst>
                <a:ext uri="{FF2B5EF4-FFF2-40B4-BE49-F238E27FC236}">
                  <a16:creationId xmlns:a16="http://schemas.microsoft.com/office/drawing/2014/main" id="{ACB2EDBE-6A84-1A2F-FC06-36C3E52BB801}"/>
                </a:ext>
              </a:extLst>
            </p:cNvPr>
            <p:cNvSpPr/>
            <p:nvPr/>
          </p:nvSpPr>
          <p:spPr>
            <a:xfrm>
              <a:off x="6934112" y="3604403"/>
              <a:ext cx="41084" cy="110180"/>
            </a:xfrm>
            <a:custGeom>
              <a:avLst/>
              <a:gdLst>
                <a:gd name="connsiteX0" fmla="*/ 27623 w 41910"/>
                <a:gd name="connsiteY0" fmla="*/ 24670 h 112395"/>
                <a:gd name="connsiteX1" fmla="*/ 38100 w 41910"/>
                <a:gd name="connsiteY1" fmla="*/ 24670 h 112395"/>
                <a:gd name="connsiteX2" fmla="*/ 41910 w 41910"/>
                <a:gd name="connsiteY2" fmla="*/ 13335 h 112395"/>
                <a:gd name="connsiteX3" fmla="*/ 38100 w 41910"/>
                <a:gd name="connsiteY3" fmla="*/ 10382 h 112395"/>
                <a:gd name="connsiteX4" fmla="*/ 35243 w 41910"/>
                <a:gd name="connsiteY4" fmla="*/ 2858 h 112395"/>
                <a:gd name="connsiteX5" fmla="*/ 23813 w 41910"/>
                <a:gd name="connsiteY5" fmla="*/ 0 h 112395"/>
                <a:gd name="connsiteX6" fmla="*/ 23813 w 41910"/>
                <a:gd name="connsiteY6" fmla="*/ 10382 h 112395"/>
                <a:gd name="connsiteX7" fmla="*/ 20955 w 41910"/>
                <a:gd name="connsiteY7" fmla="*/ 24670 h 112395"/>
                <a:gd name="connsiteX8" fmla="*/ 17145 w 41910"/>
                <a:gd name="connsiteY8" fmla="*/ 35147 h 112395"/>
                <a:gd name="connsiteX9" fmla="*/ 10477 w 41910"/>
                <a:gd name="connsiteY9" fmla="*/ 45720 h 112395"/>
                <a:gd name="connsiteX10" fmla="*/ 6668 w 41910"/>
                <a:gd name="connsiteY10" fmla="*/ 52388 h 112395"/>
                <a:gd name="connsiteX11" fmla="*/ 0 w 41910"/>
                <a:gd name="connsiteY11" fmla="*/ 62770 h 112395"/>
                <a:gd name="connsiteX12" fmla="*/ 2857 w 41910"/>
                <a:gd name="connsiteY12" fmla="*/ 70485 h 112395"/>
                <a:gd name="connsiteX13" fmla="*/ 10477 w 41910"/>
                <a:gd name="connsiteY13" fmla="*/ 83820 h 112395"/>
                <a:gd name="connsiteX14" fmla="*/ 17145 w 41910"/>
                <a:gd name="connsiteY14" fmla="*/ 101822 h 112395"/>
                <a:gd name="connsiteX15" fmla="*/ 20955 w 41910"/>
                <a:gd name="connsiteY15" fmla="*/ 112395 h 112395"/>
                <a:gd name="connsiteX16" fmla="*/ 31432 w 41910"/>
                <a:gd name="connsiteY16" fmla="*/ 91345 h 112395"/>
                <a:gd name="connsiteX17" fmla="*/ 35243 w 41910"/>
                <a:gd name="connsiteY17" fmla="*/ 73247 h 112395"/>
                <a:gd name="connsiteX18" fmla="*/ 35243 w 41910"/>
                <a:gd name="connsiteY18" fmla="*/ 52388 h 112395"/>
                <a:gd name="connsiteX19" fmla="*/ 27623 w 41910"/>
                <a:gd name="connsiteY19" fmla="*/ 52388 h 112395"/>
                <a:gd name="connsiteX20" fmla="*/ 23813 w 41910"/>
                <a:gd name="connsiteY20" fmla="*/ 31433 h 112395"/>
                <a:gd name="connsiteX21" fmla="*/ 27623 w 41910"/>
                <a:gd name="connsiteY21" fmla="*/ 24670 h 112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1910" h="112395">
                  <a:moveTo>
                    <a:pt x="27623" y="24670"/>
                  </a:moveTo>
                  <a:lnTo>
                    <a:pt x="38100" y="24670"/>
                  </a:lnTo>
                  <a:lnTo>
                    <a:pt x="41910" y="13335"/>
                  </a:lnTo>
                  <a:lnTo>
                    <a:pt x="38100" y="10382"/>
                  </a:lnTo>
                  <a:lnTo>
                    <a:pt x="35243" y="2858"/>
                  </a:lnTo>
                  <a:lnTo>
                    <a:pt x="23813" y="0"/>
                  </a:lnTo>
                  <a:lnTo>
                    <a:pt x="23813" y="10382"/>
                  </a:lnTo>
                  <a:lnTo>
                    <a:pt x="20955" y="24670"/>
                  </a:lnTo>
                  <a:lnTo>
                    <a:pt x="17145" y="35147"/>
                  </a:lnTo>
                  <a:lnTo>
                    <a:pt x="10477" y="45720"/>
                  </a:lnTo>
                  <a:lnTo>
                    <a:pt x="6668" y="52388"/>
                  </a:lnTo>
                  <a:lnTo>
                    <a:pt x="0" y="62770"/>
                  </a:lnTo>
                  <a:lnTo>
                    <a:pt x="2857" y="70485"/>
                  </a:lnTo>
                  <a:lnTo>
                    <a:pt x="10477" y="83820"/>
                  </a:lnTo>
                  <a:lnTo>
                    <a:pt x="17145" y="101822"/>
                  </a:lnTo>
                  <a:lnTo>
                    <a:pt x="20955" y="112395"/>
                  </a:lnTo>
                  <a:lnTo>
                    <a:pt x="31432" y="91345"/>
                  </a:lnTo>
                  <a:lnTo>
                    <a:pt x="35243" y="73247"/>
                  </a:lnTo>
                  <a:lnTo>
                    <a:pt x="35243" y="52388"/>
                  </a:lnTo>
                  <a:lnTo>
                    <a:pt x="27623" y="52388"/>
                  </a:lnTo>
                  <a:lnTo>
                    <a:pt x="23813" y="31433"/>
                  </a:lnTo>
                  <a:lnTo>
                    <a:pt x="27623" y="2467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58" name="Freeform: Shape 3657">
              <a:extLst>
                <a:ext uri="{FF2B5EF4-FFF2-40B4-BE49-F238E27FC236}">
                  <a16:creationId xmlns:a16="http://schemas.microsoft.com/office/drawing/2014/main" id="{7D9F9927-8A9E-E9FE-ACA1-01461EB33C38}"/>
                </a:ext>
              </a:extLst>
            </p:cNvPr>
            <p:cNvSpPr/>
            <p:nvPr/>
          </p:nvSpPr>
          <p:spPr>
            <a:xfrm>
              <a:off x="7068569" y="3468920"/>
              <a:ext cx="244635" cy="255936"/>
            </a:xfrm>
            <a:custGeom>
              <a:avLst/>
              <a:gdLst>
                <a:gd name="connsiteX0" fmla="*/ 158115 w 249554"/>
                <a:gd name="connsiteY0" fmla="*/ 3905 h 261080"/>
                <a:gd name="connsiteX1" fmla="*/ 165735 w 249554"/>
                <a:gd name="connsiteY1" fmla="*/ 18193 h 261080"/>
                <a:gd name="connsiteX2" fmla="*/ 186690 w 249554"/>
                <a:gd name="connsiteY2" fmla="*/ 49530 h 261080"/>
                <a:gd name="connsiteX3" fmla="*/ 200977 w 249554"/>
                <a:gd name="connsiteY3" fmla="*/ 53435 h 261080"/>
                <a:gd name="connsiteX4" fmla="*/ 193357 w 249554"/>
                <a:gd name="connsiteY4" fmla="*/ 63817 h 261080"/>
                <a:gd name="connsiteX5" fmla="*/ 197167 w 249554"/>
                <a:gd name="connsiteY5" fmla="*/ 78105 h 261080"/>
                <a:gd name="connsiteX6" fmla="*/ 186690 w 249554"/>
                <a:gd name="connsiteY6" fmla="*/ 84868 h 261080"/>
                <a:gd name="connsiteX7" fmla="*/ 176213 w 249554"/>
                <a:gd name="connsiteY7" fmla="*/ 109633 h 261080"/>
                <a:gd name="connsiteX8" fmla="*/ 197167 w 249554"/>
                <a:gd name="connsiteY8" fmla="*/ 130492 h 261080"/>
                <a:gd name="connsiteX9" fmla="*/ 207645 w 249554"/>
                <a:gd name="connsiteY9" fmla="*/ 148590 h 261080"/>
                <a:gd name="connsiteX10" fmla="*/ 232410 w 249554"/>
                <a:gd name="connsiteY10" fmla="*/ 159067 h 261080"/>
                <a:gd name="connsiteX11" fmla="*/ 246697 w 249554"/>
                <a:gd name="connsiteY11" fmla="*/ 173355 h 261080"/>
                <a:gd name="connsiteX12" fmla="*/ 239077 w 249554"/>
                <a:gd name="connsiteY12" fmla="*/ 198215 h 261080"/>
                <a:gd name="connsiteX13" fmla="*/ 249555 w 249554"/>
                <a:gd name="connsiteY13" fmla="*/ 219170 h 261080"/>
                <a:gd name="connsiteX14" fmla="*/ 246697 w 249554"/>
                <a:gd name="connsiteY14" fmla="*/ 229552 h 261080"/>
                <a:gd name="connsiteX15" fmla="*/ 232410 w 249554"/>
                <a:gd name="connsiteY15" fmla="*/ 233458 h 261080"/>
                <a:gd name="connsiteX16" fmla="*/ 214313 w 249554"/>
                <a:gd name="connsiteY16" fmla="*/ 246793 h 261080"/>
                <a:gd name="connsiteX17" fmla="*/ 214313 w 249554"/>
                <a:gd name="connsiteY17" fmla="*/ 261080 h 261080"/>
                <a:gd name="connsiteX18" fmla="*/ 158115 w 249554"/>
                <a:gd name="connsiteY18" fmla="*/ 261080 h 261080"/>
                <a:gd name="connsiteX19" fmla="*/ 133350 w 249554"/>
                <a:gd name="connsiteY19" fmla="*/ 240030 h 261080"/>
                <a:gd name="connsiteX20" fmla="*/ 120015 w 249554"/>
                <a:gd name="connsiteY20" fmla="*/ 240030 h 261080"/>
                <a:gd name="connsiteX21" fmla="*/ 101917 w 249554"/>
                <a:gd name="connsiteY21" fmla="*/ 211455 h 261080"/>
                <a:gd name="connsiteX22" fmla="*/ 38100 w 249554"/>
                <a:gd name="connsiteY22" fmla="*/ 176308 h 261080"/>
                <a:gd name="connsiteX23" fmla="*/ 2857 w 249554"/>
                <a:gd name="connsiteY23" fmla="*/ 169640 h 261080"/>
                <a:gd name="connsiteX24" fmla="*/ 0 w 249554"/>
                <a:gd name="connsiteY24" fmla="*/ 127730 h 261080"/>
                <a:gd name="connsiteX25" fmla="*/ 56197 w 249554"/>
                <a:gd name="connsiteY25" fmla="*/ 91440 h 261080"/>
                <a:gd name="connsiteX26" fmla="*/ 62865 w 249554"/>
                <a:gd name="connsiteY26" fmla="*/ 35242 h 261080"/>
                <a:gd name="connsiteX27" fmla="*/ 87630 w 249554"/>
                <a:gd name="connsiteY27" fmla="*/ 18193 h 261080"/>
                <a:gd name="connsiteX28" fmla="*/ 87630 w 249554"/>
                <a:gd name="connsiteY28" fmla="*/ 10573 h 261080"/>
                <a:gd name="connsiteX29" fmla="*/ 105727 w 249554"/>
                <a:gd name="connsiteY29" fmla="*/ 0 h 261080"/>
                <a:gd name="connsiteX30" fmla="*/ 154305 w 249554"/>
                <a:gd name="connsiteY30" fmla="*/ 10573 h 261080"/>
                <a:gd name="connsiteX31" fmla="*/ 158115 w 249554"/>
                <a:gd name="connsiteY31" fmla="*/ 3905 h 261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49554" h="261080">
                  <a:moveTo>
                    <a:pt x="158115" y="3905"/>
                  </a:moveTo>
                  <a:lnTo>
                    <a:pt x="165735" y="18193"/>
                  </a:lnTo>
                  <a:lnTo>
                    <a:pt x="186690" y="49530"/>
                  </a:lnTo>
                  <a:lnTo>
                    <a:pt x="200977" y="53435"/>
                  </a:lnTo>
                  <a:lnTo>
                    <a:pt x="193357" y="63817"/>
                  </a:lnTo>
                  <a:lnTo>
                    <a:pt x="197167" y="78105"/>
                  </a:lnTo>
                  <a:lnTo>
                    <a:pt x="186690" y="84868"/>
                  </a:lnTo>
                  <a:lnTo>
                    <a:pt x="176213" y="109633"/>
                  </a:lnTo>
                  <a:lnTo>
                    <a:pt x="197167" y="130492"/>
                  </a:lnTo>
                  <a:lnTo>
                    <a:pt x="207645" y="148590"/>
                  </a:lnTo>
                  <a:lnTo>
                    <a:pt x="232410" y="159067"/>
                  </a:lnTo>
                  <a:lnTo>
                    <a:pt x="246697" y="173355"/>
                  </a:lnTo>
                  <a:lnTo>
                    <a:pt x="239077" y="198215"/>
                  </a:lnTo>
                  <a:lnTo>
                    <a:pt x="249555" y="219170"/>
                  </a:lnTo>
                  <a:lnTo>
                    <a:pt x="246697" y="229552"/>
                  </a:lnTo>
                  <a:lnTo>
                    <a:pt x="232410" y="233458"/>
                  </a:lnTo>
                  <a:lnTo>
                    <a:pt x="214313" y="246793"/>
                  </a:lnTo>
                  <a:lnTo>
                    <a:pt x="214313" y="261080"/>
                  </a:lnTo>
                  <a:lnTo>
                    <a:pt x="158115" y="261080"/>
                  </a:lnTo>
                  <a:lnTo>
                    <a:pt x="133350" y="240030"/>
                  </a:lnTo>
                  <a:lnTo>
                    <a:pt x="120015" y="240030"/>
                  </a:lnTo>
                  <a:lnTo>
                    <a:pt x="101917" y="211455"/>
                  </a:lnTo>
                  <a:lnTo>
                    <a:pt x="38100" y="176308"/>
                  </a:lnTo>
                  <a:lnTo>
                    <a:pt x="2857" y="169640"/>
                  </a:lnTo>
                  <a:lnTo>
                    <a:pt x="0" y="127730"/>
                  </a:lnTo>
                  <a:lnTo>
                    <a:pt x="56197" y="91440"/>
                  </a:lnTo>
                  <a:lnTo>
                    <a:pt x="62865" y="35242"/>
                  </a:lnTo>
                  <a:lnTo>
                    <a:pt x="87630" y="18193"/>
                  </a:lnTo>
                  <a:lnTo>
                    <a:pt x="87630" y="10573"/>
                  </a:lnTo>
                  <a:lnTo>
                    <a:pt x="105727" y="0"/>
                  </a:lnTo>
                  <a:lnTo>
                    <a:pt x="154305" y="10573"/>
                  </a:lnTo>
                  <a:lnTo>
                    <a:pt x="158115" y="390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59" name="Freeform: Shape 3658">
              <a:extLst>
                <a:ext uri="{FF2B5EF4-FFF2-40B4-BE49-F238E27FC236}">
                  <a16:creationId xmlns:a16="http://schemas.microsoft.com/office/drawing/2014/main" id="{03C9258E-E79C-BEEE-6865-3F3090B78724}"/>
                </a:ext>
              </a:extLst>
            </p:cNvPr>
            <p:cNvSpPr/>
            <p:nvPr/>
          </p:nvSpPr>
          <p:spPr>
            <a:xfrm>
              <a:off x="7424318" y="3862954"/>
              <a:ext cx="213822" cy="225122"/>
            </a:xfrm>
            <a:custGeom>
              <a:avLst/>
              <a:gdLst>
                <a:gd name="connsiteX0" fmla="*/ 91440 w 218122"/>
                <a:gd name="connsiteY0" fmla="*/ 53435 h 229647"/>
                <a:gd name="connsiteX1" fmla="*/ 122873 w 218122"/>
                <a:gd name="connsiteY1" fmla="*/ 0 h 229647"/>
                <a:gd name="connsiteX2" fmla="*/ 143827 w 218122"/>
                <a:gd name="connsiteY2" fmla="*/ 14288 h 229647"/>
                <a:gd name="connsiteX3" fmla="*/ 158115 w 218122"/>
                <a:gd name="connsiteY3" fmla="*/ 24860 h 229647"/>
                <a:gd name="connsiteX4" fmla="*/ 179070 w 218122"/>
                <a:gd name="connsiteY4" fmla="*/ 28575 h 229647"/>
                <a:gd name="connsiteX5" fmla="*/ 218123 w 218122"/>
                <a:gd name="connsiteY5" fmla="*/ 63913 h 229647"/>
                <a:gd name="connsiteX6" fmla="*/ 203835 w 218122"/>
                <a:gd name="connsiteY6" fmla="*/ 88678 h 229647"/>
                <a:gd name="connsiteX7" fmla="*/ 182880 w 218122"/>
                <a:gd name="connsiteY7" fmla="*/ 113347 h 229647"/>
                <a:gd name="connsiteX8" fmla="*/ 172402 w 218122"/>
                <a:gd name="connsiteY8" fmla="*/ 116300 h 229647"/>
                <a:gd name="connsiteX9" fmla="*/ 151448 w 218122"/>
                <a:gd name="connsiteY9" fmla="*/ 123825 h 229647"/>
                <a:gd name="connsiteX10" fmla="*/ 154305 w 218122"/>
                <a:gd name="connsiteY10" fmla="*/ 141065 h 229647"/>
                <a:gd name="connsiteX11" fmla="*/ 158115 w 218122"/>
                <a:gd name="connsiteY11" fmla="*/ 159163 h 229647"/>
                <a:gd name="connsiteX12" fmla="*/ 140970 w 218122"/>
                <a:gd name="connsiteY12" fmla="*/ 162973 h 229647"/>
                <a:gd name="connsiteX13" fmla="*/ 126682 w 218122"/>
                <a:gd name="connsiteY13" fmla="*/ 173450 h 229647"/>
                <a:gd name="connsiteX14" fmla="*/ 119063 w 218122"/>
                <a:gd name="connsiteY14" fmla="*/ 183928 h 229647"/>
                <a:gd name="connsiteX15" fmla="*/ 119063 w 218122"/>
                <a:gd name="connsiteY15" fmla="*/ 194310 h 229647"/>
                <a:gd name="connsiteX16" fmla="*/ 94298 w 218122"/>
                <a:gd name="connsiteY16" fmla="*/ 198215 h 229647"/>
                <a:gd name="connsiteX17" fmla="*/ 91440 w 218122"/>
                <a:gd name="connsiteY17" fmla="*/ 208597 h 229647"/>
                <a:gd name="connsiteX18" fmla="*/ 80963 w 218122"/>
                <a:gd name="connsiteY18" fmla="*/ 225838 h 229647"/>
                <a:gd name="connsiteX19" fmla="*/ 45720 w 218122"/>
                <a:gd name="connsiteY19" fmla="*/ 222885 h 229647"/>
                <a:gd name="connsiteX20" fmla="*/ 27623 w 218122"/>
                <a:gd name="connsiteY20" fmla="*/ 229648 h 229647"/>
                <a:gd name="connsiteX21" fmla="*/ 0 w 218122"/>
                <a:gd name="connsiteY21" fmla="*/ 165735 h 229647"/>
                <a:gd name="connsiteX22" fmla="*/ 20955 w 218122"/>
                <a:gd name="connsiteY22" fmla="*/ 148685 h 229647"/>
                <a:gd name="connsiteX23" fmla="*/ 83820 w 218122"/>
                <a:gd name="connsiteY23" fmla="*/ 127635 h 229647"/>
                <a:gd name="connsiteX24" fmla="*/ 98107 w 218122"/>
                <a:gd name="connsiteY24" fmla="*/ 95250 h 229647"/>
                <a:gd name="connsiteX25" fmla="*/ 98107 w 218122"/>
                <a:gd name="connsiteY25" fmla="*/ 70485 h 229647"/>
                <a:gd name="connsiteX26" fmla="*/ 91440 w 218122"/>
                <a:gd name="connsiteY26" fmla="*/ 53435 h 229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218122" h="229647">
                  <a:moveTo>
                    <a:pt x="91440" y="53435"/>
                  </a:moveTo>
                  <a:lnTo>
                    <a:pt x="122873" y="0"/>
                  </a:lnTo>
                  <a:lnTo>
                    <a:pt x="143827" y="14288"/>
                  </a:lnTo>
                  <a:lnTo>
                    <a:pt x="158115" y="24860"/>
                  </a:lnTo>
                  <a:lnTo>
                    <a:pt x="179070" y="28575"/>
                  </a:lnTo>
                  <a:lnTo>
                    <a:pt x="218123" y="63913"/>
                  </a:lnTo>
                  <a:lnTo>
                    <a:pt x="203835" y="88678"/>
                  </a:lnTo>
                  <a:lnTo>
                    <a:pt x="182880" y="113347"/>
                  </a:lnTo>
                  <a:lnTo>
                    <a:pt x="172402" y="116300"/>
                  </a:lnTo>
                  <a:lnTo>
                    <a:pt x="151448" y="123825"/>
                  </a:lnTo>
                  <a:lnTo>
                    <a:pt x="154305" y="141065"/>
                  </a:lnTo>
                  <a:lnTo>
                    <a:pt x="158115" y="159163"/>
                  </a:lnTo>
                  <a:lnTo>
                    <a:pt x="140970" y="162973"/>
                  </a:lnTo>
                  <a:lnTo>
                    <a:pt x="126682" y="173450"/>
                  </a:lnTo>
                  <a:lnTo>
                    <a:pt x="119063" y="183928"/>
                  </a:lnTo>
                  <a:lnTo>
                    <a:pt x="119063" y="194310"/>
                  </a:lnTo>
                  <a:lnTo>
                    <a:pt x="94298" y="198215"/>
                  </a:lnTo>
                  <a:lnTo>
                    <a:pt x="91440" y="208597"/>
                  </a:lnTo>
                  <a:lnTo>
                    <a:pt x="80963" y="225838"/>
                  </a:lnTo>
                  <a:lnTo>
                    <a:pt x="45720" y="222885"/>
                  </a:lnTo>
                  <a:lnTo>
                    <a:pt x="27623" y="229648"/>
                  </a:lnTo>
                  <a:lnTo>
                    <a:pt x="0" y="165735"/>
                  </a:lnTo>
                  <a:lnTo>
                    <a:pt x="20955" y="148685"/>
                  </a:lnTo>
                  <a:lnTo>
                    <a:pt x="83820" y="127635"/>
                  </a:lnTo>
                  <a:lnTo>
                    <a:pt x="98107" y="95250"/>
                  </a:lnTo>
                  <a:lnTo>
                    <a:pt x="98107" y="70485"/>
                  </a:lnTo>
                  <a:lnTo>
                    <a:pt x="91440" y="5343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60" name="Freeform: Shape 3659">
              <a:extLst>
                <a:ext uri="{FF2B5EF4-FFF2-40B4-BE49-F238E27FC236}">
                  <a16:creationId xmlns:a16="http://schemas.microsoft.com/office/drawing/2014/main" id="{68A65B6A-F85E-AE78-79B3-C99D3C52B68E}"/>
                </a:ext>
              </a:extLst>
            </p:cNvPr>
            <p:cNvSpPr/>
            <p:nvPr/>
          </p:nvSpPr>
          <p:spPr>
            <a:xfrm>
              <a:off x="7172212" y="4025423"/>
              <a:ext cx="279183" cy="172740"/>
            </a:xfrm>
            <a:custGeom>
              <a:avLst/>
              <a:gdLst>
                <a:gd name="connsiteX0" fmla="*/ 87630 w 284797"/>
                <a:gd name="connsiteY0" fmla="*/ 151543 h 176212"/>
                <a:gd name="connsiteX1" fmla="*/ 73343 w 284797"/>
                <a:gd name="connsiteY1" fmla="*/ 162878 h 176212"/>
                <a:gd name="connsiteX2" fmla="*/ 62865 w 284797"/>
                <a:gd name="connsiteY2" fmla="*/ 176213 h 176212"/>
                <a:gd name="connsiteX3" fmla="*/ 27623 w 284797"/>
                <a:gd name="connsiteY3" fmla="*/ 176213 h 176212"/>
                <a:gd name="connsiteX4" fmla="*/ 14288 w 284797"/>
                <a:gd name="connsiteY4" fmla="*/ 169640 h 176212"/>
                <a:gd name="connsiteX5" fmla="*/ 0 w 284797"/>
                <a:gd name="connsiteY5" fmla="*/ 116300 h 176212"/>
                <a:gd name="connsiteX6" fmla="*/ 0 w 284797"/>
                <a:gd name="connsiteY6" fmla="*/ 74390 h 176212"/>
                <a:gd name="connsiteX7" fmla="*/ 14288 w 284797"/>
                <a:gd name="connsiteY7" fmla="*/ 42863 h 176212"/>
                <a:gd name="connsiteX8" fmla="*/ 73343 w 284797"/>
                <a:gd name="connsiteY8" fmla="*/ 39053 h 176212"/>
                <a:gd name="connsiteX9" fmla="*/ 126682 w 284797"/>
                <a:gd name="connsiteY9" fmla="*/ 49625 h 176212"/>
                <a:gd name="connsiteX10" fmla="*/ 172402 w 284797"/>
                <a:gd name="connsiteY10" fmla="*/ 7715 h 176212"/>
                <a:gd name="connsiteX11" fmla="*/ 224790 w 284797"/>
                <a:gd name="connsiteY11" fmla="*/ 0 h 176212"/>
                <a:gd name="connsiteX12" fmla="*/ 257175 w 284797"/>
                <a:gd name="connsiteY12" fmla="*/ 0 h 176212"/>
                <a:gd name="connsiteX13" fmla="*/ 284798 w 284797"/>
                <a:gd name="connsiteY13" fmla="*/ 63913 h 176212"/>
                <a:gd name="connsiteX14" fmla="*/ 263843 w 284797"/>
                <a:gd name="connsiteY14" fmla="*/ 74390 h 176212"/>
                <a:gd name="connsiteX15" fmla="*/ 249555 w 284797"/>
                <a:gd name="connsiteY15" fmla="*/ 84868 h 176212"/>
                <a:gd name="connsiteX16" fmla="*/ 249555 w 284797"/>
                <a:gd name="connsiteY16" fmla="*/ 99155 h 176212"/>
                <a:gd name="connsiteX17" fmla="*/ 239077 w 284797"/>
                <a:gd name="connsiteY17" fmla="*/ 105728 h 176212"/>
                <a:gd name="connsiteX18" fmla="*/ 200025 w 284797"/>
                <a:gd name="connsiteY18" fmla="*/ 116300 h 176212"/>
                <a:gd name="connsiteX19" fmla="*/ 182880 w 284797"/>
                <a:gd name="connsiteY19" fmla="*/ 120015 h 176212"/>
                <a:gd name="connsiteX20" fmla="*/ 168593 w 284797"/>
                <a:gd name="connsiteY20" fmla="*/ 141065 h 176212"/>
                <a:gd name="connsiteX21" fmla="*/ 137160 w 284797"/>
                <a:gd name="connsiteY21" fmla="*/ 138113 h 176212"/>
                <a:gd name="connsiteX22" fmla="*/ 122873 w 284797"/>
                <a:gd name="connsiteY22" fmla="*/ 155353 h 176212"/>
                <a:gd name="connsiteX23" fmla="*/ 98107 w 284797"/>
                <a:gd name="connsiteY23" fmla="*/ 155353 h 176212"/>
                <a:gd name="connsiteX24" fmla="*/ 87630 w 284797"/>
                <a:gd name="connsiteY24" fmla="*/ 151543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84797" h="176212">
                  <a:moveTo>
                    <a:pt x="87630" y="151543"/>
                  </a:moveTo>
                  <a:lnTo>
                    <a:pt x="73343" y="162878"/>
                  </a:lnTo>
                  <a:lnTo>
                    <a:pt x="62865" y="176213"/>
                  </a:lnTo>
                  <a:lnTo>
                    <a:pt x="27623" y="176213"/>
                  </a:lnTo>
                  <a:lnTo>
                    <a:pt x="14288" y="169640"/>
                  </a:lnTo>
                  <a:lnTo>
                    <a:pt x="0" y="116300"/>
                  </a:lnTo>
                  <a:lnTo>
                    <a:pt x="0" y="74390"/>
                  </a:lnTo>
                  <a:lnTo>
                    <a:pt x="14288" y="42863"/>
                  </a:lnTo>
                  <a:lnTo>
                    <a:pt x="73343" y="39053"/>
                  </a:lnTo>
                  <a:lnTo>
                    <a:pt x="126682" y="49625"/>
                  </a:lnTo>
                  <a:lnTo>
                    <a:pt x="172402" y="7715"/>
                  </a:lnTo>
                  <a:lnTo>
                    <a:pt x="224790" y="0"/>
                  </a:lnTo>
                  <a:lnTo>
                    <a:pt x="257175" y="0"/>
                  </a:lnTo>
                  <a:lnTo>
                    <a:pt x="284798" y="63913"/>
                  </a:lnTo>
                  <a:lnTo>
                    <a:pt x="263843" y="74390"/>
                  </a:lnTo>
                  <a:lnTo>
                    <a:pt x="249555" y="84868"/>
                  </a:lnTo>
                  <a:lnTo>
                    <a:pt x="249555" y="99155"/>
                  </a:lnTo>
                  <a:lnTo>
                    <a:pt x="239077" y="105728"/>
                  </a:lnTo>
                  <a:lnTo>
                    <a:pt x="200025" y="116300"/>
                  </a:lnTo>
                  <a:lnTo>
                    <a:pt x="182880" y="120015"/>
                  </a:lnTo>
                  <a:lnTo>
                    <a:pt x="168593" y="141065"/>
                  </a:lnTo>
                  <a:lnTo>
                    <a:pt x="137160" y="138113"/>
                  </a:lnTo>
                  <a:lnTo>
                    <a:pt x="122873" y="155353"/>
                  </a:lnTo>
                  <a:lnTo>
                    <a:pt x="98107" y="155353"/>
                  </a:lnTo>
                  <a:lnTo>
                    <a:pt x="87630" y="15154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61" name="Freeform: Shape 3660">
              <a:extLst>
                <a:ext uri="{FF2B5EF4-FFF2-40B4-BE49-F238E27FC236}">
                  <a16:creationId xmlns:a16="http://schemas.microsoft.com/office/drawing/2014/main" id="{197CD265-CD55-23FA-EEE8-3D3DE43B144F}"/>
                </a:ext>
              </a:extLst>
            </p:cNvPr>
            <p:cNvSpPr/>
            <p:nvPr/>
          </p:nvSpPr>
          <p:spPr>
            <a:xfrm>
              <a:off x="7206760" y="3396089"/>
              <a:ext cx="527554" cy="446417"/>
            </a:xfrm>
            <a:custGeom>
              <a:avLst/>
              <a:gdLst>
                <a:gd name="connsiteX0" fmla="*/ 133350 w 538162"/>
                <a:gd name="connsiteY0" fmla="*/ 42863 h 455390"/>
                <a:gd name="connsiteX1" fmla="*/ 140970 w 538162"/>
                <a:gd name="connsiteY1" fmla="*/ 67723 h 455390"/>
                <a:gd name="connsiteX2" fmla="*/ 176213 w 538162"/>
                <a:gd name="connsiteY2" fmla="*/ 84868 h 455390"/>
                <a:gd name="connsiteX3" fmla="*/ 197168 w 538162"/>
                <a:gd name="connsiteY3" fmla="*/ 99155 h 455390"/>
                <a:gd name="connsiteX4" fmla="*/ 249555 w 538162"/>
                <a:gd name="connsiteY4" fmla="*/ 99155 h 455390"/>
                <a:gd name="connsiteX5" fmla="*/ 274320 w 538162"/>
                <a:gd name="connsiteY5" fmla="*/ 84868 h 455390"/>
                <a:gd name="connsiteX6" fmla="*/ 313372 w 538162"/>
                <a:gd name="connsiteY6" fmla="*/ 57150 h 455390"/>
                <a:gd name="connsiteX7" fmla="*/ 359093 w 538162"/>
                <a:gd name="connsiteY7" fmla="*/ 49625 h 455390"/>
                <a:gd name="connsiteX8" fmla="*/ 398145 w 538162"/>
                <a:gd name="connsiteY8" fmla="*/ 63913 h 455390"/>
                <a:gd name="connsiteX9" fmla="*/ 450532 w 538162"/>
                <a:gd name="connsiteY9" fmla="*/ 92488 h 455390"/>
                <a:gd name="connsiteX10" fmla="*/ 479107 w 538162"/>
                <a:gd name="connsiteY10" fmla="*/ 99155 h 455390"/>
                <a:gd name="connsiteX11" fmla="*/ 481965 w 538162"/>
                <a:gd name="connsiteY11" fmla="*/ 138113 h 455390"/>
                <a:gd name="connsiteX12" fmla="*/ 464820 w 538162"/>
                <a:gd name="connsiteY12" fmla="*/ 173450 h 455390"/>
                <a:gd name="connsiteX13" fmla="*/ 461010 w 538162"/>
                <a:gd name="connsiteY13" fmla="*/ 222885 h 455390"/>
                <a:gd name="connsiteX14" fmla="*/ 471488 w 538162"/>
                <a:gd name="connsiteY14" fmla="*/ 264890 h 455390"/>
                <a:gd name="connsiteX15" fmla="*/ 496252 w 538162"/>
                <a:gd name="connsiteY15" fmla="*/ 264890 h 455390"/>
                <a:gd name="connsiteX16" fmla="*/ 492443 w 538162"/>
                <a:gd name="connsiteY16" fmla="*/ 285750 h 455390"/>
                <a:gd name="connsiteX17" fmla="*/ 467677 w 538162"/>
                <a:gd name="connsiteY17" fmla="*/ 310610 h 455390"/>
                <a:gd name="connsiteX18" fmla="*/ 479107 w 538162"/>
                <a:gd name="connsiteY18" fmla="*/ 328613 h 455390"/>
                <a:gd name="connsiteX19" fmla="*/ 502920 w 538162"/>
                <a:gd name="connsiteY19" fmla="*/ 356235 h 455390"/>
                <a:gd name="connsiteX20" fmla="*/ 524827 w 538162"/>
                <a:gd name="connsiteY20" fmla="*/ 374428 h 455390"/>
                <a:gd name="connsiteX21" fmla="*/ 524827 w 538162"/>
                <a:gd name="connsiteY21" fmla="*/ 395288 h 455390"/>
                <a:gd name="connsiteX22" fmla="*/ 538163 w 538162"/>
                <a:gd name="connsiteY22" fmla="*/ 395288 h 455390"/>
                <a:gd name="connsiteX23" fmla="*/ 538163 w 538162"/>
                <a:gd name="connsiteY23" fmla="*/ 409575 h 455390"/>
                <a:gd name="connsiteX24" fmla="*/ 514350 w 538162"/>
                <a:gd name="connsiteY24" fmla="*/ 413385 h 455390"/>
                <a:gd name="connsiteX25" fmla="*/ 489585 w 538162"/>
                <a:gd name="connsiteY25" fmla="*/ 426815 h 455390"/>
                <a:gd name="connsiteX26" fmla="*/ 489585 w 538162"/>
                <a:gd name="connsiteY26" fmla="*/ 455390 h 455390"/>
                <a:gd name="connsiteX27" fmla="*/ 415290 w 538162"/>
                <a:gd name="connsiteY27" fmla="*/ 448723 h 455390"/>
                <a:gd name="connsiteX28" fmla="*/ 365760 w 538162"/>
                <a:gd name="connsiteY28" fmla="*/ 434435 h 455390"/>
                <a:gd name="connsiteX29" fmla="*/ 362902 w 538162"/>
                <a:gd name="connsiteY29" fmla="*/ 405860 h 455390"/>
                <a:gd name="connsiteX30" fmla="*/ 344805 w 538162"/>
                <a:gd name="connsiteY30" fmla="*/ 391573 h 455390"/>
                <a:gd name="connsiteX31" fmla="*/ 330518 w 538162"/>
                <a:gd name="connsiteY31" fmla="*/ 395288 h 455390"/>
                <a:gd name="connsiteX32" fmla="*/ 313372 w 538162"/>
                <a:gd name="connsiteY32" fmla="*/ 409575 h 455390"/>
                <a:gd name="connsiteX33" fmla="*/ 288607 w 538162"/>
                <a:gd name="connsiteY33" fmla="*/ 413385 h 455390"/>
                <a:gd name="connsiteX34" fmla="*/ 242888 w 538162"/>
                <a:gd name="connsiteY34" fmla="*/ 395288 h 455390"/>
                <a:gd name="connsiteX35" fmla="*/ 207645 w 538162"/>
                <a:gd name="connsiteY35" fmla="*/ 363950 h 455390"/>
                <a:gd name="connsiteX36" fmla="*/ 182880 w 538162"/>
                <a:gd name="connsiteY36" fmla="*/ 331565 h 455390"/>
                <a:gd name="connsiteX37" fmla="*/ 172402 w 538162"/>
                <a:gd name="connsiteY37" fmla="*/ 310610 h 455390"/>
                <a:gd name="connsiteX38" fmla="*/ 140970 w 538162"/>
                <a:gd name="connsiteY38" fmla="*/ 303847 h 455390"/>
                <a:gd name="connsiteX39" fmla="*/ 122872 w 538162"/>
                <a:gd name="connsiteY39" fmla="*/ 310610 h 455390"/>
                <a:gd name="connsiteX40" fmla="*/ 105727 w 538162"/>
                <a:gd name="connsiteY40" fmla="*/ 303847 h 455390"/>
                <a:gd name="connsiteX41" fmla="*/ 108585 w 538162"/>
                <a:gd name="connsiteY41" fmla="*/ 293465 h 455390"/>
                <a:gd name="connsiteX42" fmla="*/ 98107 w 538162"/>
                <a:gd name="connsiteY42" fmla="*/ 272510 h 455390"/>
                <a:gd name="connsiteX43" fmla="*/ 105727 w 538162"/>
                <a:gd name="connsiteY43" fmla="*/ 247650 h 455390"/>
                <a:gd name="connsiteX44" fmla="*/ 83820 w 538162"/>
                <a:gd name="connsiteY44" fmla="*/ 229648 h 455390"/>
                <a:gd name="connsiteX45" fmla="*/ 66675 w 538162"/>
                <a:gd name="connsiteY45" fmla="*/ 222885 h 455390"/>
                <a:gd name="connsiteX46" fmla="*/ 35243 w 538162"/>
                <a:gd name="connsiteY46" fmla="*/ 183928 h 455390"/>
                <a:gd name="connsiteX47" fmla="*/ 45720 w 538162"/>
                <a:gd name="connsiteY47" fmla="*/ 159163 h 455390"/>
                <a:gd name="connsiteX48" fmla="*/ 56197 w 538162"/>
                <a:gd name="connsiteY48" fmla="*/ 152400 h 455390"/>
                <a:gd name="connsiteX49" fmla="*/ 52388 w 538162"/>
                <a:gd name="connsiteY49" fmla="*/ 138113 h 455390"/>
                <a:gd name="connsiteX50" fmla="*/ 60007 w 538162"/>
                <a:gd name="connsiteY50" fmla="*/ 127730 h 455390"/>
                <a:gd name="connsiteX51" fmla="*/ 45720 w 538162"/>
                <a:gd name="connsiteY51" fmla="*/ 123825 h 455390"/>
                <a:gd name="connsiteX52" fmla="*/ 27622 w 538162"/>
                <a:gd name="connsiteY52" fmla="*/ 95250 h 455390"/>
                <a:gd name="connsiteX53" fmla="*/ 17145 w 538162"/>
                <a:gd name="connsiteY53" fmla="*/ 78200 h 455390"/>
                <a:gd name="connsiteX54" fmla="*/ 10477 w 538162"/>
                <a:gd name="connsiteY54" fmla="*/ 60008 h 455390"/>
                <a:gd name="connsiteX55" fmla="*/ 6668 w 538162"/>
                <a:gd name="connsiteY55" fmla="*/ 42863 h 455390"/>
                <a:gd name="connsiteX56" fmla="*/ 2857 w 538162"/>
                <a:gd name="connsiteY56" fmla="*/ 28575 h 455390"/>
                <a:gd name="connsiteX57" fmla="*/ 0 w 538162"/>
                <a:gd name="connsiteY57" fmla="*/ 14288 h 455390"/>
                <a:gd name="connsiteX58" fmla="*/ 2857 w 538162"/>
                <a:gd name="connsiteY58" fmla="*/ 7620 h 455390"/>
                <a:gd name="connsiteX59" fmla="*/ 17145 w 538162"/>
                <a:gd name="connsiteY59" fmla="*/ 3905 h 455390"/>
                <a:gd name="connsiteX60" fmla="*/ 41910 w 538162"/>
                <a:gd name="connsiteY60" fmla="*/ 24860 h 455390"/>
                <a:gd name="connsiteX61" fmla="*/ 56197 w 538162"/>
                <a:gd name="connsiteY61" fmla="*/ 32480 h 455390"/>
                <a:gd name="connsiteX62" fmla="*/ 60007 w 538162"/>
                <a:gd name="connsiteY62" fmla="*/ 21908 h 455390"/>
                <a:gd name="connsiteX63" fmla="*/ 73343 w 538162"/>
                <a:gd name="connsiteY63" fmla="*/ 24860 h 455390"/>
                <a:gd name="connsiteX64" fmla="*/ 83820 w 538162"/>
                <a:gd name="connsiteY64" fmla="*/ 18193 h 455390"/>
                <a:gd name="connsiteX65" fmla="*/ 105727 w 538162"/>
                <a:gd name="connsiteY65" fmla="*/ 0 h 455390"/>
                <a:gd name="connsiteX66" fmla="*/ 112395 w 538162"/>
                <a:gd name="connsiteY66" fmla="*/ 3905 h 455390"/>
                <a:gd name="connsiteX67" fmla="*/ 112395 w 538162"/>
                <a:gd name="connsiteY67" fmla="*/ 18193 h 455390"/>
                <a:gd name="connsiteX68" fmla="*/ 119063 w 538162"/>
                <a:gd name="connsiteY68" fmla="*/ 28575 h 455390"/>
                <a:gd name="connsiteX69" fmla="*/ 108585 w 538162"/>
                <a:gd name="connsiteY69" fmla="*/ 32480 h 455390"/>
                <a:gd name="connsiteX70" fmla="*/ 119063 w 538162"/>
                <a:gd name="connsiteY70" fmla="*/ 42863 h 455390"/>
                <a:gd name="connsiteX71" fmla="*/ 133350 w 538162"/>
                <a:gd name="connsiteY71" fmla="*/ 42863 h 4553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538162" h="455390">
                  <a:moveTo>
                    <a:pt x="133350" y="42863"/>
                  </a:moveTo>
                  <a:lnTo>
                    <a:pt x="140970" y="67723"/>
                  </a:lnTo>
                  <a:lnTo>
                    <a:pt x="176213" y="84868"/>
                  </a:lnTo>
                  <a:lnTo>
                    <a:pt x="197168" y="99155"/>
                  </a:lnTo>
                  <a:lnTo>
                    <a:pt x="249555" y="99155"/>
                  </a:lnTo>
                  <a:lnTo>
                    <a:pt x="274320" y="84868"/>
                  </a:lnTo>
                  <a:lnTo>
                    <a:pt x="313372" y="57150"/>
                  </a:lnTo>
                  <a:lnTo>
                    <a:pt x="359093" y="49625"/>
                  </a:lnTo>
                  <a:lnTo>
                    <a:pt x="398145" y="63913"/>
                  </a:lnTo>
                  <a:lnTo>
                    <a:pt x="450532" y="92488"/>
                  </a:lnTo>
                  <a:lnTo>
                    <a:pt x="479107" y="99155"/>
                  </a:lnTo>
                  <a:lnTo>
                    <a:pt x="481965" y="138113"/>
                  </a:lnTo>
                  <a:lnTo>
                    <a:pt x="464820" y="173450"/>
                  </a:lnTo>
                  <a:lnTo>
                    <a:pt x="461010" y="222885"/>
                  </a:lnTo>
                  <a:lnTo>
                    <a:pt x="471488" y="264890"/>
                  </a:lnTo>
                  <a:lnTo>
                    <a:pt x="496252" y="264890"/>
                  </a:lnTo>
                  <a:lnTo>
                    <a:pt x="492443" y="285750"/>
                  </a:lnTo>
                  <a:lnTo>
                    <a:pt x="467677" y="310610"/>
                  </a:lnTo>
                  <a:lnTo>
                    <a:pt x="479107" y="328613"/>
                  </a:lnTo>
                  <a:lnTo>
                    <a:pt x="502920" y="356235"/>
                  </a:lnTo>
                  <a:lnTo>
                    <a:pt x="524827" y="374428"/>
                  </a:lnTo>
                  <a:lnTo>
                    <a:pt x="524827" y="395288"/>
                  </a:lnTo>
                  <a:lnTo>
                    <a:pt x="538163" y="395288"/>
                  </a:lnTo>
                  <a:lnTo>
                    <a:pt x="538163" y="409575"/>
                  </a:lnTo>
                  <a:lnTo>
                    <a:pt x="514350" y="413385"/>
                  </a:lnTo>
                  <a:lnTo>
                    <a:pt x="489585" y="426815"/>
                  </a:lnTo>
                  <a:lnTo>
                    <a:pt x="489585" y="455390"/>
                  </a:lnTo>
                  <a:lnTo>
                    <a:pt x="415290" y="448723"/>
                  </a:lnTo>
                  <a:lnTo>
                    <a:pt x="365760" y="434435"/>
                  </a:lnTo>
                  <a:lnTo>
                    <a:pt x="362902" y="405860"/>
                  </a:lnTo>
                  <a:lnTo>
                    <a:pt x="344805" y="391573"/>
                  </a:lnTo>
                  <a:lnTo>
                    <a:pt x="330518" y="395288"/>
                  </a:lnTo>
                  <a:lnTo>
                    <a:pt x="313372" y="409575"/>
                  </a:lnTo>
                  <a:lnTo>
                    <a:pt x="288607" y="413385"/>
                  </a:lnTo>
                  <a:lnTo>
                    <a:pt x="242888" y="395288"/>
                  </a:lnTo>
                  <a:lnTo>
                    <a:pt x="207645" y="363950"/>
                  </a:lnTo>
                  <a:lnTo>
                    <a:pt x="182880" y="331565"/>
                  </a:lnTo>
                  <a:lnTo>
                    <a:pt x="172402" y="310610"/>
                  </a:lnTo>
                  <a:lnTo>
                    <a:pt x="140970" y="303847"/>
                  </a:lnTo>
                  <a:lnTo>
                    <a:pt x="122872" y="310610"/>
                  </a:lnTo>
                  <a:lnTo>
                    <a:pt x="105727" y="303847"/>
                  </a:lnTo>
                  <a:lnTo>
                    <a:pt x="108585" y="293465"/>
                  </a:lnTo>
                  <a:lnTo>
                    <a:pt x="98107" y="272510"/>
                  </a:lnTo>
                  <a:lnTo>
                    <a:pt x="105727" y="247650"/>
                  </a:lnTo>
                  <a:lnTo>
                    <a:pt x="83820" y="229648"/>
                  </a:lnTo>
                  <a:lnTo>
                    <a:pt x="66675" y="222885"/>
                  </a:lnTo>
                  <a:lnTo>
                    <a:pt x="35243" y="183928"/>
                  </a:lnTo>
                  <a:lnTo>
                    <a:pt x="45720" y="159163"/>
                  </a:lnTo>
                  <a:lnTo>
                    <a:pt x="56197" y="152400"/>
                  </a:lnTo>
                  <a:lnTo>
                    <a:pt x="52388" y="138113"/>
                  </a:lnTo>
                  <a:lnTo>
                    <a:pt x="60007" y="127730"/>
                  </a:lnTo>
                  <a:lnTo>
                    <a:pt x="45720" y="123825"/>
                  </a:lnTo>
                  <a:lnTo>
                    <a:pt x="27622" y="95250"/>
                  </a:lnTo>
                  <a:lnTo>
                    <a:pt x="17145" y="78200"/>
                  </a:lnTo>
                  <a:lnTo>
                    <a:pt x="10477" y="60008"/>
                  </a:lnTo>
                  <a:lnTo>
                    <a:pt x="6668" y="42863"/>
                  </a:lnTo>
                  <a:lnTo>
                    <a:pt x="2857" y="28575"/>
                  </a:lnTo>
                  <a:lnTo>
                    <a:pt x="0" y="14288"/>
                  </a:lnTo>
                  <a:lnTo>
                    <a:pt x="2857" y="7620"/>
                  </a:lnTo>
                  <a:lnTo>
                    <a:pt x="17145" y="3905"/>
                  </a:lnTo>
                  <a:lnTo>
                    <a:pt x="41910" y="24860"/>
                  </a:lnTo>
                  <a:lnTo>
                    <a:pt x="56197" y="32480"/>
                  </a:lnTo>
                  <a:lnTo>
                    <a:pt x="60007" y="21908"/>
                  </a:lnTo>
                  <a:lnTo>
                    <a:pt x="73343" y="24860"/>
                  </a:lnTo>
                  <a:lnTo>
                    <a:pt x="83820" y="18193"/>
                  </a:lnTo>
                  <a:lnTo>
                    <a:pt x="105727" y="0"/>
                  </a:lnTo>
                  <a:lnTo>
                    <a:pt x="112395" y="3905"/>
                  </a:lnTo>
                  <a:lnTo>
                    <a:pt x="112395" y="18193"/>
                  </a:lnTo>
                  <a:lnTo>
                    <a:pt x="119063" y="28575"/>
                  </a:lnTo>
                  <a:lnTo>
                    <a:pt x="108585" y="32480"/>
                  </a:lnTo>
                  <a:lnTo>
                    <a:pt x="119063" y="42863"/>
                  </a:lnTo>
                  <a:lnTo>
                    <a:pt x="133350" y="4286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62" name="Freeform: Shape 3661">
              <a:extLst>
                <a:ext uri="{FF2B5EF4-FFF2-40B4-BE49-F238E27FC236}">
                  <a16:creationId xmlns:a16="http://schemas.microsoft.com/office/drawing/2014/main" id="{6DA24C89-B181-5B88-FBDB-41B0D3B3D472}"/>
                </a:ext>
              </a:extLst>
            </p:cNvPr>
            <p:cNvSpPr/>
            <p:nvPr/>
          </p:nvSpPr>
          <p:spPr>
            <a:xfrm>
              <a:off x="7658682" y="3434464"/>
              <a:ext cx="390297" cy="280120"/>
            </a:xfrm>
            <a:custGeom>
              <a:avLst/>
              <a:gdLst>
                <a:gd name="connsiteX0" fmla="*/ 20955 w 398145"/>
                <a:gd name="connsiteY0" fmla="*/ 98965 h 285750"/>
                <a:gd name="connsiteX1" fmla="*/ 41910 w 398145"/>
                <a:gd name="connsiteY1" fmla="*/ 98965 h 285750"/>
                <a:gd name="connsiteX2" fmla="*/ 60008 w 398145"/>
                <a:gd name="connsiteY2" fmla="*/ 105727 h 285750"/>
                <a:gd name="connsiteX3" fmla="*/ 77153 w 398145"/>
                <a:gd name="connsiteY3" fmla="*/ 84677 h 285750"/>
                <a:gd name="connsiteX4" fmla="*/ 99060 w 398145"/>
                <a:gd name="connsiteY4" fmla="*/ 78010 h 285750"/>
                <a:gd name="connsiteX5" fmla="*/ 120015 w 398145"/>
                <a:gd name="connsiteY5" fmla="*/ 45720 h 285750"/>
                <a:gd name="connsiteX6" fmla="*/ 147638 w 398145"/>
                <a:gd name="connsiteY6" fmla="*/ 35147 h 285750"/>
                <a:gd name="connsiteX7" fmla="*/ 169545 w 398145"/>
                <a:gd name="connsiteY7" fmla="*/ 35147 h 285750"/>
                <a:gd name="connsiteX8" fmla="*/ 203835 w 398145"/>
                <a:gd name="connsiteY8" fmla="*/ 45720 h 285750"/>
                <a:gd name="connsiteX9" fmla="*/ 221933 w 398145"/>
                <a:gd name="connsiteY9" fmla="*/ 53340 h 285750"/>
                <a:gd name="connsiteX10" fmla="*/ 257175 w 398145"/>
                <a:gd name="connsiteY10" fmla="*/ 32290 h 285750"/>
                <a:gd name="connsiteX11" fmla="*/ 271463 w 398145"/>
                <a:gd name="connsiteY11" fmla="*/ 28575 h 285750"/>
                <a:gd name="connsiteX12" fmla="*/ 288608 w 398145"/>
                <a:gd name="connsiteY12" fmla="*/ 0 h 285750"/>
                <a:gd name="connsiteX13" fmla="*/ 302895 w 398145"/>
                <a:gd name="connsiteY13" fmla="*/ 10477 h 285750"/>
                <a:gd name="connsiteX14" fmla="*/ 306705 w 398145"/>
                <a:gd name="connsiteY14" fmla="*/ 32290 h 285750"/>
                <a:gd name="connsiteX15" fmla="*/ 302895 w 398145"/>
                <a:gd name="connsiteY15" fmla="*/ 45720 h 285750"/>
                <a:gd name="connsiteX16" fmla="*/ 302895 w 398145"/>
                <a:gd name="connsiteY16" fmla="*/ 56102 h 285750"/>
                <a:gd name="connsiteX17" fmla="*/ 320993 w 398145"/>
                <a:gd name="connsiteY17" fmla="*/ 53340 h 285750"/>
                <a:gd name="connsiteX18" fmla="*/ 334328 w 398145"/>
                <a:gd name="connsiteY18" fmla="*/ 45720 h 285750"/>
                <a:gd name="connsiteX19" fmla="*/ 348615 w 398145"/>
                <a:gd name="connsiteY19" fmla="*/ 35147 h 285750"/>
                <a:gd name="connsiteX20" fmla="*/ 398145 w 398145"/>
                <a:gd name="connsiteY20" fmla="*/ 35147 h 285750"/>
                <a:gd name="connsiteX21" fmla="*/ 398145 w 398145"/>
                <a:gd name="connsiteY21" fmla="*/ 49435 h 285750"/>
                <a:gd name="connsiteX22" fmla="*/ 377190 w 398145"/>
                <a:gd name="connsiteY22" fmla="*/ 53340 h 285750"/>
                <a:gd name="connsiteX23" fmla="*/ 348615 w 398145"/>
                <a:gd name="connsiteY23" fmla="*/ 53340 h 285750"/>
                <a:gd name="connsiteX24" fmla="*/ 334328 w 398145"/>
                <a:gd name="connsiteY24" fmla="*/ 53340 h 285750"/>
                <a:gd name="connsiteX25" fmla="*/ 327660 w 398145"/>
                <a:gd name="connsiteY25" fmla="*/ 56102 h 285750"/>
                <a:gd name="connsiteX26" fmla="*/ 306705 w 398145"/>
                <a:gd name="connsiteY26" fmla="*/ 70390 h 285750"/>
                <a:gd name="connsiteX27" fmla="*/ 296228 w 398145"/>
                <a:gd name="connsiteY27" fmla="*/ 80963 h 285750"/>
                <a:gd name="connsiteX28" fmla="*/ 302895 w 398145"/>
                <a:gd name="connsiteY28" fmla="*/ 91440 h 285750"/>
                <a:gd name="connsiteX29" fmla="*/ 306705 w 398145"/>
                <a:gd name="connsiteY29" fmla="*/ 102870 h 285750"/>
                <a:gd name="connsiteX30" fmla="*/ 302895 w 398145"/>
                <a:gd name="connsiteY30" fmla="*/ 120015 h 285750"/>
                <a:gd name="connsiteX31" fmla="*/ 296228 w 398145"/>
                <a:gd name="connsiteY31" fmla="*/ 138113 h 285750"/>
                <a:gd name="connsiteX32" fmla="*/ 267653 w 398145"/>
                <a:gd name="connsiteY32" fmla="*/ 148590 h 285750"/>
                <a:gd name="connsiteX33" fmla="*/ 260985 w 398145"/>
                <a:gd name="connsiteY33" fmla="*/ 169450 h 285750"/>
                <a:gd name="connsiteX34" fmla="*/ 250508 w 398145"/>
                <a:gd name="connsiteY34" fmla="*/ 176213 h 285750"/>
                <a:gd name="connsiteX35" fmla="*/ 242888 w 398145"/>
                <a:gd name="connsiteY35" fmla="*/ 194215 h 285750"/>
                <a:gd name="connsiteX36" fmla="*/ 242888 w 398145"/>
                <a:gd name="connsiteY36" fmla="*/ 219075 h 285750"/>
                <a:gd name="connsiteX37" fmla="*/ 200978 w 398145"/>
                <a:gd name="connsiteY37" fmla="*/ 219075 h 285750"/>
                <a:gd name="connsiteX38" fmla="*/ 193358 w 398145"/>
                <a:gd name="connsiteY38" fmla="*/ 233363 h 285750"/>
                <a:gd name="connsiteX39" fmla="*/ 165735 w 398145"/>
                <a:gd name="connsiteY39" fmla="*/ 233363 h 285750"/>
                <a:gd name="connsiteX40" fmla="*/ 158115 w 398145"/>
                <a:gd name="connsiteY40" fmla="*/ 243840 h 285750"/>
                <a:gd name="connsiteX41" fmla="*/ 155258 w 398145"/>
                <a:gd name="connsiteY41" fmla="*/ 275177 h 285750"/>
                <a:gd name="connsiteX42" fmla="*/ 137160 w 398145"/>
                <a:gd name="connsiteY42" fmla="*/ 278987 h 285750"/>
                <a:gd name="connsiteX43" fmla="*/ 74295 w 398145"/>
                <a:gd name="connsiteY43" fmla="*/ 285750 h 285750"/>
                <a:gd name="connsiteX44" fmla="*/ 41910 w 398145"/>
                <a:gd name="connsiteY44" fmla="*/ 285750 h 285750"/>
                <a:gd name="connsiteX45" fmla="*/ 31433 w 398145"/>
                <a:gd name="connsiteY45" fmla="*/ 275177 h 285750"/>
                <a:gd name="connsiteX46" fmla="*/ 14288 w 398145"/>
                <a:gd name="connsiteY46" fmla="*/ 281940 h 285750"/>
                <a:gd name="connsiteX47" fmla="*/ 6668 w 398145"/>
                <a:gd name="connsiteY47" fmla="*/ 271463 h 285750"/>
                <a:gd name="connsiteX48" fmla="*/ 31433 w 398145"/>
                <a:gd name="connsiteY48" fmla="*/ 246602 h 285750"/>
                <a:gd name="connsiteX49" fmla="*/ 35243 w 398145"/>
                <a:gd name="connsiteY49" fmla="*/ 225742 h 285750"/>
                <a:gd name="connsiteX50" fmla="*/ 10478 w 398145"/>
                <a:gd name="connsiteY50" fmla="*/ 225742 h 285750"/>
                <a:gd name="connsiteX51" fmla="*/ 6668 w 398145"/>
                <a:gd name="connsiteY51" fmla="*/ 200977 h 285750"/>
                <a:gd name="connsiteX52" fmla="*/ 0 w 398145"/>
                <a:gd name="connsiteY52" fmla="*/ 183737 h 285750"/>
                <a:gd name="connsiteX53" fmla="*/ 3810 w 398145"/>
                <a:gd name="connsiteY53" fmla="*/ 134302 h 285750"/>
                <a:gd name="connsiteX54" fmla="*/ 20955 w 398145"/>
                <a:gd name="connsiteY54" fmla="*/ 98965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98145" h="285750">
                  <a:moveTo>
                    <a:pt x="20955" y="98965"/>
                  </a:moveTo>
                  <a:lnTo>
                    <a:pt x="41910" y="98965"/>
                  </a:lnTo>
                  <a:lnTo>
                    <a:pt x="60008" y="105727"/>
                  </a:lnTo>
                  <a:lnTo>
                    <a:pt x="77153" y="84677"/>
                  </a:lnTo>
                  <a:lnTo>
                    <a:pt x="99060" y="78010"/>
                  </a:lnTo>
                  <a:lnTo>
                    <a:pt x="120015" y="45720"/>
                  </a:lnTo>
                  <a:lnTo>
                    <a:pt x="147638" y="35147"/>
                  </a:lnTo>
                  <a:lnTo>
                    <a:pt x="169545" y="35147"/>
                  </a:lnTo>
                  <a:lnTo>
                    <a:pt x="203835" y="45720"/>
                  </a:lnTo>
                  <a:lnTo>
                    <a:pt x="221933" y="53340"/>
                  </a:lnTo>
                  <a:lnTo>
                    <a:pt x="257175" y="32290"/>
                  </a:lnTo>
                  <a:lnTo>
                    <a:pt x="271463" y="28575"/>
                  </a:lnTo>
                  <a:lnTo>
                    <a:pt x="288608" y="0"/>
                  </a:lnTo>
                  <a:lnTo>
                    <a:pt x="302895" y="10477"/>
                  </a:lnTo>
                  <a:lnTo>
                    <a:pt x="306705" y="32290"/>
                  </a:lnTo>
                  <a:lnTo>
                    <a:pt x="302895" y="45720"/>
                  </a:lnTo>
                  <a:lnTo>
                    <a:pt x="302895" y="56102"/>
                  </a:lnTo>
                  <a:lnTo>
                    <a:pt x="320993" y="53340"/>
                  </a:lnTo>
                  <a:lnTo>
                    <a:pt x="334328" y="45720"/>
                  </a:lnTo>
                  <a:lnTo>
                    <a:pt x="348615" y="35147"/>
                  </a:lnTo>
                  <a:lnTo>
                    <a:pt x="398145" y="35147"/>
                  </a:lnTo>
                  <a:lnTo>
                    <a:pt x="398145" y="49435"/>
                  </a:lnTo>
                  <a:lnTo>
                    <a:pt x="377190" y="53340"/>
                  </a:lnTo>
                  <a:lnTo>
                    <a:pt x="348615" y="53340"/>
                  </a:lnTo>
                  <a:lnTo>
                    <a:pt x="334328" y="53340"/>
                  </a:lnTo>
                  <a:lnTo>
                    <a:pt x="327660" y="56102"/>
                  </a:lnTo>
                  <a:lnTo>
                    <a:pt x="306705" y="70390"/>
                  </a:lnTo>
                  <a:lnTo>
                    <a:pt x="296228" y="80963"/>
                  </a:lnTo>
                  <a:lnTo>
                    <a:pt x="302895" y="91440"/>
                  </a:lnTo>
                  <a:lnTo>
                    <a:pt x="306705" y="102870"/>
                  </a:lnTo>
                  <a:lnTo>
                    <a:pt x="302895" y="120015"/>
                  </a:lnTo>
                  <a:lnTo>
                    <a:pt x="296228" y="138113"/>
                  </a:lnTo>
                  <a:lnTo>
                    <a:pt x="267653" y="148590"/>
                  </a:lnTo>
                  <a:lnTo>
                    <a:pt x="260985" y="169450"/>
                  </a:lnTo>
                  <a:lnTo>
                    <a:pt x="250508" y="176213"/>
                  </a:lnTo>
                  <a:lnTo>
                    <a:pt x="242888" y="194215"/>
                  </a:lnTo>
                  <a:lnTo>
                    <a:pt x="242888" y="219075"/>
                  </a:lnTo>
                  <a:lnTo>
                    <a:pt x="200978" y="219075"/>
                  </a:lnTo>
                  <a:lnTo>
                    <a:pt x="193358" y="233363"/>
                  </a:lnTo>
                  <a:lnTo>
                    <a:pt x="165735" y="233363"/>
                  </a:lnTo>
                  <a:lnTo>
                    <a:pt x="158115" y="243840"/>
                  </a:lnTo>
                  <a:lnTo>
                    <a:pt x="155258" y="275177"/>
                  </a:lnTo>
                  <a:lnTo>
                    <a:pt x="137160" y="278987"/>
                  </a:lnTo>
                  <a:lnTo>
                    <a:pt x="74295" y="285750"/>
                  </a:lnTo>
                  <a:lnTo>
                    <a:pt x="41910" y="285750"/>
                  </a:lnTo>
                  <a:lnTo>
                    <a:pt x="31433" y="275177"/>
                  </a:lnTo>
                  <a:lnTo>
                    <a:pt x="14288" y="281940"/>
                  </a:lnTo>
                  <a:lnTo>
                    <a:pt x="6668" y="271463"/>
                  </a:lnTo>
                  <a:lnTo>
                    <a:pt x="31433" y="246602"/>
                  </a:lnTo>
                  <a:lnTo>
                    <a:pt x="35243" y="225742"/>
                  </a:lnTo>
                  <a:lnTo>
                    <a:pt x="10478" y="225742"/>
                  </a:lnTo>
                  <a:lnTo>
                    <a:pt x="6668" y="200977"/>
                  </a:lnTo>
                  <a:lnTo>
                    <a:pt x="0" y="183737"/>
                  </a:lnTo>
                  <a:lnTo>
                    <a:pt x="3810" y="134302"/>
                  </a:lnTo>
                  <a:lnTo>
                    <a:pt x="20955" y="9896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63" name="Freeform: Shape 3662">
              <a:extLst>
                <a:ext uri="{FF2B5EF4-FFF2-40B4-BE49-F238E27FC236}">
                  <a16:creationId xmlns:a16="http://schemas.microsoft.com/office/drawing/2014/main" id="{5558BFE6-0C72-EE18-E77D-3CC4EEFEA660}"/>
                </a:ext>
              </a:extLst>
            </p:cNvPr>
            <p:cNvSpPr/>
            <p:nvPr/>
          </p:nvSpPr>
          <p:spPr>
            <a:xfrm>
              <a:off x="6954655" y="3594133"/>
              <a:ext cx="116715" cy="130722"/>
            </a:xfrm>
            <a:custGeom>
              <a:avLst/>
              <a:gdLst>
                <a:gd name="connsiteX0" fmla="*/ 116205 w 119062"/>
                <a:gd name="connsiteY0" fmla="*/ 0 h 133350"/>
                <a:gd name="connsiteX1" fmla="*/ 119063 w 119062"/>
                <a:gd name="connsiteY1" fmla="*/ 41910 h 133350"/>
                <a:gd name="connsiteX2" fmla="*/ 116205 w 119062"/>
                <a:gd name="connsiteY2" fmla="*/ 52388 h 133350"/>
                <a:gd name="connsiteX3" fmla="*/ 66675 w 119062"/>
                <a:gd name="connsiteY3" fmla="*/ 58960 h 133350"/>
                <a:gd name="connsiteX4" fmla="*/ 87630 w 119062"/>
                <a:gd name="connsiteY4" fmla="*/ 87535 h 133350"/>
                <a:gd name="connsiteX5" fmla="*/ 77152 w 119062"/>
                <a:gd name="connsiteY5" fmla="*/ 98012 h 133350"/>
                <a:gd name="connsiteX6" fmla="*/ 73343 w 119062"/>
                <a:gd name="connsiteY6" fmla="*/ 108585 h 133350"/>
                <a:gd name="connsiteX7" fmla="*/ 52388 w 119062"/>
                <a:gd name="connsiteY7" fmla="*/ 112300 h 133350"/>
                <a:gd name="connsiteX8" fmla="*/ 41910 w 119062"/>
                <a:gd name="connsiteY8" fmla="*/ 126587 h 133350"/>
                <a:gd name="connsiteX9" fmla="*/ 35243 w 119062"/>
                <a:gd name="connsiteY9" fmla="*/ 133350 h 133350"/>
                <a:gd name="connsiteX10" fmla="*/ 0 w 119062"/>
                <a:gd name="connsiteY10" fmla="*/ 122873 h 133350"/>
                <a:gd name="connsiteX11" fmla="*/ 10477 w 119062"/>
                <a:gd name="connsiteY11" fmla="*/ 101822 h 133350"/>
                <a:gd name="connsiteX12" fmla="*/ 14288 w 119062"/>
                <a:gd name="connsiteY12" fmla="*/ 83725 h 133350"/>
                <a:gd name="connsiteX13" fmla="*/ 14288 w 119062"/>
                <a:gd name="connsiteY13" fmla="*/ 62865 h 133350"/>
                <a:gd name="connsiteX14" fmla="*/ 17145 w 119062"/>
                <a:gd name="connsiteY14" fmla="*/ 48578 h 133350"/>
                <a:gd name="connsiteX15" fmla="*/ 17145 w 119062"/>
                <a:gd name="connsiteY15" fmla="*/ 35147 h 133350"/>
                <a:gd name="connsiteX16" fmla="*/ 20955 w 119062"/>
                <a:gd name="connsiteY16" fmla="*/ 23813 h 133350"/>
                <a:gd name="connsiteX17" fmla="*/ 27622 w 119062"/>
                <a:gd name="connsiteY17" fmla="*/ 27623 h 133350"/>
                <a:gd name="connsiteX18" fmla="*/ 35243 w 119062"/>
                <a:gd name="connsiteY18" fmla="*/ 27623 h 133350"/>
                <a:gd name="connsiteX19" fmla="*/ 49530 w 119062"/>
                <a:gd name="connsiteY19" fmla="*/ 35147 h 133350"/>
                <a:gd name="connsiteX20" fmla="*/ 62865 w 119062"/>
                <a:gd name="connsiteY20" fmla="*/ 31337 h 133350"/>
                <a:gd name="connsiteX21" fmla="*/ 116205 w 119062"/>
                <a:gd name="connsiteY21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9062" h="133350">
                  <a:moveTo>
                    <a:pt x="116205" y="0"/>
                  </a:moveTo>
                  <a:lnTo>
                    <a:pt x="119063" y="41910"/>
                  </a:lnTo>
                  <a:lnTo>
                    <a:pt x="116205" y="52388"/>
                  </a:lnTo>
                  <a:lnTo>
                    <a:pt x="66675" y="58960"/>
                  </a:lnTo>
                  <a:lnTo>
                    <a:pt x="87630" y="87535"/>
                  </a:lnTo>
                  <a:lnTo>
                    <a:pt x="77152" y="98012"/>
                  </a:lnTo>
                  <a:lnTo>
                    <a:pt x="73343" y="108585"/>
                  </a:lnTo>
                  <a:lnTo>
                    <a:pt x="52388" y="112300"/>
                  </a:lnTo>
                  <a:lnTo>
                    <a:pt x="41910" y="126587"/>
                  </a:lnTo>
                  <a:lnTo>
                    <a:pt x="35243" y="133350"/>
                  </a:lnTo>
                  <a:lnTo>
                    <a:pt x="0" y="122873"/>
                  </a:lnTo>
                  <a:lnTo>
                    <a:pt x="10477" y="101822"/>
                  </a:lnTo>
                  <a:lnTo>
                    <a:pt x="14288" y="83725"/>
                  </a:lnTo>
                  <a:lnTo>
                    <a:pt x="14288" y="62865"/>
                  </a:lnTo>
                  <a:lnTo>
                    <a:pt x="17145" y="48578"/>
                  </a:lnTo>
                  <a:lnTo>
                    <a:pt x="17145" y="35147"/>
                  </a:lnTo>
                  <a:lnTo>
                    <a:pt x="20955" y="23813"/>
                  </a:lnTo>
                  <a:lnTo>
                    <a:pt x="27622" y="27623"/>
                  </a:lnTo>
                  <a:lnTo>
                    <a:pt x="35243" y="27623"/>
                  </a:lnTo>
                  <a:lnTo>
                    <a:pt x="49530" y="35147"/>
                  </a:lnTo>
                  <a:lnTo>
                    <a:pt x="62865" y="31337"/>
                  </a:lnTo>
                  <a:lnTo>
                    <a:pt x="116205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64" name="Freeform: Shape 3663">
              <a:extLst>
                <a:ext uri="{FF2B5EF4-FFF2-40B4-BE49-F238E27FC236}">
                  <a16:creationId xmlns:a16="http://schemas.microsoft.com/office/drawing/2014/main" id="{286552CA-7B39-FFC8-F4EA-CA08A7D911CC}"/>
                </a:ext>
              </a:extLst>
            </p:cNvPr>
            <p:cNvSpPr/>
            <p:nvPr/>
          </p:nvSpPr>
          <p:spPr>
            <a:xfrm>
              <a:off x="6954655" y="3594133"/>
              <a:ext cx="116715" cy="130722"/>
            </a:xfrm>
            <a:custGeom>
              <a:avLst/>
              <a:gdLst>
                <a:gd name="connsiteX0" fmla="*/ 116205 w 119062"/>
                <a:gd name="connsiteY0" fmla="*/ 0 h 133350"/>
                <a:gd name="connsiteX1" fmla="*/ 119063 w 119062"/>
                <a:gd name="connsiteY1" fmla="*/ 41910 h 133350"/>
                <a:gd name="connsiteX2" fmla="*/ 116205 w 119062"/>
                <a:gd name="connsiteY2" fmla="*/ 52388 h 133350"/>
                <a:gd name="connsiteX3" fmla="*/ 66675 w 119062"/>
                <a:gd name="connsiteY3" fmla="*/ 58960 h 133350"/>
                <a:gd name="connsiteX4" fmla="*/ 87630 w 119062"/>
                <a:gd name="connsiteY4" fmla="*/ 87535 h 133350"/>
                <a:gd name="connsiteX5" fmla="*/ 77152 w 119062"/>
                <a:gd name="connsiteY5" fmla="*/ 98012 h 133350"/>
                <a:gd name="connsiteX6" fmla="*/ 73343 w 119062"/>
                <a:gd name="connsiteY6" fmla="*/ 108585 h 133350"/>
                <a:gd name="connsiteX7" fmla="*/ 52388 w 119062"/>
                <a:gd name="connsiteY7" fmla="*/ 112300 h 133350"/>
                <a:gd name="connsiteX8" fmla="*/ 41910 w 119062"/>
                <a:gd name="connsiteY8" fmla="*/ 126587 h 133350"/>
                <a:gd name="connsiteX9" fmla="*/ 35243 w 119062"/>
                <a:gd name="connsiteY9" fmla="*/ 133350 h 133350"/>
                <a:gd name="connsiteX10" fmla="*/ 0 w 119062"/>
                <a:gd name="connsiteY10" fmla="*/ 122873 h 133350"/>
                <a:gd name="connsiteX11" fmla="*/ 10477 w 119062"/>
                <a:gd name="connsiteY11" fmla="*/ 101822 h 133350"/>
                <a:gd name="connsiteX12" fmla="*/ 14288 w 119062"/>
                <a:gd name="connsiteY12" fmla="*/ 83725 h 133350"/>
                <a:gd name="connsiteX13" fmla="*/ 14288 w 119062"/>
                <a:gd name="connsiteY13" fmla="*/ 62865 h 133350"/>
                <a:gd name="connsiteX14" fmla="*/ 17145 w 119062"/>
                <a:gd name="connsiteY14" fmla="*/ 48578 h 133350"/>
                <a:gd name="connsiteX15" fmla="*/ 17145 w 119062"/>
                <a:gd name="connsiteY15" fmla="*/ 35147 h 133350"/>
                <a:gd name="connsiteX16" fmla="*/ 20955 w 119062"/>
                <a:gd name="connsiteY16" fmla="*/ 23813 h 133350"/>
                <a:gd name="connsiteX17" fmla="*/ 27622 w 119062"/>
                <a:gd name="connsiteY17" fmla="*/ 27623 h 133350"/>
                <a:gd name="connsiteX18" fmla="*/ 35243 w 119062"/>
                <a:gd name="connsiteY18" fmla="*/ 27623 h 133350"/>
                <a:gd name="connsiteX19" fmla="*/ 49530 w 119062"/>
                <a:gd name="connsiteY19" fmla="*/ 35147 h 133350"/>
                <a:gd name="connsiteX20" fmla="*/ 62865 w 119062"/>
                <a:gd name="connsiteY20" fmla="*/ 31337 h 133350"/>
                <a:gd name="connsiteX21" fmla="*/ 116205 w 119062"/>
                <a:gd name="connsiteY21" fmla="*/ 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9062" h="133350">
                  <a:moveTo>
                    <a:pt x="116205" y="0"/>
                  </a:moveTo>
                  <a:lnTo>
                    <a:pt x="119063" y="41910"/>
                  </a:lnTo>
                  <a:lnTo>
                    <a:pt x="116205" y="52388"/>
                  </a:lnTo>
                  <a:lnTo>
                    <a:pt x="66675" y="58960"/>
                  </a:lnTo>
                  <a:lnTo>
                    <a:pt x="87630" y="87535"/>
                  </a:lnTo>
                  <a:lnTo>
                    <a:pt x="77152" y="98012"/>
                  </a:lnTo>
                  <a:lnTo>
                    <a:pt x="73343" y="108585"/>
                  </a:lnTo>
                  <a:lnTo>
                    <a:pt x="52388" y="112300"/>
                  </a:lnTo>
                  <a:lnTo>
                    <a:pt x="41910" y="126587"/>
                  </a:lnTo>
                  <a:lnTo>
                    <a:pt x="35243" y="133350"/>
                  </a:lnTo>
                  <a:lnTo>
                    <a:pt x="0" y="122873"/>
                  </a:lnTo>
                  <a:lnTo>
                    <a:pt x="10477" y="101822"/>
                  </a:lnTo>
                  <a:lnTo>
                    <a:pt x="14288" y="83725"/>
                  </a:lnTo>
                  <a:lnTo>
                    <a:pt x="14288" y="62865"/>
                  </a:lnTo>
                  <a:lnTo>
                    <a:pt x="17145" y="48578"/>
                  </a:lnTo>
                  <a:lnTo>
                    <a:pt x="17145" y="35147"/>
                  </a:lnTo>
                  <a:lnTo>
                    <a:pt x="20955" y="23813"/>
                  </a:lnTo>
                  <a:lnTo>
                    <a:pt x="27622" y="27623"/>
                  </a:lnTo>
                  <a:lnTo>
                    <a:pt x="35243" y="27623"/>
                  </a:lnTo>
                  <a:lnTo>
                    <a:pt x="49530" y="35147"/>
                  </a:lnTo>
                  <a:lnTo>
                    <a:pt x="62865" y="31337"/>
                  </a:lnTo>
                  <a:lnTo>
                    <a:pt x="116205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65" name="Freeform: Shape 3664">
              <a:extLst>
                <a:ext uri="{FF2B5EF4-FFF2-40B4-BE49-F238E27FC236}">
                  <a16:creationId xmlns:a16="http://schemas.microsoft.com/office/drawing/2014/main" id="{0CE1B010-ADFF-EAD0-B9C3-068C49CF2E11}"/>
                </a:ext>
              </a:extLst>
            </p:cNvPr>
            <p:cNvSpPr/>
            <p:nvPr/>
          </p:nvSpPr>
          <p:spPr>
            <a:xfrm>
              <a:off x="6957456" y="3628587"/>
              <a:ext cx="14005" cy="27171"/>
            </a:xfrm>
            <a:custGeom>
              <a:avLst/>
              <a:gdLst>
                <a:gd name="connsiteX0" fmla="*/ 14288 w 14287"/>
                <a:gd name="connsiteY0" fmla="*/ 0 h 27717"/>
                <a:gd name="connsiteX1" fmla="*/ 3810 w 14287"/>
                <a:gd name="connsiteY1" fmla="*/ 0 h 27717"/>
                <a:gd name="connsiteX2" fmla="*/ 0 w 14287"/>
                <a:gd name="connsiteY2" fmla="*/ 6763 h 27717"/>
                <a:gd name="connsiteX3" fmla="*/ 0 w 14287"/>
                <a:gd name="connsiteY3" fmla="*/ 17240 h 27717"/>
                <a:gd name="connsiteX4" fmla="*/ 3810 w 14287"/>
                <a:gd name="connsiteY4" fmla="*/ 27718 h 27717"/>
                <a:gd name="connsiteX5" fmla="*/ 11430 w 14287"/>
                <a:gd name="connsiteY5" fmla="*/ 27718 h 27717"/>
                <a:gd name="connsiteX6" fmla="*/ 14288 w 14287"/>
                <a:gd name="connsiteY6" fmla="*/ 13430 h 27717"/>
                <a:gd name="connsiteX7" fmla="*/ 14288 w 14287"/>
                <a:gd name="connsiteY7" fmla="*/ 2953 h 27717"/>
                <a:gd name="connsiteX8" fmla="*/ 14288 w 14287"/>
                <a:gd name="connsiteY8" fmla="*/ 0 h 27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87" h="27717">
                  <a:moveTo>
                    <a:pt x="14288" y="0"/>
                  </a:moveTo>
                  <a:lnTo>
                    <a:pt x="3810" y="0"/>
                  </a:lnTo>
                  <a:lnTo>
                    <a:pt x="0" y="6763"/>
                  </a:lnTo>
                  <a:lnTo>
                    <a:pt x="0" y="17240"/>
                  </a:lnTo>
                  <a:lnTo>
                    <a:pt x="3810" y="27718"/>
                  </a:lnTo>
                  <a:lnTo>
                    <a:pt x="11430" y="27718"/>
                  </a:lnTo>
                  <a:lnTo>
                    <a:pt x="14288" y="13430"/>
                  </a:lnTo>
                  <a:lnTo>
                    <a:pt x="14288" y="2953"/>
                  </a:lnTo>
                  <a:lnTo>
                    <a:pt x="1428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66" name="Freeform: Shape 3665">
              <a:extLst>
                <a:ext uri="{FF2B5EF4-FFF2-40B4-BE49-F238E27FC236}">
                  <a16:creationId xmlns:a16="http://schemas.microsoft.com/office/drawing/2014/main" id="{61181E99-08C1-22F6-A4F2-2129EC930183}"/>
                </a:ext>
              </a:extLst>
            </p:cNvPr>
            <p:cNvSpPr/>
            <p:nvPr/>
          </p:nvSpPr>
          <p:spPr>
            <a:xfrm>
              <a:off x="6957456" y="3628587"/>
              <a:ext cx="14005" cy="27171"/>
            </a:xfrm>
            <a:custGeom>
              <a:avLst/>
              <a:gdLst>
                <a:gd name="connsiteX0" fmla="*/ 14288 w 14287"/>
                <a:gd name="connsiteY0" fmla="*/ 0 h 27717"/>
                <a:gd name="connsiteX1" fmla="*/ 3810 w 14287"/>
                <a:gd name="connsiteY1" fmla="*/ 0 h 27717"/>
                <a:gd name="connsiteX2" fmla="*/ 0 w 14287"/>
                <a:gd name="connsiteY2" fmla="*/ 6763 h 27717"/>
                <a:gd name="connsiteX3" fmla="*/ 0 w 14287"/>
                <a:gd name="connsiteY3" fmla="*/ 17240 h 27717"/>
                <a:gd name="connsiteX4" fmla="*/ 3810 w 14287"/>
                <a:gd name="connsiteY4" fmla="*/ 27718 h 27717"/>
                <a:gd name="connsiteX5" fmla="*/ 11430 w 14287"/>
                <a:gd name="connsiteY5" fmla="*/ 27718 h 27717"/>
                <a:gd name="connsiteX6" fmla="*/ 14288 w 14287"/>
                <a:gd name="connsiteY6" fmla="*/ 13430 h 27717"/>
                <a:gd name="connsiteX7" fmla="*/ 14288 w 14287"/>
                <a:gd name="connsiteY7" fmla="*/ 2953 h 27717"/>
                <a:gd name="connsiteX8" fmla="*/ 14288 w 14287"/>
                <a:gd name="connsiteY8" fmla="*/ 0 h 27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87" h="27717">
                  <a:moveTo>
                    <a:pt x="14288" y="0"/>
                  </a:moveTo>
                  <a:lnTo>
                    <a:pt x="3810" y="0"/>
                  </a:lnTo>
                  <a:lnTo>
                    <a:pt x="0" y="6763"/>
                  </a:lnTo>
                  <a:lnTo>
                    <a:pt x="0" y="17240"/>
                  </a:lnTo>
                  <a:lnTo>
                    <a:pt x="3810" y="27718"/>
                  </a:lnTo>
                  <a:lnTo>
                    <a:pt x="11430" y="27718"/>
                  </a:lnTo>
                  <a:lnTo>
                    <a:pt x="14288" y="13430"/>
                  </a:lnTo>
                  <a:lnTo>
                    <a:pt x="14288" y="2953"/>
                  </a:lnTo>
                  <a:lnTo>
                    <a:pt x="1428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9E7E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67" name="Freeform: Shape 3666">
              <a:extLst>
                <a:ext uri="{FF2B5EF4-FFF2-40B4-BE49-F238E27FC236}">
                  <a16:creationId xmlns:a16="http://schemas.microsoft.com/office/drawing/2014/main" id="{B5DB965E-7ED3-823F-CA1E-B48D6655E1F1}"/>
                </a:ext>
              </a:extLst>
            </p:cNvPr>
            <p:cNvSpPr/>
            <p:nvPr/>
          </p:nvSpPr>
          <p:spPr>
            <a:xfrm>
              <a:off x="7392571" y="3818228"/>
              <a:ext cx="17740" cy="44725"/>
            </a:xfrm>
            <a:custGeom>
              <a:avLst/>
              <a:gdLst>
                <a:gd name="connsiteX0" fmla="*/ 0 w 18097"/>
                <a:gd name="connsiteY0" fmla="*/ 39053 h 45624"/>
                <a:gd name="connsiteX1" fmla="*/ 0 w 18097"/>
                <a:gd name="connsiteY1" fmla="*/ 18097 h 45624"/>
                <a:gd name="connsiteX2" fmla="*/ 7620 w 18097"/>
                <a:gd name="connsiteY2" fmla="*/ 0 h 45624"/>
                <a:gd name="connsiteX3" fmla="*/ 14288 w 18097"/>
                <a:gd name="connsiteY3" fmla="*/ 0 h 45624"/>
                <a:gd name="connsiteX4" fmla="*/ 18098 w 18097"/>
                <a:gd name="connsiteY4" fmla="*/ 14288 h 45624"/>
                <a:gd name="connsiteX5" fmla="*/ 18098 w 18097"/>
                <a:gd name="connsiteY5" fmla="*/ 24765 h 45624"/>
                <a:gd name="connsiteX6" fmla="*/ 14288 w 18097"/>
                <a:gd name="connsiteY6" fmla="*/ 39053 h 45624"/>
                <a:gd name="connsiteX7" fmla="*/ 7620 w 18097"/>
                <a:gd name="connsiteY7" fmla="*/ 45625 h 45624"/>
                <a:gd name="connsiteX8" fmla="*/ 0 w 18097"/>
                <a:gd name="connsiteY8" fmla="*/ 39053 h 4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97" h="45624">
                  <a:moveTo>
                    <a:pt x="0" y="39053"/>
                  </a:moveTo>
                  <a:lnTo>
                    <a:pt x="0" y="18097"/>
                  </a:lnTo>
                  <a:lnTo>
                    <a:pt x="7620" y="0"/>
                  </a:lnTo>
                  <a:lnTo>
                    <a:pt x="14288" y="0"/>
                  </a:lnTo>
                  <a:lnTo>
                    <a:pt x="18098" y="14288"/>
                  </a:lnTo>
                  <a:lnTo>
                    <a:pt x="18098" y="24765"/>
                  </a:lnTo>
                  <a:lnTo>
                    <a:pt x="14288" y="39053"/>
                  </a:lnTo>
                  <a:lnTo>
                    <a:pt x="7620" y="45625"/>
                  </a:lnTo>
                  <a:lnTo>
                    <a:pt x="0" y="3905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68" name="Freeform: Shape 3667">
              <a:extLst>
                <a:ext uri="{FF2B5EF4-FFF2-40B4-BE49-F238E27FC236}">
                  <a16:creationId xmlns:a16="http://schemas.microsoft.com/office/drawing/2014/main" id="{9E095F9B-9B97-468C-6405-71C249338DA7}"/>
                </a:ext>
              </a:extLst>
            </p:cNvPr>
            <p:cNvSpPr/>
            <p:nvPr/>
          </p:nvSpPr>
          <p:spPr>
            <a:xfrm>
              <a:off x="5337443" y="2384016"/>
              <a:ext cx="285720" cy="141833"/>
            </a:xfrm>
            <a:custGeom>
              <a:avLst/>
              <a:gdLst>
                <a:gd name="connsiteX0" fmla="*/ 23813 w 291465"/>
                <a:gd name="connsiteY0" fmla="*/ 49435 h 144684"/>
                <a:gd name="connsiteX1" fmla="*/ 0 w 291465"/>
                <a:gd name="connsiteY1" fmla="*/ 49435 h 144684"/>
                <a:gd name="connsiteX2" fmla="*/ 10478 w 291465"/>
                <a:gd name="connsiteY2" fmla="*/ 31432 h 144684"/>
                <a:gd name="connsiteX3" fmla="*/ 17145 w 291465"/>
                <a:gd name="connsiteY3" fmla="*/ 17145 h 144684"/>
                <a:gd name="connsiteX4" fmla="*/ 35243 w 291465"/>
                <a:gd name="connsiteY4" fmla="*/ 2857 h 144684"/>
                <a:gd name="connsiteX5" fmla="*/ 52388 w 291465"/>
                <a:gd name="connsiteY5" fmla="*/ 10477 h 144684"/>
                <a:gd name="connsiteX6" fmla="*/ 73343 w 291465"/>
                <a:gd name="connsiteY6" fmla="*/ 24765 h 144684"/>
                <a:gd name="connsiteX7" fmla="*/ 77153 w 291465"/>
                <a:gd name="connsiteY7" fmla="*/ 41815 h 144684"/>
                <a:gd name="connsiteX8" fmla="*/ 83820 w 291465"/>
                <a:gd name="connsiteY8" fmla="*/ 49435 h 144684"/>
                <a:gd name="connsiteX9" fmla="*/ 94297 w 291465"/>
                <a:gd name="connsiteY9" fmla="*/ 41815 h 144684"/>
                <a:gd name="connsiteX10" fmla="*/ 101918 w 291465"/>
                <a:gd name="connsiteY10" fmla="*/ 31432 h 144684"/>
                <a:gd name="connsiteX11" fmla="*/ 112395 w 291465"/>
                <a:gd name="connsiteY11" fmla="*/ 20860 h 144684"/>
                <a:gd name="connsiteX12" fmla="*/ 119063 w 291465"/>
                <a:gd name="connsiteY12" fmla="*/ 27527 h 144684"/>
                <a:gd name="connsiteX13" fmla="*/ 126682 w 291465"/>
                <a:gd name="connsiteY13" fmla="*/ 38100 h 144684"/>
                <a:gd name="connsiteX14" fmla="*/ 140018 w 291465"/>
                <a:gd name="connsiteY14" fmla="*/ 24765 h 144684"/>
                <a:gd name="connsiteX15" fmla="*/ 151447 w 291465"/>
                <a:gd name="connsiteY15" fmla="*/ 14288 h 144684"/>
                <a:gd name="connsiteX16" fmla="*/ 161925 w 291465"/>
                <a:gd name="connsiteY16" fmla="*/ 20860 h 144684"/>
                <a:gd name="connsiteX17" fmla="*/ 182880 w 291465"/>
                <a:gd name="connsiteY17" fmla="*/ 24765 h 144684"/>
                <a:gd name="connsiteX18" fmla="*/ 207645 w 291465"/>
                <a:gd name="connsiteY18" fmla="*/ 14288 h 144684"/>
                <a:gd name="connsiteX19" fmla="*/ 224790 w 291465"/>
                <a:gd name="connsiteY19" fmla="*/ 0 h 144684"/>
                <a:gd name="connsiteX20" fmla="*/ 245745 w 291465"/>
                <a:gd name="connsiteY20" fmla="*/ 20860 h 144684"/>
                <a:gd name="connsiteX21" fmla="*/ 263843 w 291465"/>
                <a:gd name="connsiteY21" fmla="*/ 27527 h 144684"/>
                <a:gd name="connsiteX22" fmla="*/ 278130 w 291465"/>
                <a:gd name="connsiteY22" fmla="*/ 41815 h 144684"/>
                <a:gd name="connsiteX23" fmla="*/ 291465 w 291465"/>
                <a:gd name="connsiteY23" fmla="*/ 60007 h 144684"/>
                <a:gd name="connsiteX24" fmla="*/ 291465 w 291465"/>
                <a:gd name="connsiteY24" fmla="*/ 73247 h 144684"/>
                <a:gd name="connsiteX25" fmla="*/ 274320 w 291465"/>
                <a:gd name="connsiteY25" fmla="*/ 87535 h 144684"/>
                <a:gd name="connsiteX26" fmla="*/ 245745 w 291465"/>
                <a:gd name="connsiteY26" fmla="*/ 105727 h 144684"/>
                <a:gd name="connsiteX27" fmla="*/ 210503 w 291465"/>
                <a:gd name="connsiteY27" fmla="*/ 120015 h 144684"/>
                <a:gd name="connsiteX28" fmla="*/ 179070 w 291465"/>
                <a:gd name="connsiteY28" fmla="*/ 130397 h 144684"/>
                <a:gd name="connsiteX29" fmla="*/ 154305 w 291465"/>
                <a:gd name="connsiteY29" fmla="*/ 144685 h 144684"/>
                <a:gd name="connsiteX30" fmla="*/ 129540 w 291465"/>
                <a:gd name="connsiteY30" fmla="*/ 144685 h 144684"/>
                <a:gd name="connsiteX31" fmla="*/ 101918 w 291465"/>
                <a:gd name="connsiteY31" fmla="*/ 133350 h 144684"/>
                <a:gd name="connsiteX32" fmla="*/ 83820 w 291465"/>
                <a:gd name="connsiteY32" fmla="*/ 122777 h 144684"/>
                <a:gd name="connsiteX33" fmla="*/ 31432 w 291465"/>
                <a:gd name="connsiteY33" fmla="*/ 122777 h 144684"/>
                <a:gd name="connsiteX34" fmla="*/ 56197 w 291465"/>
                <a:gd name="connsiteY34" fmla="*/ 109538 h 144684"/>
                <a:gd name="connsiteX35" fmla="*/ 59055 w 291465"/>
                <a:gd name="connsiteY35" fmla="*/ 91440 h 144684"/>
                <a:gd name="connsiteX36" fmla="*/ 45720 w 291465"/>
                <a:gd name="connsiteY36" fmla="*/ 84677 h 144684"/>
                <a:gd name="connsiteX37" fmla="*/ 23813 w 291465"/>
                <a:gd name="connsiteY37" fmla="*/ 80963 h 144684"/>
                <a:gd name="connsiteX38" fmla="*/ 2857 w 291465"/>
                <a:gd name="connsiteY38" fmla="*/ 77152 h 144684"/>
                <a:gd name="connsiteX39" fmla="*/ 31432 w 291465"/>
                <a:gd name="connsiteY39" fmla="*/ 66675 h 144684"/>
                <a:gd name="connsiteX40" fmla="*/ 52388 w 291465"/>
                <a:gd name="connsiteY40" fmla="*/ 56102 h 144684"/>
                <a:gd name="connsiteX41" fmla="*/ 41910 w 291465"/>
                <a:gd name="connsiteY41" fmla="*/ 49435 h 144684"/>
                <a:gd name="connsiteX42" fmla="*/ 23813 w 291465"/>
                <a:gd name="connsiteY42" fmla="*/ 49435 h 144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291465" h="144684">
                  <a:moveTo>
                    <a:pt x="23813" y="49435"/>
                  </a:moveTo>
                  <a:lnTo>
                    <a:pt x="0" y="49435"/>
                  </a:lnTo>
                  <a:lnTo>
                    <a:pt x="10478" y="31432"/>
                  </a:lnTo>
                  <a:lnTo>
                    <a:pt x="17145" y="17145"/>
                  </a:lnTo>
                  <a:lnTo>
                    <a:pt x="35243" y="2857"/>
                  </a:lnTo>
                  <a:lnTo>
                    <a:pt x="52388" y="10477"/>
                  </a:lnTo>
                  <a:lnTo>
                    <a:pt x="73343" y="24765"/>
                  </a:lnTo>
                  <a:lnTo>
                    <a:pt x="77153" y="41815"/>
                  </a:lnTo>
                  <a:lnTo>
                    <a:pt x="83820" y="49435"/>
                  </a:lnTo>
                  <a:lnTo>
                    <a:pt x="94297" y="41815"/>
                  </a:lnTo>
                  <a:lnTo>
                    <a:pt x="101918" y="31432"/>
                  </a:lnTo>
                  <a:lnTo>
                    <a:pt x="112395" y="20860"/>
                  </a:lnTo>
                  <a:lnTo>
                    <a:pt x="119063" y="27527"/>
                  </a:lnTo>
                  <a:lnTo>
                    <a:pt x="126682" y="38100"/>
                  </a:lnTo>
                  <a:lnTo>
                    <a:pt x="140018" y="24765"/>
                  </a:lnTo>
                  <a:lnTo>
                    <a:pt x="151447" y="14288"/>
                  </a:lnTo>
                  <a:lnTo>
                    <a:pt x="161925" y="20860"/>
                  </a:lnTo>
                  <a:lnTo>
                    <a:pt x="182880" y="24765"/>
                  </a:lnTo>
                  <a:lnTo>
                    <a:pt x="207645" y="14288"/>
                  </a:lnTo>
                  <a:lnTo>
                    <a:pt x="224790" y="0"/>
                  </a:lnTo>
                  <a:lnTo>
                    <a:pt x="245745" y="20860"/>
                  </a:lnTo>
                  <a:lnTo>
                    <a:pt x="263843" y="27527"/>
                  </a:lnTo>
                  <a:lnTo>
                    <a:pt x="278130" y="41815"/>
                  </a:lnTo>
                  <a:lnTo>
                    <a:pt x="291465" y="60007"/>
                  </a:lnTo>
                  <a:lnTo>
                    <a:pt x="291465" y="73247"/>
                  </a:lnTo>
                  <a:lnTo>
                    <a:pt x="274320" y="87535"/>
                  </a:lnTo>
                  <a:lnTo>
                    <a:pt x="245745" y="105727"/>
                  </a:lnTo>
                  <a:lnTo>
                    <a:pt x="210503" y="120015"/>
                  </a:lnTo>
                  <a:lnTo>
                    <a:pt x="179070" y="130397"/>
                  </a:lnTo>
                  <a:lnTo>
                    <a:pt x="154305" y="144685"/>
                  </a:lnTo>
                  <a:lnTo>
                    <a:pt x="129540" y="144685"/>
                  </a:lnTo>
                  <a:lnTo>
                    <a:pt x="101918" y="133350"/>
                  </a:lnTo>
                  <a:lnTo>
                    <a:pt x="83820" y="122777"/>
                  </a:lnTo>
                  <a:lnTo>
                    <a:pt x="31432" y="122777"/>
                  </a:lnTo>
                  <a:lnTo>
                    <a:pt x="56197" y="109538"/>
                  </a:lnTo>
                  <a:lnTo>
                    <a:pt x="59055" y="91440"/>
                  </a:lnTo>
                  <a:lnTo>
                    <a:pt x="45720" y="84677"/>
                  </a:lnTo>
                  <a:lnTo>
                    <a:pt x="23813" y="80963"/>
                  </a:lnTo>
                  <a:lnTo>
                    <a:pt x="2857" y="77152"/>
                  </a:lnTo>
                  <a:lnTo>
                    <a:pt x="31432" y="66675"/>
                  </a:lnTo>
                  <a:lnTo>
                    <a:pt x="52388" y="56102"/>
                  </a:lnTo>
                  <a:lnTo>
                    <a:pt x="41910" y="49435"/>
                  </a:lnTo>
                  <a:lnTo>
                    <a:pt x="23813" y="4943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69" name="Freeform: Shape 3668">
              <a:extLst>
                <a:ext uri="{FF2B5EF4-FFF2-40B4-BE49-F238E27FC236}">
                  <a16:creationId xmlns:a16="http://schemas.microsoft.com/office/drawing/2014/main" id="{A3F9549A-78A4-2CA5-7490-0CB40AF9E8FE}"/>
                </a:ext>
              </a:extLst>
            </p:cNvPr>
            <p:cNvSpPr/>
            <p:nvPr/>
          </p:nvSpPr>
          <p:spPr>
            <a:xfrm>
              <a:off x="3472796" y="4053435"/>
              <a:ext cx="99908" cy="110274"/>
            </a:xfrm>
            <a:custGeom>
              <a:avLst/>
              <a:gdLst>
                <a:gd name="connsiteX0" fmla="*/ 60008 w 101917"/>
                <a:gd name="connsiteY0" fmla="*/ 112490 h 112490"/>
                <a:gd name="connsiteX1" fmla="*/ 74295 w 101917"/>
                <a:gd name="connsiteY1" fmla="*/ 99155 h 112490"/>
                <a:gd name="connsiteX2" fmla="*/ 84772 w 101917"/>
                <a:gd name="connsiteY2" fmla="*/ 87725 h 112490"/>
                <a:gd name="connsiteX3" fmla="*/ 91440 w 101917"/>
                <a:gd name="connsiteY3" fmla="*/ 80963 h 112490"/>
                <a:gd name="connsiteX4" fmla="*/ 101917 w 101917"/>
                <a:gd name="connsiteY4" fmla="*/ 66675 h 112490"/>
                <a:gd name="connsiteX5" fmla="*/ 95250 w 101917"/>
                <a:gd name="connsiteY5" fmla="*/ 60103 h 112490"/>
                <a:gd name="connsiteX6" fmla="*/ 84772 w 101917"/>
                <a:gd name="connsiteY6" fmla="*/ 60103 h 112490"/>
                <a:gd name="connsiteX7" fmla="*/ 84772 w 101917"/>
                <a:gd name="connsiteY7" fmla="*/ 0 h 112490"/>
                <a:gd name="connsiteX8" fmla="*/ 31433 w 101917"/>
                <a:gd name="connsiteY8" fmla="*/ 3905 h 112490"/>
                <a:gd name="connsiteX9" fmla="*/ 28575 w 101917"/>
                <a:gd name="connsiteY9" fmla="*/ 10478 h 112490"/>
                <a:gd name="connsiteX10" fmla="*/ 31433 w 101917"/>
                <a:gd name="connsiteY10" fmla="*/ 24765 h 112490"/>
                <a:gd name="connsiteX11" fmla="*/ 45720 w 101917"/>
                <a:gd name="connsiteY11" fmla="*/ 35338 h 112490"/>
                <a:gd name="connsiteX12" fmla="*/ 52388 w 101917"/>
                <a:gd name="connsiteY12" fmla="*/ 45815 h 112490"/>
                <a:gd name="connsiteX13" fmla="*/ 45720 w 101917"/>
                <a:gd name="connsiteY13" fmla="*/ 49625 h 112490"/>
                <a:gd name="connsiteX14" fmla="*/ 24765 w 101917"/>
                <a:gd name="connsiteY14" fmla="*/ 52388 h 112490"/>
                <a:gd name="connsiteX15" fmla="*/ 17145 w 101917"/>
                <a:gd name="connsiteY15" fmla="*/ 49625 h 112490"/>
                <a:gd name="connsiteX16" fmla="*/ 6667 w 101917"/>
                <a:gd name="connsiteY16" fmla="*/ 63913 h 112490"/>
                <a:gd name="connsiteX17" fmla="*/ 3810 w 101917"/>
                <a:gd name="connsiteY17" fmla="*/ 74390 h 112490"/>
                <a:gd name="connsiteX18" fmla="*/ 0 w 101917"/>
                <a:gd name="connsiteY18" fmla="*/ 95250 h 112490"/>
                <a:gd name="connsiteX19" fmla="*/ 10478 w 101917"/>
                <a:gd name="connsiteY19" fmla="*/ 102013 h 112490"/>
                <a:gd name="connsiteX20" fmla="*/ 20955 w 101917"/>
                <a:gd name="connsiteY20" fmla="*/ 109538 h 112490"/>
                <a:gd name="connsiteX21" fmla="*/ 39053 w 101917"/>
                <a:gd name="connsiteY21" fmla="*/ 112490 h 112490"/>
                <a:gd name="connsiteX22" fmla="*/ 60008 w 101917"/>
                <a:gd name="connsiteY22" fmla="*/ 112490 h 112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917" h="112490">
                  <a:moveTo>
                    <a:pt x="60008" y="112490"/>
                  </a:moveTo>
                  <a:lnTo>
                    <a:pt x="74295" y="99155"/>
                  </a:lnTo>
                  <a:lnTo>
                    <a:pt x="84772" y="87725"/>
                  </a:lnTo>
                  <a:lnTo>
                    <a:pt x="91440" y="80963"/>
                  </a:lnTo>
                  <a:lnTo>
                    <a:pt x="101917" y="66675"/>
                  </a:lnTo>
                  <a:lnTo>
                    <a:pt x="95250" y="60103"/>
                  </a:lnTo>
                  <a:lnTo>
                    <a:pt x="84772" y="60103"/>
                  </a:lnTo>
                  <a:lnTo>
                    <a:pt x="84772" y="0"/>
                  </a:lnTo>
                  <a:lnTo>
                    <a:pt x="31433" y="3905"/>
                  </a:lnTo>
                  <a:lnTo>
                    <a:pt x="28575" y="10478"/>
                  </a:lnTo>
                  <a:lnTo>
                    <a:pt x="31433" y="24765"/>
                  </a:lnTo>
                  <a:lnTo>
                    <a:pt x="45720" y="35338"/>
                  </a:lnTo>
                  <a:lnTo>
                    <a:pt x="52388" y="45815"/>
                  </a:lnTo>
                  <a:lnTo>
                    <a:pt x="45720" y="49625"/>
                  </a:lnTo>
                  <a:lnTo>
                    <a:pt x="24765" y="52388"/>
                  </a:lnTo>
                  <a:lnTo>
                    <a:pt x="17145" y="49625"/>
                  </a:lnTo>
                  <a:lnTo>
                    <a:pt x="6667" y="63913"/>
                  </a:lnTo>
                  <a:lnTo>
                    <a:pt x="3810" y="74390"/>
                  </a:lnTo>
                  <a:lnTo>
                    <a:pt x="0" y="95250"/>
                  </a:lnTo>
                  <a:lnTo>
                    <a:pt x="10478" y="102013"/>
                  </a:lnTo>
                  <a:lnTo>
                    <a:pt x="20955" y="109538"/>
                  </a:lnTo>
                  <a:lnTo>
                    <a:pt x="39053" y="112490"/>
                  </a:lnTo>
                  <a:lnTo>
                    <a:pt x="60008" y="11249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70" name="Freeform: Shape 3669">
              <a:extLst>
                <a:ext uri="{FF2B5EF4-FFF2-40B4-BE49-F238E27FC236}">
                  <a16:creationId xmlns:a16="http://schemas.microsoft.com/office/drawing/2014/main" id="{BE6F881A-FBD3-4943-F5B9-D366946CF067}"/>
                </a:ext>
              </a:extLst>
            </p:cNvPr>
            <p:cNvSpPr/>
            <p:nvPr/>
          </p:nvSpPr>
          <p:spPr>
            <a:xfrm>
              <a:off x="3472796" y="4053435"/>
              <a:ext cx="99908" cy="110274"/>
            </a:xfrm>
            <a:custGeom>
              <a:avLst/>
              <a:gdLst>
                <a:gd name="connsiteX0" fmla="*/ 60008 w 101917"/>
                <a:gd name="connsiteY0" fmla="*/ 112490 h 112490"/>
                <a:gd name="connsiteX1" fmla="*/ 74295 w 101917"/>
                <a:gd name="connsiteY1" fmla="*/ 99155 h 112490"/>
                <a:gd name="connsiteX2" fmla="*/ 84772 w 101917"/>
                <a:gd name="connsiteY2" fmla="*/ 87725 h 112490"/>
                <a:gd name="connsiteX3" fmla="*/ 91440 w 101917"/>
                <a:gd name="connsiteY3" fmla="*/ 80963 h 112490"/>
                <a:gd name="connsiteX4" fmla="*/ 101917 w 101917"/>
                <a:gd name="connsiteY4" fmla="*/ 66675 h 112490"/>
                <a:gd name="connsiteX5" fmla="*/ 95250 w 101917"/>
                <a:gd name="connsiteY5" fmla="*/ 60103 h 112490"/>
                <a:gd name="connsiteX6" fmla="*/ 84772 w 101917"/>
                <a:gd name="connsiteY6" fmla="*/ 60103 h 112490"/>
                <a:gd name="connsiteX7" fmla="*/ 84772 w 101917"/>
                <a:gd name="connsiteY7" fmla="*/ 0 h 112490"/>
                <a:gd name="connsiteX8" fmla="*/ 31433 w 101917"/>
                <a:gd name="connsiteY8" fmla="*/ 3905 h 112490"/>
                <a:gd name="connsiteX9" fmla="*/ 28575 w 101917"/>
                <a:gd name="connsiteY9" fmla="*/ 10478 h 112490"/>
                <a:gd name="connsiteX10" fmla="*/ 31433 w 101917"/>
                <a:gd name="connsiteY10" fmla="*/ 24765 h 112490"/>
                <a:gd name="connsiteX11" fmla="*/ 45720 w 101917"/>
                <a:gd name="connsiteY11" fmla="*/ 35338 h 112490"/>
                <a:gd name="connsiteX12" fmla="*/ 52388 w 101917"/>
                <a:gd name="connsiteY12" fmla="*/ 45815 h 112490"/>
                <a:gd name="connsiteX13" fmla="*/ 45720 w 101917"/>
                <a:gd name="connsiteY13" fmla="*/ 49625 h 112490"/>
                <a:gd name="connsiteX14" fmla="*/ 24765 w 101917"/>
                <a:gd name="connsiteY14" fmla="*/ 52388 h 112490"/>
                <a:gd name="connsiteX15" fmla="*/ 17145 w 101917"/>
                <a:gd name="connsiteY15" fmla="*/ 49625 h 112490"/>
                <a:gd name="connsiteX16" fmla="*/ 6667 w 101917"/>
                <a:gd name="connsiteY16" fmla="*/ 63913 h 112490"/>
                <a:gd name="connsiteX17" fmla="*/ 3810 w 101917"/>
                <a:gd name="connsiteY17" fmla="*/ 74390 h 112490"/>
                <a:gd name="connsiteX18" fmla="*/ 0 w 101917"/>
                <a:gd name="connsiteY18" fmla="*/ 95250 h 112490"/>
                <a:gd name="connsiteX19" fmla="*/ 10478 w 101917"/>
                <a:gd name="connsiteY19" fmla="*/ 102013 h 112490"/>
                <a:gd name="connsiteX20" fmla="*/ 20955 w 101917"/>
                <a:gd name="connsiteY20" fmla="*/ 109538 h 112490"/>
                <a:gd name="connsiteX21" fmla="*/ 39053 w 101917"/>
                <a:gd name="connsiteY21" fmla="*/ 112490 h 112490"/>
                <a:gd name="connsiteX22" fmla="*/ 60008 w 101917"/>
                <a:gd name="connsiteY22" fmla="*/ 112490 h 112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01917" h="112490">
                  <a:moveTo>
                    <a:pt x="60008" y="112490"/>
                  </a:moveTo>
                  <a:lnTo>
                    <a:pt x="74295" y="99155"/>
                  </a:lnTo>
                  <a:lnTo>
                    <a:pt x="84772" y="87725"/>
                  </a:lnTo>
                  <a:lnTo>
                    <a:pt x="91440" y="80963"/>
                  </a:lnTo>
                  <a:lnTo>
                    <a:pt x="101917" y="66675"/>
                  </a:lnTo>
                  <a:lnTo>
                    <a:pt x="95250" y="60103"/>
                  </a:lnTo>
                  <a:lnTo>
                    <a:pt x="84772" y="60103"/>
                  </a:lnTo>
                  <a:lnTo>
                    <a:pt x="84772" y="0"/>
                  </a:lnTo>
                  <a:lnTo>
                    <a:pt x="31433" y="3905"/>
                  </a:lnTo>
                  <a:lnTo>
                    <a:pt x="28575" y="10478"/>
                  </a:lnTo>
                  <a:lnTo>
                    <a:pt x="31433" y="24765"/>
                  </a:lnTo>
                  <a:lnTo>
                    <a:pt x="45720" y="35338"/>
                  </a:lnTo>
                  <a:lnTo>
                    <a:pt x="52388" y="45815"/>
                  </a:lnTo>
                  <a:lnTo>
                    <a:pt x="45720" y="49625"/>
                  </a:lnTo>
                  <a:lnTo>
                    <a:pt x="24765" y="52388"/>
                  </a:lnTo>
                  <a:lnTo>
                    <a:pt x="17145" y="49625"/>
                  </a:lnTo>
                  <a:lnTo>
                    <a:pt x="6667" y="63913"/>
                  </a:lnTo>
                  <a:lnTo>
                    <a:pt x="3810" y="74390"/>
                  </a:lnTo>
                  <a:lnTo>
                    <a:pt x="0" y="95250"/>
                  </a:lnTo>
                  <a:lnTo>
                    <a:pt x="10478" y="102013"/>
                  </a:lnTo>
                  <a:lnTo>
                    <a:pt x="20955" y="109538"/>
                  </a:lnTo>
                  <a:lnTo>
                    <a:pt x="39053" y="112490"/>
                  </a:lnTo>
                  <a:lnTo>
                    <a:pt x="60008" y="11249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71" name="Freeform: Shape 3670">
              <a:extLst>
                <a:ext uri="{FF2B5EF4-FFF2-40B4-BE49-F238E27FC236}">
                  <a16:creationId xmlns:a16="http://schemas.microsoft.com/office/drawing/2014/main" id="{D12AC31F-2030-408E-8BFB-302114B37E3E}"/>
                </a:ext>
              </a:extLst>
            </p:cNvPr>
            <p:cNvSpPr/>
            <p:nvPr/>
          </p:nvSpPr>
          <p:spPr>
            <a:xfrm>
              <a:off x="3555897" y="4035694"/>
              <a:ext cx="20542" cy="76659"/>
            </a:xfrm>
            <a:custGeom>
              <a:avLst/>
              <a:gdLst>
                <a:gd name="connsiteX0" fmla="*/ 17145 w 20955"/>
                <a:gd name="connsiteY0" fmla="*/ 0 h 78200"/>
                <a:gd name="connsiteX1" fmla="*/ 20955 w 20955"/>
                <a:gd name="connsiteY1" fmla="*/ 10573 h 78200"/>
                <a:gd name="connsiteX2" fmla="*/ 17145 w 20955"/>
                <a:gd name="connsiteY2" fmla="*/ 22003 h 78200"/>
                <a:gd name="connsiteX3" fmla="*/ 17145 w 20955"/>
                <a:gd name="connsiteY3" fmla="*/ 46672 h 78200"/>
                <a:gd name="connsiteX4" fmla="*/ 17145 w 20955"/>
                <a:gd name="connsiteY4" fmla="*/ 60103 h 78200"/>
                <a:gd name="connsiteX5" fmla="*/ 10478 w 20955"/>
                <a:gd name="connsiteY5" fmla="*/ 67723 h 78200"/>
                <a:gd name="connsiteX6" fmla="*/ 0 w 20955"/>
                <a:gd name="connsiteY6" fmla="*/ 78200 h 78200"/>
                <a:gd name="connsiteX7" fmla="*/ 0 w 20955"/>
                <a:gd name="connsiteY7" fmla="*/ 18097 h 78200"/>
                <a:gd name="connsiteX8" fmla="*/ 10478 w 20955"/>
                <a:gd name="connsiteY8" fmla="*/ 7715 h 78200"/>
                <a:gd name="connsiteX9" fmla="*/ 17145 w 20955"/>
                <a:gd name="connsiteY9" fmla="*/ 0 h 7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55" h="78200">
                  <a:moveTo>
                    <a:pt x="17145" y="0"/>
                  </a:moveTo>
                  <a:lnTo>
                    <a:pt x="20955" y="10573"/>
                  </a:lnTo>
                  <a:lnTo>
                    <a:pt x="17145" y="22003"/>
                  </a:lnTo>
                  <a:lnTo>
                    <a:pt x="17145" y="46672"/>
                  </a:lnTo>
                  <a:lnTo>
                    <a:pt x="17145" y="60103"/>
                  </a:lnTo>
                  <a:lnTo>
                    <a:pt x="10478" y="67723"/>
                  </a:lnTo>
                  <a:lnTo>
                    <a:pt x="0" y="78200"/>
                  </a:lnTo>
                  <a:lnTo>
                    <a:pt x="0" y="18097"/>
                  </a:lnTo>
                  <a:lnTo>
                    <a:pt x="10478" y="7715"/>
                  </a:lnTo>
                  <a:lnTo>
                    <a:pt x="17145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72" name="Freeform: Shape 3671">
              <a:extLst>
                <a:ext uri="{FF2B5EF4-FFF2-40B4-BE49-F238E27FC236}">
                  <a16:creationId xmlns:a16="http://schemas.microsoft.com/office/drawing/2014/main" id="{F60CB587-4CD8-ABDF-6077-607C3675526C}"/>
                </a:ext>
              </a:extLst>
            </p:cNvPr>
            <p:cNvSpPr/>
            <p:nvPr/>
          </p:nvSpPr>
          <p:spPr>
            <a:xfrm>
              <a:off x="3555897" y="4035694"/>
              <a:ext cx="20542" cy="76659"/>
            </a:xfrm>
            <a:custGeom>
              <a:avLst/>
              <a:gdLst>
                <a:gd name="connsiteX0" fmla="*/ 17145 w 20955"/>
                <a:gd name="connsiteY0" fmla="*/ 0 h 78200"/>
                <a:gd name="connsiteX1" fmla="*/ 20955 w 20955"/>
                <a:gd name="connsiteY1" fmla="*/ 10573 h 78200"/>
                <a:gd name="connsiteX2" fmla="*/ 17145 w 20955"/>
                <a:gd name="connsiteY2" fmla="*/ 22003 h 78200"/>
                <a:gd name="connsiteX3" fmla="*/ 17145 w 20955"/>
                <a:gd name="connsiteY3" fmla="*/ 46672 h 78200"/>
                <a:gd name="connsiteX4" fmla="*/ 17145 w 20955"/>
                <a:gd name="connsiteY4" fmla="*/ 60103 h 78200"/>
                <a:gd name="connsiteX5" fmla="*/ 10478 w 20955"/>
                <a:gd name="connsiteY5" fmla="*/ 67723 h 78200"/>
                <a:gd name="connsiteX6" fmla="*/ 0 w 20955"/>
                <a:gd name="connsiteY6" fmla="*/ 78200 h 78200"/>
                <a:gd name="connsiteX7" fmla="*/ 0 w 20955"/>
                <a:gd name="connsiteY7" fmla="*/ 18097 h 78200"/>
                <a:gd name="connsiteX8" fmla="*/ 10478 w 20955"/>
                <a:gd name="connsiteY8" fmla="*/ 7715 h 78200"/>
                <a:gd name="connsiteX9" fmla="*/ 17145 w 20955"/>
                <a:gd name="connsiteY9" fmla="*/ 0 h 7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55" h="78200">
                  <a:moveTo>
                    <a:pt x="17145" y="0"/>
                  </a:moveTo>
                  <a:lnTo>
                    <a:pt x="20955" y="10573"/>
                  </a:lnTo>
                  <a:lnTo>
                    <a:pt x="17145" y="22003"/>
                  </a:lnTo>
                  <a:lnTo>
                    <a:pt x="17145" y="46672"/>
                  </a:lnTo>
                  <a:lnTo>
                    <a:pt x="17145" y="60103"/>
                  </a:lnTo>
                  <a:lnTo>
                    <a:pt x="10478" y="67723"/>
                  </a:lnTo>
                  <a:lnTo>
                    <a:pt x="0" y="78200"/>
                  </a:lnTo>
                  <a:lnTo>
                    <a:pt x="0" y="18097"/>
                  </a:lnTo>
                  <a:lnTo>
                    <a:pt x="10478" y="7715"/>
                  </a:lnTo>
                  <a:lnTo>
                    <a:pt x="17145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73" name="Freeform: Shape 3672">
              <a:extLst>
                <a:ext uri="{FF2B5EF4-FFF2-40B4-BE49-F238E27FC236}">
                  <a16:creationId xmlns:a16="http://schemas.microsoft.com/office/drawing/2014/main" id="{F99D2AA6-69F7-1DE1-E007-A947F6CDA55B}"/>
                </a:ext>
              </a:extLst>
            </p:cNvPr>
            <p:cNvSpPr/>
            <p:nvPr/>
          </p:nvSpPr>
          <p:spPr>
            <a:xfrm>
              <a:off x="3531621" y="4146808"/>
              <a:ext cx="58824" cy="38283"/>
            </a:xfrm>
            <a:custGeom>
              <a:avLst/>
              <a:gdLst>
                <a:gd name="connsiteX0" fmla="*/ 0 w 60007"/>
                <a:gd name="connsiteY0" fmla="*/ 17240 h 39052"/>
                <a:gd name="connsiteX1" fmla="*/ 20955 w 60007"/>
                <a:gd name="connsiteY1" fmla="*/ 0 h 39052"/>
                <a:gd name="connsiteX2" fmla="*/ 31433 w 60007"/>
                <a:gd name="connsiteY2" fmla="*/ 6763 h 39052"/>
                <a:gd name="connsiteX3" fmla="*/ 41910 w 60007"/>
                <a:gd name="connsiteY3" fmla="*/ 14288 h 39052"/>
                <a:gd name="connsiteX4" fmla="*/ 56197 w 60007"/>
                <a:gd name="connsiteY4" fmla="*/ 17240 h 39052"/>
                <a:gd name="connsiteX5" fmla="*/ 60008 w 60007"/>
                <a:gd name="connsiteY5" fmla="*/ 24765 h 39052"/>
                <a:gd name="connsiteX6" fmla="*/ 52388 w 60007"/>
                <a:gd name="connsiteY6" fmla="*/ 35338 h 39052"/>
                <a:gd name="connsiteX7" fmla="*/ 45720 w 60007"/>
                <a:gd name="connsiteY7" fmla="*/ 39053 h 39052"/>
                <a:gd name="connsiteX8" fmla="*/ 27622 w 60007"/>
                <a:gd name="connsiteY8" fmla="*/ 31528 h 39052"/>
                <a:gd name="connsiteX9" fmla="*/ 14288 w 60007"/>
                <a:gd name="connsiteY9" fmla="*/ 24765 h 39052"/>
                <a:gd name="connsiteX10" fmla="*/ 0 w 60007"/>
                <a:gd name="connsiteY10" fmla="*/ 17240 h 39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007" h="39052">
                  <a:moveTo>
                    <a:pt x="0" y="17240"/>
                  </a:moveTo>
                  <a:lnTo>
                    <a:pt x="20955" y="0"/>
                  </a:lnTo>
                  <a:lnTo>
                    <a:pt x="31433" y="6763"/>
                  </a:lnTo>
                  <a:lnTo>
                    <a:pt x="41910" y="14288"/>
                  </a:lnTo>
                  <a:lnTo>
                    <a:pt x="56197" y="17240"/>
                  </a:lnTo>
                  <a:lnTo>
                    <a:pt x="60008" y="24765"/>
                  </a:lnTo>
                  <a:lnTo>
                    <a:pt x="52388" y="35338"/>
                  </a:lnTo>
                  <a:lnTo>
                    <a:pt x="45720" y="39053"/>
                  </a:lnTo>
                  <a:lnTo>
                    <a:pt x="27622" y="31528"/>
                  </a:lnTo>
                  <a:lnTo>
                    <a:pt x="14288" y="24765"/>
                  </a:lnTo>
                  <a:lnTo>
                    <a:pt x="0" y="1724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74" name="Freeform: Shape 3673">
              <a:extLst>
                <a:ext uri="{FF2B5EF4-FFF2-40B4-BE49-F238E27FC236}">
                  <a16:creationId xmlns:a16="http://schemas.microsoft.com/office/drawing/2014/main" id="{4AC34C2E-C689-10C9-46C9-4B5182C7AD16}"/>
                </a:ext>
              </a:extLst>
            </p:cNvPr>
            <p:cNvSpPr/>
            <p:nvPr/>
          </p:nvSpPr>
          <p:spPr>
            <a:xfrm>
              <a:off x="3531621" y="4146808"/>
              <a:ext cx="58824" cy="38283"/>
            </a:xfrm>
            <a:custGeom>
              <a:avLst/>
              <a:gdLst>
                <a:gd name="connsiteX0" fmla="*/ 0 w 60007"/>
                <a:gd name="connsiteY0" fmla="*/ 17240 h 39052"/>
                <a:gd name="connsiteX1" fmla="*/ 20955 w 60007"/>
                <a:gd name="connsiteY1" fmla="*/ 0 h 39052"/>
                <a:gd name="connsiteX2" fmla="*/ 31433 w 60007"/>
                <a:gd name="connsiteY2" fmla="*/ 6763 h 39052"/>
                <a:gd name="connsiteX3" fmla="*/ 41910 w 60007"/>
                <a:gd name="connsiteY3" fmla="*/ 14288 h 39052"/>
                <a:gd name="connsiteX4" fmla="*/ 56197 w 60007"/>
                <a:gd name="connsiteY4" fmla="*/ 17240 h 39052"/>
                <a:gd name="connsiteX5" fmla="*/ 60008 w 60007"/>
                <a:gd name="connsiteY5" fmla="*/ 24765 h 39052"/>
                <a:gd name="connsiteX6" fmla="*/ 52388 w 60007"/>
                <a:gd name="connsiteY6" fmla="*/ 35338 h 39052"/>
                <a:gd name="connsiteX7" fmla="*/ 45720 w 60007"/>
                <a:gd name="connsiteY7" fmla="*/ 39053 h 39052"/>
                <a:gd name="connsiteX8" fmla="*/ 27622 w 60007"/>
                <a:gd name="connsiteY8" fmla="*/ 31528 h 39052"/>
                <a:gd name="connsiteX9" fmla="*/ 14288 w 60007"/>
                <a:gd name="connsiteY9" fmla="*/ 24765 h 39052"/>
                <a:gd name="connsiteX10" fmla="*/ 0 w 60007"/>
                <a:gd name="connsiteY10" fmla="*/ 17240 h 39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007" h="39052">
                  <a:moveTo>
                    <a:pt x="0" y="17240"/>
                  </a:moveTo>
                  <a:lnTo>
                    <a:pt x="20955" y="0"/>
                  </a:lnTo>
                  <a:lnTo>
                    <a:pt x="31433" y="6763"/>
                  </a:lnTo>
                  <a:lnTo>
                    <a:pt x="41910" y="14288"/>
                  </a:lnTo>
                  <a:lnTo>
                    <a:pt x="56197" y="17240"/>
                  </a:lnTo>
                  <a:lnTo>
                    <a:pt x="60008" y="24765"/>
                  </a:lnTo>
                  <a:lnTo>
                    <a:pt x="52388" y="35338"/>
                  </a:lnTo>
                  <a:lnTo>
                    <a:pt x="45720" y="39053"/>
                  </a:lnTo>
                  <a:lnTo>
                    <a:pt x="27622" y="31528"/>
                  </a:lnTo>
                  <a:lnTo>
                    <a:pt x="14288" y="24765"/>
                  </a:lnTo>
                  <a:lnTo>
                    <a:pt x="0" y="1724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75" name="Freeform: Shape 3674">
              <a:extLst>
                <a:ext uri="{FF2B5EF4-FFF2-40B4-BE49-F238E27FC236}">
                  <a16:creationId xmlns:a16="http://schemas.microsoft.com/office/drawing/2014/main" id="{A713A9CD-FD00-0295-8BD5-585939B941D6}"/>
                </a:ext>
              </a:extLst>
            </p:cNvPr>
            <p:cNvSpPr/>
            <p:nvPr/>
          </p:nvSpPr>
          <p:spPr>
            <a:xfrm>
              <a:off x="3552163" y="4108619"/>
              <a:ext cx="165269" cy="83102"/>
            </a:xfrm>
            <a:custGeom>
              <a:avLst/>
              <a:gdLst>
                <a:gd name="connsiteX0" fmla="*/ 20955 w 168592"/>
                <a:gd name="connsiteY0" fmla="*/ 10382 h 84772"/>
                <a:gd name="connsiteX1" fmla="*/ 45720 w 168592"/>
                <a:gd name="connsiteY1" fmla="*/ 3810 h 84772"/>
                <a:gd name="connsiteX2" fmla="*/ 60008 w 168592"/>
                <a:gd name="connsiteY2" fmla="*/ 3810 h 84772"/>
                <a:gd name="connsiteX3" fmla="*/ 74295 w 168592"/>
                <a:gd name="connsiteY3" fmla="*/ 7620 h 84772"/>
                <a:gd name="connsiteX4" fmla="*/ 91440 w 168592"/>
                <a:gd name="connsiteY4" fmla="*/ 3810 h 84772"/>
                <a:gd name="connsiteX5" fmla="*/ 112395 w 168592"/>
                <a:gd name="connsiteY5" fmla="*/ 0 h 84772"/>
                <a:gd name="connsiteX6" fmla="*/ 130492 w 168592"/>
                <a:gd name="connsiteY6" fmla="*/ 0 h 84772"/>
                <a:gd name="connsiteX7" fmla="*/ 140970 w 168592"/>
                <a:gd name="connsiteY7" fmla="*/ 0 h 84772"/>
                <a:gd name="connsiteX8" fmla="*/ 147638 w 168592"/>
                <a:gd name="connsiteY8" fmla="*/ 7620 h 84772"/>
                <a:gd name="connsiteX9" fmla="*/ 168592 w 168592"/>
                <a:gd name="connsiteY9" fmla="*/ 20860 h 84772"/>
                <a:gd name="connsiteX10" fmla="*/ 165735 w 168592"/>
                <a:gd name="connsiteY10" fmla="*/ 28575 h 84772"/>
                <a:gd name="connsiteX11" fmla="*/ 155258 w 168592"/>
                <a:gd name="connsiteY11" fmla="*/ 31432 h 84772"/>
                <a:gd name="connsiteX12" fmla="*/ 140970 w 168592"/>
                <a:gd name="connsiteY12" fmla="*/ 31432 h 84772"/>
                <a:gd name="connsiteX13" fmla="*/ 122872 w 168592"/>
                <a:gd name="connsiteY13" fmla="*/ 31432 h 84772"/>
                <a:gd name="connsiteX14" fmla="*/ 112395 w 168592"/>
                <a:gd name="connsiteY14" fmla="*/ 38957 h 84772"/>
                <a:gd name="connsiteX15" fmla="*/ 99060 w 168592"/>
                <a:gd name="connsiteY15" fmla="*/ 53245 h 84772"/>
                <a:gd name="connsiteX16" fmla="*/ 84772 w 168592"/>
                <a:gd name="connsiteY16" fmla="*/ 56197 h 84772"/>
                <a:gd name="connsiteX17" fmla="*/ 74295 w 168592"/>
                <a:gd name="connsiteY17" fmla="*/ 60007 h 84772"/>
                <a:gd name="connsiteX18" fmla="*/ 70485 w 168592"/>
                <a:gd name="connsiteY18" fmla="*/ 74295 h 84772"/>
                <a:gd name="connsiteX19" fmla="*/ 63817 w 168592"/>
                <a:gd name="connsiteY19" fmla="*/ 80963 h 84772"/>
                <a:gd name="connsiteX20" fmla="*/ 52388 w 168592"/>
                <a:gd name="connsiteY20" fmla="*/ 84772 h 84772"/>
                <a:gd name="connsiteX21" fmla="*/ 52388 w 168592"/>
                <a:gd name="connsiteY21" fmla="*/ 74295 h 84772"/>
                <a:gd name="connsiteX22" fmla="*/ 49530 w 168592"/>
                <a:gd name="connsiteY22" fmla="*/ 63722 h 84772"/>
                <a:gd name="connsiteX23" fmla="*/ 39053 w 168592"/>
                <a:gd name="connsiteY23" fmla="*/ 63722 h 84772"/>
                <a:gd name="connsiteX24" fmla="*/ 35242 w 168592"/>
                <a:gd name="connsiteY24" fmla="*/ 56197 h 84772"/>
                <a:gd name="connsiteX25" fmla="*/ 10478 w 168592"/>
                <a:gd name="connsiteY25" fmla="*/ 45720 h 84772"/>
                <a:gd name="connsiteX26" fmla="*/ 0 w 168592"/>
                <a:gd name="connsiteY26" fmla="*/ 38957 h 84772"/>
                <a:gd name="connsiteX27" fmla="*/ 20955 w 168592"/>
                <a:gd name="connsiteY27" fmla="*/ 10382 h 8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8592" h="84772">
                  <a:moveTo>
                    <a:pt x="20955" y="10382"/>
                  </a:moveTo>
                  <a:lnTo>
                    <a:pt x="45720" y="3810"/>
                  </a:lnTo>
                  <a:lnTo>
                    <a:pt x="60008" y="3810"/>
                  </a:lnTo>
                  <a:lnTo>
                    <a:pt x="74295" y="7620"/>
                  </a:lnTo>
                  <a:lnTo>
                    <a:pt x="91440" y="3810"/>
                  </a:lnTo>
                  <a:lnTo>
                    <a:pt x="112395" y="0"/>
                  </a:lnTo>
                  <a:lnTo>
                    <a:pt x="130492" y="0"/>
                  </a:lnTo>
                  <a:lnTo>
                    <a:pt x="140970" y="0"/>
                  </a:lnTo>
                  <a:lnTo>
                    <a:pt x="147638" y="7620"/>
                  </a:lnTo>
                  <a:lnTo>
                    <a:pt x="168592" y="20860"/>
                  </a:lnTo>
                  <a:lnTo>
                    <a:pt x="165735" y="28575"/>
                  </a:lnTo>
                  <a:lnTo>
                    <a:pt x="155258" y="31432"/>
                  </a:lnTo>
                  <a:lnTo>
                    <a:pt x="140970" y="31432"/>
                  </a:lnTo>
                  <a:lnTo>
                    <a:pt x="122872" y="31432"/>
                  </a:lnTo>
                  <a:lnTo>
                    <a:pt x="112395" y="38957"/>
                  </a:lnTo>
                  <a:lnTo>
                    <a:pt x="99060" y="53245"/>
                  </a:lnTo>
                  <a:lnTo>
                    <a:pt x="84772" y="56197"/>
                  </a:lnTo>
                  <a:lnTo>
                    <a:pt x="74295" y="60007"/>
                  </a:lnTo>
                  <a:lnTo>
                    <a:pt x="70485" y="74295"/>
                  </a:lnTo>
                  <a:lnTo>
                    <a:pt x="63817" y="80963"/>
                  </a:lnTo>
                  <a:lnTo>
                    <a:pt x="52388" y="84772"/>
                  </a:lnTo>
                  <a:lnTo>
                    <a:pt x="52388" y="74295"/>
                  </a:lnTo>
                  <a:lnTo>
                    <a:pt x="49530" y="63722"/>
                  </a:lnTo>
                  <a:lnTo>
                    <a:pt x="39053" y="63722"/>
                  </a:lnTo>
                  <a:lnTo>
                    <a:pt x="35242" y="56197"/>
                  </a:lnTo>
                  <a:lnTo>
                    <a:pt x="10478" y="45720"/>
                  </a:lnTo>
                  <a:lnTo>
                    <a:pt x="0" y="38957"/>
                  </a:lnTo>
                  <a:lnTo>
                    <a:pt x="20955" y="1038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76" name="Freeform: Shape 3675">
              <a:extLst>
                <a:ext uri="{FF2B5EF4-FFF2-40B4-BE49-F238E27FC236}">
                  <a16:creationId xmlns:a16="http://schemas.microsoft.com/office/drawing/2014/main" id="{2B744E7A-0C01-962F-BFC3-FA9A69B85958}"/>
                </a:ext>
              </a:extLst>
            </p:cNvPr>
            <p:cNvSpPr/>
            <p:nvPr/>
          </p:nvSpPr>
          <p:spPr>
            <a:xfrm>
              <a:off x="3552163" y="4108619"/>
              <a:ext cx="165269" cy="83102"/>
            </a:xfrm>
            <a:custGeom>
              <a:avLst/>
              <a:gdLst>
                <a:gd name="connsiteX0" fmla="*/ 20955 w 168592"/>
                <a:gd name="connsiteY0" fmla="*/ 10382 h 84772"/>
                <a:gd name="connsiteX1" fmla="*/ 45720 w 168592"/>
                <a:gd name="connsiteY1" fmla="*/ 3810 h 84772"/>
                <a:gd name="connsiteX2" fmla="*/ 60008 w 168592"/>
                <a:gd name="connsiteY2" fmla="*/ 3810 h 84772"/>
                <a:gd name="connsiteX3" fmla="*/ 74295 w 168592"/>
                <a:gd name="connsiteY3" fmla="*/ 7620 h 84772"/>
                <a:gd name="connsiteX4" fmla="*/ 91440 w 168592"/>
                <a:gd name="connsiteY4" fmla="*/ 3810 h 84772"/>
                <a:gd name="connsiteX5" fmla="*/ 112395 w 168592"/>
                <a:gd name="connsiteY5" fmla="*/ 0 h 84772"/>
                <a:gd name="connsiteX6" fmla="*/ 130492 w 168592"/>
                <a:gd name="connsiteY6" fmla="*/ 0 h 84772"/>
                <a:gd name="connsiteX7" fmla="*/ 140970 w 168592"/>
                <a:gd name="connsiteY7" fmla="*/ 0 h 84772"/>
                <a:gd name="connsiteX8" fmla="*/ 147638 w 168592"/>
                <a:gd name="connsiteY8" fmla="*/ 7620 h 84772"/>
                <a:gd name="connsiteX9" fmla="*/ 168592 w 168592"/>
                <a:gd name="connsiteY9" fmla="*/ 20860 h 84772"/>
                <a:gd name="connsiteX10" fmla="*/ 165735 w 168592"/>
                <a:gd name="connsiteY10" fmla="*/ 28575 h 84772"/>
                <a:gd name="connsiteX11" fmla="*/ 155258 w 168592"/>
                <a:gd name="connsiteY11" fmla="*/ 31432 h 84772"/>
                <a:gd name="connsiteX12" fmla="*/ 140970 w 168592"/>
                <a:gd name="connsiteY12" fmla="*/ 31432 h 84772"/>
                <a:gd name="connsiteX13" fmla="*/ 122872 w 168592"/>
                <a:gd name="connsiteY13" fmla="*/ 31432 h 84772"/>
                <a:gd name="connsiteX14" fmla="*/ 112395 w 168592"/>
                <a:gd name="connsiteY14" fmla="*/ 38957 h 84772"/>
                <a:gd name="connsiteX15" fmla="*/ 99060 w 168592"/>
                <a:gd name="connsiteY15" fmla="*/ 53245 h 84772"/>
                <a:gd name="connsiteX16" fmla="*/ 84772 w 168592"/>
                <a:gd name="connsiteY16" fmla="*/ 56197 h 84772"/>
                <a:gd name="connsiteX17" fmla="*/ 74295 w 168592"/>
                <a:gd name="connsiteY17" fmla="*/ 60007 h 84772"/>
                <a:gd name="connsiteX18" fmla="*/ 70485 w 168592"/>
                <a:gd name="connsiteY18" fmla="*/ 74295 h 84772"/>
                <a:gd name="connsiteX19" fmla="*/ 63817 w 168592"/>
                <a:gd name="connsiteY19" fmla="*/ 80963 h 84772"/>
                <a:gd name="connsiteX20" fmla="*/ 52388 w 168592"/>
                <a:gd name="connsiteY20" fmla="*/ 84772 h 84772"/>
                <a:gd name="connsiteX21" fmla="*/ 52388 w 168592"/>
                <a:gd name="connsiteY21" fmla="*/ 74295 h 84772"/>
                <a:gd name="connsiteX22" fmla="*/ 49530 w 168592"/>
                <a:gd name="connsiteY22" fmla="*/ 63722 h 84772"/>
                <a:gd name="connsiteX23" fmla="*/ 39053 w 168592"/>
                <a:gd name="connsiteY23" fmla="*/ 63722 h 84772"/>
                <a:gd name="connsiteX24" fmla="*/ 35242 w 168592"/>
                <a:gd name="connsiteY24" fmla="*/ 56197 h 84772"/>
                <a:gd name="connsiteX25" fmla="*/ 10478 w 168592"/>
                <a:gd name="connsiteY25" fmla="*/ 45720 h 84772"/>
                <a:gd name="connsiteX26" fmla="*/ 0 w 168592"/>
                <a:gd name="connsiteY26" fmla="*/ 38957 h 84772"/>
                <a:gd name="connsiteX27" fmla="*/ 20955 w 168592"/>
                <a:gd name="connsiteY27" fmla="*/ 10382 h 847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68592" h="84772">
                  <a:moveTo>
                    <a:pt x="20955" y="10382"/>
                  </a:moveTo>
                  <a:lnTo>
                    <a:pt x="45720" y="3810"/>
                  </a:lnTo>
                  <a:lnTo>
                    <a:pt x="60008" y="3810"/>
                  </a:lnTo>
                  <a:lnTo>
                    <a:pt x="74295" y="7620"/>
                  </a:lnTo>
                  <a:lnTo>
                    <a:pt x="91440" y="3810"/>
                  </a:lnTo>
                  <a:lnTo>
                    <a:pt x="112395" y="0"/>
                  </a:lnTo>
                  <a:lnTo>
                    <a:pt x="130492" y="0"/>
                  </a:lnTo>
                  <a:lnTo>
                    <a:pt x="140970" y="0"/>
                  </a:lnTo>
                  <a:lnTo>
                    <a:pt x="147638" y="7620"/>
                  </a:lnTo>
                  <a:lnTo>
                    <a:pt x="168592" y="20860"/>
                  </a:lnTo>
                  <a:lnTo>
                    <a:pt x="165735" y="28575"/>
                  </a:lnTo>
                  <a:lnTo>
                    <a:pt x="155258" y="31432"/>
                  </a:lnTo>
                  <a:lnTo>
                    <a:pt x="140970" y="31432"/>
                  </a:lnTo>
                  <a:lnTo>
                    <a:pt x="122872" y="31432"/>
                  </a:lnTo>
                  <a:lnTo>
                    <a:pt x="112395" y="38957"/>
                  </a:lnTo>
                  <a:lnTo>
                    <a:pt x="99060" y="53245"/>
                  </a:lnTo>
                  <a:lnTo>
                    <a:pt x="84772" y="56197"/>
                  </a:lnTo>
                  <a:lnTo>
                    <a:pt x="74295" y="60007"/>
                  </a:lnTo>
                  <a:lnTo>
                    <a:pt x="70485" y="74295"/>
                  </a:lnTo>
                  <a:lnTo>
                    <a:pt x="63817" y="80963"/>
                  </a:lnTo>
                  <a:lnTo>
                    <a:pt x="52388" y="84772"/>
                  </a:lnTo>
                  <a:lnTo>
                    <a:pt x="52388" y="74295"/>
                  </a:lnTo>
                  <a:lnTo>
                    <a:pt x="49530" y="63722"/>
                  </a:lnTo>
                  <a:lnTo>
                    <a:pt x="39053" y="63722"/>
                  </a:lnTo>
                  <a:lnTo>
                    <a:pt x="35242" y="56197"/>
                  </a:lnTo>
                  <a:lnTo>
                    <a:pt x="10478" y="45720"/>
                  </a:lnTo>
                  <a:lnTo>
                    <a:pt x="0" y="38957"/>
                  </a:lnTo>
                  <a:lnTo>
                    <a:pt x="20955" y="1038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77" name="Freeform: Shape 3676">
              <a:extLst>
                <a:ext uri="{FF2B5EF4-FFF2-40B4-BE49-F238E27FC236}">
                  <a16:creationId xmlns:a16="http://schemas.microsoft.com/office/drawing/2014/main" id="{993B13B7-A0F3-94E5-D558-6A3058142992}"/>
                </a:ext>
              </a:extLst>
            </p:cNvPr>
            <p:cNvSpPr/>
            <p:nvPr/>
          </p:nvSpPr>
          <p:spPr>
            <a:xfrm>
              <a:off x="3603518" y="4136631"/>
              <a:ext cx="111113" cy="113821"/>
            </a:xfrm>
            <a:custGeom>
              <a:avLst/>
              <a:gdLst>
                <a:gd name="connsiteX0" fmla="*/ 95250 w 113347"/>
                <a:gd name="connsiteY0" fmla="*/ 116110 h 116109"/>
                <a:gd name="connsiteX1" fmla="*/ 78105 w 113347"/>
                <a:gd name="connsiteY1" fmla="*/ 108585 h 116109"/>
                <a:gd name="connsiteX2" fmla="*/ 46672 w 113347"/>
                <a:gd name="connsiteY2" fmla="*/ 105632 h 116109"/>
                <a:gd name="connsiteX3" fmla="*/ 24765 w 113347"/>
                <a:gd name="connsiteY3" fmla="*/ 87535 h 116109"/>
                <a:gd name="connsiteX4" fmla="*/ 11430 w 113347"/>
                <a:gd name="connsiteY4" fmla="*/ 73247 h 116109"/>
                <a:gd name="connsiteX5" fmla="*/ 0 w 113347"/>
                <a:gd name="connsiteY5" fmla="*/ 56197 h 116109"/>
                <a:gd name="connsiteX6" fmla="*/ 18097 w 113347"/>
                <a:gd name="connsiteY6" fmla="*/ 45720 h 116109"/>
                <a:gd name="connsiteX7" fmla="*/ 21908 w 113347"/>
                <a:gd name="connsiteY7" fmla="*/ 31432 h 116109"/>
                <a:gd name="connsiteX8" fmla="*/ 46672 w 113347"/>
                <a:gd name="connsiteY8" fmla="*/ 24670 h 116109"/>
                <a:gd name="connsiteX9" fmla="*/ 60008 w 113347"/>
                <a:gd name="connsiteY9" fmla="*/ 10382 h 116109"/>
                <a:gd name="connsiteX10" fmla="*/ 70485 w 113347"/>
                <a:gd name="connsiteY10" fmla="*/ 2857 h 116109"/>
                <a:gd name="connsiteX11" fmla="*/ 88583 w 113347"/>
                <a:gd name="connsiteY11" fmla="*/ 2857 h 116109"/>
                <a:gd name="connsiteX12" fmla="*/ 102870 w 113347"/>
                <a:gd name="connsiteY12" fmla="*/ 2857 h 116109"/>
                <a:gd name="connsiteX13" fmla="*/ 113347 w 113347"/>
                <a:gd name="connsiteY13" fmla="*/ 0 h 116109"/>
                <a:gd name="connsiteX14" fmla="*/ 113347 w 113347"/>
                <a:gd name="connsiteY14" fmla="*/ 10382 h 116109"/>
                <a:gd name="connsiteX15" fmla="*/ 109538 w 113347"/>
                <a:gd name="connsiteY15" fmla="*/ 31432 h 116109"/>
                <a:gd name="connsiteX16" fmla="*/ 102870 w 113347"/>
                <a:gd name="connsiteY16" fmla="*/ 52388 h 116109"/>
                <a:gd name="connsiteX17" fmla="*/ 99060 w 113347"/>
                <a:gd name="connsiteY17" fmla="*/ 73247 h 116109"/>
                <a:gd name="connsiteX18" fmla="*/ 99060 w 113347"/>
                <a:gd name="connsiteY18" fmla="*/ 91345 h 116109"/>
                <a:gd name="connsiteX19" fmla="*/ 95250 w 113347"/>
                <a:gd name="connsiteY19" fmla="*/ 116110 h 116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3347" h="116109">
                  <a:moveTo>
                    <a:pt x="95250" y="116110"/>
                  </a:moveTo>
                  <a:lnTo>
                    <a:pt x="78105" y="108585"/>
                  </a:lnTo>
                  <a:lnTo>
                    <a:pt x="46672" y="105632"/>
                  </a:lnTo>
                  <a:lnTo>
                    <a:pt x="24765" y="87535"/>
                  </a:lnTo>
                  <a:lnTo>
                    <a:pt x="11430" y="73247"/>
                  </a:lnTo>
                  <a:lnTo>
                    <a:pt x="0" y="56197"/>
                  </a:lnTo>
                  <a:lnTo>
                    <a:pt x="18097" y="45720"/>
                  </a:lnTo>
                  <a:lnTo>
                    <a:pt x="21908" y="31432"/>
                  </a:lnTo>
                  <a:lnTo>
                    <a:pt x="46672" y="24670"/>
                  </a:lnTo>
                  <a:lnTo>
                    <a:pt x="60008" y="10382"/>
                  </a:lnTo>
                  <a:lnTo>
                    <a:pt x="70485" y="2857"/>
                  </a:lnTo>
                  <a:lnTo>
                    <a:pt x="88583" y="2857"/>
                  </a:lnTo>
                  <a:lnTo>
                    <a:pt x="102870" y="2857"/>
                  </a:lnTo>
                  <a:lnTo>
                    <a:pt x="113347" y="0"/>
                  </a:lnTo>
                  <a:lnTo>
                    <a:pt x="113347" y="10382"/>
                  </a:lnTo>
                  <a:lnTo>
                    <a:pt x="109538" y="31432"/>
                  </a:lnTo>
                  <a:lnTo>
                    <a:pt x="102870" y="52388"/>
                  </a:lnTo>
                  <a:lnTo>
                    <a:pt x="99060" y="73247"/>
                  </a:lnTo>
                  <a:lnTo>
                    <a:pt x="99060" y="91345"/>
                  </a:lnTo>
                  <a:lnTo>
                    <a:pt x="95250" y="11611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78" name="Freeform: Shape 3677">
              <a:extLst>
                <a:ext uri="{FF2B5EF4-FFF2-40B4-BE49-F238E27FC236}">
                  <a16:creationId xmlns:a16="http://schemas.microsoft.com/office/drawing/2014/main" id="{6D697A36-3DB0-7797-5826-5459E6BC2D36}"/>
                </a:ext>
              </a:extLst>
            </p:cNvPr>
            <p:cNvSpPr/>
            <p:nvPr/>
          </p:nvSpPr>
          <p:spPr>
            <a:xfrm>
              <a:off x="3603518" y="4136631"/>
              <a:ext cx="111113" cy="113821"/>
            </a:xfrm>
            <a:custGeom>
              <a:avLst/>
              <a:gdLst>
                <a:gd name="connsiteX0" fmla="*/ 95250 w 113347"/>
                <a:gd name="connsiteY0" fmla="*/ 116110 h 116109"/>
                <a:gd name="connsiteX1" fmla="*/ 78105 w 113347"/>
                <a:gd name="connsiteY1" fmla="*/ 108585 h 116109"/>
                <a:gd name="connsiteX2" fmla="*/ 46672 w 113347"/>
                <a:gd name="connsiteY2" fmla="*/ 105632 h 116109"/>
                <a:gd name="connsiteX3" fmla="*/ 24765 w 113347"/>
                <a:gd name="connsiteY3" fmla="*/ 87535 h 116109"/>
                <a:gd name="connsiteX4" fmla="*/ 11430 w 113347"/>
                <a:gd name="connsiteY4" fmla="*/ 73247 h 116109"/>
                <a:gd name="connsiteX5" fmla="*/ 0 w 113347"/>
                <a:gd name="connsiteY5" fmla="*/ 56197 h 116109"/>
                <a:gd name="connsiteX6" fmla="*/ 18097 w 113347"/>
                <a:gd name="connsiteY6" fmla="*/ 45720 h 116109"/>
                <a:gd name="connsiteX7" fmla="*/ 21908 w 113347"/>
                <a:gd name="connsiteY7" fmla="*/ 31432 h 116109"/>
                <a:gd name="connsiteX8" fmla="*/ 46672 w 113347"/>
                <a:gd name="connsiteY8" fmla="*/ 24670 h 116109"/>
                <a:gd name="connsiteX9" fmla="*/ 60008 w 113347"/>
                <a:gd name="connsiteY9" fmla="*/ 10382 h 116109"/>
                <a:gd name="connsiteX10" fmla="*/ 70485 w 113347"/>
                <a:gd name="connsiteY10" fmla="*/ 2857 h 116109"/>
                <a:gd name="connsiteX11" fmla="*/ 88583 w 113347"/>
                <a:gd name="connsiteY11" fmla="*/ 2857 h 116109"/>
                <a:gd name="connsiteX12" fmla="*/ 102870 w 113347"/>
                <a:gd name="connsiteY12" fmla="*/ 2857 h 116109"/>
                <a:gd name="connsiteX13" fmla="*/ 113347 w 113347"/>
                <a:gd name="connsiteY13" fmla="*/ 0 h 116109"/>
                <a:gd name="connsiteX14" fmla="*/ 113347 w 113347"/>
                <a:gd name="connsiteY14" fmla="*/ 10382 h 116109"/>
                <a:gd name="connsiteX15" fmla="*/ 109538 w 113347"/>
                <a:gd name="connsiteY15" fmla="*/ 31432 h 116109"/>
                <a:gd name="connsiteX16" fmla="*/ 102870 w 113347"/>
                <a:gd name="connsiteY16" fmla="*/ 52388 h 116109"/>
                <a:gd name="connsiteX17" fmla="*/ 99060 w 113347"/>
                <a:gd name="connsiteY17" fmla="*/ 73247 h 116109"/>
                <a:gd name="connsiteX18" fmla="*/ 99060 w 113347"/>
                <a:gd name="connsiteY18" fmla="*/ 91345 h 116109"/>
                <a:gd name="connsiteX19" fmla="*/ 95250 w 113347"/>
                <a:gd name="connsiteY19" fmla="*/ 116110 h 116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3347" h="116109">
                  <a:moveTo>
                    <a:pt x="95250" y="116110"/>
                  </a:moveTo>
                  <a:lnTo>
                    <a:pt x="78105" y="108585"/>
                  </a:lnTo>
                  <a:lnTo>
                    <a:pt x="46672" y="105632"/>
                  </a:lnTo>
                  <a:lnTo>
                    <a:pt x="24765" y="87535"/>
                  </a:lnTo>
                  <a:lnTo>
                    <a:pt x="11430" y="73247"/>
                  </a:lnTo>
                  <a:lnTo>
                    <a:pt x="0" y="56197"/>
                  </a:lnTo>
                  <a:lnTo>
                    <a:pt x="18097" y="45720"/>
                  </a:lnTo>
                  <a:lnTo>
                    <a:pt x="21908" y="31432"/>
                  </a:lnTo>
                  <a:lnTo>
                    <a:pt x="46672" y="24670"/>
                  </a:lnTo>
                  <a:lnTo>
                    <a:pt x="60008" y="10382"/>
                  </a:lnTo>
                  <a:lnTo>
                    <a:pt x="70485" y="2857"/>
                  </a:lnTo>
                  <a:lnTo>
                    <a:pt x="88583" y="2857"/>
                  </a:lnTo>
                  <a:lnTo>
                    <a:pt x="102870" y="2857"/>
                  </a:lnTo>
                  <a:lnTo>
                    <a:pt x="113347" y="0"/>
                  </a:lnTo>
                  <a:lnTo>
                    <a:pt x="113347" y="10382"/>
                  </a:lnTo>
                  <a:lnTo>
                    <a:pt x="109538" y="31432"/>
                  </a:lnTo>
                  <a:lnTo>
                    <a:pt x="102870" y="52388"/>
                  </a:lnTo>
                  <a:lnTo>
                    <a:pt x="99060" y="73247"/>
                  </a:lnTo>
                  <a:lnTo>
                    <a:pt x="99060" y="91345"/>
                  </a:lnTo>
                  <a:lnTo>
                    <a:pt x="95250" y="11611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79" name="Freeform: Shape 3678">
              <a:extLst>
                <a:ext uri="{FF2B5EF4-FFF2-40B4-BE49-F238E27FC236}">
                  <a16:creationId xmlns:a16="http://schemas.microsoft.com/office/drawing/2014/main" id="{2F0E179A-22E0-5E5C-E733-3876592EE078}"/>
                </a:ext>
              </a:extLst>
            </p:cNvPr>
            <p:cNvSpPr/>
            <p:nvPr/>
          </p:nvSpPr>
          <p:spPr>
            <a:xfrm>
              <a:off x="3645536" y="4240181"/>
              <a:ext cx="85902" cy="75632"/>
            </a:xfrm>
            <a:custGeom>
              <a:avLst/>
              <a:gdLst>
                <a:gd name="connsiteX0" fmla="*/ 31433 w 87629"/>
                <a:gd name="connsiteY0" fmla="*/ 35338 h 77152"/>
                <a:gd name="connsiteX1" fmla="*/ 20955 w 87629"/>
                <a:gd name="connsiteY1" fmla="*/ 27718 h 77152"/>
                <a:gd name="connsiteX2" fmla="*/ 17145 w 87629"/>
                <a:gd name="connsiteY2" fmla="*/ 39053 h 77152"/>
                <a:gd name="connsiteX3" fmla="*/ 14288 w 87629"/>
                <a:gd name="connsiteY3" fmla="*/ 42005 h 77152"/>
                <a:gd name="connsiteX4" fmla="*/ 3810 w 87629"/>
                <a:gd name="connsiteY4" fmla="*/ 35338 h 77152"/>
                <a:gd name="connsiteX5" fmla="*/ 0 w 87629"/>
                <a:gd name="connsiteY5" fmla="*/ 27718 h 77152"/>
                <a:gd name="connsiteX6" fmla="*/ 0 w 87629"/>
                <a:gd name="connsiteY6" fmla="*/ 17240 h 77152"/>
                <a:gd name="connsiteX7" fmla="*/ 3810 w 87629"/>
                <a:gd name="connsiteY7" fmla="*/ 10478 h 77152"/>
                <a:gd name="connsiteX8" fmla="*/ 3810 w 87629"/>
                <a:gd name="connsiteY8" fmla="*/ 0 h 77152"/>
                <a:gd name="connsiteX9" fmla="*/ 31433 w 87629"/>
                <a:gd name="connsiteY9" fmla="*/ 2953 h 77152"/>
                <a:gd name="connsiteX10" fmla="*/ 52388 w 87629"/>
                <a:gd name="connsiteY10" fmla="*/ 10478 h 77152"/>
                <a:gd name="connsiteX11" fmla="*/ 60008 w 87629"/>
                <a:gd name="connsiteY11" fmla="*/ 17240 h 77152"/>
                <a:gd name="connsiteX12" fmla="*/ 73342 w 87629"/>
                <a:gd name="connsiteY12" fmla="*/ 31528 h 77152"/>
                <a:gd name="connsiteX13" fmla="*/ 84772 w 87629"/>
                <a:gd name="connsiteY13" fmla="*/ 42005 h 77152"/>
                <a:gd name="connsiteX14" fmla="*/ 87630 w 87629"/>
                <a:gd name="connsiteY14" fmla="*/ 49625 h 77152"/>
                <a:gd name="connsiteX15" fmla="*/ 80963 w 87629"/>
                <a:gd name="connsiteY15" fmla="*/ 52388 h 77152"/>
                <a:gd name="connsiteX16" fmla="*/ 77153 w 87629"/>
                <a:gd name="connsiteY16" fmla="*/ 62865 h 77152"/>
                <a:gd name="connsiteX17" fmla="*/ 73342 w 87629"/>
                <a:gd name="connsiteY17" fmla="*/ 74390 h 77152"/>
                <a:gd name="connsiteX18" fmla="*/ 66675 w 87629"/>
                <a:gd name="connsiteY18" fmla="*/ 77153 h 77152"/>
                <a:gd name="connsiteX19" fmla="*/ 60008 w 87629"/>
                <a:gd name="connsiteY19" fmla="*/ 56293 h 77152"/>
                <a:gd name="connsiteX20" fmla="*/ 49530 w 87629"/>
                <a:gd name="connsiteY20" fmla="*/ 45815 h 77152"/>
                <a:gd name="connsiteX21" fmla="*/ 41910 w 87629"/>
                <a:gd name="connsiteY21" fmla="*/ 42005 h 77152"/>
                <a:gd name="connsiteX22" fmla="*/ 31433 w 87629"/>
                <a:gd name="connsiteY22" fmla="*/ 35338 h 7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7629" h="77152">
                  <a:moveTo>
                    <a:pt x="31433" y="35338"/>
                  </a:moveTo>
                  <a:lnTo>
                    <a:pt x="20955" y="27718"/>
                  </a:lnTo>
                  <a:lnTo>
                    <a:pt x="17145" y="39053"/>
                  </a:lnTo>
                  <a:lnTo>
                    <a:pt x="14288" y="42005"/>
                  </a:lnTo>
                  <a:lnTo>
                    <a:pt x="3810" y="35338"/>
                  </a:lnTo>
                  <a:lnTo>
                    <a:pt x="0" y="27718"/>
                  </a:lnTo>
                  <a:lnTo>
                    <a:pt x="0" y="17240"/>
                  </a:lnTo>
                  <a:lnTo>
                    <a:pt x="3810" y="10478"/>
                  </a:lnTo>
                  <a:lnTo>
                    <a:pt x="3810" y="0"/>
                  </a:lnTo>
                  <a:lnTo>
                    <a:pt x="31433" y="2953"/>
                  </a:lnTo>
                  <a:lnTo>
                    <a:pt x="52388" y="10478"/>
                  </a:lnTo>
                  <a:lnTo>
                    <a:pt x="60008" y="17240"/>
                  </a:lnTo>
                  <a:lnTo>
                    <a:pt x="73342" y="31528"/>
                  </a:lnTo>
                  <a:lnTo>
                    <a:pt x="84772" y="42005"/>
                  </a:lnTo>
                  <a:lnTo>
                    <a:pt x="87630" y="49625"/>
                  </a:lnTo>
                  <a:lnTo>
                    <a:pt x="80963" y="52388"/>
                  </a:lnTo>
                  <a:lnTo>
                    <a:pt x="77153" y="62865"/>
                  </a:lnTo>
                  <a:lnTo>
                    <a:pt x="73342" y="74390"/>
                  </a:lnTo>
                  <a:lnTo>
                    <a:pt x="66675" y="77153"/>
                  </a:lnTo>
                  <a:lnTo>
                    <a:pt x="60008" y="56293"/>
                  </a:lnTo>
                  <a:lnTo>
                    <a:pt x="49530" y="45815"/>
                  </a:lnTo>
                  <a:lnTo>
                    <a:pt x="41910" y="42005"/>
                  </a:lnTo>
                  <a:lnTo>
                    <a:pt x="31433" y="3533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80" name="Freeform: Shape 3679">
              <a:extLst>
                <a:ext uri="{FF2B5EF4-FFF2-40B4-BE49-F238E27FC236}">
                  <a16:creationId xmlns:a16="http://schemas.microsoft.com/office/drawing/2014/main" id="{454657F2-3D55-C7D0-E79F-F27AE73ABABC}"/>
                </a:ext>
              </a:extLst>
            </p:cNvPr>
            <p:cNvSpPr/>
            <p:nvPr/>
          </p:nvSpPr>
          <p:spPr>
            <a:xfrm>
              <a:off x="3645536" y="4240181"/>
              <a:ext cx="85902" cy="75632"/>
            </a:xfrm>
            <a:custGeom>
              <a:avLst/>
              <a:gdLst>
                <a:gd name="connsiteX0" fmla="*/ 31433 w 87629"/>
                <a:gd name="connsiteY0" fmla="*/ 35338 h 77152"/>
                <a:gd name="connsiteX1" fmla="*/ 20955 w 87629"/>
                <a:gd name="connsiteY1" fmla="*/ 27718 h 77152"/>
                <a:gd name="connsiteX2" fmla="*/ 17145 w 87629"/>
                <a:gd name="connsiteY2" fmla="*/ 39053 h 77152"/>
                <a:gd name="connsiteX3" fmla="*/ 14288 w 87629"/>
                <a:gd name="connsiteY3" fmla="*/ 42005 h 77152"/>
                <a:gd name="connsiteX4" fmla="*/ 3810 w 87629"/>
                <a:gd name="connsiteY4" fmla="*/ 35338 h 77152"/>
                <a:gd name="connsiteX5" fmla="*/ 0 w 87629"/>
                <a:gd name="connsiteY5" fmla="*/ 27718 h 77152"/>
                <a:gd name="connsiteX6" fmla="*/ 0 w 87629"/>
                <a:gd name="connsiteY6" fmla="*/ 17240 h 77152"/>
                <a:gd name="connsiteX7" fmla="*/ 3810 w 87629"/>
                <a:gd name="connsiteY7" fmla="*/ 10478 h 77152"/>
                <a:gd name="connsiteX8" fmla="*/ 3810 w 87629"/>
                <a:gd name="connsiteY8" fmla="*/ 0 h 77152"/>
                <a:gd name="connsiteX9" fmla="*/ 31433 w 87629"/>
                <a:gd name="connsiteY9" fmla="*/ 2953 h 77152"/>
                <a:gd name="connsiteX10" fmla="*/ 52388 w 87629"/>
                <a:gd name="connsiteY10" fmla="*/ 10478 h 77152"/>
                <a:gd name="connsiteX11" fmla="*/ 60008 w 87629"/>
                <a:gd name="connsiteY11" fmla="*/ 17240 h 77152"/>
                <a:gd name="connsiteX12" fmla="*/ 73342 w 87629"/>
                <a:gd name="connsiteY12" fmla="*/ 31528 h 77152"/>
                <a:gd name="connsiteX13" fmla="*/ 84772 w 87629"/>
                <a:gd name="connsiteY13" fmla="*/ 42005 h 77152"/>
                <a:gd name="connsiteX14" fmla="*/ 87630 w 87629"/>
                <a:gd name="connsiteY14" fmla="*/ 49625 h 77152"/>
                <a:gd name="connsiteX15" fmla="*/ 80963 w 87629"/>
                <a:gd name="connsiteY15" fmla="*/ 52388 h 77152"/>
                <a:gd name="connsiteX16" fmla="*/ 77153 w 87629"/>
                <a:gd name="connsiteY16" fmla="*/ 62865 h 77152"/>
                <a:gd name="connsiteX17" fmla="*/ 73342 w 87629"/>
                <a:gd name="connsiteY17" fmla="*/ 74390 h 77152"/>
                <a:gd name="connsiteX18" fmla="*/ 66675 w 87629"/>
                <a:gd name="connsiteY18" fmla="*/ 77153 h 77152"/>
                <a:gd name="connsiteX19" fmla="*/ 60008 w 87629"/>
                <a:gd name="connsiteY19" fmla="*/ 56293 h 77152"/>
                <a:gd name="connsiteX20" fmla="*/ 49530 w 87629"/>
                <a:gd name="connsiteY20" fmla="*/ 45815 h 77152"/>
                <a:gd name="connsiteX21" fmla="*/ 41910 w 87629"/>
                <a:gd name="connsiteY21" fmla="*/ 42005 h 77152"/>
                <a:gd name="connsiteX22" fmla="*/ 31433 w 87629"/>
                <a:gd name="connsiteY22" fmla="*/ 35338 h 7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87629" h="77152">
                  <a:moveTo>
                    <a:pt x="31433" y="35338"/>
                  </a:moveTo>
                  <a:lnTo>
                    <a:pt x="20955" y="27718"/>
                  </a:lnTo>
                  <a:lnTo>
                    <a:pt x="17145" y="39053"/>
                  </a:lnTo>
                  <a:lnTo>
                    <a:pt x="14288" y="42005"/>
                  </a:lnTo>
                  <a:lnTo>
                    <a:pt x="3810" y="35338"/>
                  </a:lnTo>
                  <a:lnTo>
                    <a:pt x="0" y="27718"/>
                  </a:lnTo>
                  <a:lnTo>
                    <a:pt x="0" y="17240"/>
                  </a:lnTo>
                  <a:lnTo>
                    <a:pt x="3810" y="10478"/>
                  </a:lnTo>
                  <a:lnTo>
                    <a:pt x="3810" y="0"/>
                  </a:lnTo>
                  <a:lnTo>
                    <a:pt x="31433" y="2953"/>
                  </a:lnTo>
                  <a:lnTo>
                    <a:pt x="52388" y="10478"/>
                  </a:lnTo>
                  <a:lnTo>
                    <a:pt x="60008" y="17240"/>
                  </a:lnTo>
                  <a:lnTo>
                    <a:pt x="73342" y="31528"/>
                  </a:lnTo>
                  <a:lnTo>
                    <a:pt x="84772" y="42005"/>
                  </a:lnTo>
                  <a:lnTo>
                    <a:pt x="87630" y="49625"/>
                  </a:lnTo>
                  <a:lnTo>
                    <a:pt x="80963" y="52388"/>
                  </a:lnTo>
                  <a:lnTo>
                    <a:pt x="77153" y="62865"/>
                  </a:lnTo>
                  <a:lnTo>
                    <a:pt x="73342" y="74390"/>
                  </a:lnTo>
                  <a:lnTo>
                    <a:pt x="66675" y="77153"/>
                  </a:lnTo>
                  <a:lnTo>
                    <a:pt x="60008" y="56293"/>
                  </a:lnTo>
                  <a:lnTo>
                    <a:pt x="49530" y="45815"/>
                  </a:lnTo>
                  <a:lnTo>
                    <a:pt x="41910" y="42005"/>
                  </a:lnTo>
                  <a:lnTo>
                    <a:pt x="31433" y="3533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81" name="Freeform: Shape 3680">
              <a:extLst>
                <a:ext uri="{FF2B5EF4-FFF2-40B4-BE49-F238E27FC236}">
                  <a16:creationId xmlns:a16="http://schemas.microsoft.com/office/drawing/2014/main" id="{5180597F-C4AC-38DC-4549-3D102E191EE9}"/>
                </a:ext>
              </a:extLst>
            </p:cNvPr>
            <p:cNvSpPr/>
            <p:nvPr/>
          </p:nvSpPr>
          <p:spPr>
            <a:xfrm>
              <a:off x="3710896" y="4285094"/>
              <a:ext cx="176473" cy="65361"/>
            </a:xfrm>
            <a:custGeom>
              <a:avLst/>
              <a:gdLst>
                <a:gd name="connsiteX0" fmla="*/ 155258 w 180022"/>
                <a:gd name="connsiteY0" fmla="*/ 59912 h 66675"/>
                <a:gd name="connsiteX1" fmla="*/ 144780 w 180022"/>
                <a:gd name="connsiteY1" fmla="*/ 56197 h 66675"/>
                <a:gd name="connsiteX2" fmla="*/ 140970 w 180022"/>
                <a:gd name="connsiteY2" fmla="*/ 49435 h 66675"/>
                <a:gd name="connsiteX3" fmla="*/ 140970 w 180022"/>
                <a:gd name="connsiteY3" fmla="*/ 39053 h 66675"/>
                <a:gd name="connsiteX4" fmla="*/ 140970 w 180022"/>
                <a:gd name="connsiteY4" fmla="*/ 28575 h 66675"/>
                <a:gd name="connsiteX5" fmla="*/ 137160 w 180022"/>
                <a:gd name="connsiteY5" fmla="*/ 20860 h 66675"/>
                <a:gd name="connsiteX6" fmla="*/ 126683 w 180022"/>
                <a:gd name="connsiteY6" fmla="*/ 17050 h 66675"/>
                <a:gd name="connsiteX7" fmla="*/ 116205 w 180022"/>
                <a:gd name="connsiteY7" fmla="*/ 17050 h 66675"/>
                <a:gd name="connsiteX8" fmla="*/ 109537 w 180022"/>
                <a:gd name="connsiteY8" fmla="*/ 20860 h 66675"/>
                <a:gd name="connsiteX9" fmla="*/ 105727 w 180022"/>
                <a:gd name="connsiteY9" fmla="*/ 28575 h 66675"/>
                <a:gd name="connsiteX10" fmla="*/ 91440 w 180022"/>
                <a:gd name="connsiteY10" fmla="*/ 31337 h 66675"/>
                <a:gd name="connsiteX11" fmla="*/ 84772 w 180022"/>
                <a:gd name="connsiteY11" fmla="*/ 39053 h 66675"/>
                <a:gd name="connsiteX12" fmla="*/ 87630 w 180022"/>
                <a:gd name="connsiteY12" fmla="*/ 45625 h 66675"/>
                <a:gd name="connsiteX13" fmla="*/ 91440 w 180022"/>
                <a:gd name="connsiteY13" fmla="*/ 52388 h 66675"/>
                <a:gd name="connsiteX14" fmla="*/ 91440 w 180022"/>
                <a:gd name="connsiteY14" fmla="*/ 63722 h 66675"/>
                <a:gd name="connsiteX15" fmla="*/ 77153 w 180022"/>
                <a:gd name="connsiteY15" fmla="*/ 66675 h 66675"/>
                <a:gd name="connsiteX16" fmla="*/ 66675 w 180022"/>
                <a:gd name="connsiteY16" fmla="*/ 56197 h 66675"/>
                <a:gd name="connsiteX17" fmla="*/ 56197 w 180022"/>
                <a:gd name="connsiteY17" fmla="*/ 45625 h 66675"/>
                <a:gd name="connsiteX18" fmla="*/ 45720 w 180022"/>
                <a:gd name="connsiteY18" fmla="*/ 39053 h 66675"/>
                <a:gd name="connsiteX19" fmla="*/ 31433 w 180022"/>
                <a:gd name="connsiteY19" fmla="*/ 35147 h 66675"/>
                <a:gd name="connsiteX20" fmla="*/ 24765 w 180022"/>
                <a:gd name="connsiteY20" fmla="*/ 31337 h 66675"/>
                <a:gd name="connsiteX21" fmla="*/ 14288 w 180022"/>
                <a:gd name="connsiteY21" fmla="*/ 35147 h 66675"/>
                <a:gd name="connsiteX22" fmla="*/ 0 w 180022"/>
                <a:gd name="connsiteY22" fmla="*/ 31337 h 66675"/>
                <a:gd name="connsiteX23" fmla="*/ 6667 w 180022"/>
                <a:gd name="connsiteY23" fmla="*/ 24765 h 66675"/>
                <a:gd name="connsiteX24" fmla="*/ 10478 w 180022"/>
                <a:gd name="connsiteY24" fmla="*/ 14288 h 66675"/>
                <a:gd name="connsiteX25" fmla="*/ 20955 w 180022"/>
                <a:gd name="connsiteY25" fmla="*/ 3810 h 66675"/>
                <a:gd name="connsiteX26" fmla="*/ 31433 w 180022"/>
                <a:gd name="connsiteY26" fmla="*/ 6572 h 66675"/>
                <a:gd name="connsiteX27" fmla="*/ 39053 w 180022"/>
                <a:gd name="connsiteY27" fmla="*/ 14288 h 66675"/>
                <a:gd name="connsiteX28" fmla="*/ 53340 w 180022"/>
                <a:gd name="connsiteY28" fmla="*/ 20860 h 66675"/>
                <a:gd name="connsiteX29" fmla="*/ 66675 w 180022"/>
                <a:gd name="connsiteY29" fmla="*/ 20860 h 66675"/>
                <a:gd name="connsiteX30" fmla="*/ 77153 w 180022"/>
                <a:gd name="connsiteY30" fmla="*/ 17050 h 66675"/>
                <a:gd name="connsiteX31" fmla="*/ 91440 w 180022"/>
                <a:gd name="connsiteY31" fmla="*/ 10478 h 66675"/>
                <a:gd name="connsiteX32" fmla="*/ 109537 w 180022"/>
                <a:gd name="connsiteY32" fmla="*/ 3810 h 66675"/>
                <a:gd name="connsiteX33" fmla="*/ 126683 w 180022"/>
                <a:gd name="connsiteY33" fmla="*/ 0 h 66675"/>
                <a:gd name="connsiteX34" fmla="*/ 144780 w 180022"/>
                <a:gd name="connsiteY34" fmla="*/ 3810 h 66675"/>
                <a:gd name="connsiteX35" fmla="*/ 155258 w 180022"/>
                <a:gd name="connsiteY35" fmla="*/ 10478 h 66675"/>
                <a:gd name="connsiteX36" fmla="*/ 165735 w 180022"/>
                <a:gd name="connsiteY36" fmla="*/ 17050 h 66675"/>
                <a:gd name="connsiteX37" fmla="*/ 172402 w 180022"/>
                <a:gd name="connsiteY37" fmla="*/ 28575 h 66675"/>
                <a:gd name="connsiteX38" fmla="*/ 180023 w 180022"/>
                <a:gd name="connsiteY38" fmla="*/ 35147 h 66675"/>
                <a:gd name="connsiteX39" fmla="*/ 176212 w 180022"/>
                <a:gd name="connsiteY39" fmla="*/ 45625 h 66675"/>
                <a:gd name="connsiteX40" fmla="*/ 165735 w 180022"/>
                <a:gd name="connsiteY40" fmla="*/ 52388 h 66675"/>
                <a:gd name="connsiteX41" fmla="*/ 155258 w 180022"/>
                <a:gd name="connsiteY41" fmla="*/ 5991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80022" h="66675">
                  <a:moveTo>
                    <a:pt x="155258" y="59912"/>
                  </a:moveTo>
                  <a:lnTo>
                    <a:pt x="144780" y="56197"/>
                  </a:lnTo>
                  <a:lnTo>
                    <a:pt x="140970" y="49435"/>
                  </a:lnTo>
                  <a:lnTo>
                    <a:pt x="140970" y="39053"/>
                  </a:lnTo>
                  <a:lnTo>
                    <a:pt x="140970" y="28575"/>
                  </a:lnTo>
                  <a:lnTo>
                    <a:pt x="137160" y="20860"/>
                  </a:lnTo>
                  <a:lnTo>
                    <a:pt x="126683" y="17050"/>
                  </a:lnTo>
                  <a:lnTo>
                    <a:pt x="116205" y="17050"/>
                  </a:lnTo>
                  <a:lnTo>
                    <a:pt x="109537" y="20860"/>
                  </a:lnTo>
                  <a:lnTo>
                    <a:pt x="105727" y="28575"/>
                  </a:lnTo>
                  <a:lnTo>
                    <a:pt x="91440" y="31337"/>
                  </a:lnTo>
                  <a:lnTo>
                    <a:pt x="84772" y="39053"/>
                  </a:lnTo>
                  <a:lnTo>
                    <a:pt x="87630" y="45625"/>
                  </a:lnTo>
                  <a:lnTo>
                    <a:pt x="91440" y="52388"/>
                  </a:lnTo>
                  <a:lnTo>
                    <a:pt x="91440" y="63722"/>
                  </a:lnTo>
                  <a:lnTo>
                    <a:pt x="77153" y="66675"/>
                  </a:lnTo>
                  <a:lnTo>
                    <a:pt x="66675" y="56197"/>
                  </a:lnTo>
                  <a:lnTo>
                    <a:pt x="56197" y="45625"/>
                  </a:lnTo>
                  <a:lnTo>
                    <a:pt x="45720" y="39053"/>
                  </a:lnTo>
                  <a:lnTo>
                    <a:pt x="31433" y="35147"/>
                  </a:lnTo>
                  <a:lnTo>
                    <a:pt x="24765" y="31337"/>
                  </a:lnTo>
                  <a:lnTo>
                    <a:pt x="14288" y="35147"/>
                  </a:lnTo>
                  <a:lnTo>
                    <a:pt x="0" y="31337"/>
                  </a:lnTo>
                  <a:lnTo>
                    <a:pt x="6667" y="24765"/>
                  </a:lnTo>
                  <a:lnTo>
                    <a:pt x="10478" y="14288"/>
                  </a:lnTo>
                  <a:lnTo>
                    <a:pt x="20955" y="3810"/>
                  </a:lnTo>
                  <a:lnTo>
                    <a:pt x="31433" y="6572"/>
                  </a:lnTo>
                  <a:lnTo>
                    <a:pt x="39053" y="14288"/>
                  </a:lnTo>
                  <a:lnTo>
                    <a:pt x="53340" y="20860"/>
                  </a:lnTo>
                  <a:lnTo>
                    <a:pt x="66675" y="20860"/>
                  </a:lnTo>
                  <a:lnTo>
                    <a:pt x="77153" y="17050"/>
                  </a:lnTo>
                  <a:lnTo>
                    <a:pt x="91440" y="10478"/>
                  </a:lnTo>
                  <a:lnTo>
                    <a:pt x="109537" y="3810"/>
                  </a:lnTo>
                  <a:lnTo>
                    <a:pt x="126683" y="0"/>
                  </a:lnTo>
                  <a:lnTo>
                    <a:pt x="144780" y="3810"/>
                  </a:lnTo>
                  <a:lnTo>
                    <a:pt x="155258" y="10478"/>
                  </a:lnTo>
                  <a:lnTo>
                    <a:pt x="165735" y="17050"/>
                  </a:lnTo>
                  <a:lnTo>
                    <a:pt x="172402" y="28575"/>
                  </a:lnTo>
                  <a:lnTo>
                    <a:pt x="180023" y="35147"/>
                  </a:lnTo>
                  <a:lnTo>
                    <a:pt x="176212" y="45625"/>
                  </a:lnTo>
                  <a:lnTo>
                    <a:pt x="165735" y="52388"/>
                  </a:lnTo>
                  <a:lnTo>
                    <a:pt x="155258" y="5991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82" name="Freeform: Shape 3681">
              <a:extLst>
                <a:ext uri="{FF2B5EF4-FFF2-40B4-BE49-F238E27FC236}">
                  <a16:creationId xmlns:a16="http://schemas.microsoft.com/office/drawing/2014/main" id="{425A74E8-1258-F503-BCFF-7408D4471D36}"/>
                </a:ext>
              </a:extLst>
            </p:cNvPr>
            <p:cNvSpPr/>
            <p:nvPr/>
          </p:nvSpPr>
          <p:spPr>
            <a:xfrm>
              <a:off x="3710896" y="4285094"/>
              <a:ext cx="176473" cy="65361"/>
            </a:xfrm>
            <a:custGeom>
              <a:avLst/>
              <a:gdLst>
                <a:gd name="connsiteX0" fmla="*/ 155258 w 180022"/>
                <a:gd name="connsiteY0" fmla="*/ 59912 h 66675"/>
                <a:gd name="connsiteX1" fmla="*/ 144780 w 180022"/>
                <a:gd name="connsiteY1" fmla="*/ 56197 h 66675"/>
                <a:gd name="connsiteX2" fmla="*/ 140970 w 180022"/>
                <a:gd name="connsiteY2" fmla="*/ 49435 h 66675"/>
                <a:gd name="connsiteX3" fmla="*/ 140970 w 180022"/>
                <a:gd name="connsiteY3" fmla="*/ 39053 h 66675"/>
                <a:gd name="connsiteX4" fmla="*/ 140970 w 180022"/>
                <a:gd name="connsiteY4" fmla="*/ 28575 h 66675"/>
                <a:gd name="connsiteX5" fmla="*/ 137160 w 180022"/>
                <a:gd name="connsiteY5" fmla="*/ 20860 h 66675"/>
                <a:gd name="connsiteX6" fmla="*/ 126683 w 180022"/>
                <a:gd name="connsiteY6" fmla="*/ 17050 h 66675"/>
                <a:gd name="connsiteX7" fmla="*/ 116205 w 180022"/>
                <a:gd name="connsiteY7" fmla="*/ 17050 h 66675"/>
                <a:gd name="connsiteX8" fmla="*/ 109537 w 180022"/>
                <a:gd name="connsiteY8" fmla="*/ 20860 h 66675"/>
                <a:gd name="connsiteX9" fmla="*/ 105727 w 180022"/>
                <a:gd name="connsiteY9" fmla="*/ 28575 h 66675"/>
                <a:gd name="connsiteX10" fmla="*/ 91440 w 180022"/>
                <a:gd name="connsiteY10" fmla="*/ 31337 h 66675"/>
                <a:gd name="connsiteX11" fmla="*/ 84772 w 180022"/>
                <a:gd name="connsiteY11" fmla="*/ 39053 h 66675"/>
                <a:gd name="connsiteX12" fmla="*/ 87630 w 180022"/>
                <a:gd name="connsiteY12" fmla="*/ 45625 h 66675"/>
                <a:gd name="connsiteX13" fmla="*/ 91440 w 180022"/>
                <a:gd name="connsiteY13" fmla="*/ 52388 h 66675"/>
                <a:gd name="connsiteX14" fmla="*/ 91440 w 180022"/>
                <a:gd name="connsiteY14" fmla="*/ 63722 h 66675"/>
                <a:gd name="connsiteX15" fmla="*/ 77153 w 180022"/>
                <a:gd name="connsiteY15" fmla="*/ 66675 h 66675"/>
                <a:gd name="connsiteX16" fmla="*/ 66675 w 180022"/>
                <a:gd name="connsiteY16" fmla="*/ 56197 h 66675"/>
                <a:gd name="connsiteX17" fmla="*/ 56197 w 180022"/>
                <a:gd name="connsiteY17" fmla="*/ 45625 h 66675"/>
                <a:gd name="connsiteX18" fmla="*/ 45720 w 180022"/>
                <a:gd name="connsiteY18" fmla="*/ 39053 h 66675"/>
                <a:gd name="connsiteX19" fmla="*/ 31433 w 180022"/>
                <a:gd name="connsiteY19" fmla="*/ 35147 h 66675"/>
                <a:gd name="connsiteX20" fmla="*/ 24765 w 180022"/>
                <a:gd name="connsiteY20" fmla="*/ 31337 h 66675"/>
                <a:gd name="connsiteX21" fmla="*/ 14288 w 180022"/>
                <a:gd name="connsiteY21" fmla="*/ 35147 h 66675"/>
                <a:gd name="connsiteX22" fmla="*/ 0 w 180022"/>
                <a:gd name="connsiteY22" fmla="*/ 31337 h 66675"/>
                <a:gd name="connsiteX23" fmla="*/ 6667 w 180022"/>
                <a:gd name="connsiteY23" fmla="*/ 24765 h 66675"/>
                <a:gd name="connsiteX24" fmla="*/ 10478 w 180022"/>
                <a:gd name="connsiteY24" fmla="*/ 14288 h 66675"/>
                <a:gd name="connsiteX25" fmla="*/ 20955 w 180022"/>
                <a:gd name="connsiteY25" fmla="*/ 3810 h 66675"/>
                <a:gd name="connsiteX26" fmla="*/ 31433 w 180022"/>
                <a:gd name="connsiteY26" fmla="*/ 6572 h 66675"/>
                <a:gd name="connsiteX27" fmla="*/ 39053 w 180022"/>
                <a:gd name="connsiteY27" fmla="*/ 14288 h 66675"/>
                <a:gd name="connsiteX28" fmla="*/ 53340 w 180022"/>
                <a:gd name="connsiteY28" fmla="*/ 20860 h 66675"/>
                <a:gd name="connsiteX29" fmla="*/ 66675 w 180022"/>
                <a:gd name="connsiteY29" fmla="*/ 20860 h 66675"/>
                <a:gd name="connsiteX30" fmla="*/ 77153 w 180022"/>
                <a:gd name="connsiteY30" fmla="*/ 17050 h 66675"/>
                <a:gd name="connsiteX31" fmla="*/ 91440 w 180022"/>
                <a:gd name="connsiteY31" fmla="*/ 10478 h 66675"/>
                <a:gd name="connsiteX32" fmla="*/ 109537 w 180022"/>
                <a:gd name="connsiteY32" fmla="*/ 3810 h 66675"/>
                <a:gd name="connsiteX33" fmla="*/ 126683 w 180022"/>
                <a:gd name="connsiteY33" fmla="*/ 0 h 66675"/>
                <a:gd name="connsiteX34" fmla="*/ 144780 w 180022"/>
                <a:gd name="connsiteY34" fmla="*/ 3810 h 66675"/>
                <a:gd name="connsiteX35" fmla="*/ 155258 w 180022"/>
                <a:gd name="connsiteY35" fmla="*/ 10478 h 66675"/>
                <a:gd name="connsiteX36" fmla="*/ 165735 w 180022"/>
                <a:gd name="connsiteY36" fmla="*/ 17050 h 66675"/>
                <a:gd name="connsiteX37" fmla="*/ 172402 w 180022"/>
                <a:gd name="connsiteY37" fmla="*/ 28575 h 66675"/>
                <a:gd name="connsiteX38" fmla="*/ 180023 w 180022"/>
                <a:gd name="connsiteY38" fmla="*/ 35147 h 66675"/>
                <a:gd name="connsiteX39" fmla="*/ 176212 w 180022"/>
                <a:gd name="connsiteY39" fmla="*/ 45625 h 66675"/>
                <a:gd name="connsiteX40" fmla="*/ 165735 w 180022"/>
                <a:gd name="connsiteY40" fmla="*/ 52388 h 66675"/>
                <a:gd name="connsiteX41" fmla="*/ 155258 w 180022"/>
                <a:gd name="connsiteY41" fmla="*/ 5991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80022" h="66675">
                  <a:moveTo>
                    <a:pt x="155258" y="59912"/>
                  </a:moveTo>
                  <a:lnTo>
                    <a:pt x="144780" y="56197"/>
                  </a:lnTo>
                  <a:lnTo>
                    <a:pt x="140970" y="49435"/>
                  </a:lnTo>
                  <a:lnTo>
                    <a:pt x="140970" y="39053"/>
                  </a:lnTo>
                  <a:lnTo>
                    <a:pt x="140970" y="28575"/>
                  </a:lnTo>
                  <a:lnTo>
                    <a:pt x="137160" y="20860"/>
                  </a:lnTo>
                  <a:lnTo>
                    <a:pt x="126683" y="17050"/>
                  </a:lnTo>
                  <a:lnTo>
                    <a:pt x="116205" y="17050"/>
                  </a:lnTo>
                  <a:lnTo>
                    <a:pt x="109537" y="20860"/>
                  </a:lnTo>
                  <a:lnTo>
                    <a:pt x="105727" y="28575"/>
                  </a:lnTo>
                  <a:lnTo>
                    <a:pt x="91440" y="31337"/>
                  </a:lnTo>
                  <a:lnTo>
                    <a:pt x="84772" y="39053"/>
                  </a:lnTo>
                  <a:lnTo>
                    <a:pt x="87630" y="45625"/>
                  </a:lnTo>
                  <a:lnTo>
                    <a:pt x="91440" y="52388"/>
                  </a:lnTo>
                  <a:lnTo>
                    <a:pt x="91440" y="63722"/>
                  </a:lnTo>
                  <a:lnTo>
                    <a:pt x="77153" y="66675"/>
                  </a:lnTo>
                  <a:lnTo>
                    <a:pt x="66675" y="56197"/>
                  </a:lnTo>
                  <a:lnTo>
                    <a:pt x="56197" y="45625"/>
                  </a:lnTo>
                  <a:lnTo>
                    <a:pt x="45720" y="39053"/>
                  </a:lnTo>
                  <a:lnTo>
                    <a:pt x="31433" y="35147"/>
                  </a:lnTo>
                  <a:lnTo>
                    <a:pt x="24765" y="31337"/>
                  </a:lnTo>
                  <a:lnTo>
                    <a:pt x="14288" y="35147"/>
                  </a:lnTo>
                  <a:lnTo>
                    <a:pt x="0" y="31337"/>
                  </a:lnTo>
                  <a:lnTo>
                    <a:pt x="6667" y="24765"/>
                  </a:lnTo>
                  <a:lnTo>
                    <a:pt x="10478" y="14288"/>
                  </a:lnTo>
                  <a:lnTo>
                    <a:pt x="20955" y="3810"/>
                  </a:lnTo>
                  <a:lnTo>
                    <a:pt x="31433" y="6572"/>
                  </a:lnTo>
                  <a:lnTo>
                    <a:pt x="39053" y="14288"/>
                  </a:lnTo>
                  <a:lnTo>
                    <a:pt x="53340" y="20860"/>
                  </a:lnTo>
                  <a:lnTo>
                    <a:pt x="66675" y="20860"/>
                  </a:lnTo>
                  <a:lnTo>
                    <a:pt x="77153" y="17050"/>
                  </a:lnTo>
                  <a:lnTo>
                    <a:pt x="91440" y="10478"/>
                  </a:lnTo>
                  <a:lnTo>
                    <a:pt x="109537" y="3810"/>
                  </a:lnTo>
                  <a:lnTo>
                    <a:pt x="126683" y="0"/>
                  </a:lnTo>
                  <a:lnTo>
                    <a:pt x="144780" y="3810"/>
                  </a:lnTo>
                  <a:lnTo>
                    <a:pt x="155258" y="10478"/>
                  </a:lnTo>
                  <a:lnTo>
                    <a:pt x="165735" y="17050"/>
                  </a:lnTo>
                  <a:lnTo>
                    <a:pt x="172402" y="28575"/>
                  </a:lnTo>
                  <a:lnTo>
                    <a:pt x="180023" y="35147"/>
                  </a:lnTo>
                  <a:lnTo>
                    <a:pt x="176212" y="45625"/>
                  </a:lnTo>
                  <a:lnTo>
                    <a:pt x="165735" y="52388"/>
                  </a:lnTo>
                  <a:lnTo>
                    <a:pt x="155258" y="5991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83" name="Freeform: Shape 3682">
              <a:extLst>
                <a:ext uri="{FF2B5EF4-FFF2-40B4-BE49-F238E27FC236}">
                  <a16:creationId xmlns:a16="http://schemas.microsoft.com/office/drawing/2014/main" id="{ADBCEB4B-A852-B9DC-2445-650AD2905BD4}"/>
                </a:ext>
              </a:extLst>
            </p:cNvPr>
            <p:cNvSpPr/>
            <p:nvPr/>
          </p:nvSpPr>
          <p:spPr>
            <a:xfrm>
              <a:off x="3672613" y="3901330"/>
              <a:ext cx="286653" cy="97014"/>
            </a:xfrm>
            <a:custGeom>
              <a:avLst/>
              <a:gdLst>
                <a:gd name="connsiteX0" fmla="*/ 260985 w 292417"/>
                <a:gd name="connsiteY0" fmla="*/ 98965 h 98964"/>
                <a:gd name="connsiteX1" fmla="*/ 246698 w 292417"/>
                <a:gd name="connsiteY1" fmla="*/ 91440 h 98964"/>
                <a:gd name="connsiteX2" fmla="*/ 229552 w 292417"/>
                <a:gd name="connsiteY2" fmla="*/ 91440 h 98964"/>
                <a:gd name="connsiteX3" fmla="*/ 219075 w 292417"/>
                <a:gd name="connsiteY3" fmla="*/ 98965 h 98964"/>
                <a:gd name="connsiteX4" fmla="*/ 204788 w 292417"/>
                <a:gd name="connsiteY4" fmla="*/ 95250 h 98964"/>
                <a:gd name="connsiteX5" fmla="*/ 208598 w 292417"/>
                <a:gd name="connsiteY5" fmla="*/ 80963 h 98964"/>
                <a:gd name="connsiteX6" fmla="*/ 204788 w 292417"/>
                <a:gd name="connsiteY6" fmla="*/ 70390 h 98964"/>
                <a:gd name="connsiteX7" fmla="*/ 183833 w 292417"/>
                <a:gd name="connsiteY7" fmla="*/ 70390 h 98964"/>
                <a:gd name="connsiteX8" fmla="*/ 176213 w 292417"/>
                <a:gd name="connsiteY8" fmla="*/ 56102 h 98964"/>
                <a:gd name="connsiteX9" fmla="*/ 165735 w 292417"/>
                <a:gd name="connsiteY9" fmla="*/ 53340 h 98964"/>
                <a:gd name="connsiteX10" fmla="*/ 140970 w 292417"/>
                <a:gd name="connsiteY10" fmla="*/ 45625 h 98964"/>
                <a:gd name="connsiteX11" fmla="*/ 134302 w 292417"/>
                <a:gd name="connsiteY11" fmla="*/ 39053 h 98964"/>
                <a:gd name="connsiteX12" fmla="*/ 109538 w 292417"/>
                <a:gd name="connsiteY12" fmla="*/ 31337 h 98964"/>
                <a:gd name="connsiteX13" fmla="*/ 84773 w 292417"/>
                <a:gd name="connsiteY13" fmla="*/ 28575 h 98964"/>
                <a:gd name="connsiteX14" fmla="*/ 78105 w 292417"/>
                <a:gd name="connsiteY14" fmla="*/ 20955 h 98964"/>
                <a:gd name="connsiteX15" fmla="*/ 60008 w 292417"/>
                <a:gd name="connsiteY15" fmla="*/ 17050 h 98964"/>
                <a:gd name="connsiteX16" fmla="*/ 49530 w 292417"/>
                <a:gd name="connsiteY16" fmla="*/ 24765 h 98964"/>
                <a:gd name="connsiteX17" fmla="*/ 35243 w 292417"/>
                <a:gd name="connsiteY17" fmla="*/ 31337 h 98964"/>
                <a:gd name="connsiteX18" fmla="*/ 21908 w 292417"/>
                <a:gd name="connsiteY18" fmla="*/ 39053 h 98964"/>
                <a:gd name="connsiteX19" fmla="*/ 0 w 292417"/>
                <a:gd name="connsiteY19" fmla="*/ 39053 h 98964"/>
                <a:gd name="connsiteX20" fmla="*/ 3810 w 292417"/>
                <a:gd name="connsiteY20" fmla="*/ 28575 h 98964"/>
                <a:gd name="connsiteX21" fmla="*/ 18098 w 292417"/>
                <a:gd name="connsiteY21" fmla="*/ 10478 h 98964"/>
                <a:gd name="connsiteX22" fmla="*/ 45720 w 292417"/>
                <a:gd name="connsiteY22" fmla="*/ 3715 h 98964"/>
                <a:gd name="connsiteX23" fmla="*/ 70485 w 292417"/>
                <a:gd name="connsiteY23" fmla="*/ 0 h 98964"/>
                <a:gd name="connsiteX24" fmla="*/ 102870 w 292417"/>
                <a:gd name="connsiteY24" fmla="*/ 0 h 98964"/>
                <a:gd name="connsiteX25" fmla="*/ 130493 w 292417"/>
                <a:gd name="connsiteY25" fmla="*/ 6668 h 98964"/>
                <a:gd name="connsiteX26" fmla="*/ 155258 w 292417"/>
                <a:gd name="connsiteY26" fmla="*/ 17050 h 98964"/>
                <a:gd name="connsiteX27" fmla="*/ 183833 w 292417"/>
                <a:gd name="connsiteY27" fmla="*/ 24765 h 98964"/>
                <a:gd name="connsiteX28" fmla="*/ 194310 w 292417"/>
                <a:gd name="connsiteY28" fmla="*/ 35243 h 98964"/>
                <a:gd name="connsiteX29" fmla="*/ 204788 w 292417"/>
                <a:gd name="connsiteY29" fmla="*/ 41815 h 98964"/>
                <a:gd name="connsiteX30" fmla="*/ 229552 w 292417"/>
                <a:gd name="connsiteY30" fmla="*/ 53340 h 98964"/>
                <a:gd name="connsiteX31" fmla="*/ 250508 w 292417"/>
                <a:gd name="connsiteY31" fmla="*/ 59912 h 98964"/>
                <a:gd name="connsiteX32" fmla="*/ 271463 w 292417"/>
                <a:gd name="connsiteY32" fmla="*/ 70390 h 98964"/>
                <a:gd name="connsiteX33" fmla="*/ 292417 w 292417"/>
                <a:gd name="connsiteY33" fmla="*/ 80963 h 98964"/>
                <a:gd name="connsiteX34" fmla="*/ 281940 w 292417"/>
                <a:gd name="connsiteY34" fmla="*/ 88487 h 98964"/>
                <a:gd name="connsiteX35" fmla="*/ 267652 w 292417"/>
                <a:gd name="connsiteY35" fmla="*/ 91440 h 98964"/>
                <a:gd name="connsiteX36" fmla="*/ 264795 w 292417"/>
                <a:gd name="connsiteY36" fmla="*/ 98965 h 98964"/>
                <a:gd name="connsiteX37" fmla="*/ 260985 w 292417"/>
                <a:gd name="connsiteY37" fmla="*/ 98965 h 98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92417" h="98964">
                  <a:moveTo>
                    <a:pt x="260985" y="98965"/>
                  </a:moveTo>
                  <a:lnTo>
                    <a:pt x="246698" y="91440"/>
                  </a:lnTo>
                  <a:lnTo>
                    <a:pt x="229552" y="91440"/>
                  </a:lnTo>
                  <a:lnTo>
                    <a:pt x="219075" y="98965"/>
                  </a:lnTo>
                  <a:lnTo>
                    <a:pt x="204788" y="95250"/>
                  </a:lnTo>
                  <a:lnTo>
                    <a:pt x="208598" y="80963"/>
                  </a:lnTo>
                  <a:lnTo>
                    <a:pt x="204788" y="70390"/>
                  </a:lnTo>
                  <a:lnTo>
                    <a:pt x="183833" y="70390"/>
                  </a:lnTo>
                  <a:lnTo>
                    <a:pt x="176213" y="56102"/>
                  </a:lnTo>
                  <a:lnTo>
                    <a:pt x="165735" y="53340"/>
                  </a:lnTo>
                  <a:lnTo>
                    <a:pt x="140970" y="45625"/>
                  </a:lnTo>
                  <a:lnTo>
                    <a:pt x="134302" y="39053"/>
                  </a:lnTo>
                  <a:lnTo>
                    <a:pt x="109538" y="31337"/>
                  </a:lnTo>
                  <a:lnTo>
                    <a:pt x="84773" y="28575"/>
                  </a:lnTo>
                  <a:lnTo>
                    <a:pt x="78105" y="20955"/>
                  </a:lnTo>
                  <a:lnTo>
                    <a:pt x="60008" y="17050"/>
                  </a:lnTo>
                  <a:lnTo>
                    <a:pt x="49530" y="24765"/>
                  </a:lnTo>
                  <a:lnTo>
                    <a:pt x="35243" y="31337"/>
                  </a:lnTo>
                  <a:lnTo>
                    <a:pt x="21908" y="39053"/>
                  </a:lnTo>
                  <a:lnTo>
                    <a:pt x="0" y="39053"/>
                  </a:lnTo>
                  <a:lnTo>
                    <a:pt x="3810" y="28575"/>
                  </a:lnTo>
                  <a:lnTo>
                    <a:pt x="18098" y="10478"/>
                  </a:lnTo>
                  <a:lnTo>
                    <a:pt x="45720" y="3715"/>
                  </a:lnTo>
                  <a:lnTo>
                    <a:pt x="70485" y="0"/>
                  </a:lnTo>
                  <a:lnTo>
                    <a:pt x="102870" y="0"/>
                  </a:lnTo>
                  <a:lnTo>
                    <a:pt x="130493" y="6668"/>
                  </a:lnTo>
                  <a:lnTo>
                    <a:pt x="155258" y="17050"/>
                  </a:lnTo>
                  <a:lnTo>
                    <a:pt x="183833" y="24765"/>
                  </a:lnTo>
                  <a:lnTo>
                    <a:pt x="194310" y="35243"/>
                  </a:lnTo>
                  <a:lnTo>
                    <a:pt x="204788" y="41815"/>
                  </a:lnTo>
                  <a:lnTo>
                    <a:pt x="229552" y="53340"/>
                  </a:lnTo>
                  <a:lnTo>
                    <a:pt x="250508" y="59912"/>
                  </a:lnTo>
                  <a:lnTo>
                    <a:pt x="271463" y="70390"/>
                  </a:lnTo>
                  <a:lnTo>
                    <a:pt x="292417" y="80963"/>
                  </a:lnTo>
                  <a:lnTo>
                    <a:pt x="281940" y="88487"/>
                  </a:lnTo>
                  <a:lnTo>
                    <a:pt x="267652" y="91440"/>
                  </a:lnTo>
                  <a:lnTo>
                    <a:pt x="264795" y="98965"/>
                  </a:lnTo>
                  <a:lnTo>
                    <a:pt x="260985" y="9896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84" name="Freeform: Shape 3683">
              <a:extLst>
                <a:ext uri="{FF2B5EF4-FFF2-40B4-BE49-F238E27FC236}">
                  <a16:creationId xmlns:a16="http://schemas.microsoft.com/office/drawing/2014/main" id="{82DDF50E-0A13-D06C-D5C9-970603794E50}"/>
                </a:ext>
              </a:extLst>
            </p:cNvPr>
            <p:cNvSpPr/>
            <p:nvPr/>
          </p:nvSpPr>
          <p:spPr>
            <a:xfrm>
              <a:off x="3672613" y="3901330"/>
              <a:ext cx="286653" cy="97014"/>
            </a:xfrm>
            <a:custGeom>
              <a:avLst/>
              <a:gdLst>
                <a:gd name="connsiteX0" fmla="*/ 260985 w 292417"/>
                <a:gd name="connsiteY0" fmla="*/ 98965 h 98964"/>
                <a:gd name="connsiteX1" fmla="*/ 246698 w 292417"/>
                <a:gd name="connsiteY1" fmla="*/ 91440 h 98964"/>
                <a:gd name="connsiteX2" fmla="*/ 229552 w 292417"/>
                <a:gd name="connsiteY2" fmla="*/ 91440 h 98964"/>
                <a:gd name="connsiteX3" fmla="*/ 219075 w 292417"/>
                <a:gd name="connsiteY3" fmla="*/ 98965 h 98964"/>
                <a:gd name="connsiteX4" fmla="*/ 204788 w 292417"/>
                <a:gd name="connsiteY4" fmla="*/ 95250 h 98964"/>
                <a:gd name="connsiteX5" fmla="*/ 208598 w 292417"/>
                <a:gd name="connsiteY5" fmla="*/ 80963 h 98964"/>
                <a:gd name="connsiteX6" fmla="*/ 204788 w 292417"/>
                <a:gd name="connsiteY6" fmla="*/ 70390 h 98964"/>
                <a:gd name="connsiteX7" fmla="*/ 183833 w 292417"/>
                <a:gd name="connsiteY7" fmla="*/ 70390 h 98964"/>
                <a:gd name="connsiteX8" fmla="*/ 176213 w 292417"/>
                <a:gd name="connsiteY8" fmla="*/ 56102 h 98964"/>
                <a:gd name="connsiteX9" fmla="*/ 165735 w 292417"/>
                <a:gd name="connsiteY9" fmla="*/ 53340 h 98964"/>
                <a:gd name="connsiteX10" fmla="*/ 140970 w 292417"/>
                <a:gd name="connsiteY10" fmla="*/ 45625 h 98964"/>
                <a:gd name="connsiteX11" fmla="*/ 134302 w 292417"/>
                <a:gd name="connsiteY11" fmla="*/ 39053 h 98964"/>
                <a:gd name="connsiteX12" fmla="*/ 109538 w 292417"/>
                <a:gd name="connsiteY12" fmla="*/ 31337 h 98964"/>
                <a:gd name="connsiteX13" fmla="*/ 84773 w 292417"/>
                <a:gd name="connsiteY13" fmla="*/ 28575 h 98964"/>
                <a:gd name="connsiteX14" fmla="*/ 78105 w 292417"/>
                <a:gd name="connsiteY14" fmla="*/ 20955 h 98964"/>
                <a:gd name="connsiteX15" fmla="*/ 60008 w 292417"/>
                <a:gd name="connsiteY15" fmla="*/ 17050 h 98964"/>
                <a:gd name="connsiteX16" fmla="*/ 49530 w 292417"/>
                <a:gd name="connsiteY16" fmla="*/ 24765 h 98964"/>
                <a:gd name="connsiteX17" fmla="*/ 35243 w 292417"/>
                <a:gd name="connsiteY17" fmla="*/ 31337 h 98964"/>
                <a:gd name="connsiteX18" fmla="*/ 21908 w 292417"/>
                <a:gd name="connsiteY18" fmla="*/ 39053 h 98964"/>
                <a:gd name="connsiteX19" fmla="*/ 0 w 292417"/>
                <a:gd name="connsiteY19" fmla="*/ 39053 h 98964"/>
                <a:gd name="connsiteX20" fmla="*/ 3810 w 292417"/>
                <a:gd name="connsiteY20" fmla="*/ 28575 h 98964"/>
                <a:gd name="connsiteX21" fmla="*/ 18098 w 292417"/>
                <a:gd name="connsiteY21" fmla="*/ 10478 h 98964"/>
                <a:gd name="connsiteX22" fmla="*/ 45720 w 292417"/>
                <a:gd name="connsiteY22" fmla="*/ 3715 h 98964"/>
                <a:gd name="connsiteX23" fmla="*/ 70485 w 292417"/>
                <a:gd name="connsiteY23" fmla="*/ 0 h 98964"/>
                <a:gd name="connsiteX24" fmla="*/ 102870 w 292417"/>
                <a:gd name="connsiteY24" fmla="*/ 0 h 98964"/>
                <a:gd name="connsiteX25" fmla="*/ 130493 w 292417"/>
                <a:gd name="connsiteY25" fmla="*/ 6668 h 98964"/>
                <a:gd name="connsiteX26" fmla="*/ 155258 w 292417"/>
                <a:gd name="connsiteY26" fmla="*/ 17050 h 98964"/>
                <a:gd name="connsiteX27" fmla="*/ 183833 w 292417"/>
                <a:gd name="connsiteY27" fmla="*/ 24765 h 98964"/>
                <a:gd name="connsiteX28" fmla="*/ 194310 w 292417"/>
                <a:gd name="connsiteY28" fmla="*/ 35243 h 98964"/>
                <a:gd name="connsiteX29" fmla="*/ 204788 w 292417"/>
                <a:gd name="connsiteY29" fmla="*/ 41815 h 98964"/>
                <a:gd name="connsiteX30" fmla="*/ 229552 w 292417"/>
                <a:gd name="connsiteY30" fmla="*/ 53340 h 98964"/>
                <a:gd name="connsiteX31" fmla="*/ 250508 w 292417"/>
                <a:gd name="connsiteY31" fmla="*/ 59912 h 98964"/>
                <a:gd name="connsiteX32" fmla="*/ 271463 w 292417"/>
                <a:gd name="connsiteY32" fmla="*/ 70390 h 98964"/>
                <a:gd name="connsiteX33" fmla="*/ 292417 w 292417"/>
                <a:gd name="connsiteY33" fmla="*/ 80963 h 98964"/>
                <a:gd name="connsiteX34" fmla="*/ 281940 w 292417"/>
                <a:gd name="connsiteY34" fmla="*/ 88487 h 98964"/>
                <a:gd name="connsiteX35" fmla="*/ 267652 w 292417"/>
                <a:gd name="connsiteY35" fmla="*/ 91440 h 98964"/>
                <a:gd name="connsiteX36" fmla="*/ 264795 w 292417"/>
                <a:gd name="connsiteY36" fmla="*/ 98965 h 98964"/>
                <a:gd name="connsiteX37" fmla="*/ 260985 w 292417"/>
                <a:gd name="connsiteY37" fmla="*/ 98965 h 98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92417" h="98964">
                  <a:moveTo>
                    <a:pt x="260985" y="98965"/>
                  </a:moveTo>
                  <a:lnTo>
                    <a:pt x="246698" y="91440"/>
                  </a:lnTo>
                  <a:lnTo>
                    <a:pt x="229552" y="91440"/>
                  </a:lnTo>
                  <a:lnTo>
                    <a:pt x="219075" y="98965"/>
                  </a:lnTo>
                  <a:lnTo>
                    <a:pt x="204788" y="95250"/>
                  </a:lnTo>
                  <a:lnTo>
                    <a:pt x="208598" y="80963"/>
                  </a:lnTo>
                  <a:lnTo>
                    <a:pt x="204788" y="70390"/>
                  </a:lnTo>
                  <a:lnTo>
                    <a:pt x="183833" y="70390"/>
                  </a:lnTo>
                  <a:lnTo>
                    <a:pt x="176213" y="56102"/>
                  </a:lnTo>
                  <a:lnTo>
                    <a:pt x="165735" y="53340"/>
                  </a:lnTo>
                  <a:lnTo>
                    <a:pt x="140970" y="45625"/>
                  </a:lnTo>
                  <a:lnTo>
                    <a:pt x="134302" y="39053"/>
                  </a:lnTo>
                  <a:lnTo>
                    <a:pt x="109538" y="31337"/>
                  </a:lnTo>
                  <a:lnTo>
                    <a:pt x="84773" y="28575"/>
                  </a:lnTo>
                  <a:lnTo>
                    <a:pt x="78105" y="20955"/>
                  </a:lnTo>
                  <a:lnTo>
                    <a:pt x="60008" y="17050"/>
                  </a:lnTo>
                  <a:lnTo>
                    <a:pt x="49530" y="24765"/>
                  </a:lnTo>
                  <a:lnTo>
                    <a:pt x="35243" y="31337"/>
                  </a:lnTo>
                  <a:lnTo>
                    <a:pt x="21908" y="39053"/>
                  </a:lnTo>
                  <a:lnTo>
                    <a:pt x="0" y="39053"/>
                  </a:lnTo>
                  <a:lnTo>
                    <a:pt x="3810" y="28575"/>
                  </a:lnTo>
                  <a:lnTo>
                    <a:pt x="18098" y="10478"/>
                  </a:lnTo>
                  <a:lnTo>
                    <a:pt x="45720" y="3715"/>
                  </a:lnTo>
                  <a:lnTo>
                    <a:pt x="70485" y="0"/>
                  </a:lnTo>
                  <a:lnTo>
                    <a:pt x="102870" y="0"/>
                  </a:lnTo>
                  <a:lnTo>
                    <a:pt x="130493" y="6668"/>
                  </a:lnTo>
                  <a:lnTo>
                    <a:pt x="155258" y="17050"/>
                  </a:lnTo>
                  <a:lnTo>
                    <a:pt x="183833" y="24765"/>
                  </a:lnTo>
                  <a:lnTo>
                    <a:pt x="194310" y="35243"/>
                  </a:lnTo>
                  <a:lnTo>
                    <a:pt x="204788" y="41815"/>
                  </a:lnTo>
                  <a:lnTo>
                    <a:pt x="229552" y="53340"/>
                  </a:lnTo>
                  <a:lnTo>
                    <a:pt x="250508" y="59912"/>
                  </a:lnTo>
                  <a:lnTo>
                    <a:pt x="271463" y="70390"/>
                  </a:lnTo>
                  <a:lnTo>
                    <a:pt x="292417" y="80963"/>
                  </a:lnTo>
                  <a:lnTo>
                    <a:pt x="281940" y="88487"/>
                  </a:lnTo>
                  <a:lnTo>
                    <a:pt x="267652" y="91440"/>
                  </a:lnTo>
                  <a:lnTo>
                    <a:pt x="264795" y="98965"/>
                  </a:lnTo>
                  <a:lnTo>
                    <a:pt x="260985" y="9896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85" name="Freeform: Shape 3684">
              <a:extLst>
                <a:ext uri="{FF2B5EF4-FFF2-40B4-BE49-F238E27FC236}">
                  <a16:creationId xmlns:a16="http://schemas.microsoft.com/office/drawing/2014/main" id="{16DF744E-0283-C4F5-0157-E28C3CF3352A}"/>
                </a:ext>
              </a:extLst>
            </p:cNvPr>
            <p:cNvSpPr/>
            <p:nvPr/>
          </p:nvSpPr>
          <p:spPr>
            <a:xfrm>
              <a:off x="3959266" y="3990968"/>
              <a:ext cx="76565" cy="52289"/>
            </a:xfrm>
            <a:custGeom>
              <a:avLst/>
              <a:gdLst>
                <a:gd name="connsiteX0" fmla="*/ 0 w 78105"/>
                <a:gd name="connsiteY0" fmla="*/ 49435 h 53340"/>
                <a:gd name="connsiteX1" fmla="*/ 28575 w 78105"/>
                <a:gd name="connsiteY1" fmla="*/ 53340 h 53340"/>
                <a:gd name="connsiteX2" fmla="*/ 56197 w 78105"/>
                <a:gd name="connsiteY2" fmla="*/ 53340 h 53340"/>
                <a:gd name="connsiteX3" fmla="*/ 70485 w 78105"/>
                <a:gd name="connsiteY3" fmla="*/ 53340 h 53340"/>
                <a:gd name="connsiteX4" fmla="*/ 70485 w 78105"/>
                <a:gd name="connsiteY4" fmla="*/ 42863 h 53340"/>
                <a:gd name="connsiteX5" fmla="*/ 63818 w 78105"/>
                <a:gd name="connsiteY5" fmla="*/ 35147 h 53340"/>
                <a:gd name="connsiteX6" fmla="*/ 74295 w 78105"/>
                <a:gd name="connsiteY6" fmla="*/ 32385 h 53340"/>
                <a:gd name="connsiteX7" fmla="*/ 78105 w 78105"/>
                <a:gd name="connsiteY7" fmla="*/ 24765 h 53340"/>
                <a:gd name="connsiteX8" fmla="*/ 74295 w 78105"/>
                <a:gd name="connsiteY8" fmla="*/ 7525 h 53340"/>
                <a:gd name="connsiteX9" fmla="*/ 56197 w 78105"/>
                <a:gd name="connsiteY9" fmla="*/ 3810 h 53340"/>
                <a:gd name="connsiteX10" fmla="*/ 42863 w 78105"/>
                <a:gd name="connsiteY10" fmla="*/ 0 h 53340"/>
                <a:gd name="connsiteX11" fmla="*/ 28575 w 78105"/>
                <a:gd name="connsiteY11" fmla="*/ 3810 h 53340"/>
                <a:gd name="connsiteX12" fmla="*/ 39053 w 78105"/>
                <a:gd name="connsiteY12" fmla="*/ 10478 h 53340"/>
                <a:gd name="connsiteX13" fmla="*/ 49530 w 78105"/>
                <a:gd name="connsiteY13" fmla="*/ 24765 h 53340"/>
                <a:gd name="connsiteX14" fmla="*/ 49530 w 78105"/>
                <a:gd name="connsiteY14" fmla="*/ 35147 h 53340"/>
                <a:gd name="connsiteX15" fmla="*/ 35243 w 78105"/>
                <a:gd name="connsiteY15" fmla="*/ 35147 h 53340"/>
                <a:gd name="connsiteX16" fmla="*/ 24765 w 78105"/>
                <a:gd name="connsiteY16" fmla="*/ 32385 h 53340"/>
                <a:gd name="connsiteX17" fmla="*/ 10478 w 78105"/>
                <a:gd name="connsiteY17" fmla="*/ 35147 h 53340"/>
                <a:gd name="connsiteX18" fmla="*/ 0 w 78105"/>
                <a:gd name="connsiteY18" fmla="*/ 35147 h 53340"/>
                <a:gd name="connsiteX19" fmla="*/ 0 w 78105"/>
                <a:gd name="connsiteY19" fmla="*/ 49435 h 5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8105" h="53340">
                  <a:moveTo>
                    <a:pt x="0" y="49435"/>
                  </a:moveTo>
                  <a:lnTo>
                    <a:pt x="28575" y="53340"/>
                  </a:lnTo>
                  <a:lnTo>
                    <a:pt x="56197" y="53340"/>
                  </a:lnTo>
                  <a:lnTo>
                    <a:pt x="70485" y="53340"/>
                  </a:lnTo>
                  <a:lnTo>
                    <a:pt x="70485" y="42863"/>
                  </a:lnTo>
                  <a:lnTo>
                    <a:pt x="63818" y="35147"/>
                  </a:lnTo>
                  <a:lnTo>
                    <a:pt x="74295" y="32385"/>
                  </a:lnTo>
                  <a:lnTo>
                    <a:pt x="78105" y="24765"/>
                  </a:lnTo>
                  <a:lnTo>
                    <a:pt x="74295" y="7525"/>
                  </a:lnTo>
                  <a:lnTo>
                    <a:pt x="56197" y="3810"/>
                  </a:lnTo>
                  <a:lnTo>
                    <a:pt x="42863" y="0"/>
                  </a:lnTo>
                  <a:lnTo>
                    <a:pt x="28575" y="3810"/>
                  </a:lnTo>
                  <a:lnTo>
                    <a:pt x="39053" y="10478"/>
                  </a:lnTo>
                  <a:lnTo>
                    <a:pt x="49530" y="24765"/>
                  </a:lnTo>
                  <a:lnTo>
                    <a:pt x="49530" y="35147"/>
                  </a:lnTo>
                  <a:lnTo>
                    <a:pt x="35243" y="35147"/>
                  </a:lnTo>
                  <a:lnTo>
                    <a:pt x="24765" y="32385"/>
                  </a:lnTo>
                  <a:lnTo>
                    <a:pt x="10478" y="35147"/>
                  </a:lnTo>
                  <a:lnTo>
                    <a:pt x="0" y="35147"/>
                  </a:lnTo>
                  <a:lnTo>
                    <a:pt x="0" y="4943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86" name="Freeform: Shape 3685">
              <a:extLst>
                <a:ext uri="{FF2B5EF4-FFF2-40B4-BE49-F238E27FC236}">
                  <a16:creationId xmlns:a16="http://schemas.microsoft.com/office/drawing/2014/main" id="{BBFF8379-4BEA-219F-A57A-93AA8F070F0E}"/>
                </a:ext>
              </a:extLst>
            </p:cNvPr>
            <p:cNvSpPr/>
            <p:nvPr/>
          </p:nvSpPr>
          <p:spPr>
            <a:xfrm>
              <a:off x="3959266" y="3990968"/>
              <a:ext cx="76565" cy="52289"/>
            </a:xfrm>
            <a:custGeom>
              <a:avLst/>
              <a:gdLst>
                <a:gd name="connsiteX0" fmla="*/ 0 w 78105"/>
                <a:gd name="connsiteY0" fmla="*/ 49435 h 53340"/>
                <a:gd name="connsiteX1" fmla="*/ 28575 w 78105"/>
                <a:gd name="connsiteY1" fmla="*/ 53340 h 53340"/>
                <a:gd name="connsiteX2" fmla="*/ 56197 w 78105"/>
                <a:gd name="connsiteY2" fmla="*/ 53340 h 53340"/>
                <a:gd name="connsiteX3" fmla="*/ 70485 w 78105"/>
                <a:gd name="connsiteY3" fmla="*/ 53340 h 53340"/>
                <a:gd name="connsiteX4" fmla="*/ 70485 w 78105"/>
                <a:gd name="connsiteY4" fmla="*/ 42863 h 53340"/>
                <a:gd name="connsiteX5" fmla="*/ 63818 w 78105"/>
                <a:gd name="connsiteY5" fmla="*/ 35147 h 53340"/>
                <a:gd name="connsiteX6" fmla="*/ 74295 w 78105"/>
                <a:gd name="connsiteY6" fmla="*/ 32385 h 53340"/>
                <a:gd name="connsiteX7" fmla="*/ 78105 w 78105"/>
                <a:gd name="connsiteY7" fmla="*/ 24765 h 53340"/>
                <a:gd name="connsiteX8" fmla="*/ 74295 w 78105"/>
                <a:gd name="connsiteY8" fmla="*/ 7525 h 53340"/>
                <a:gd name="connsiteX9" fmla="*/ 56197 w 78105"/>
                <a:gd name="connsiteY9" fmla="*/ 3810 h 53340"/>
                <a:gd name="connsiteX10" fmla="*/ 42863 w 78105"/>
                <a:gd name="connsiteY10" fmla="*/ 0 h 53340"/>
                <a:gd name="connsiteX11" fmla="*/ 28575 w 78105"/>
                <a:gd name="connsiteY11" fmla="*/ 3810 h 53340"/>
                <a:gd name="connsiteX12" fmla="*/ 39053 w 78105"/>
                <a:gd name="connsiteY12" fmla="*/ 10478 h 53340"/>
                <a:gd name="connsiteX13" fmla="*/ 49530 w 78105"/>
                <a:gd name="connsiteY13" fmla="*/ 24765 h 53340"/>
                <a:gd name="connsiteX14" fmla="*/ 49530 w 78105"/>
                <a:gd name="connsiteY14" fmla="*/ 35147 h 53340"/>
                <a:gd name="connsiteX15" fmla="*/ 35243 w 78105"/>
                <a:gd name="connsiteY15" fmla="*/ 35147 h 53340"/>
                <a:gd name="connsiteX16" fmla="*/ 24765 w 78105"/>
                <a:gd name="connsiteY16" fmla="*/ 32385 h 53340"/>
                <a:gd name="connsiteX17" fmla="*/ 10478 w 78105"/>
                <a:gd name="connsiteY17" fmla="*/ 35147 h 53340"/>
                <a:gd name="connsiteX18" fmla="*/ 0 w 78105"/>
                <a:gd name="connsiteY18" fmla="*/ 35147 h 53340"/>
                <a:gd name="connsiteX19" fmla="*/ 0 w 78105"/>
                <a:gd name="connsiteY19" fmla="*/ 49435 h 5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8105" h="53340">
                  <a:moveTo>
                    <a:pt x="0" y="49435"/>
                  </a:moveTo>
                  <a:lnTo>
                    <a:pt x="28575" y="53340"/>
                  </a:lnTo>
                  <a:lnTo>
                    <a:pt x="56197" y="53340"/>
                  </a:lnTo>
                  <a:lnTo>
                    <a:pt x="70485" y="53340"/>
                  </a:lnTo>
                  <a:lnTo>
                    <a:pt x="70485" y="42863"/>
                  </a:lnTo>
                  <a:lnTo>
                    <a:pt x="63818" y="35147"/>
                  </a:lnTo>
                  <a:lnTo>
                    <a:pt x="74295" y="32385"/>
                  </a:lnTo>
                  <a:lnTo>
                    <a:pt x="78105" y="24765"/>
                  </a:lnTo>
                  <a:lnTo>
                    <a:pt x="74295" y="7525"/>
                  </a:lnTo>
                  <a:lnTo>
                    <a:pt x="56197" y="3810"/>
                  </a:lnTo>
                  <a:lnTo>
                    <a:pt x="42863" y="0"/>
                  </a:lnTo>
                  <a:lnTo>
                    <a:pt x="28575" y="3810"/>
                  </a:lnTo>
                  <a:lnTo>
                    <a:pt x="39053" y="10478"/>
                  </a:lnTo>
                  <a:lnTo>
                    <a:pt x="49530" y="24765"/>
                  </a:lnTo>
                  <a:lnTo>
                    <a:pt x="49530" y="35147"/>
                  </a:lnTo>
                  <a:lnTo>
                    <a:pt x="35243" y="35147"/>
                  </a:lnTo>
                  <a:lnTo>
                    <a:pt x="24765" y="32385"/>
                  </a:lnTo>
                  <a:lnTo>
                    <a:pt x="10478" y="35147"/>
                  </a:lnTo>
                  <a:lnTo>
                    <a:pt x="0" y="35147"/>
                  </a:lnTo>
                  <a:lnTo>
                    <a:pt x="0" y="4943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87" name="Freeform: Shape 3686">
              <a:extLst>
                <a:ext uri="{FF2B5EF4-FFF2-40B4-BE49-F238E27FC236}">
                  <a16:creationId xmlns:a16="http://schemas.microsoft.com/office/drawing/2014/main" id="{0466F4EA-F046-CBB9-B4C4-C97A7E9CC0FF}"/>
                </a:ext>
              </a:extLst>
            </p:cNvPr>
            <p:cNvSpPr/>
            <p:nvPr/>
          </p:nvSpPr>
          <p:spPr>
            <a:xfrm>
              <a:off x="3852822" y="4029252"/>
              <a:ext cx="55089" cy="30813"/>
            </a:xfrm>
            <a:custGeom>
              <a:avLst/>
              <a:gdLst>
                <a:gd name="connsiteX0" fmla="*/ 0 w 56197"/>
                <a:gd name="connsiteY0" fmla="*/ 10382 h 31432"/>
                <a:gd name="connsiteX1" fmla="*/ 10478 w 56197"/>
                <a:gd name="connsiteY1" fmla="*/ 0 h 31432"/>
                <a:gd name="connsiteX2" fmla="*/ 24765 w 56197"/>
                <a:gd name="connsiteY2" fmla="*/ 0 h 31432"/>
                <a:gd name="connsiteX3" fmla="*/ 35243 w 56197"/>
                <a:gd name="connsiteY3" fmla="*/ 3810 h 31432"/>
                <a:gd name="connsiteX4" fmla="*/ 48578 w 56197"/>
                <a:gd name="connsiteY4" fmla="*/ 10382 h 31432"/>
                <a:gd name="connsiteX5" fmla="*/ 56197 w 56197"/>
                <a:gd name="connsiteY5" fmla="*/ 17145 h 31432"/>
                <a:gd name="connsiteX6" fmla="*/ 41910 w 56197"/>
                <a:gd name="connsiteY6" fmla="*/ 24670 h 31432"/>
                <a:gd name="connsiteX7" fmla="*/ 31432 w 56197"/>
                <a:gd name="connsiteY7" fmla="*/ 24670 h 31432"/>
                <a:gd name="connsiteX8" fmla="*/ 24765 w 56197"/>
                <a:gd name="connsiteY8" fmla="*/ 31432 h 31432"/>
                <a:gd name="connsiteX9" fmla="*/ 17145 w 56197"/>
                <a:gd name="connsiteY9" fmla="*/ 20860 h 31432"/>
                <a:gd name="connsiteX10" fmla="*/ 10478 w 56197"/>
                <a:gd name="connsiteY10" fmla="*/ 14288 h 31432"/>
                <a:gd name="connsiteX11" fmla="*/ 0 w 56197"/>
                <a:gd name="connsiteY11" fmla="*/ 10382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197" h="31432">
                  <a:moveTo>
                    <a:pt x="0" y="10382"/>
                  </a:moveTo>
                  <a:lnTo>
                    <a:pt x="10478" y="0"/>
                  </a:lnTo>
                  <a:lnTo>
                    <a:pt x="24765" y="0"/>
                  </a:lnTo>
                  <a:lnTo>
                    <a:pt x="35243" y="3810"/>
                  </a:lnTo>
                  <a:lnTo>
                    <a:pt x="48578" y="10382"/>
                  </a:lnTo>
                  <a:lnTo>
                    <a:pt x="56197" y="17145"/>
                  </a:lnTo>
                  <a:lnTo>
                    <a:pt x="41910" y="24670"/>
                  </a:lnTo>
                  <a:lnTo>
                    <a:pt x="31432" y="24670"/>
                  </a:lnTo>
                  <a:lnTo>
                    <a:pt x="24765" y="31432"/>
                  </a:lnTo>
                  <a:lnTo>
                    <a:pt x="17145" y="20860"/>
                  </a:lnTo>
                  <a:lnTo>
                    <a:pt x="10478" y="14288"/>
                  </a:lnTo>
                  <a:lnTo>
                    <a:pt x="0" y="1038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88" name="Freeform: Shape 3687">
              <a:extLst>
                <a:ext uri="{FF2B5EF4-FFF2-40B4-BE49-F238E27FC236}">
                  <a16:creationId xmlns:a16="http://schemas.microsoft.com/office/drawing/2014/main" id="{28501152-98E2-3756-4E27-150A3B65CD64}"/>
                </a:ext>
              </a:extLst>
            </p:cNvPr>
            <p:cNvSpPr/>
            <p:nvPr/>
          </p:nvSpPr>
          <p:spPr>
            <a:xfrm>
              <a:off x="3852822" y="4029252"/>
              <a:ext cx="55089" cy="30813"/>
            </a:xfrm>
            <a:custGeom>
              <a:avLst/>
              <a:gdLst>
                <a:gd name="connsiteX0" fmla="*/ 0 w 56197"/>
                <a:gd name="connsiteY0" fmla="*/ 10382 h 31432"/>
                <a:gd name="connsiteX1" fmla="*/ 10478 w 56197"/>
                <a:gd name="connsiteY1" fmla="*/ 0 h 31432"/>
                <a:gd name="connsiteX2" fmla="*/ 24765 w 56197"/>
                <a:gd name="connsiteY2" fmla="*/ 0 h 31432"/>
                <a:gd name="connsiteX3" fmla="*/ 35243 w 56197"/>
                <a:gd name="connsiteY3" fmla="*/ 3810 h 31432"/>
                <a:gd name="connsiteX4" fmla="*/ 48578 w 56197"/>
                <a:gd name="connsiteY4" fmla="*/ 10382 h 31432"/>
                <a:gd name="connsiteX5" fmla="*/ 56197 w 56197"/>
                <a:gd name="connsiteY5" fmla="*/ 17145 h 31432"/>
                <a:gd name="connsiteX6" fmla="*/ 41910 w 56197"/>
                <a:gd name="connsiteY6" fmla="*/ 24670 h 31432"/>
                <a:gd name="connsiteX7" fmla="*/ 31432 w 56197"/>
                <a:gd name="connsiteY7" fmla="*/ 24670 h 31432"/>
                <a:gd name="connsiteX8" fmla="*/ 24765 w 56197"/>
                <a:gd name="connsiteY8" fmla="*/ 31432 h 31432"/>
                <a:gd name="connsiteX9" fmla="*/ 17145 w 56197"/>
                <a:gd name="connsiteY9" fmla="*/ 20860 h 31432"/>
                <a:gd name="connsiteX10" fmla="*/ 10478 w 56197"/>
                <a:gd name="connsiteY10" fmla="*/ 14288 h 31432"/>
                <a:gd name="connsiteX11" fmla="*/ 0 w 56197"/>
                <a:gd name="connsiteY11" fmla="*/ 10382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6197" h="31432">
                  <a:moveTo>
                    <a:pt x="0" y="10382"/>
                  </a:moveTo>
                  <a:lnTo>
                    <a:pt x="10478" y="0"/>
                  </a:lnTo>
                  <a:lnTo>
                    <a:pt x="24765" y="0"/>
                  </a:lnTo>
                  <a:lnTo>
                    <a:pt x="35243" y="3810"/>
                  </a:lnTo>
                  <a:lnTo>
                    <a:pt x="48578" y="10382"/>
                  </a:lnTo>
                  <a:lnTo>
                    <a:pt x="56197" y="17145"/>
                  </a:lnTo>
                  <a:lnTo>
                    <a:pt x="41910" y="24670"/>
                  </a:lnTo>
                  <a:lnTo>
                    <a:pt x="31432" y="24670"/>
                  </a:lnTo>
                  <a:lnTo>
                    <a:pt x="24765" y="31432"/>
                  </a:lnTo>
                  <a:lnTo>
                    <a:pt x="17145" y="20860"/>
                  </a:lnTo>
                  <a:lnTo>
                    <a:pt x="10478" y="14288"/>
                  </a:lnTo>
                  <a:lnTo>
                    <a:pt x="0" y="1038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89" name="Freeform: Shape 3688">
              <a:extLst>
                <a:ext uri="{FF2B5EF4-FFF2-40B4-BE49-F238E27FC236}">
                  <a16:creationId xmlns:a16="http://schemas.microsoft.com/office/drawing/2014/main" id="{6E56B5E3-BEF0-8352-A1A4-1C0A163B4418}"/>
                </a:ext>
              </a:extLst>
            </p:cNvPr>
            <p:cNvSpPr/>
            <p:nvPr/>
          </p:nvSpPr>
          <p:spPr>
            <a:xfrm>
              <a:off x="4021826" y="3998345"/>
              <a:ext cx="99908" cy="61719"/>
            </a:xfrm>
            <a:custGeom>
              <a:avLst/>
              <a:gdLst>
                <a:gd name="connsiteX0" fmla="*/ 10478 w 101917"/>
                <a:gd name="connsiteY0" fmla="*/ 0 h 62960"/>
                <a:gd name="connsiteX1" fmla="*/ 27622 w 101917"/>
                <a:gd name="connsiteY1" fmla="*/ 2953 h 62960"/>
                <a:gd name="connsiteX2" fmla="*/ 41910 w 101917"/>
                <a:gd name="connsiteY2" fmla="*/ 2953 h 62960"/>
                <a:gd name="connsiteX3" fmla="*/ 60007 w 101917"/>
                <a:gd name="connsiteY3" fmla="*/ 6763 h 62960"/>
                <a:gd name="connsiteX4" fmla="*/ 70485 w 101917"/>
                <a:gd name="connsiteY4" fmla="*/ 10573 h 62960"/>
                <a:gd name="connsiteX5" fmla="*/ 80963 w 101917"/>
                <a:gd name="connsiteY5" fmla="*/ 17240 h 62960"/>
                <a:gd name="connsiteX6" fmla="*/ 98107 w 101917"/>
                <a:gd name="connsiteY6" fmla="*/ 27622 h 62960"/>
                <a:gd name="connsiteX7" fmla="*/ 101917 w 101917"/>
                <a:gd name="connsiteY7" fmla="*/ 35338 h 62960"/>
                <a:gd name="connsiteX8" fmla="*/ 95250 w 101917"/>
                <a:gd name="connsiteY8" fmla="*/ 41910 h 62960"/>
                <a:gd name="connsiteX9" fmla="*/ 77153 w 101917"/>
                <a:gd name="connsiteY9" fmla="*/ 38100 h 62960"/>
                <a:gd name="connsiteX10" fmla="*/ 66675 w 101917"/>
                <a:gd name="connsiteY10" fmla="*/ 38100 h 62960"/>
                <a:gd name="connsiteX11" fmla="*/ 52388 w 101917"/>
                <a:gd name="connsiteY11" fmla="*/ 41910 h 62960"/>
                <a:gd name="connsiteX12" fmla="*/ 41910 w 101917"/>
                <a:gd name="connsiteY12" fmla="*/ 41910 h 62960"/>
                <a:gd name="connsiteX13" fmla="*/ 35242 w 101917"/>
                <a:gd name="connsiteY13" fmla="*/ 35338 h 62960"/>
                <a:gd name="connsiteX14" fmla="*/ 24765 w 101917"/>
                <a:gd name="connsiteY14" fmla="*/ 38100 h 62960"/>
                <a:gd name="connsiteX15" fmla="*/ 20955 w 101917"/>
                <a:gd name="connsiteY15" fmla="*/ 48673 h 62960"/>
                <a:gd name="connsiteX16" fmla="*/ 20955 w 101917"/>
                <a:gd name="connsiteY16" fmla="*/ 60103 h 62960"/>
                <a:gd name="connsiteX17" fmla="*/ 14288 w 101917"/>
                <a:gd name="connsiteY17" fmla="*/ 62960 h 62960"/>
                <a:gd name="connsiteX18" fmla="*/ 6667 w 101917"/>
                <a:gd name="connsiteY18" fmla="*/ 52388 h 62960"/>
                <a:gd name="connsiteX19" fmla="*/ 6667 w 101917"/>
                <a:gd name="connsiteY19" fmla="*/ 45815 h 62960"/>
                <a:gd name="connsiteX20" fmla="*/ 6667 w 101917"/>
                <a:gd name="connsiteY20" fmla="*/ 35338 h 62960"/>
                <a:gd name="connsiteX21" fmla="*/ 0 w 101917"/>
                <a:gd name="connsiteY21" fmla="*/ 27622 h 62960"/>
                <a:gd name="connsiteX22" fmla="*/ 10478 w 101917"/>
                <a:gd name="connsiteY22" fmla="*/ 24860 h 62960"/>
                <a:gd name="connsiteX23" fmla="*/ 14288 w 101917"/>
                <a:gd name="connsiteY23" fmla="*/ 17240 h 62960"/>
                <a:gd name="connsiteX24" fmla="*/ 10478 w 101917"/>
                <a:gd name="connsiteY24" fmla="*/ 0 h 6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1917" h="62960">
                  <a:moveTo>
                    <a:pt x="10478" y="0"/>
                  </a:moveTo>
                  <a:lnTo>
                    <a:pt x="27622" y="2953"/>
                  </a:lnTo>
                  <a:lnTo>
                    <a:pt x="41910" y="2953"/>
                  </a:lnTo>
                  <a:lnTo>
                    <a:pt x="60007" y="6763"/>
                  </a:lnTo>
                  <a:lnTo>
                    <a:pt x="70485" y="10573"/>
                  </a:lnTo>
                  <a:lnTo>
                    <a:pt x="80963" y="17240"/>
                  </a:lnTo>
                  <a:lnTo>
                    <a:pt x="98107" y="27622"/>
                  </a:lnTo>
                  <a:lnTo>
                    <a:pt x="101917" y="35338"/>
                  </a:lnTo>
                  <a:lnTo>
                    <a:pt x="95250" y="41910"/>
                  </a:lnTo>
                  <a:lnTo>
                    <a:pt x="77153" y="38100"/>
                  </a:lnTo>
                  <a:lnTo>
                    <a:pt x="66675" y="38100"/>
                  </a:lnTo>
                  <a:lnTo>
                    <a:pt x="52388" y="41910"/>
                  </a:lnTo>
                  <a:lnTo>
                    <a:pt x="41910" y="41910"/>
                  </a:lnTo>
                  <a:lnTo>
                    <a:pt x="35242" y="35338"/>
                  </a:lnTo>
                  <a:lnTo>
                    <a:pt x="24765" y="38100"/>
                  </a:lnTo>
                  <a:lnTo>
                    <a:pt x="20955" y="48673"/>
                  </a:lnTo>
                  <a:lnTo>
                    <a:pt x="20955" y="60103"/>
                  </a:lnTo>
                  <a:lnTo>
                    <a:pt x="14288" y="62960"/>
                  </a:lnTo>
                  <a:lnTo>
                    <a:pt x="6667" y="52388"/>
                  </a:lnTo>
                  <a:lnTo>
                    <a:pt x="6667" y="45815"/>
                  </a:lnTo>
                  <a:lnTo>
                    <a:pt x="6667" y="35338"/>
                  </a:lnTo>
                  <a:lnTo>
                    <a:pt x="0" y="27622"/>
                  </a:lnTo>
                  <a:lnTo>
                    <a:pt x="10478" y="24860"/>
                  </a:lnTo>
                  <a:lnTo>
                    <a:pt x="14288" y="17240"/>
                  </a:lnTo>
                  <a:lnTo>
                    <a:pt x="1047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90" name="Freeform: Shape 3689">
              <a:extLst>
                <a:ext uri="{FF2B5EF4-FFF2-40B4-BE49-F238E27FC236}">
                  <a16:creationId xmlns:a16="http://schemas.microsoft.com/office/drawing/2014/main" id="{CCBEEBC9-5E9F-173E-D807-E4DECEE017FA}"/>
                </a:ext>
              </a:extLst>
            </p:cNvPr>
            <p:cNvSpPr/>
            <p:nvPr/>
          </p:nvSpPr>
          <p:spPr>
            <a:xfrm>
              <a:off x="4021826" y="3998345"/>
              <a:ext cx="99908" cy="61719"/>
            </a:xfrm>
            <a:custGeom>
              <a:avLst/>
              <a:gdLst>
                <a:gd name="connsiteX0" fmla="*/ 10478 w 101917"/>
                <a:gd name="connsiteY0" fmla="*/ 0 h 62960"/>
                <a:gd name="connsiteX1" fmla="*/ 27622 w 101917"/>
                <a:gd name="connsiteY1" fmla="*/ 2953 h 62960"/>
                <a:gd name="connsiteX2" fmla="*/ 41910 w 101917"/>
                <a:gd name="connsiteY2" fmla="*/ 2953 h 62960"/>
                <a:gd name="connsiteX3" fmla="*/ 60007 w 101917"/>
                <a:gd name="connsiteY3" fmla="*/ 6763 h 62960"/>
                <a:gd name="connsiteX4" fmla="*/ 70485 w 101917"/>
                <a:gd name="connsiteY4" fmla="*/ 10573 h 62960"/>
                <a:gd name="connsiteX5" fmla="*/ 80963 w 101917"/>
                <a:gd name="connsiteY5" fmla="*/ 17240 h 62960"/>
                <a:gd name="connsiteX6" fmla="*/ 98107 w 101917"/>
                <a:gd name="connsiteY6" fmla="*/ 27622 h 62960"/>
                <a:gd name="connsiteX7" fmla="*/ 101917 w 101917"/>
                <a:gd name="connsiteY7" fmla="*/ 35338 h 62960"/>
                <a:gd name="connsiteX8" fmla="*/ 95250 w 101917"/>
                <a:gd name="connsiteY8" fmla="*/ 41910 h 62960"/>
                <a:gd name="connsiteX9" fmla="*/ 77153 w 101917"/>
                <a:gd name="connsiteY9" fmla="*/ 38100 h 62960"/>
                <a:gd name="connsiteX10" fmla="*/ 66675 w 101917"/>
                <a:gd name="connsiteY10" fmla="*/ 38100 h 62960"/>
                <a:gd name="connsiteX11" fmla="*/ 52388 w 101917"/>
                <a:gd name="connsiteY11" fmla="*/ 41910 h 62960"/>
                <a:gd name="connsiteX12" fmla="*/ 41910 w 101917"/>
                <a:gd name="connsiteY12" fmla="*/ 41910 h 62960"/>
                <a:gd name="connsiteX13" fmla="*/ 35242 w 101917"/>
                <a:gd name="connsiteY13" fmla="*/ 35338 h 62960"/>
                <a:gd name="connsiteX14" fmla="*/ 24765 w 101917"/>
                <a:gd name="connsiteY14" fmla="*/ 38100 h 62960"/>
                <a:gd name="connsiteX15" fmla="*/ 20955 w 101917"/>
                <a:gd name="connsiteY15" fmla="*/ 48673 h 62960"/>
                <a:gd name="connsiteX16" fmla="*/ 20955 w 101917"/>
                <a:gd name="connsiteY16" fmla="*/ 60103 h 62960"/>
                <a:gd name="connsiteX17" fmla="*/ 14288 w 101917"/>
                <a:gd name="connsiteY17" fmla="*/ 62960 h 62960"/>
                <a:gd name="connsiteX18" fmla="*/ 6667 w 101917"/>
                <a:gd name="connsiteY18" fmla="*/ 52388 h 62960"/>
                <a:gd name="connsiteX19" fmla="*/ 6667 w 101917"/>
                <a:gd name="connsiteY19" fmla="*/ 45815 h 62960"/>
                <a:gd name="connsiteX20" fmla="*/ 6667 w 101917"/>
                <a:gd name="connsiteY20" fmla="*/ 35338 h 62960"/>
                <a:gd name="connsiteX21" fmla="*/ 0 w 101917"/>
                <a:gd name="connsiteY21" fmla="*/ 27622 h 62960"/>
                <a:gd name="connsiteX22" fmla="*/ 10478 w 101917"/>
                <a:gd name="connsiteY22" fmla="*/ 24860 h 62960"/>
                <a:gd name="connsiteX23" fmla="*/ 14288 w 101917"/>
                <a:gd name="connsiteY23" fmla="*/ 17240 h 62960"/>
                <a:gd name="connsiteX24" fmla="*/ 10478 w 101917"/>
                <a:gd name="connsiteY24" fmla="*/ 0 h 62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1917" h="62960">
                  <a:moveTo>
                    <a:pt x="10478" y="0"/>
                  </a:moveTo>
                  <a:lnTo>
                    <a:pt x="27622" y="2953"/>
                  </a:lnTo>
                  <a:lnTo>
                    <a:pt x="41910" y="2953"/>
                  </a:lnTo>
                  <a:lnTo>
                    <a:pt x="60007" y="6763"/>
                  </a:lnTo>
                  <a:lnTo>
                    <a:pt x="70485" y="10573"/>
                  </a:lnTo>
                  <a:lnTo>
                    <a:pt x="80963" y="17240"/>
                  </a:lnTo>
                  <a:lnTo>
                    <a:pt x="98107" y="27622"/>
                  </a:lnTo>
                  <a:lnTo>
                    <a:pt x="101917" y="35338"/>
                  </a:lnTo>
                  <a:lnTo>
                    <a:pt x="95250" y="41910"/>
                  </a:lnTo>
                  <a:lnTo>
                    <a:pt x="77153" y="38100"/>
                  </a:lnTo>
                  <a:lnTo>
                    <a:pt x="66675" y="38100"/>
                  </a:lnTo>
                  <a:lnTo>
                    <a:pt x="52388" y="41910"/>
                  </a:lnTo>
                  <a:lnTo>
                    <a:pt x="41910" y="41910"/>
                  </a:lnTo>
                  <a:lnTo>
                    <a:pt x="35242" y="35338"/>
                  </a:lnTo>
                  <a:lnTo>
                    <a:pt x="24765" y="38100"/>
                  </a:lnTo>
                  <a:lnTo>
                    <a:pt x="20955" y="48673"/>
                  </a:lnTo>
                  <a:lnTo>
                    <a:pt x="20955" y="60103"/>
                  </a:lnTo>
                  <a:lnTo>
                    <a:pt x="14288" y="62960"/>
                  </a:lnTo>
                  <a:lnTo>
                    <a:pt x="6667" y="52388"/>
                  </a:lnTo>
                  <a:lnTo>
                    <a:pt x="6667" y="45815"/>
                  </a:lnTo>
                  <a:lnTo>
                    <a:pt x="6667" y="35338"/>
                  </a:lnTo>
                  <a:lnTo>
                    <a:pt x="0" y="27622"/>
                  </a:lnTo>
                  <a:lnTo>
                    <a:pt x="10478" y="24860"/>
                  </a:lnTo>
                  <a:lnTo>
                    <a:pt x="14288" y="17240"/>
                  </a:lnTo>
                  <a:lnTo>
                    <a:pt x="1047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91" name="Freeform: Shape 3690">
              <a:extLst>
                <a:ext uri="{FF2B5EF4-FFF2-40B4-BE49-F238E27FC236}">
                  <a16:creationId xmlns:a16="http://schemas.microsoft.com/office/drawing/2014/main" id="{7461FB16-6AC8-D0DD-620D-25E708D6C3A2}"/>
                </a:ext>
              </a:extLst>
            </p:cNvPr>
            <p:cNvSpPr/>
            <p:nvPr/>
          </p:nvSpPr>
          <p:spPr>
            <a:xfrm>
              <a:off x="4152548" y="4032987"/>
              <a:ext cx="44818" cy="16713"/>
            </a:xfrm>
            <a:custGeom>
              <a:avLst/>
              <a:gdLst>
                <a:gd name="connsiteX0" fmla="*/ 32385 w 45719"/>
                <a:gd name="connsiteY0" fmla="*/ 0 h 17049"/>
                <a:gd name="connsiteX1" fmla="*/ 14288 w 45719"/>
                <a:gd name="connsiteY1" fmla="*/ 0 h 17049"/>
                <a:gd name="connsiteX2" fmla="*/ 0 w 45719"/>
                <a:gd name="connsiteY2" fmla="*/ 6572 h 17049"/>
                <a:gd name="connsiteX3" fmla="*/ 7620 w 45719"/>
                <a:gd name="connsiteY3" fmla="*/ 17050 h 17049"/>
                <a:gd name="connsiteX4" fmla="*/ 21907 w 45719"/>
                <a:gd name="connsiteY4" fmla="*/ 17050 h 17049"/>
                <a:gd name="connsiteX5" fmla="*/ 39053 w 45719"/>
                <a:gd name="connsiteY5" fmla="*/ 17050 h 17049"/>
                <a:gd name="connsiteX6" fmla="*/ 45720 w 45719"/>
                <a:gd name="connsiteY6" fmla="*/ 13335 h 17049"/>
                <a:gd name="connsiteX7" fmla="*/ 45720 w 45719"/>
                <a:gd name="connsiteY7" fmla="*/ 6572 h 17049"/>
                <a:gd name="connsiteX8" fmla="*/ 39053 w 45719"/>
                <a:gd name="connsiteY8" fmla="*/ 0 h 17049"/>
                <a:gd name="connsiteX9" fmla="*/ 32385 w 45719"/>
                <a:gd name="connsiteY9" fmla="*/ 0 h 17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719" h="17049">
                  <a:moveTo>
                    <a:pt x="32385" y="0"/>
                  </a:moveTo>
                  <a:lnTo>
                    <a:pt x="14288" y="0"/>
                  </a:lnTo>
                  <a:lnTo>
                    <a:pt x="0" y="6572"/>
                  </a:lnTo>
                  <a:lnTo>
                    <a:pt x="7620" y="17050"/>
                  </a:lnTo>
                  <a:lnTo>
                    <a:pt x="21907" y="17050"/>
                  </a:lnTo>
                  <a:lnTo>
                    <a:pt x="39053" y="17050"/>
                  </a:lnTo>
                  <a:lnTo>
                    <a:pt x="45720" y="13335"/>
                  </a:lnTo>
                  <a:lnTo>
                    <a:pt x="45720" y="6572"/>
                  </a:lnTo>
                  <a:lnTo>
                    <a:pt x="39053" y="0"/>
                  </a:lnTo>
                  <a:lnTo>
                    <a:pt x="32385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92" name="Freeform: Shape 3691">
              <a:extLst>
                <a:ext uri="{FF2B5EF4-FFF2-40B4-BE49-F238E27FC236}">
                  <a16:creationId xmlns:a16="http://schemas.microsoft.com/office/drawing/2014/main" id="{5A5AAD37-0678-B144-E439-A008108860C4}"/>
                </a:ext>
              </a:extLst>
            </p:cNvPr>
            <p:cNvSpPr/>
            <p:nvPr/>
          </p:nvSpPr>
          <p:spPr>
            <a:xfrm>
              <a:off x="4152548" y="4032987"/>
              <a:ext cx="44818" cy="16713"/>
            </a:xfrm>
            <a:custGeom>
              <a:avLst/>
              <a:gdLst>
                <a:gd name="connsiteX0" fmla="*/ 32385 w 45719"/>
                <a:gd name="connsiteY0" fmla="*/ 0 h 17049"/>
                <a:gd name="connsiteX1" fmla="*/ 14288 w 45719"/>
                <a:gd name="connsiteY1" fmla="*/ 0 h 17049"/>
                <a:gd name="connsiteX2" fmla="*/ 0 w 45719"/>
                <a:gd name="connsiteY2" fmla="*/ 6572 h 17049"/>
                <a:gd name="connsiteX3" fmla="*/ 7620 w 45719"/>
                <a:gd name="connsiteY3" fmla="*/ 17050 h 17049"/>
                <a:gd name="connsiteX4" fmla="*/ 21907 w 45719"/>
                <a:gd name="connsiteY4" fmla="*/ 17050 h 17049"/>
                <a:gd name="connsiteX5" fmla="*/ 39053 w 45719"/>
                <a:gd name="connsiteY5" fmla="*/ 17050 h 17049"/>
                <a:gd name="connsiteX6" fmla="*/ 45720 w 45719"/>
                <a:gd name="connsiteY6" fmla="*/ 13335 h 17049"/>
                <a:gd name="connsiteX7" fmla="*/ 45720 w 45719"/>
                <a:gd name="connsiteY7" fmla="*/ 6572 h 17049"/>
                <a:gd name="connsiteX8" fmla="*/ 39053 w 45719"/>
                <a:gd name="connsiteY8" fmla="*/ 0 h 17049"/>
                <a:gd name="connsiteX9" fmla="*/ 32385 w 45719"/>
                <a:gd name="connsiteY9" fmla="*/ 0 h 17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719" h="17049">
                  <a:moveTo>
                    <a:pt x="32385" y="0"/>
                  </a:moveTo>
                  <a:lnTo>
                    <a:pt x="14288" y="0"/>
                  </a:lnTo>
                  <a:lnTo>
                    <a:pt x="0" y="6572"/>
                  </a:lnTo>
                  <a:lnTo>
                    <a:pt x="7620" y="17050"/>
                  </a:lnTo>
                  <a:lnTo>
                    <a:pt x="21907" y="17050"/>
                  </a:lnTo>
                  <a:lnTo>
                    <a:pt x="39053" y="17050"/>
                  </a:lnTo>
                  <a:lnTo>
                    <a:pt x="45720" y="13335"/>
                  </a:lnTo>
                  <a:lnTo>
                    <a:pt x="45720" y="6572"/>
                  </a:lnTo>
                  <a:lnTo>
                    <a:pt x="39053" y="0"/>
                  </a:lnTo>
                  <a:lnTo>
                    <a:pt x="32385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93" name="Freeform: Shape 3692">
              <a:extLst>
                <a:ext uri="{FF2B5EF4-FFF2-40B4-BE49-F238E27FC236}">
                  <a16:creationId xmlns:a16="http://schemas.microsoft.com/office/drawing/2014/main" id="{DD38F93E-7377-D562-EC2F-A435039C67E0}"/>
                </a:ext>
              </a:extLst>
            </p:cNvPr>
            <p:cNvSpPr/>
            <p:nvPr/>
          </p:nvSpPr>
          <p:spPr>
            <a:xfrm>
              <a:off x="3849088" y="3842506"/>
              <a:ext cx="20541" cy="28012"/>
            </a:xfrm>
            <a:custGeom>
              <a:avLst/>
              <a:gdLst>
                <a:gd name="connsiteX0" fmla="*/ 14288 w 20954"/>
                <a:gd name="connsiteY0" fmla="*/ 6572 h 28575"/>
                <a:gd name="connsiteX1" fmla="*/ 3810 w 20954"/>
                <a:gd name="connsiteY1" fmla="*/ 0 h 28575"/>
                <a:gd name="connsiteX2" fmla="*/ 0 w 20954"/>
                <a:gd name="connsiteY2" fmla="*/ 14288 h 28575"/>
                <a:gd name="connsiteX3" fmla="*/ 10478 w 20954"/>
                <a:gd name="connsiteY3" fmla="*/ 20860 h 28575"/>
                <a:gd name="connsiteX4" fmla="*/ 17145 w 20954"/>
                <a:gd name="connsiteY4" fmla="*/ 28575 h 28575"/>
                <a:gd name="connsiteX5" fmla="*/ 20955 w 20954"/>
                <a:gd name="connsiteY5" fmla="*/ 18097 h 28575"/>
                <a:gd name="connsiteX6" fmla="*/ 14288 w 20954"/>
                <a:gd name="connsiteY6" fmla="*/ 6572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4" h="28575">
                  <a:moveTo>
                    <a:pt x="14288" y="6572"/>
                  </a:moveTo>
                  <a:lnTo>
                    <a:pt x="3810" y="0"/>
                  </a:lnTo>
                  <a:lnTo>
                    <a:pt x="0" y="14288"/>
                  </a:lnTo>
                  <a:lnTo>
                    <a:pt x="10478" y="20860"/>
                  </a:lnTo>
                  <a:lnTo>
                    <a:pt x="17145" y="28575"/>
                  </a:lnTo>
                  <a:lnTo>
                    <a:pt x="20955" y="18097"/>
                  </a:lnTo>
                  <a:lnTo>
                    <a:pt x="14288" y="657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94" name="Freeform: Shape 3693">
              <a:extLst>
                <a:ext uri="{FF2B5EF4-FFF2-40B4-BE49-F238E27FC236}">
                  <a16:creationId xmlns:a16="http://schemas.microsoft.com/office/drawing/2014/main" id="{731FAFE5-AB3B-9202-0246-7E6E7E86C768}"/>
                </a:ext>
              </a:extLst>
            </p:cNvPr>
            <p:cNvSpPr/>
            <p:nvPr/>
          </p:nvSpPr>
          <p:spPr>
            <a:xfrm>
              <a:off x="3849088" y="3842506"/>
              <a:ext cx="20541" cy="28012"/>
            </a:xfrm>
            <a:custGeom>
              <a:avLst/>
              <a:gdLst>
                <a:gd name="connsiteX0" fmla="*/ 14288 w 20954"/>
                <a:gd name="connsiteY0" fmla="*/ 6572 h 28575"/>
                <a:gd name="connsiteX1" fmla="*/ 3810 w 20954"/>
                <a:gd name="connsiteY1" fmla="*/ 0 h 28575"/>
                <a:gd name="connsiteX2" fmla="*/ 0 w 20954"/>
                <a:gd name="connsiteY2" fmla="*/ 14288 h 28575"/>
                <a:gd name="connsiteX3" fmla="*/ 10478 w 20954"/>
                <a:gd name="connsiteY3" fmla="*/ 20860 h 28575"/>
                <a:gd name="connsiteX4" fmla="*/ 17145 w 20954"/>
                <a:gd name="connsiteY4" fmla="*/ 28575 h 28575"/>
                <a:gd name="connsiteX5" fmla="*/ 20955 w 20954"/>
                <a:gd name="connsiteY5" fmla="*/ 18097 h 28575"/>
                <a:gd name="connsiteX6" fmla="*/ 14288 w 20954"/>
                <a:gd name="connsiteY6" fmla="*/ 6572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4" h="28575">
                  <a:moveTo>
                    <a:pt x="14288" y="6572"/>
                  </a:moveTo>
                  <a:lnTo>
                    <a:pt x="3810" y="0"/>
                  </a:lnTo>
                  <a:lnTo>
                    <a:pt x="0" y="14288"/>
                  </a:lnTo>
                  <a:lnTo>
                    <a:pt x="10478" y="20860"/>
                  </a:lnTo>
                  <a:lnTo>
                    <a:pt x="17145" y="28575"/>
                  </a:lnTo>
                  <a:lnTo>
                    <a:pt x="20955" y="18097"/>
                  </a:lnTo>
                  <a:lnTo>
                    <a:pt x="14288" y="657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9E7E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95" name="Freeform: Shape 3694">
              <a:extLst>
                <a:ext uri="{FF2B5EF4-FFF2-40B4-BE49-F238E27FC236}">
                  <a16:creationId xmlns:a16="http://schemas.microsoft.com/office/drawing/2014/main" id="{83A84B9E-2C3E-EB0D-8EE3-2B4C946D9610}"/>
                </a:ext>
              </a:extLst>
            </p:cNvPr>
            <p:cNvSpPr/>
            <p:nvPr/>
          </p:nvSpPr>
          <p:spPr>
            <a:xfrm>
              <a:off x="4215107" y="3621211"/>
              <a:ext cx="20542" cy="14005"/>
            </a:xfrm>
            <a:custGeom>
              <a:avLst/>
              <a:gdLst>
                <a:gd name="connsiteX0" fmla="*/ 10478 w 20955"/>
                <a:gd name="connsiteY0" fmla="*/ 0 h 14287"/>
                <a:gd name="connsiteX1" fmla="*/ 3810 w 20955"/>
                <a:gd name="connsiteY1" fmla="*/ 3715 h 14287"/>
                <a:gd name="connsiteX2" fmla="*/ 0 w 20955"/>
                <a:gd name="connsiteY2" fmla="*/ 14288 h 14287"/>
                <a:gd name="connsiteX3" fmla="*/ 14288 w 20955"/>
                <a:gd name="connsiteY3" fmla="*/ 14288 h 14287"/>
                <a:gd name="connsiteX4" fmla="*/ 20955 w 20955"/>
                <a:gd name="connsiteY4" fmla="*/ 14288 h 14287"/>
                <a:gd name="connsiteX5" fmla="*/ 10478 w 20955"/>
                <a:gd name="connsiteY5" fmla="*/ 0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14287">
                  <a:moveTo>
                    <a:pt x="10478" y="0"/>
                  </a:moveTo>
                  <a:lnTo>
                    <a:pt x="3810" y="3715"/>
                  </a:lnTo>
                  <a:lnTo>
                    <a:pt x="0" y="14288"/>
                  </a:lnTo>
                  <a:lnTo>
                    <a:pt x="14288" y="14288"/>
                  </a:lnTo>
                  <a:lnTo>
                    <a:pt x="20955" y="14288"/>
                  </a:lnTo>
                  <a:lnTo>
                    <a:pt x="1047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96" name="Freeform: Shape 3695">
              <a:extLst>
                <a:ext uri="{FF2B5EF4-FFF2-40B4-BE49-F238E27FC236}">
                  <a16:creationId xmlns:a16="http://schemas.microsoft.com/office/drawing/2014/main" id="{CEAD787A-8AC2-5FCD-EFBD-5B639E70CEE4}"/>
                </a:ext>
              </a:extLst>
            </p:cNvPr>
            <p:cNvSpPr/>
            <p:nvPr/>
          </p:nvSpPr>
          <p:spPr>
            <a:xfrm>
              <a:off x="4215107" y="3621211"/>
              <a:ext cx="20542" cy="14005"/>
            </a:xfrm>
            <a:custGeom>
              <a:avLst/>
              <a:gdLst>
                <a:gd name="connsiteX0" fmla="*/ 10478 w 20955"/>
                <a:gd name="connsiteY0" fmla="*/ 0 h 14287"/>
                <a:gd name="connsiteX1" fmla="*/ 3810 w 20955"/>
                <a:gd name="connsiteY1" fmla="*/ 3715 h 14287"/>
                <a:gd name="connsiteX2" fmla="*/ 0 w 20955"/>
                <a:gd name="connsiteY2" fmla="*/ 14288 h 14287"/>
                <a:gd name="connsiteX3" fmla="*/ 14288 w 20955"/>
                <a:gd name="connsiteY3" fmla="*/ 14288 h 14287"/>
                <a:gd name="connsiteX4" fmla="*/ 20955 w 20955"/>
                <a:gd name="connsiteY4" fmla="*/ 14288 h 14287"/>
                <a:gd name="connsiteX5" fmla="*/ 10478 w 20955"/>
                <a:gd name="connsiteY5" fmla="*/ 0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14287">
                  <a:moveTo>
                    <a:pt x="10478" y="0"/>
                  </a:moveTo>
                  <a:lnTo>
                    <a:pt x="3810" y="3715"/>
                  </a:lnTo>
                  <a:lnTo>
                    <a:pt x="0" y="14288"/>
                  </a:lnTo>
                  <a:lnTo>
                    <a:pt x="14288" y="14288"/>
                  </a:lnTo>
                  <a:lnTo>
                    <a:pt x="20955" y="14288"/>
                  </a:lnTo>
                  <a:lnTo>
                    <a:pt x="1047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97" name="Freeform: Shape 3696">
              <a:extLst>
                <a:ext uri="{FF2B5EF4-FFF2-40B4-BE49-F238E27FC236}">
                  <a16:creationId xmlns:a16="http://schemas.microsoft.com/office/drawing/2014/main" id="{B8A7A61C-9037-EF7D-462B-F62A80E5B844}"/>
                </a:ext>
              </a:extLst>
            </p:cNvPr>
            <p:cNvSpPr/>
            <p:nvPr/>
          </p:nvSpPr>
          <p:spPr>
            <a:xfrm>
              <a:off x="6719355" y="3320549"/>
              <a:ext cx="504211" cy="193282"/>
            </a:xfrm>
            <a:custGeom>
              <a:avLst/>
              <a:gdLst>
                <a:gd name="connsiteX0" fmla="*/ 18098 w 514350"/>
                <a:gd name="connsiteY0" fmla="*/ 84677 h 197167"/>
                <a:gd name="connsiteX1" fmla="*/ 0 w 514350"/>
                <a:gd name="connsiteY1" fmla="*/ 80963 h 197167"/>
                <a:gd name="connsiteX2" fmla="*/ 0 w 514350"/>
                <a:gd name="connsiteY2" fmla="*/ 74295 h 197167"/>
                <a:gd name="connsiteX3" fmla="*/ 10477 w 514350"/>
                <a:gd name="connsiteY3" fmla="*/ 60007 h 197167"/>
                <a:gd name="connsiteX4" fmla="*/ 21907 w 514350"/>
                <a:gd name="connsiteY4" fmla="*/ 56102 h 197167"/>
                <a:gd name="connsiteX5" fmla="*/ 45720 w 514350"/>
                <a:gd name="connsiteY5" fmla="*/ 60007 h 197167"/>
                <a:gd name="connsiteX6" fmla="*/ 67627 w 514350"/>
                <a:gd name="connsiteY6" fmla="*/ 60007 h 197167"/>
                <a:gd name="connsiteX7" fmla="*/ 80963 w 514350"/>
                <a:gd name="connsiteY7" fmla="*/ 60007 h 197167"/>
                <a:gd name="connsiteX8" fmla="*/ 80963 w 514350"/>
                <a:gd name="connsiteY8" fmla="*/ 49530 h 197167"/>
                <a:gd name="connsiteX9" fmla="*/ 91440 w 514350"/>
                <a:gd name="connsiteY9" fmla="*/ 45720 h 197167"/>
                <a:gd name="connsiteX10" fmla="*/ 102870 w 514350"/>
                <a:gd name="connsiteY10" fmla="*/ 45720 h 197167"/>
                <a:gd name="connsiteX11" fmla="*/ 91440 w 514350"/>
                <a:gd name="connsiteY11" fmla="*/ 38957 h 197167"/>
                <a:gd name="connsiteX12" fmla="*/ 80963 w 514350"/>
                <a:gd name="connsiteY12" fmla="*/ 38957 h 197167"/>
                <a:gd name="connsiteX13" fmla="*/ 80963 w 514350"/>
                <a:gd name="connsiteY13" fmla="*/ 28575 h 197167"/>
                <a:gd name="connsiteX14" fmla="*/ 120015 w 514350"/>
                <a:gd name="connsiteY14" fmla="*/ 31432 h 197167"/>
                <a:gd name="connsiteX15" fmla="*/ 144780 w 514350"/>
                <a:gd name="connsiteY15" fmla="*/ 31432 h 197167"/>
                <a:gd name="connsiteX16" fmla="*/ 159068 w 514350"/>
                <a:gd name="connsiteY16" fmla="*/ 18002 h 197167"/>
                <a:gd name="connsiteX17" fmla="*/ 194310 w 514350"/>
                <a:gd name="connsiteY17" fmla="*/ 0 h 197167"/>
                <a:gd name="connsiteX18" fmla="*/ 246698 w 514350"/>
                <a:gd name="connsiteY18" fmla="*/ 0 h 197167"/>
                <a:gd name="connsiteX19" fmla="*/ 257175 w 514350"/>
                <a:gd name="connsiteY19" fmla="*/ 20955 h 197167"/>
                <a:gd name="connsiteX20" fmla="*/ 271463 w 514350"/>
                <a:gd name="connsiteY20" fmla="*/ 18002 h 197167"/>
                <a:gd name="connsiteX21" fmla="*/ 281940 w 514350"/>
                <a:gd name="connsiteY21" fmla="*/ 28575 h 197167"/>
                <a:gd name="connsiteX22" fmla="*/ 296227 w 514350"/>
                <a:gd name="connsiteY22" fmla="*/ 31432 h 197167"/>
                <a:gd name="connsiteX23" fmla="*/ 320993 w 514350"/>
                <a:gd name="connsiteY23" fmla="*/ 38957 h 197167"/>
                <a:gd name="connsiteX24" fmla="*/ 352425 w 514350"/>
                <a:gd name="connsiteY24" fmla="*/ 38957 h 197167"/>
                <a:gd name="connsiteX25" fmla="*/ 383857 w 514350"/>
                <a:gd name="connsiteY25" fmla="*/ 38957 h 197167"/>
                <a:gd name="connsiteX26" fmla="*/ 412432 w 514350"/>
                <a:gd name="connsiteY26" fmla="*/ 31432 h 197167"/>
                <a:gd name="connsiteX27" fmla="*/ 426720 w 514350"/>
                <a:gd name="connsiteY27" fmla="*/ 18002 h 197167"/>
                <a:gd name="connsiteX28" fmla="*/ 437198 w 514350"/>
                <a:gd name="connsiteY28" fmla="*/ 20955 h 197167"/>
                <a:gd name="connsiteX29" fmla="*/ 443865 w 514350"/>
                <a:gd name="connsiteY29" fmla="*/ 24670 h 197167"/>
                <a:gd name="connsiteX30" fmla="*/ 447675 w 514350"/>
                <a:gd name="connsiteY30" fmla="*/ 14288 h 197167"/>
                <a:gd name="connsiteX31" fmla="*/ 461963 w 514350"/>
                <a:gd name="connsiteY31" fmla="*/ 18002 h 197167"/>
                <a:gd name="connsiteX32" fmla="*/ 472440 w 514350"/>
                <a:gd name="connsiteY32" fmla="*/ 28575 h 197167"/>
                <a:gd name="connsiteX33" fmla="*/ 482918 w 514350"/>
                <a:gd name="connsiteY33" fmla="*/ 35242 h 197167"/>
                <a:gd name="connsiteX34" fmla="*/ 482918 w 514350"/>
                <a:gd name="connsiteY34" fmla="*/ 53245 h 197167"/>
                <a:gd name="connsiteX35" fmla="*/ 482918 w 514350"/>
                <a:gd name="connsiteY35" fmla="*/ 74295 h 197167"/>
                <a:gd name="connsiteX36" fmla="*/ 503873 w 514350"/>
                <a:gd name="connsiteY36" fmla="*/ 74295 h 197167"/>
                <a:gd name="connsiteX37" fmla="*/ 514350 w 514350"/>
                <a:gd name="connsiteY37" fmla="*/ 80963 h 197167"/>
                <a:gd name="connsiteX38" fmla="*/ 500063 w 514350"/>
                <a:gd name="connsiteY38" fmla="*/ 84677 h 197167"/>
                <a:gd name="connsiteX39" fmla="*/ 497205 w 514350"/>
                <a:gd name="connsiteY39" fmla="*/ 91345 h 197167"/>
                <a:gd name="connsiteX40" fmla="*/ 500063 w 514350"/>
                <a:gd name="connsiteY40" fmla="*/ 105632 h 197167"/>
                <a:gd name="connsiteX41" fmla="*/ 503873 w 514350"/>
                <a:gd name="connsiteY41" fmla="*/ 119920 h 197167"/>
                <a:gd name="connsiteX42" fmla="*/ 507682 w 514350"/>
                <a:gd name="connsiteY42" fmla="*/ 137065 h 197167"/>
                <a:gd name="connsiteX43" fmla="*/ 514350 w 514350"/>
                <a:gd name="connsiteY43" fmla="*/ 155257 h 197167"/>
                <a:gd name="connsiteX44" fmla="*/ 510540 w 514350"/>
                <a:gd name="connsiteY44" fmla="*/ 161925 h 197167"/>
                <a:gd name="connsiteX45" fmla="*/ 497205 w 514350"/>
                <a:gd name="connsiteY45" fmla="*/ 159067 h 197167"/>
                <a:gd name="connsiteX46" fmla="*/ 461963 w 514350"/>
                <a:gd name="connsiteY46" fmla="*/ 151352 h 197167"/>
                <a:gd name="connsiteX47" fmla="*/ 443865 w 514350"/>
                <a:gd name="connsiteY47" fmla="*/ 161925 h 197167"/>
                <a:gd name="connsiteX48" fmla="*/ 398145 w 514350"/>
                <a:gd name="connsiteY48" fmla="*/ 161925 h 197167"/>
                <a:gd name="connsiteX49" fmla="*/ 377190 w 514350"/>
                <a:gd name="connsiteY49" fmla="*/ 176213 h 197167"/>
                <a:gd name="connsiteX50" fmla="*/ 345757 w 514350"/>
                <a:gd name="connsiteY50" fmla="*/ 179927 h 197167"/>
                <a:gd name="connsiteX51" fmla="*/ 335280 w 514350"/>
                <a:gd name="connsiteY51" fmla="*/ 169545 h 197167"/>
                <a:gd name="connsiteX52" fmla="*/ 324802 w 514350"/>
                <a:gd name="connsiteY52" fmla="*/ 169545 h 197167"/>
                <a:gd name="connsiteX53" fmla="*/ 320993 w 514350"/>
                <a:gd name="connsiteY53" fmla="*/ 176213 h 197167"/>
                <a:gd name="connsiteX54" fmla="*/ 300038 w 514350"/>
                <a:gd name="connsiteY54" fmla="*/ 176213 h 197167"/>
                <a:gd name="connsiteX55" fmla="*/ 289560 w 514350"/>
                <a:gd name="connsiteY55" fmla="*/ 169545 h 197167"/>
                <a:gd name="connsiteX56" fmla="*/ 285750 w 514350"/>
                <a:gd name="connsiteY56" fmla="*/ 183832 h 197167"/>
                <a:gd name="connsiteX57" fmla="*/ 271463 w 514350"/>
                <a:gd name="connsiteY57" fmla="*/ 197167 h 197167"/>
                <a:gd name="connsiteX58" fmla="*/ 267652 w 514350"/>
                <a:gd name="connsiteY58" fmla="*/ 183832 h 197167"/>
                <a:gd name="connsiteX59" fmla="*/ 275273 w 514350"/>
                <a:gd name="connsiteY59" fmla="*/ 169545 h 197167"/>
                <a:gd name="connsiteX60" fmla="*/ 264795 w 514350"/>
                <a:gd name="connsiteY60" fmla="*/ 169545 h 197167"/>
                <a:gd name="connsiteX61" fmla="*/ 257175 w 514350"/>
                <a:gd name="connsiteY61" fmla="*/ 176213 h 197167"/>
                <a:gd name="connsiteX62" fmla="*/ 232410 w 514350"/>
                <a:gd name="connsiteY62" fmla="*/ 172307 h 197167"/>
                <a:gd name="connsiteX63" fmla="*/ 225743 w 514350"/>
                <a:gd name="connsiteY63" fmla="*/ 176213 h 197167"/>
                <a:gd name="connsiteX64" fmla="*/ 211455 w 514350"/>
                <a:gd name="connsiteY64" fmla="*/ 190500 h 197167"/>
                <a:gd name="connsiteX65" fmla="*/ 194310 w 514350"/>
                <a:gd name="connsiteY65" fmla="*/ 194215 h 197167"/>
                <a:gd name="connsiteX66" fmla="*/ 176213 w 514350"/>
                <a:gd name="connsiteY66" fmla="*/ 194215 h 197167"/>
                <a:gd name="connsiteX67" fmla="*/ 161925 w 514350"/>
                <a:gd name="connsiteY67" fmla="*/ 183832 h 197167"/>
                <a:gd name="connsiteX68" fmla="*/ 140970 w 514350"/>
                <a:gd name="connsiteY68" fmla="*/ 176213 h 197167"/>
                <a:gd name="connsiteX69" fmla="*/ 126682 w 514350"/>
                <a:gd name="connsiteY69" fmla="*/ 169545 h 197167"/>
                <a:gd name="connsiteX70" fmla="*/ 116205 w 514350"/>
                <a:gd name="connsiteY70" fmla="*/ 172307 h 197167"/>
                <a:gd name="connsiteX71" fmla="*/ 120015 w 514350"/>
                <a:gd name="connsiteY71" fmla="*/ 183832 h 197167"/>
                <a:gd name="connsiteX72" fmla="*/ 116205 w 514350"/>
                <a:gd name="connsiteY72" fmla="*/ 190500 h 197167"/>
                <a:gd name="connsiteX73" fmla="*/ 88582 w 514350"/>
                <a:gd name="connsiteY73" fmla="*/ 190500 h 197167"/>
                <a:gd name="connsiteX74" fmla="*/ 70485 w 514350"/>
                <a:gd name="connsiteY74" fmla="*/ 176213 h 197167"/>
                <a:gd name="connsiteX75" fmla="*/ 60007 w 514350"/>
                <a:gd name="connsiteY75" fmla="*/ 169545 h 197167"/>
                <a:gd name="connsiteX76" fmla="*/ 35243 w 514350"/>
                <a:gd name="connsiteY76" fmla="*/ 161925 h 197167"/>
                <a:gd name="connsiteX77" fmla="*/ 28575 w 514350"/>
                <a:gd name="connsiteY77" fmla="*/ 148495 h 197167"/>
                <a:gd name="connsiteX78" fmla="*/ 28575 w 514350"/>
                <a:gd name="connsiteY78" fmla="*/ 137065 h 197167"/>
                <a:gd name="connsiteX79" fmla="*/ 10477 w 514350"/>
                <a:gd name="connsiteY79" fmla="*/ 130492 h 197167"/>
                <a:gd name="connsiteX80" fmla="*/ 18098 w 514350"/>
                <a:gd name="connsiteY80" fmla="*/ 119920 h 197167"/>
                <a:gd name="connsiteX81" fmla="*/ 24765 w 514350"/>
                <a:gd name="connsiteY81" fmla="*/ 109538 h 197167"/>
                <a:gd name="connsiteX82" fmla="*/ 21907 w 514350"/>
                <a:gd name="connsiteY82" fmla="*/ 95250 h 197167"/>
                <a:gd name="connsiteX83" fmla="*/ 18098 w 514350"/>
                <a:gd name="connsiteY83" fmla="*/ 84677 h 19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514350" h="197167">
                  <a:moveTo>
                    <a:pt x="18098" y="84677"/>
                  </a:moveTo>
                  <a:lnTo>
                    <a:pt x="0" y="80963"/>
                  </a:lnTo>
                  <a:lnTo>
                    <a:pt x="0" y="74295"/>
                  </a:lnTo>
                  <a:lnTo>
                    <a:pt x="10477" y="60007"/>
                  </a:lnTo>
                  <a:lnTo>
                    <a:pt x="21907" y="56102"/>
                  </a:lnTo>
                  <a:lnTo>
                    <a:pt x="45720" y="60007"/>
                  </a:lnTo>
                  <a:lnTo>
                    <a:pt x="67627" y="60007"/>
                  </a:lnTo>
                  <a:lnTo>
                    <a:pt x="80963" y="60007"/>
                  </a:lnTo>
                  <a:lnTo>
                    <a:pt x="80963" y="49530"/>
                  </a:lnTo>
                  <a:lnTo>
                    <a:pt x="91440" y="45720"/>
                  </a:lnTo>
                  <a:lnTo>
                    <a:pt x="102870" y="45720"/>
                  </a:lnTo>
                  <a:lnTo>
                    <a:pt x="91440" y="38957"/>
                  </a:lnTo>
                  <a:lnTo>
                    <a:pt x="80963" y="38957"/>
                  </a:lnTo>
                  <a:lnTo>
                    <a:pt x="80963" y="28575"/>
                  </a:lnTo>
                  <a:lnTo>
                    <a:pt x="120015" y="31432"/>
                  </a:lnTo>
                  <a:lnTo>
                    <a:pt x="144780" y="31432"/>
                  </a:lnTo>
                  <a:lnTo>
                    <a:pt x="159068" y="18002"/>
                  </a:lnTo>
                  <a:lnTo>
                    <a:pt x="194310" y="0"/>
                  </a:lnTo>
                  <a:lnTo>
                    <a:pt x="246698" y="0"/>
                  </a:lnTo>
                  <a:lnTo>
                    <a:pt x="257175" y="20955"/>
                  </a:lnTo>
                  <a:lnTo>
                    <a:pt x="271463" y="18002"/>
                  </a:lnTo>
                  <a:lnTo>
                    <a:pt x="281940" y="28575"/>
                  </a:lnTo>
                  <a:lnTo>
                    <a:pt x="296227" y="31432"/>
                  </a:lnTo>
                  <a:lnTo>
                    <a:pt x="320993" y="38957"/>
                  </a:lnTo>
                  <a:lnTo>
                    <a:pt x="352425" y="38957"/>
                  </a:lnTo>
                  <a:lnTo>
                    <a:pt x="383857" y="38957"/>
                  </a:lnTo>
                  <a:lnTo>
                    <a:pt x="412432" y="31432"/>
                  </a:lnTo>
                  <a:lnTo>
                    <a:pt x="426720" y="18002"/>
                  </a:lnTo>
                  <a:lnTo>
                    <a:pt x="437198" y="20955"/>
                  </a:lnTo>
                  <a:lnTo>
                    <a:pt x="443865" y="24670"/>
                  </a:lnTo>
                  <a:lnTo>
                    <a:pt x="447675" y="14288"/>
                  </a:lnTo>
                  <a:lnTo>
                    <a:pt x="461963" y="18002"/>
                  </a:lnTo>
                  <a:lnTo>
                    <a:pt x="472440" y="28575"/>
                  </a:lnTo>
                  <a:lnTo>
                    <a:pt x="482918" y="35242"/>
                  </a:lnTo>
                  <a:lnTo>
                    <a:pt x="482918" y="53245"/>
                  </a:lnTo>
                  <a:lnTo>
                    <a:pt x="482918" y="74295"/>
                  </a:lnTo>
                  <a:lnTo>
                    <a:pt x="503873" y="74295"/>
                  </a:lnTo>
                  <a:lnTo>
                    <a:pt x="514350" y="80963"/>
                  </a:lnTo>
                  <a:lnTo>
                    <a:pt x="500063" y="84677"/>
                  </a:lnTo>
                  <a:lnTo>
                    <a:pt x="497205" y="91345"/>
                  </a:lnTo>
                  <a:lnTo>
                    <a:pt x="500063" y="105632"/>
                  </a:lnTo>
                  <a:lnTo>
                    <a:pt x="503873" y="119920"/>
                  </a:lnTo>
                  <a:lnTo>
                    <a:pt x="507682" y="137065"/>
                  </a:lnTo>
                  <a:lnTo>
                    <a:pt x="514350" y="155257"/>
                  </a:lnTo>
                  <a:lnTo>
                    <a:pt x="510540" y="161925"/>
                  </a:lnTo>
                  <a:lnTo>
                    <a:pt x="497205" y="159067"/>
                  </a:lnTo>
                  <a:lnTo>
                    <a:pt x="461963" y="151352"/>
                  </a:lnTo>
                  <a:lnTo>
                    <a:pt x="443865" y="161925"/>
                  </a:lnTo>
                  <a:lnTo>
                    <a:pt x="398145" y="161925"/>
                  </a:lnTo>
                  <a:lnTo>
                    <a:pt x="377190" y="176213"/>
                  </a:lnTo>
                  <a:lnTo>
                    <a:pt x="345757" y="179927"/>
                  </a:lnTo>
                  <a:lnTo>
                    <a:pt x="335280" y="169545"/>
                  </a:lnTo>
                  <a:lnTo>
                    <a:pt x="324802" y="169545"/>
                  </a:lnTo>
                  <a:lnTo>
                    <a:pt x="320993" y="176213"/>
                  </a:lnTo>
                  <a:lnTo>
                    <a:pt x="300038" y="176213"/>
                  </a:lnTo>
                  <a:lnTo>
                    <a:pt x="289560" y="169545"/>
                  </a:lnTo>
                  <a:lnTo>
                    <a:pt x="285750" y="183832"/>
                  </a:lnTo>
                  <a:lnTo>
                    <a:pt x="271463" y="197167"/>
                  </a:lnTo>
                  <a:lnTo>
                    <a:pt x="267652" y="183832"/>
                  </a:lnTo>
                  <a:lnTo>
                    <a:pt x="275273" y="169545"/>
                  </a:lnTo>
                  <a:lnTo>
                    <a:pt x="264795" y="169545"/>
                  </a:lnTo>
                  <a:lnTo>
                    <a:pt x="257175" y="176213"/>
                  </a:lnTo>
                  <a:lnTo>
                    <a:pt x="232410" y="172307"/>
                  </a:lnTo>
                  <a:lnTo>
                    <a:pt x="225743" y="176213"/>
                  </a:lnTo>
                  <a:lnTo>
                    <a:pt x="211455" y="190500"/>
                  </a:lnTo>
                  <a:lnTo>
                    <a:pt x="194310" y="194215"/>
                  </a:lnTo>
                  <a:lnTo>
                    <a:pt x="176213" y="194215"/>
                  </a:lnTo>
                  <a:lnTo>
                    <a:pt x="161925" y="183832"/>
                  </a:lnTo>
                  <a:lnTo>
                    <a:pt x="140970" y="176213"/>
                  </a:lnTo>
                  <a:lnTo>
                    <a:pt x="126682" y="169545"/>
                  </a:lnTo>
                  <a:lnTo>
                    <a:pt x="116205" y="172307"/>
                  </a:lnTo>
                  <a:lnTo>
                    <a:pt x="120015" y="183832"/>
                  </a:lnTo>
                  <a:lnTo>
                    <a:pt x="116205" y="190500"/>
                  </a:lnTo>
                  <a:lnTo>
                    <a:pt x="88582" y="190500"/>
                  </a:lnTo>
                  <a:lnTo>
                    <a:pt x="70485" y="176213"/>
                  </a:lnTo>
                  <a:lnTo>
                    <a:pt x="60007" y="169545"/>
                  </a:lnTo>
                  <a:lnTo>
                    <a:pt x="35243" y="161925"/>
                  </a:lnTo>
                  <a:lnTo>
                    <a:pt x="28575" y="148495"/>
                  </a:lnTo>
                  <a:lnTo>
                    <a:pt x="28575" y="137065"/>
                  </a:lnTo>
                  <a:lnTo>
                    <a:pt x="10477" y="130492"/>
                  </a:lnTo>
                  <a:lnTo>
                    <a:pt x="18098" y="119920"/>
                  </a:lnTo>
                  <a:lnTo>
                    <a:pt x="24765" y="109538"/>
                  </a:lnTo>
                  <a:lnTo>
                    <a:pt x="21907" y="95250"/>
                  </a:lnTo>
                  <a:lnTo>
                    <a:pt x="18098" y="84677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98" name="Freeform: Shape 3697">
              <a:extLst>
                <a:ext uri="{FF2B5EF4-FFF2-40B4-BE49-F238E27FC236}">
                  <a16:creationId xmlns:a16="http://schemas.microsoft.com/office/drawing/2014/main" id="{931AAC38-2CDC-97B4-41BC-C63ED0F0D813}"/>
                </a:ext>
              </a:extLst>
            </p:cNvPr>
            <p:cNvSpPr/>
            <p:nvPr/>
          </p:nvSpPr>
          <p:spPr>
            <a:xfrm>
              <a:off x="6574629" y="2746304"/>
              <a:ext cx="200750" cy="93373"/>
            </a:xfrm>
            <a:custGeom>
              <a:avLst/>
              <a:gdLst>
                <a:gd name="connsiteX0" fmla="*/ 45720 w 204787"/>
                <a:gd name="connsiteY0" fmla="*/ 21907 h 95250"/>
                <a:gd name="connsiteX1" fmla="*/ 63818 w 204787"/>
                <a:gd name="connsiteY1" fmla="*/ 32290 h 95250"/>
                <a:gd name="connsiteX2" fmla="*/ 80963 w 204787"/>
                <a:gd name="connsiteY2" fmla="*/ 42863 h 95250"/>
                <a:gd name="connsiteX3" fmla="*/ 95250 w 204787"/>
                <a:gd name="connsiteY3" fmla="*/ 32290 h 95250"/>
                <a:gd name="connsiteX4" fmla="*/ 99060 w 204787"/>
                <a:gd name="connsiteY4" fmla="*/ 14288 h 95250"/>
                <a:gd name="connsiteX5" fmla="*/ 99060 w 204787"/>
                <a:gd name="connsiteY5" fmla="*/ 0 h 95250"/>
                <a:gd name="connsiteX6" fmla="*/ 120015 w 204787"/>
                <a:gd name="connsiteY6" fmla="*/ 0 h 95250"/>
                <a:gd name="connsiteX7" fmla="*/ 140970 w 204787"/>
                <a:gd name="connsiteY7" fmla="*/ 7620 h 95250"/>
                <a:gd name="connsiteX8" fmla="*/ 155257 w 204787"/>
                <a:gd name="connsiteY8" fmla="*/ 11430 h 95250"/>
                <a:gd name="connsiteX9" fmla="*/ 180023 w 204787"/>
                <a:gd name="connsiteY9" fmla="*/ 14288 h 95250"/>
                <a:gd name="connsiteX10" fmla="*/ 182880 w 204787"/>
                <a:gd name="connsiteY10" fmla="*/ 21907 h 95250"/>
                <a:gd name="connsiteX11" fmla="*/ 190500 w 204787"/>
                <a:gd name="connsiteY11" fmla="*/ 35242 h 95250"/>
                <a:gd name="connsiteX12" fmla="*/ 197168 w 204787"/>
                <a:gd name="connsiteY12" fmla="*/ 63817 h 95250"/>
                <a:gd name="connsiteX13" fmla="*/ 204788 w 204787"/>
                <a:gd name="connsiteY13" fmla="*/ 74295 h 95250"/>
                <a:gd name="connsiteX14" fmla="*/ 182880 w 204787"/>
                <a:gd name="connsiteY14" fmla="*/ 88582 h 95250"/>
                <a:gd name="connsiteX15" fmla="*/ 158115 w 204787"/>
                <a:gd name="connsiteY15" fmla="*/ 95250 h 95250"/>
                <a:gd name="connsiteX16" fmla="*/ 109538 w 204787"/>
                <a:gd name="connsiteY16" fmla="*/ 63817 h 95250"/>
                <a:gd name="connsiteX17" fmla="*/ 18098 w 204787"/>
                <a:gd name="connsiteY17" fmla="*/ 67532 h 95250"/>
                <a:gd name="connsiteX18" fmla="*/ 0 w 204787"/>
                <a:gd name="connsiteY18" fmla="*/ 71438 h 95250"/>
                <a:gd name="connsiteX19" fmla="*/ 0 w 204787"/>
                <a:gd name="connsiteY19" fmla="*/ 53245 h 95250"/>
                <a:gd name="connsiteX20" fmla="*/ 14288 w 204787"/>
                <a:gd name="connsiteY20" fmla="*/ 35242 h 95250"/>
                <a:gd name="connsiteX21" fmla="*/ 24765 w 204787"/>
                <a:gd name="connsiteY21" fmla="*/ 18002 h 95250"/>
                <a:gd name="connsiteX22" fmla="*/ 45720 w 204787"/>
                <a:gd name="connsiteY22" fmla="*/ 21907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04787" h="95250">
                  <a:moveTo>
                    <a:pt x="45720" y="21907"/>
                  </a:moveTo>
                  <a:lnTo>
                    <a:pt x="63818" y="32290"/>
                  </a:lnTo>
                  <a:lnTo>
                    <a:pt x="80963" y="42863"/>
                  </a:lnTo>
                  <a:lnTo>
                    <a:pt x="95250" y="32290"/>
                  </a:lnTo>
                  <a:lnTo>
                    <a:pt x="99060" y="14288"/>
                  </a:lnTo>
                  <a:lnTo>
                    <a:pt x="99060" y="0"/>
                  </a:lnTo>
                  <a:lnTo>
                    <a:pt x="120015" y="0"/>
                  </a:lnTo>
                  <a:lnTo>
                    <a:pt x="140970" y="7620"/>
                  </a:lnTo>
                  <a:lnTo>
                    <a:pt x="155257" y="11430"/>
                  </a:lnTo>
                  <a:lnTo>
                    <a:pt x="180023" y="14288"/>
                  </a:lnTo>
                  <a:lnTo>
                    <a:pt x="182880" y="21907"/>
                  </a:lnTo>
                  <a:lnTo>
                    <a:pt x="190500" y="35242"/>
                  </a:lnTo>
                  <a:lnTo>
                    <a:pt x="197168" y="63817"/>
                  </a:lnTo>
                  <a:lnTo>
                    <a:pt x="204788" y="74295"/>
                  </a:lnTo>
                  <a:lnTo>
                    <a:pt x="182880" y="88582"/>
                  </a:lnTo>
                  <a:lnTo>
                    <a:pt x="158115" y="95250"/>
                  </a:lnTo>
                  <a:lnTo>
                    <a:pt x="109538" y="63817"/>
                  </a:lnTo>
                  <a:lnTo>
                    <a:pt x="18098" y="67532"/>
                  </a:lnTo>
                  <a:lnTo>
                    <a:pt x="0" y="71438"/>
                  </a:lnTo>
                  <a:lnTo>
                    <a:pt x="0" y="53245"/>
                  </a:lnTo>
                  <a:lnTo>
                    <a:pt x="14288" y="35242"/>
                  </a:lnTo>
                  <a:lnTo>
                    <a:pt x="24765" y="18002"/>
                  </a:lnTo>
                  <a:lnTo>
                    <a:pt x="45720" y="21907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99" name="Freeform: Shape 3698">
              <a:extLst>
                <a:ext uri="{FF2B5EF4-FFF2-40B4-BE49-F238E27FC236}">
                  <a16:creationId xmlns:a16="http://schemas.microsoft.com/office/drawing/2014/main" id="{6AEAC3E4-7929-CD39-27F1-10127A906CFE}"/>
                </a:ext>
              </a:extLst>
            </p:cNvPr>
            <p:cNvSpPr/>
            <p:nvPr/>
          </p:nvSpPr>
          <p:spPr>
            <a:xfrm>
              <a:off x="6574629" y="2808864"/>
              <a:ext cx="154997" cy="93373"/>
            </a:xfrm>
            <a:custGeom>
              <a:avLst/>
              <a:gdLst>
                <a:gd name="connsiteX0" fmla="*/ 0 w 158114"/>
                <a:gd name="connsiteY0" fmla="*/ 7620 h 95250"/>
                <a:gd name="connsiteX1" fmla="*/ 18098 w 158114"/>
                <a:gd name="connsiteY1" fmla="*/ 3715 h 95250"/>
                <a:gd name="connsiteX2" fmla="*/ 109538 w 158114"/>
                <a:gd name="connsiteY2" fmla="*/ 0 h 95250"/>
                <a:gd name="connsiteX3" fmla="*/ 158115 w 158114"/>
                <a:gd name="connsiteY3" fmla="*/ 31433 h 95250"/>
                <a:gd name="connsiteX4" fmla="*/ 158115 w 158114"/>
                <a:gd name="connsiteY4" fmla="*/ 53340 h 95250"/>
                <a:gd name="connsiteX5" fmla="*/ 134302 w 158114"/>
                <a:gd name="connsiteY5" fmla="*/ 60008 h 95250"/>
                <a:gd name="connsiteX6" fmla="*/ 130493 w 158114"/>
                <a:gd name="connsiteY6" fmla="*/ 88583 h 95250"/>
                <a:gd name="connsiteX7" fmla="*/ 101918 w 158114"/>
                <a:gd name="connsiteY7" fmla="*/ 91440 h 95250"/>
                <a:gd name="connsiteX8" fmla="*/ 66675 w 158114"/>
                <a:gd name="connsiteY8" fmla="*/ 95250 h 95250"/>
                <a:gd name="connsiteX9" fmla="*/ 49530 w 158114"/>
                <a:gd name="connsiteY9" fmla="*/ 78010 h 95250"/>
                <a:gd name="connsiteX10" fmla="*/ 53340 w 158114"/>
                <a:gd name="connsiteY10" fmla="*/ 60008 h 95250"/>
                <a:gd name="connsiteX11" fmla="*/ 35243 w 158114"/>
                <a:gd name="connsiteY11" fmla="*/ 53340 h 95250"/>
                <a:gd name="connsiteX12" fmla="*/ 6668 w 158114"/>
                <a:gd name="connsiteY12" fmla="*/ 45720 h 95250"/>
                <a:gd name="connsiteX13" fmla="*/ 0 w 158114"/>
                <a:gd name="connsiteY13" fmla="*/ 7620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8114" h="95250">
                  <a:moveTo>
                    <a:pt x="0" y="7620"/>
                  </a:moveTo>
                  <a:lnTo>
                    <a:pt x="18098" y="3715"/>
                  </a:lnTo>
                  <a:lnTo>
                    <a:pt x="109538" y="0"/>
                  </a:lnTo>
                  <a:lnTo>
                    <a:pt x="158115" y="31433"/>
                  </a:lnTo>
                  <a:lnTo>
                    <a:pt x="158115" y="53340"/>
                  </a:lnTo>
                  <a:lnTo>
                    <a:pt x="134302" y="60008"/>
                  </a:lnTo>
                  <a:lnTo>
                    <a:pt x="130493" y="88583"/>
                  </a:lnTo>
                  <a:lnTo>
                    <a:pt x="101918" y="91440"/>
                  </a:lnTo>
                  <a:lnTo>
                    <a:pt x="66675" y="95250"/>
                  </a:lnTo>
                  <a:lnTo>
                    <a:pt x="49530" y="78010"/>
                  </a:lnTo>
                  <a:lnTo>
                    <a:pt x="53340" y="60008"/>
                  </a:lnTo>
                  <a:lnTo>
                    <a:pt x="35243" y="53340"/>
                  </a:lnTo>
                  <a:lnTo>
                    <a:pt x="6668" y="45720"/>
                  </a:lnTo>
                  <a:lnTo>
                    <a:pt x="0" y="762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00" name="Freeform: Shape 3699">
              <a:extLst>
                <a:ext uri="{FF2B5EF4-FFF2-40B4-BE49-F238E27FC236}">
                  <a16:creationId xmlns:a16="http://schemas.microsoft.com/office/drawing/2014/main" id="{2E343306-E35D-1666-680A-8C62E8069F87}"/>
                </a:ext>
              </a:extLst>
            </p:cNvPr>
            <p:cNvSpPr/>
            <p:nvPr/>
          </p:nvSpPr>
          <p:spPr>
            <a:xfrm>
              <a:off x="6536346" y="2853683"/>
              <a:ext cx="90571" cy="34548"/>
            </a:xfrm>
            <a:custGeom>
              <a:avLst/>
              <a:gdLst>
                <a:gd name="connsiteX0" fmla="*/ 0 w 92392"/>
                <a:gd name="connsiteY0" fmla="*/ 20955 h 35242"/>
                <a:gd name="connsiteX1" fmla="*/ 7620 w 92392"/>
                <a:gd name="connsiteY1" fmla="*/ 35242 h 35242"/>
                <a:gd name="connsiteX2" fmla="*/ 88582 w 92392"/>
                <a:gd name="connsiteY2" fmla="*/ 32290 h 35242"/>
                <a:gd name="connsiteX3" fmla="*/ 92392 w 92392"/>
                <a:gd name="connsiteY3" fmla="*/ 14288 h 35242"/>
                <a:gd name="connsiteX4" fmla="*/ 53340 w 92392"/>
                <a:gd name="connsiteY4" fmla="*/ 0 h 35242"/>
                <a:gd name="connsiteX5" fmla="*/ 42863 w 92392"/>
                <a:gd name="connsiteY5" fmla="*/ 14288 h 35242"/>
                <a:gd name="connsiteX6" fmla="*/ 14288 w 92392"/>
                <a:gd name="connsiteY6" fmla="*/ 10382 h 35242"/>
                <a:gd name="connsiteX7" fmla="*/ 10477 w 92392"/>
                <a:gd name="connsiteY7" fmla="*/ 20955 h 35242"/>
                <a:gd name="connsiteX8" fmla="*/ 0 w 92392"/>
                <a:gd name="connsiteY8" fmla="*/ 20955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392" h="35242">
                  <a:moveTo>
                    <a:pt x="0" y="20955"/>
                  </a:moveTo>
                  <a:lnTo>
                    <a:pt x="7620" y="35242"/>
                  </a:lnTo>
                  <a:lnTo>
                    <a:pt x="88582" y="32290"/>
                  </a:lnTo>
                  <a:lnTo>
                    <a:pt x="92392" y="14288"/>
                  </a:lnTo>
                  <a:lnTo>
                    <a:pt x="53340" y="0"/>
                  </a:lnTo>
                  <a:lnTo>
                    <a:pt x="42863" y="14288"/>
                  </a:lnTo>
                  <a:lnTo>
                    <a:pt x="14288" y="10382"/>
                  </a:lnTo>
                  <a:lnTo>
                    <a:pt x="10477" y="20955"/>
                  </a:lnTo>
                  <a:lnTo>
                    <a:pt x="0" y="2095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01" name="Freeform: Shape 3700">
              <a:extLst>
                <a:ext uri="{FF2B5EF4-FFF2-40B4-BE49-F238E27FC236}">
                  <a16:creationId xmlns:a16="http://schemas.microsoft.com/office/drawing/2014/main" id="{563AEDED-84EB-3EAF-1AF1-1AB474C65C78}"/>
                </a:ext>
              </a:extLst>
            </p:cNvPr>
            <p:cNvSpPr/>
            <p:nvPr/>
          </p:nvSpPr>
          <p:spPr>
            <a:xfrm>
              <a:off x="6536346" y="2853683"/>
              <a:ext cx="90571" cy="34548"/>
            </a:xfrm>
            <a:custGeom>
              <a:avLst/>
              <a:gdLst>
                <a:gd name="connsiteX0" fmla="*/ 0 w 92392"/>
                <a:gd name="connsiteY0" fmla="*/ 20955 h 35242"/>
                <a:gd name="connsiteX1" fmla="*/ 7620 w 92392"/>
                <a:gd name="connsiteY1" fmla="*/ 35242 h 35242"/>
                <a:gd name="connsiteX2" fmla="*/ 88582 w 92392"/>
                <a:gd name="connsiteY2" fmla="*/ 32290 h 35242"/>
                <a:gd name="connsiteX3" fmla="*/ 92392 w 92392"/>
                <a:gd name="connsiteY3" fmla="*/ 14288 h 35242"/>
                <a:gd name="connsiteX4" fmla="*/ 53340 w 92392"/>
                <a:gd name="connsiteY4" fmla="*/ 0 h 35242"/>
                <a:gd name="connsiteX5" fmla="*/ 42863 w 92392"/>
                <a:gd name="connsiteY5" fmla="*/ 14288 h 35242"/>
                <a:gd name="connsiteX6" fmla="*/ 14288 w 92392"/>
                <a:gd name="connsiteY6" fmla="*/ 10382 h 35242"/>
                <a:gd name="connsiteX7" fmla="*/ 10477 w 92392"/>
                <a:gd name="connsiteY7" fmla="*/ 20955 h 35242"/>
                <a:gd name="connsiteX8" fmla="*/ 0 w 92392"/>
                <a:gd name="connsiteY8" fmla="*/ 20955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2392" h="35242">
                  <a:moveTo>
                    <a:pt x="0" y="20955"/>
                  </a:moveTo>
                  <a:lnTo>
                    <a:pt x="7620" y="35242"/>
                  </a:lnTo>
                  <a:lnTo>
                    <a:pt x="88582" y="32290"/>
                  </a:lnTo>
                  <a:lnTo>
                    <a:pt x="92392" y="14288"/>
                  </a:lnTo>
                  <a:lnTo>
                    <a:pt x="53340" y="0"/>
                  </a:lnTo>
                  <a:lnTo>
                    <a:pt x="42863" y="14288"/>
                  </a:lnTo>
                  <a:lnTo>
                    <a:pt x="14288" y="10382"/>
                  </a:lnTo>
                  <a:lnTo>
                    <a:pt x="10477" y="20955"/>
                  </a:lnTo>
                  <a:lnTo>
                    <a:pt x="0" y="2095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02" name="Freeform: Shape 3701">
              <a:extLst>
                <a:ext uri="{FF2B5EF4-FFF2-40B4-BE49-F238E27FC236}">
                  <a16:creationId xmlns:a16="http://schemas.microsoft.com/office/drawing/2014/main" id="{216B7190-D0A9-6F90-FA08-D084B305972C}"/>
                </a:ext>
              </a:extLst>
            </p:cNvPr>
            <p:cNvSpPr/>
            <p:nvPr/>
          </p:nvSpPr>
          <p:spPr>
            <a:xfrm>
              <a:off x="6637189" y="2819135"/>
              <a:ext cx="258641" cy="182917"/>
            </a:xfrm>
            <a:custGeom>
              <a:avLst/>
              <a:gdLst>
                <a:gd name="connsiteX0" fmla="*/ 2857 w 263842"/>
                <a:gd name="connsiteY0" fmla="*/ 84773 h 186594"/>
                <a:gd name="connsiteX1" fmla="*/ 41910 w 263842"/>
                <a:gd name="connsiteY1" fmla="*/ 78105 h 186594"/>
                <a:gd name="connsiteX2" fmla="*/ 66675 w 263842"/>
                <a:gd name="connsiteY2" fmla="*/ 78105 h 186594"/>
                <a:gd name="connsiteX3" fmla="*/ 70485 w 263842"/>
                <a:gd name="connsiteY3" fmla="*/ 49530 h 186594"/>
                <a:gd name="connsiteX4" fmla="*/ 94297 w 263842"/>
                <a:gd name="connsiteY4" fmla="*/ 42863 h 186594"/>
                <a:gd name="connsiteX5" fmla="*/ 94297 w 263842"/>
                <a:gd name="connsiteY5" fmla="*/ 20955 h 186594"/>
                <a:gd name="connsiteX6" fmla="*/ 119063 w 263842"/>
                <a:gd name="connsiteY6" fmla="*/ 14288 h 186594"/>
                <a:gd name="connsiteX7" fmla="*/ 140970 w 263842"/>
                <a:gd name="connsiteY7" fmla="*/ 0 h 186594"/>
                <a:gd name="connsiteX8" fmla="*/ 172402 w 263842"/>
                <a:gd name="connsiteY8" fmla="*/ 7525 h 186594"/>
                <a:gd name="connsiteX9" fmla="*/ 172402 w 263842"/>
                <a:gd name="connsiteY9" fmla="*/ 18098 h 186594"/>
                <a:gd name="connsiteX10" fmla="*/ 207645 w 263842"/>
                <a:gd name="connsiteY10" fmla="*/ 20955 h 186594"/>
                <a:gd name="connsiteX11" fmla="*/ 214313 w 263842"/>
                <a:gd name="connsiteY11" fmla="*/ 59912 h 186594"/>
                <a:gd name="connsiteX12" fmla="*/ 263843 w 263842"/>
                <a:gd name="connsiteY12" fmla="*/ 113348 h 186594"/>
                <a:gd name="connsiteX13" fmla="*/ 260032 w 263842"/>
                <a:gd name="connsiteY13" fmla="*/ 116205 h 186594"/>
                <a:gd name="connsiteX14" fmla="*/ 228600 w 263842"/>
                <a:gd name="connsiteY14" fmla="*/ 116205 h 186594"/>
                <a:gd name="connsiteX15" fmla="*/ 228600 w 263842"/>
                <a:gd name="connsiteY15" fmla="*/ 151448 h 186594"/>
                <a:gd name="connsiteX16" fmla="*/ 207645 w 263842"/>
                <a:gd name="connsiteY16" fmla="*/ 155162 h 186594"/>
                <a:gd name="connsiteX17" fmla="*/ 200025 w 263842"/>
                <a:gd name="connsiteY17" fmla="*/ 186595 h 186594"/>
                <a:gd name="connsiteX18" fmla="*/ 164782 w 263842"/>
                <a:gd name="connsiteY18" fmla="*/ 183737 h 186594"/>
                <a:gd name="connsiteX19" fmla="*/ 161925 w 263842"/>
                <a:gd name="connsiteY19" fmla="*/ 173355 h 186594"/>
                <a:gd name="connsiteX20" fmla="*/ 112395 w 263842"/>
                <a:gd name="connsiteY20" fmla="*/ 173355 h 186594"/>
                <a:gd name="connsiteX21" fmla="*/ 80963 w 263842"/>
                <a:gd name="connsiteY21" fmla="*/ 165735 h 186594"/>
                <a:gd name="connsiteX22" fmla="*/ 27622 w 263842"/>
                <a:gd name="connsiteY22" fmla="*/ 155162 h 186594"/>
                <a:gd name="connsiteX23" fmla="*/ 10477 w 263842"/>
                <a:gd name="connsiteY23" fmla="*/ 180023 h 186594"/>
                <a:gd name="connsiteX24" fmla="*/ 10477 w 263842"/>
                <a:gd name="connsiteY24" fmla="*/ 155162 h 186594"/>
                <a:gd name="connsiteX25" fmla="*/ 0 w 263842"/>
                <a:gd name="connsiteY25" fmla="*/ 148495 h 186594"/>
                <a:gd name="connsiteX26" fmla="*/ 2857 w 263842"/>
                <a:gd name="connsiteY26" fmla="*/ 138113 h 186594"/>
                <a:gd name="connsiteX27" fmla="*/ 17145 w 263842"/>
                <a:gd name="connsiteY27" fmla="*/ 138113 h 186594"/>
                <a:gd name="connsiteX28" fmla="*/ 17145 w 263842"/>
                <a:gd name="connsiteY28" fmla="*/ 113348 h 186594"/>
                <a:gd name="connsiteX29" fmla="*/ 10477 w 263842"/>
                <a:gd name="connsiteY29" fmla="*/ 105632 h 186594"/>
                <a:gd name="connsiteX30" fmla="*/ 2857 w 263842"/>
                <a:gd name="connsiteY30" fmla="*/ 84773 h 186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63842" h="186594">
                  <a:moveTo>
                    <a:pt x="2857" y="84773"/>
                  </a:moveTo>
                  <a:lnTo>
                    <a:pt x="41910" y="78105"/>
                  </a:lnTo>
                  <a:lnTo>
                    <a:pt x="66675" y="78105"/>
                  </a:lnTo>
                  <a:lnTo>
                    <a:pt x="70485" y="49530"/>
                  </a:lnTo>
                  <a:lnTo>
                    <a:pt x="94297" y="42863"/>
                  </a:lnTo>
                  <a:lnTo>
                    <a:pt x="94297" y="20955"/>
                  </a:lnTo>
                  <a:lnTo>
                    <a:pt x="119063" y="14288"/>
                  </a:lnTo>
                  <a:lnTo>
                    <a:pt x="140970" y="0"/>
                  </a:lnTo>
                  <a:lnTo>
                    <a:pt x="172402" y="7525"/>
                  </a:lnTo>
                  <a:lnTo>
                    <a:pt x="172402" y="18098"/>
                  </a:lnTo>
                  <a:lnTo>
                    <a:pt x="207645" y="20955"/>
                  </a:lnTo>
                  <a:lnTo>
                    <a:pt x="214313" y="59912"/>
                  </a:lnTo>
                  <a:lnTo>
                    <a:pt x="263843" y="113348"/>
                  </a:lnTo>
                  <a:lnTo>
                    <a:pt x="260032" y="116205"/>
                  </a:lnTo>
                  <a:lnTo>
                    <a:pt x="228600" y="116205"/>
                  </a:lnTo>
                  <a:lnTo>
                    <a:pt x="228600" y="151448"/>
                  </a:lnTo>
                  <a:lnTo>
                    <a:pt x="207645" y="155162"/>
                  </a:lnTo>
                  <a:lnTo>
                    <a:pt x="200025" y="186595"/>
                  </a:lnTo>
                  <a:lnTo>
                    <a:pt x="164782" y="183737"/>
                  </a:lnTo>
                  <a:lnTo>
                    <a:pt x="161925" y="173355"/>
                  </a:lnTo>
                  <a:lnTo>
                    <a:pt x="112395" y="173355"/>
                  </a:lnTo>
                  <a:lnTo>
                    <a:pt x="80963" y="165735"/>
                  </a:lnTo>
                  <a:lnTo>
                    <a:pt x="27622" y="155162"/>
                  </a:lnTo>
                  <a:lnTo>
                    <a:pt x="10477" y="180023"/>
                  </a:lnTo>
                  <a:lnTo>
                    <a:pt x="10477" y="155162"/>
                  </a:lnTo>
                  <a:lnTo>
                    <a:pt x="0" y="148495"/>
                  </a:lnTo>
                  <a:lnTo>
                    <a:pt x="2857" y="138113"/>
                  </a:lnTo>
                  <a:lnTo>
                    <a:pt x="17145" y="138113"/>
                  </a:lnTo>
                  <a:lnTo>
                    <a:pt x="17145" y="113348"/>
                  </a:lnTo>
                  <a:lnTo>
                    <a:pt x="10477" y="105632"/>
                  </a:lnTo>
                  <a:lnTo>
                    <a:pt x="2857" y="8477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03" name="Freeform: Shape 3702">
              <a:extLst>
                <a:ext uri="{FF2B5EF4-FFF2-40B4-BE49-F238E27FC236}">
                  <a16:creationId xmlns:a16="http://schemas.microsoft.com/office/drawing/2014/main" id="{61015B46-658D-9EF4-7A63-40D10832A31D}"/>
                </a:ext>
              </a:extLst>
            </p:cNvPr>
            <p:cNvSpPr/>
            <p:nvPr/>
          </p:nvSpPr>
          <p:spPr>
            <a:xfrm>
              <a:off x="5716536" y="2888231"/>
              <a:ext cx="113913" cy="107379"/>
            </a:xfrm>
            <a:custGeom>
              <a:avLst/>
              <a:gdLst>
                <a:gd name="connsiteX0" fmla="*/ 116205 w 116204"/>
                <a:gd name="connsiteY0" fmla="*/ 45720 h 109537"/>
                <a:gd name="connsiteX1" fmla="*/ 113347 w 116204"/>
                <a:gd name="connsiteY1" fmla="*/ 78010 h 109537"/>
                <a:gd name="connsiteX2" fmla="*/ 84772 w 116204"/>
                <a:gd name="connsiteY2" fmla="*/ 84677 h 109537"/>
                <a:gd name="connsiteX3" fmla="*/ 63817 w 116204"/>
                <a:gd name="connsiteY3" fmla="*/ 92297 h 109537"/>
                <a:gd name="connsiteX4" fmla="*/ 45720 w 116204"/>
                <a:gd name="connsiteY4" fmla="*/ 102870 h 109537"/>
                <a:gd name="connsiteX5" fmla="*/ 32385 w 116204"/>
                <a:gd name="connsiteY5" fmla="*/ 109538 h 109537"/>
                <a:gd name="connsiteX6" fmla="*/ 14288 w 116204"/>
                <a:gd name="connsiteY6" fmla="*/ 102870 h 109537"/>
                <a:gd name="connsiteX7" fmla="*/ 0 w 116204"/>
                <a:gd name="connsiteY7" fmla="*/ 84677 h 109537"/>
                <a:gd name="connsiteX8" fmla="*/ 18097 w 116204"/>
                <a:gd name="connsiteY8" fmla="*/ 70390 h 109537"/>
                <a:gd name="connsiteX9" fmla="*/ 20955 w 116204"/>
                <a:gd name="connsiteY9" fmla="*/ 53340 h 109537"/>
                <a:gd name="connsiteX10" fmla="*/ 35242 w 116204"/>
                <a:gd name="connsiteY10" fmla="*/ 45720 h 109537"/>
                <a:gd name="connsiteX11" fmla="*/ 24765 w 116204"/>
                <a:gd name="connsiteY11" fmla="*/ 39052 h 109537"/>
                <a:gd name="connsiteX12" fmla="*/ 7620 w 116204"/>
                <a:gd name="connsiteY12" fmla="*/ 42863 h 109537"/>
                <a:gd name="connsiteX13" fmla="*/ 3810 w 116204"/>
                <a:gd name="connsiteY13" fmla="*/ 28575 h 109537"/>
                <a:gd name="connsiteX14" fmla="*/ 10478 w 116204"/>
                <a:gd name="connsiteY14" fmla="*/ 20860 h 109537"/>
                <a:gd name="connsiteX15" fmla="*/ 7620 w 116204"/>
                <a:gd name="connsiteY15" fmla="*/ 10477 h 109537"/>
                <a:gd name="connsiteX16" fmla="*/ 18097 w 116204"/>
                <a:gd name="connsiteY16" fmla="*/ 0 h 109537"/>
                <a:gd name="connsiteX17" fmla="*/ 35242 w 116204"/>
                <a:gd name="connsiteY17" fmla="*/ 7620 h 109537"/>
                <a:gd name="connsiteX18" fmla="*/ 49530 w 116204"/>
                <a:gd name="connsiteY18" fmla="*/ 3715 h 109537"/>
                <a:gd name="connsiteX19" fmla="*/ 63817 w 116204"/>
                <a:gd name="connsiteY19" fmla="*/ 0 h 109537"/>
                <a:gd name="connsiteX20" fmla="*/ 78105 w 116204"/>
                <a:gd name="connsiteY20" fmla="*/ 7620 h 109537"/>
                <a:gd name="connsiteX21" fmla="*/ 91440 w 116204"/>
                <a:gd name="connsiteY21" fmla="*/ 0 h 109537"/>
                <a:gd name="connsiteX22" fmla="*/ 101917 w 116204"/>
                <a:gd name="connsiteY22" fmla="*/ 10477 h 109537"/>
                <a:gd name="connsiteX23" fmla="*/ 113347 w 116204"/>
                <a:gd name="connsiteY23" fmla="*/ 20860 h 109537"/>
                <a:gd name="connsiteX24" fmla="*/ 116205 w 116204"/>
                <a:gd name="connsiteY24" fmla="*/ 45720 h 1095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16204" h="109537">
                  <a:moveTo>
                    <a:pt x="116205" y="45720"/>
                  </a:moveTo>
                  <a:lnTo>
                    <a:pt x="113347" y="78010"/>
                  </a:lnTo>
                  <a:lnTo>
                    <a:pt x="84772" y="84677"/>
                  </a:lnTo>
                  <a:lnTo>
                    <a:pt x="63817" y="92297"/>
                  </a:lnTo>
                  <a:lnTo>
                    <a:pt x="45720" y="102870"/>
                  </a:lnTo>
                  <a:lnTo>
                    <a:pt x="32385" y="109538"/>
                  </a:lnTo>
                  <a:lnTo>
                    <a:pt x="14288" y="102870"/>
                  </a:lnTo>
                  <a:lnTo>
                    <a:pt x="0" y="84677"/>
                  </a:lnTo>
                  <a:lnTo>
                    <a:pt x="18097" y="70390"/>
                  </a:lnTo>
                  <a:lnTo>
                    <a:pt x="20955" y="53340"/>
                  </a:lnTo>
                  <a:lnTo>
                    <a:pt x="35242" y="45720"/>
                  </a:lnTo>
                  <a:lnTo>
                    <a:pt x="24765" y="39052"/>
                  </a:lnTo>
                  <a:lnTo>
                    <a:pt x="7620" y="42863"/>
                  </a:lnTo>
                  <a:lnTo>
                    <a:pt x="3810" y="28575"/>
                  </a:lnTo>
                  <a:lnTo>
                    <a:pt x="10478" y="20860"/>
                  </a:lnTo>
                  <a:lnTo>
                    <a:pt x="7620" y="10477"/>
                  </a:lnTo>
                  <a:lnTo>
                    <a:pt x="18097" y="0"/>
                  </a:lnTo>
                  <a:lnTo>
                    <a:pt x="35242" y="7620"/>
                  </a:lnTo>
                  <a:lnTo>
                    <a:pt x="49530" y="3715"/>
                  </a:lnTo>
                  <a:lnTo>
                    <a:pt x="63817" y="0"/>
                  </a:lnTo>
                  <a:lnTo>
                    <a:pt x="78105" y="7620"/>
                  </a:lnTo>
                  <a:lnTo>
                    <a:pt x="91440" y="0"/>
                  </a:lnTo>
                  <a:lnTo>
                    <a:pt x="101917" y="10477"/>
                  </a:lnTo>
                  <a:lnTo>
                    <a:pt x="113347" y="20860"/>
                  </a:lnTo>
                  <a:lnTo>
                    <a:pt x="116205" y="4572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04" name="Freeform: Shape 3703">
              <a:extLst>
                <a:ext uri="{FF2B5EF4-FFF2-40B4-BE49-F238E27FC236}">
                  <a16:creationId xmlns:a16="http://schemas.microsoft.com/office/drawing/2014/main" id="{DA11641C-D0C3-5E6A-EDEA-144D8FD7C2F6}"/>
                </a:ext>
              </a:extLst>
            </p:cNvPr>
            <p:cNvSpPr/>
            <p:nvPr/>
          </p:nvSpPr>
          <p:spPr>
            <a:xfrm>
              <a:off x="5737077" y="3314013"/>
              <a:ext cx="93372" cy="165270"/>
            </a:xfrm>
            <a:custGeom>
              <a:avLst/>
              <a:gdLst>
                <a:gd name="connsiteX0" fmla="*/ 63818 w 95250"/>
                <a:gd name="connsiteY0" fmla="*/ 168593 h 168592"/>
                <a:gd name="connsiteX1" fmla="*/ 42863 w 95250"/>
                <a:gd name="connsiteY1" fmla="*/ 168593 h 168592"/>
                <a:gd name="connsiteX2" fmla="*/ 21908 w 95250"/>
                <a:gd name="connsiteY2" fmla="*/ 168593 h 168592"/>
                <a:gd name="connsiteX3" fmla="*/ 21908 w 95250"/>
                <a:gd name="connsiteY3" fmla="*/ 155162 h 168592"/>
                <a:gd name="connsiteX4" fmla="*/ 21908 w 95250"/>
                <a:gd name="connsiteY4" fmla="*/ 126587 h 168592"/>
                <a:gd name="connsiteX5" fmla="*/ 14288 w 95250"/>
                <a:gd name="connsiteY5" fmla="*/ 122873 h 168592"/>
                <a:gd name="connsiteX6" fmla="*/ 0 w 95250"/>
                <a:gd name="connsiteY6" fmla="*/ 105632 h 168592"/>
                <a:gd name="connsiteX7" fmla="*/ 14288 w 95250"/>
                <a:gd name="connsiteY7" fmla="*/ 87630 h 168592"/>
                <a:gd name="connsiteX8" fmla="*/ 18098 w 95250"/>
                <a:gd name="connsiteY8" fmla="*/ 70485 h 168592"/>
                <a:gd name="connsiteX9" fmla="*/ 24765 w 95250"/>
                <a:gd name="connsiteY9" fmla="*/ 45625 h 168592"/>
                <a:gd name="connsiteX10" fmla="*/ 21908 w 95250"/>
                <a:gd name="connsiteY10" fmla="*/ 24670 h 168592"/>
                <a:gd name="connsiteX11" fmla="*/ 24765 w 95250"/>
                <a:gd name="connsiteY11" fmla="*/ 0 h 168592"/>
                <a:gd name="connsiteX12" fmla="*/ 35243 w 95250"/>
                <a:gd name="connsiteY12" fmla="*/ 2762 h 168592"/>
                <a:gd name="connsiteX13" fmla="*/ 46673 w 95250"/>
                <a:gd name="connsiteY13" fmla="*/ 13335 h 168592"/>
                <a:gd name="connsiteX14" fmla="*/ 67628 w 95250"/>
                <a:gd name="connsiteY14" fmla="*/ 10382 h 168592"/>
                <a:gd name="connsiteX15" fmla="*/ 84773 w 95250"/>
                <a:gd name="connsiteY15" fmla="*/ 10382 h 168592"/>
                <a:gd name="connsiteX16" fmla="*/ 95250 w 95250"/>
                <a:gd name="connsiteY16" fmla="*/ 24670 h 168592"/>
                <a:gd name="connsiteX17" fmla="*/ 92393 w 95250"/>
                <a:gd name="connsiteY17" fmla="*/ 35243 h 168592"/>
                <a:gd name="connsiteX18" fmla="*/ 74295 w 95250"/>
                <a:gd name="connsiteY18" fmla="*/ 38100 h 168592"/>
                <a:gd name="connsiteX19" fmla="*/ 74295 w 95250"/>
                <a:gd name="connsiteY19" fmla="*/ 62770 h 168592"/>
                <a:gd name="connsiteX20" fmla="*/ 74295 w 95250"/>
                <a:gd name="connsiteY20" fmla="*/ 80963 h 168592"/>
                <a:gd name="connsiteX21" fmla="*/ 70485 w 95250"/>
                <a:gd name="connsiteY21" fmla="*/ 87630 h 168592"/>
                <a:gd name="connsiteX22" fmla="*/ 60008 w 95250"/>
                <a:gd name="connsiteY22" fmla="*/ 95250 h 168592"/>
                <a:gd name="connsiteX23" fmla="*/ 60008 w 95250"/>
                <a:gd name="connsiteY23" fmla="*/ 101918 h 168592"/>
                <a:gd name="connsiteX24" fmla="*/ 70485 w 95250"/>
                <a:gd name="connsiteY24" fmla="*/ 116205 h 168592"/>
                <a:gd name="connsiteX25" fmla="*/ 60008 w 95250"/>
                <a:gd name="connsiteY25" fmla="*/ 122873 h 168592"/>
                <a:gd name="connsiteX26" fmla="*/ 63818 w 95250"/>
                <a:gd name="connsiteY26" fmla="*/ 133350 h 168592"/>
                <a:gd name="connsiteX27" fmla="*/ 67628 w 95250"/>
                <a:gd name="connsiteY27" fmla="*/ 143732 h 168592"/>
                <a:gd name="connsiteX28" fmla="*/ 57150 w 95250"/>
                <a:gd name="connsiteY28" fmla="*/ 151448 h 168592"/>
                <a:gd name="connsiteX29" fmla="*/ 63818 w 95250"/>
                <a:gd name="connsiteY29" fmla="*/ 168593 h 168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5250" h="168592">
                  <a:moveTo>
                    <a:pt x="63818" y="168593"/>
                  </a:moveTo>
                  <a:lnTo>
                    <a:pt x="42863" y="168593"/>
                  </a:lnTo>
                  <a:lnTo>
                    <a:pt x="21908" y="168593"/>
                  </a:lnTo>
                  <a:lnTo>
                    <a:pt x="21908" y="155162"/>
                  </a:lnTo>
                  <a:lnTo>
                    <a:pt x="21908" y="126587"/>
                  </a:lnTo>
                  <a:lnTo>
                    <a:pt x="14288" y="122873"/>
                  </a:lnTo>
                  <a:lnTo>
                    <a:pt x="0" y="105632"/>
                  </a:lnTo>
                  <a:lnTo>
                    <a:pt x="14288" y="87630"/>
                  </a:lnTo>
                  <a:lnTo>
                    <a:pt x="18098" y="70485"/>
                  </a:lnTo>
                  <a:lnTo>
                    <a:pt x="24765" y="45625"/>
                  </a:lnTo>
                  <a:lnTo>
                    <a:pt x="21908" y="24670"/>
                  </a:lnTo>
                  <a:lnTo>
                    <a:pt x="24765" y="0"/>
                  </a:lnTo>
                  <a:lnTo>
                    <a:pt x="35243" y="2762"/>
                  </a:lnTo>
                  <a:lnTo>
                    <a:pt x="46673" y="13335"/>
                  </a:lnTo>
                  <a:lnTo>
                    <a:pt x="67628" y="10382"/>
                  </a:lnTo>
                  <a:lnTo>
                    <a:pt x="84773" y="10382"/>
                  </a:lnTo>
                  <a:lnTo>
                    <a:pt x="95250" y="24670"/>
                  </a:lnTo>
                  <a:lnTo>
                    <a:pt x="92393" y="35243"/>
                  </a:lnTo>
                  <a:lnTo>
                    <a:pt x="74295" y="38100"/>
                  </a:lnTo>
                  <a:lnTo>
                    <a:pt x="74295" y="62770"/>
                  </a:lnTo>
                  <a:lnTo>
                    <a:pt x="74295" y="80963"/>
                  </a:lnTo>
                  <a:lnTo>
                    <a:pt x="70485" y="87630"/>
                  </a:lnTo>
                  <a:lnTo>
                    <a:pt x="60008" y="95250"/>
                  </a:lnTo>
                  <a:lnTo>
                    <a:pt x="60008" y="101918"/>
                  </a:lnTo>
                  <a:lnTo>
                    <a:pt x="70485" y="116205"/>
                  </a:lnTo>
                  <a:lnTo>
                    <a:pt x="60008" y="122873"/>
                  </a:lnTo>
                  <a:lnTo>
                    <a:pt x="63818" y="133350"/>
                  </a:lnTo>
                  <a:lnTo>
                    <a:pt x="67628" y="143732"/>
                  </a:lnTo>
                  <a:lnTo>
                    <a:pt x="57150" y="151448"/>
                  </a:lnTo>
                  <a:lnTo>
                    <a:pt x="63818" y="16859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05" name="Freeform: Shape 3704">
              <a:extLst>
                <a:ext uri="{FF2B5EF4-FFF2-40B4-BE49-F238E27FC236}">
                  <a16:creationId xmlns:a16="http://schemas.microsoft.com/office/drawing/2014/main" id="{C1CF9C7C-06DC-CCD2-41B2-AAAD09B0833E}"/>
                </a:ext>
              </a:extLst>
            </p:cNvPr>
            <p:cNvSpPr/>
            <p:nvPr/>
          </p:nvSpPr>
          <p:spPr>
            <a:xfrm>
              <a:off x="6238488" y="3296179"/>
              <a:ext cx="23343" cy="44912"/>
            </a:xfrm>
            <a:custGeom>
              <a:avLst/>
              <a:gdLst>
                <a:gd name="connsiteX0" fmla="*/ 17145 w 23812"/>
                <a:gd name="connsiteY0" fmla="*/ 0 h 45815"/>
                <a:gd name="connsiteX1" fmla="*/ 6668 w 23812"/>
                <a:gd name="connsiteY1" fmla="*/ 3905 h 45815"/>
                <a:gd name="connsiteX2" fmla="*/ 0 w 23812"/>
                <a:gd name="connsiteY2" fmla="*/ 10573 h 45815"/>
                <a:gd name="connsiteX3" fmla="*/ 0 w 23812"/>
                <a:gd name="connsiteY3" fmla="*/ 24860 h 45815"/>
                <a:gd name="connsiteX4" fmla="*/ 0 w 23812"/>
                <a:gd name="connsiteY4" fmla="*/ 39148 h 45815"/>
                <a:gd name="connsiteX5" fmla="*/ 10477 w 23812"/>
                <a:gd name="connsiteY5" fmla="*/ 45815 h 45815"/>
                <a:gd name="connsiteX6" fmla="*/ 17145 w 23812"/>
                <a:gd name="connsiteY6" fmla="*/ 31528 h 45815"/>
                <a:gd name="connsiteX7" fmla="*/ 13335 w 23812"/>
                <a:gd name="connsiteY7" fmla="*/ 20955 h 45815"/>
                <a:gd name="connsiteX8" fmla="*/ 23813 w 23812"/>
                <a:gd name="connsiteY8" fmla="*/ 18193 h 45815"/>
                <a:gd name="connsiteX9" fmla="*/ 17145 w 23812"/>
                <a:gd name="connsiteY9" fmla="*/ 0 h 4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812" h="45815">
                  <a:moveTo>
                    <a:pt x="17145" y="0"/>
                  </a:moveTo>
                  <a:lnTo>
                    <a:pt x="6668" y="3905"/>
                  </a:lnTo>
                  <a:lnTo>
                    <a:pt x="0" y="10573"/>
                  </a:lnTo>
                  <a:lnTo>
                    <a:pt x="0" y="24860"/>
                  </a:lnTo>
                  <a:lnTo>
                    <a:pt x="0" y="39148"/>
                  </a:lnTo>
                  <a:lnTo>
                    <a:pt x="10477" y="45815"/>
                  </a:lnTo>
                  <a:lnTo>
                    <a:pt x="17145" y="31528"/>
                  </a:lnTo>
                  <a:lnTo>
                    <a:pt x="13335" y="20955"/>
                  </a:lnTo>
                  <a:lnTo>
                    <a:pt x="23813" y="18193"/>
                  </a:lnTo>
                  <a:lnTo>
                    <a:pt x="17145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06" name="Freeform: Shape 3705">
              <a:extLst>
                <a:ext uri="{FF2B5EF4-FFF2-40B4-BE49-F238E27FC236}">
                  <a16:creationId xmlns:a16="http://schemas.microsoft.com/office/drawing/2014/main" id="{8F6BB04E-EE5C-7D1E-AE82-BAE1DA6BBD8D}"/>
                </a:ext>
              </a:extLst>
            </p:cNvPr>
            <p:cNvSpPr/>
            <p:nvPr/>
          </p:nvSpPr>
          <p:spPr>
            <a:xfrm>
              <a:off x="6227283" y="3355097"/>
              <a:ext cx="34547" cy="65361"/>
            </a:xfrm>
            <a:custGeom>
              <a:avLst/>
              <a:gdLst>
                <a:gd name="connsiteX0" fmla="*/ 18098 w 35242"/>
                <a:gd name="connsiteY0" fmla="*/ 0 h 66675"/>
                <a:gd name="connsiteX1" fmla="*/ 14288 w 35242"/>
                <a:gd name="connsiteY1" fmla="*/ 6572 h 66675"/>
                <a:gd name="connsiteX2" fmla="*/ 3810 w 35242"/>
                <a:gd name="connsiteY2" fmla="*/ 6572 h 66675"/>
                <a:gd name="connsiteX3" fmla="*/ 0 w 35242"/>
                <a:gd name="connsiteY3" fmla="*/ 20860 h 66675"/>
                <a:gd name="connsiteX4" fmla="*/ 7620 w 35242"/>
                <a:gd name="connsiteY4" fmla="*/ 28575 h 66675"/>
                <a:gd name="connsiteX5" fmla="*/ 7620 w 35242"/>
                <a:gd name="connsiteY5" fmla="*/ 45720 h 66675"/>
                <a:gd name="connsiteX6" fmla="*/ 7620 w 35242"/>
                <a:gd name="connsiteY6" fmla="*/ 63722 h 66675"/>
                <a:gd name="connsiteX7" fmla="*/ 18098 w 35242"/>
                <a:gd name="connsiteY7" fmla="*/ 66675 h 66675"/>
                <a:gd name="connsiteX8" fmla="*/ 24765 w 35242"/>
                <a:gd name="connsiteY8" fmla="*/ 60008 h 66675"/>
                <a:gd name="connsiteX9" fmla="*/ 35243 w 35242"/>
                <a:gd name="connsiteY9" fmla="*/ 49435 h 66675"/>
                <a:gd name="connsiteX10" fmla="*/ 32385 w 35242"/>
                <a:gd name="connsiteY10" fmla="*/ 24765 h 66675"/>
                <a:gd name="connsiteX11" fmla="*/ 35243 w 35242"/>
                <a:gd name="connsiteY11" fmla="*/ 10477 h 66675"/>
                <a:gd name="connsiteX12" fmla="*/ 32385 w 35242"/>
                <a:gd name="connsiteY12" fmla="*/ 3715 h 66675"/>
                <a:gd name="connsiteX13" fmla="*/ 18098 w 35242"/>
                <a:gd name="connsiteY13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242" h="66675">
                  <a:moveTo>
                    <a:pt x="18098" y="0"/>
                  </a:moveTo>
                  <a:lnTo>
                    <a:pt x="14288" y="6572"/>
                  </a:lnTo>
                  <a:lnTo>
                    <a:pt x="3810" y="6572"/>
                  </a:lnTo>
                  <a:lnTo>
                    <a:pt x="0" y="20860"/>
                  </a:lnTo>
                  <a:lnTo>
                    <a:pt x="7620" y="28575"/>
                  </a:lnTo>
                  <a:lnTo>
                    <a:pt x="7620" y="45720"/>
                  </a:lnTo>
                  <a:lnTo>
                    <a:pt x="7620" y="63722"/>
                  </a:lnTo>
                  <a:lnTo>
                    <a:pt x="18098" y="66675"/>
                  </a:lnTo>
                  <a:lnTo>
                    <a:pt x="24765" y="60008"/>
                  </a:lnTo>
                  <a:lnTo>
                    <a:pt x="35243" y="49435"/>
                  </a:lnTo>
                  <a:lnTo>
                    <a:pt x="32385" y="24765"/>
                  </a:lnTo>
                  <a:lnTo>
                    <a:pt x="35243" y="10477"/>
                  </a:lnTo>
                  <a:lnTo>
                    <a:pt x="32385" y="3715"/>
                  </a:lnTo>
                  <a:lnTo>
                    <a:pt x="1809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07" name="Freeform: Shape 3706">
              <a:extLst>
                <a:ext uri="{FF2B5EF4-FFF2-40B4-BE49-F238E27FC236}">
                  <a16:creationId xmlns:a16="http://schemas.microsoft.com/office/drawing/2014/main" id="{24A65A60-A500-D7DE-E836-AE1591C337C5}"/>
                </a:ext>
              </a:extLst>
            </p:cNvPr>
            <p:cNvSpPr/>
            <p:nvPr/>
          </p:nvSpPr>
          <p:spPr>
            <a:xfrm>
              <a:off x="6329993" y="3009617"/>
              <a:ext cx="189546" cy="85809"/>
            </a:xfrm>
            <a:custGeom>
              <a:avLst/>
              <a:gdLst>
                <a:gd name="connsiteX0" fmla="*/ 83820 w 193357"/>
                <a:gd name="connsiteY0" fmla="*/ 0 h 87534"/>
                <a:gd name="connsiteX1" fmla="*/ 98107 w 193357"/>
                <a:gd name="connsiteY1" fmla="*/ 6572 h 87534"/>
                <a:gd name="connsiteX2" fmla="*/ 119063 w 193357"/>
                <a:gd name="connsiteY2" fmla="*/ 14288 h 87534"/>
                <a:gd name="connsiteX3" fmla="*/ 122873 w 193357"/>
                <a:gd name="connsiteY3" fmla="*/ 27527 h 87534"/>
                <a:gd name="connsiteX4" fmla="*/ 137160 w 193357"/>
                <a:gd name="connsiteY4" fmla="*/ 31433 h 87534"/>
                <a:gd name="connsiteX5" fmla="*/ 140018 w 193357"/>
                <a:gd name="connsiteY5" fmla="*/ 24765 h 87534"/>
                <a:gd name="connsiteX6" fmla="*/ 154305 w 193357"/>
                <a:gd name="connsiteY6" fmla="*/ 27527 h 87534"/>
                <a:gd name="connsiteX7" fmla="*/ 164782 w 193357"/>
                <a:gd name="connsiteY7" fmla="*/ 35147 h 87534"/>
                <a:gd name="connsiteX8" fmla="*/ 179070 w 193357"/>
                <a:gd name="connsiteY8" fmla="*/ 41815 h 87534"/>
                <a:gd name="connsiteX9" fmla="*/ 193357 w 193357"/>
                <a:gd name="connsiteY9" fmla="*/ 52388 h 87534"/>
                <a:gd name="connsiteX10" fmla="*/ 175260 w 193357"/>
                <a:gd name="connsiteY10" fmla="*/ 62865 h 87534"/>
                <a:gd name="connsiteX11" fmla="*/ 161925 w 193357"/>
                <a:gd name="connsiteY11" fmla="*/ 77152 h 87534"/>
                <a:gd name="connsiteX12" fmla="*/ 143828 w 193357"/>
                <a:gd name="connsiteY12" fmla="*/ 80963 h 87534"/>
                <a:gd name="connsiteX13" fmla="*/ 133350 w 193357"/>
                <a:gd name="connsiteY13" fmla="*/ 87535 h 87534"/>
                <a:gd name="connsiteX14" fmla="*/ 116205 w 193357"/>
                <a:gd name="connsiteY14" fmla="*/ 87535 h 87534"/>
                <a:gd name="connsiteX15" fmla="*/ 80963 w 193357"/>
                <a:gd name="connsiteY15" fmla="*/ 74295 h 87534"/>
                <a:gd name="connsiteX16" fmla="*/ 77153 w 193357"/>
                <a:gd name="connsiteY16" fmla="*/ 84677 h 87534"/>
                <a:gd name="connsiteX17" fmla="*/ 48578 w 193357"/>
                <a:gd name="connsiteY17" fmla="*/ 80963 h 87534"/>
                <a:gd name="connsiteX18" fmla="*/ 35243 w 193357"/>
                <a:gd name="connsiteY18" fmla="*/ 70390 h 87534"/>
                <a:gd name="connsiteX19" fmla="*/ 23813 w 193357"/>
                <a:gd name="connsiteY19" fmla="*/ 60008 h 87534"/>
                <a:gd name="connsiteX20" fmla="*/ 0 w 193357"/>
                <a:gd name="connsiteY20" fmla="*/ 31433 h 87534"/>
                <a:gd name="connsiteX21" fmla="*/ 20955 w 193357"/>
                <a:gd name="connsiteY21" fmla="*/ 20860 h 87534"/>
                <a:gd name="connsiteX22" fmla="*/ 41910 w 193357"/>
                <a:gd name="connsiteY22" fmla="*/ 14288 h 87534"/>
                <a:gd name="connsiteX23" fmla="*/ 59055 w 193357"/>
                <a:gd name="connsiteY23" fmla="*/ 6572 h 87534"/>
                <a:gd name="connsiteX24" fmla="*/ 73343 w 193357"/>
                <a:gd name="connsiteY24" fmla="*/ 3715 h 87534"/>
                <a:gd name="connsiteX25" fmla="*/ 83820 w 193357"/>
                <a:gd name="connsiteY25" fmla="*/ 0 h 8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93357" h="87534">
                  <a:moveTo>
                    <a:pt x="83820" y="0"/>
                  </a:moveTo>
                  <a:lnTo>
                    <a:pt x="98107" y="6572"/>
                  </a:lnTo>
                  <a:lnTo>
                    <a:pt x="119063" y="14288"/>
                  </a:lnTo>
                  <a:lnTo>
                    <a:pt x="122873" y="27527"/>
                  </a:lnTo>
                  <a:lnTo>
                    <a:pt x="137160" y="31433"/>
                  </a:lnTo>
                  <a:lnTo>
                    <a:pt x="140018" y="24765"/>
                  </a:lnTo>
                  <a:lnTo>
                    <a:pt x="154305" y="27527"/>
                  </a:lnTo>
                  <a:lnTo>
                    <a:pt x="164782" y="35147"/>
                  </a:lnTo>
                  <a:lnTo>
                    <a:pt x="179070" y="41815"/>
                  </a:lnTo>
                  <a:lnTo>
                    <a:pt x="193357" y="52388"/>
                  </a:lnTo>
                  <a:lnTo>
                    <a:pt x="175260" y="62865"/>
                  </a:lnTo>
                  <a:lnTo>
                    <a:pt x="161925" y="77152"/>
                  </a:lnTo>
                  <a:lnTo>
                    <a:pt x="143828" y="80963"/>
                  </a:lnTo>
                  <a:lnTo>
                    <a:pt x="133350" y="87535"/>
                  </a:lnTo>
                  <a:lnTo>
                    <a:pt x="116205" y="87535"/>
                  </a:lnTo>
                  <a:lnTo>
                    <a:pt x="80963" y="74295"/>
                  </a:lnTo>
                  <a:lnTo>
                    <a:pt x="77153" y="84677"/>
                  </a:lnTo>
                  <a:lnTo>
                    <a:pt x="48578" y="80963"/>
                  </a:lnTo>
                  <a:lnTo>
                    <a:pt x="35243" y="70390"/>
                  </a:lnTo>
                  <a:lnTo>
                    <a:pt x="23813" y="60008"/>
                  </a:lnTo>
                  <a:lnTo>
                    <a:pt x="0" y="31433"/>
                  </a:lnTo>
                  <a:lnTo>
                    <a:pt x="20955" y="20860"/>
                  </a:lnTo>
                  <a:lnTo>
                    <a:pt x="41910" y="14288"/>
                  </a:lnTo>
                  <a:lnTo>
                    <a:pt x="59055" y="6572"/>
                  </a:lnTo>
                  <a:lnTo>
                    <a:pt x="73343" y="3715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08" name="Freeform: Shape 3707">
              <a:extLst>
                <a:ext uri="{FF2B5EF4-FFF2-40B4-BE49-F238E27FC236}">
                  <a16:creationId xmlns:a16="http://schemas.microsoft.com/office/drawing/2014/main" id="{4054C18E-7131-7E38-9805-60CD06D5F285}"/>
                </a:ext>
              </a:extLst>
            </p:cNvPr>
            <p:cNvSpPr/>
            <p:nvPr/>
          </p:nvSpPr>
          <p:spPr>
            <a:xfrm>
              <a:off x="6460714" y="3060971"/>
              <a:ext cx="154998" cy="66294"/>
            </a:xfrm>
            <a:custGeom>
              <a:avLst/>
              <a:gdLst>
                <a:gd name="connsiteX0" fmla="*/ 77153 w 158115"/>
                <a:gd name="connsiteY0" fmla="*/ 3715 h 67627"/>
                <a:gd name="connsiteX1" fmla="*/ 84773 w 158115"/>
                <a:gd name="connsiteY1" fmla="*/ 18002 h 67627"/>
                <a:gd name="connsiteX2" fmla="*/ 101918 w 158115"/>
                <a:gd name="connsiteY2" fmla="*/ 14288 h 67627"/>
                <a:gd name="connsiteX3" fmla="*/ 120015 w 158115"/>
                <a:gd name="connsiteY3" fmla="*/ 7620 h 67627"/>
                <a:gd name="connsiteX4" fmla="*/ 134303 w 158115"/>
                <a:gd name="connsiteY4" fmla="*/ 7620 h 67627"/>
                <a:gd name="connsiteX5" fmla="*/ 151448 w 158115"/>
                <a:gd name="connsiteY5" fmla="*/ 14288 h 67627"/>
                <a:gd name="connsiteX6" fmla="*/ 158115 w 158115"/>
                <a:gd name="connsiteY6" fmla="*/ 21908 h 67627"/>
                <a:gd name="connsiteX7" fmla="*/ 151448 w 158115"/>
                <a:gd name="connsiteY7" fmla="*/ 35147 h 67627"/>
                <a:gd name="connsiteX8" fmla="*/ 144780 w 158115"/>
                <a:gd name="connsiteY8" fmla="*/ 45720 h 67627"/>
                <a:gd name="connsiteX9" fmla="*/ 126682 w 158115"/>
                <a:gd name="connsiteY9" fmla="*/ 42863 h 67627"/>
                <a:gd name="connsiteX10" fmla="*/ 109538 w 158115"/>
                <a:gd name="connsiteY10" fmla="*/ 39052 h 67627"/>
                <a:gd name="connsiteX11" fmla="*/ 99060 w 158115"/>
                <a:gd name="connsiteY11" fmla="*/ 45720 h 67627"/>
                <a:gd name="connsiteX12" fmla="*/ 95250 w 158115"/>
                <a:gd name="connsiteY12" fmla="*/ 49435 h 67627"/>
                <a:gd name="connsiteX13" fmla="*/ 77153 w 158115"/>
                <a:gd name="connsiteY13" fmla="*/ 49435 h 67627"/>
                <a:gd name="connsiteX14" fmla="*/ 66675 w 158115"/>
                <a:gd name="connsiteY14" fmla="*/ 57150 h 67627"/>
                <a:gd name="connsiteX15" fmla="*/ 53340 w 158115"/>
                <a:gd name="connsiteY15" fmla="*/ 57150 h 67627"/>
                <a:gd name="connsiteX16" fmla="*/ 45720 w 158115"/>
                <a:gd name="connsiteY16" fmla="*/ 67627 h 67627"/>
                <a:gd name="connsiteX17" fmla="*/ 31432 w 158115"/>
                <a:gd name="connsiteY17" fmla="*/ 67627 h 67627"/>
                <a:gd name="connsiteX18" fmla="*/ 18098 w 158115"/>
                <a:gd name="connsiteY18" fmla="*/ 63722 h 67627"/>
                <a:gd name="connsiteX19" fmla="*/ 6668 w 158115"/>
                <a:gd name="connsiteY19" fmla="*/ 57150 h 67627"/>
                <a:gd name="connsiteX20" fmla="*/ 3810 w 158115"/>
                <a:gd name="connsiteY20" fmla="*/ 42863 h 67627"/>
                <a:gd name="connsiteX21" fmla="*/ 0 w 158115"/>
                <a:gd name="connsiteY21" fmla="*/ 35147 h 67627"/>
                <a:gd name="connsiteX22" fmla="*/ 10478 w 158115"/>
                <a:gd name="connsiteY22" fmla="*/ 28575 h 67627"/>
                <a:gd name="connsiteX23" fmla="*/ 28575 w 158115"/>
                <a:gd name="connsiteY23" fmla="*/ 24765 h 67627"/>
                <a:gd name="connsiteX24" fmla="*/ 41910 w 158115"/>
                <a:gd name="connsiteY24" fmla="*/ 10477 h 67627"/>
                <a:gd name="connsiteX25" fmla="*/ 60007 w 158115"/>
                <a:gd name="connsiteY25" fmla="*/ 0 h 67627"/>
                <a:gd name="connsiteX26" fmla="*/ 77153 w 158115"/>
                <a:gd name="connsiteY26" fmla="*/ 3715 h 67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8115" h="67627">
                  <a:moveTo>
                    <a:pt x="77153" y="3715"/>
                  </a:moveTo>
                  <a:lnTo>
                    <a:pt x="84773" y="18002"/>
                  </a:lnTo>
                  <a:lnTo>
                    <a:pt x="101918" y="14288"/>
                  </a:lnTo>
                  <a:lnTo>
                    <a:pt x="120015" y="7620"/>
                  </a:lnTo>
                  <a:lnTo>
                    <a:pt x="134303" y="7620"/>
                  </a:lnTo>
                  <a:lnTo>
                    <a:pt x="151448" y="14288"/>
                  </a:lnTo>
                  <a:lnTo>
                    <a:pt x="158115" y="21908"/>
                  </a:lnTo>
                  <a:lnTo>
                    <a:pt x="151448" y="35147"/>
                  </a:lnTo>
                  <a:lnTo>
                    <a:pt x="144780" y="45720"/>
                  </a:lnTo>
                  <a:lnTo>
                    <a:pt x="126682" y="42863"/>
                  </a:lnTo>
                  <a:lnTo>
                    <a:pt x="109538" y="39052"/>
                  </a:lnTo>
                  <a:lnTo>
                    <a:pt x="99060" y="45720"/>
                  </a:lnTo>
                  <a:lnTo>
                    <a:pt x="95250" y="49435"/>
                  </a:lnTo>
                  <a:lnTo>
                    <a:pt x="77153" y="49435"/>
                  </a:lnTo>
                  <a:lnTo>
                    <a:pt x="66675" y="57150"/>
                  </a:lnTo>
                  <a:lnTo>
                    <a:pt x="53340" y="57150"/>
                  </a:lnTo>
                  <a:lnTo>
                    <a:pt x="45720" y="67627"/>
                  </a:lnTo>
                  <a:lnTo>
                    <a:pt x="31432" y="67627"/>
                  </a:lnTo>
                  <a:lnTo>
                    <a:pt x="18098" y="63722"/>
                  </a:lnTo>
                  <a:lnTo>
                    <a:pt x="6668" y="57150"/>
                  </a:lnTo>
                  <a:lnTo>
                    <a:pt x="3810" y="42863"/>
                  </a:lnTo>
                  <a:lnTo>
                    <a:pt x="0" y="35147"/>
                  </a:lnTo>
                  <a:lnTo>
                    <a:pt x="10478" y="28575"/>
                  </a:lnTo>
                  <a:lnTo>
                    <a:pt x="28575" y="24765"/>
                  </a:lnTo>
                  <a:lnTo>
                    <a:pt x="41910" y="10477"/>
                  </a:lnTo>
                  <a:lnTo>
                    <a:pt x="60007" y="0"/>
                  </a:lnTo>
                  <a:lnTo>
                    <a:pt x="77153" y="371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09" name="Freeform: Shape 3708">
              <a:extLst>
                <a:ext uri="{FF2B5EF4-FFF2-40B4-BE49-F238E27FC236}">
                  <a16:creationId xmlns:a16="http://schemas.microsoft.com/office/drawing/2014/main" id="{72E42641-0736-3FCC-D006-AB7B24BC7C12}"/>
                </a:ext>
              </a:extLst>
            </p:cNvPr>
            <p:cNvSpPr/>
            <p:nvPr/>
          </p:nvSpPr>
          <p:spPr>
            <a:xfrm>
              <a:off x="6259030" y="3082448"/>
              <a:ext cx="219425" cy="89544"/>
            </a:xfrm>
            <a:custGeom>
              <a:avLst/>
              <a:gdLst>
                <a:gd name="connsiteX0" fmla="*/ 24765 w 223837"/>
                <a:gd name="connsiteY0" fmla="*/ 80963 h 91344"/>
                <a:gd name="connsiteX1" fmla="*/ 20955 w 223837"/>
                <a:gd name="connsiteY1" fmla="*/ 73342 h 91344"/>
                <a:gd name="connsiteX2" fmla="*/ 14288 w 223837"/>
                <a:gd name="connsiteY2" fmla="*/ 73342 h 91344"/>
                <a:gd name="connsiteX3" fmla="*/ 0 w 223837"/>
                <a:gd name="connsiteY3" fmla="*/ 70390 h 91344"/>
                <a:gd name="connsiteX4" fmla="*/ 2857 w 223837"/>
                <a:gd name="connsiteY4" fmla="*/ 60007 h 91344"/>
                <a:gd name="connsiteX5" fmla="*/ 31432 w 223837"/>
                <a:gd name="connsiteY5" fmla="*/ 60007 h 91344"/>
                <a:gd name="connsiteX6" fmla="*/ 54293 w 223837"/>
                <a:gd name="connsiteY6" fmla="*/ 56102 h 91344"/>
                <a:gd name="connsiteX7" fmla="*/ 72390 w 223837"/>
                <a:gd name="connsiteY7" fmla="*/ 45720 h 91344"/>
                <a:gd name="connsiteX8" fmla="*/ 93345 w 223837"/>
                <a:gd name="connsiteY8" fmla="*/ 45720 h 91344"/>
                <a:gd name="connsiteX9" fmla="*/ 93345 w 223837"/>
                <a:gd name="connsiteY9" fmla="*/ 31432 h 91344"/>
                <a:gd name="connsiteX10" fmla="*/ 120968 w 223837"/>
                <a:gd name="connsiteY10" fmla="*/ 17145 h 91344"/>
                <a:gd name="connsiteX11" fmla="*/ 120968 w 223837"/>
                <a:gd name="connsiteY11" fmla="*/ 6667 h 91344"/>
                <a:gd name="connsiteX12" fmla="*/ 149543 w 223837"/>
                <a:gd name="connsiteY12" fmla="*/ 10382 h 91344"/>
                <a:gd name="connsiteX13" fmla="*/ 153352 w 223837"/>
                <a:gd name="connsiteY13" fmla="*/ 0 h 91344"/>
                <a:gd name="connsiteX14" fmla="*/ 188595 w 223837"/>
                <a:gd name="connsiteY14" fmla="*/ 13240 h 91344"/>
                <a:gd name="connsiteX15" fmla="*/ 205740 w 223837"/>
                <a:gd name="connsiteY15" fmla="*/ 13240 h 91344"/>
                <a:gd name="connsiteX16" fmla="*/ 209550 w 223837"/>
                <a:gd name="connsiteY16" fmla="*/ 20955 h 91344"/>
                <a:gd name="connsiteX17" fmla="*/ 212407 w 223837"/>
                <a:gd name="connsiteY17" fmla="*/ 35242 h 91344"/>
                <a:gd name="connsiteX18" fmla="*/ 223838 w 223837"/>
                <a:gd name="connsiteY18" fmla="*/ 41815 h 91344"/>
                <a:gd name="connsiteX19" fmla="*/ 205740 w 223837"/>
                <a:gd name="connsiteY19" fmla="*/ 48482 h 91344"/>
                <a:gd name="connsiteX20" fmla="*/ 195263 w 223837"/>
                <a:gd name="connsiteY20" fmla="*/ 60007 h 91344"/>
                <a:gd name="connsiteX21" fmla="*/ 191452 w 223837"/>
                <a:gd name="connsiteY21" fmla="*/ 70390 h 91344"/>
                <a:gd name="connsiteX22" fmla="*/ 180975 w 223837"/>
                <a:gd name="connsiteY22" fmla="*/ 77057 h 91344"/>
                <a:gd name="connsiteX23" fmla="*/ 156210 w 223837"/>
                <a:gd name="connsiteY23" fmla="*/ 87630 h 91344"/>
                <a:gd name="connsiteX24" fmla="*/ 135255 w 223837"/>
                <a:gd name="connsiteY24" fmla="*/ 91345 h 91344"/>
                <a:gd name="connsiteX25" fmla="*/ 118110 w 223837"/>
                <a:gd name="connsiteY25" fmla="*/ 83820 h 91344"/>
                <a:gd name="connsiteX26" fmla="*/ 89535 w 223837"/>
                <a:gd name="connsiteY26" fmla="*/ 87630 h 91344"/>
                <a:gd name="connsiteX27" fmla="*/ 72390 w 223837"/>
                <a:gd name="connsiteY27" fmla="*/ 80963 h 91344"/>
                <a:gd name="connsiteX28" fmla="*/ 72390 w 223837"/>
                <a:gd name="connsiteY28" fmla="*/ 70390 h 91344"/>
                <a:gd name="connsiteX29" fmla="*/ 45720 w 223837"/>
                <a:gd name="connsiteY29" fmla="*/ 70390 h 91344"/>
                <a:gd name="connsiteX30" fmla="*/ 41910 w 223837"/>
                <a:gd name="connsiteY30" fmla="*/ 80963 h 91344"/>
                <a:gd name="connsiteX31" fmla="*/ 24765 w 223837"/>
                <a:gd name="connsiteY31" fmla="*/ 80963 h 9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23837" h="91344">
                  <a:moveTo>
                    <a:pt x="24765" y="80963"/>
                  </a:moveTo>
                  <a:lnTo>
                    <a:pt x="20955" y="73342"/>
                  </a:lnTo>
                  <a:lnTo>
                    <a:pt x="14288" y="73342"/>
                  </a:lnTo>
                  <a:lnTo>
                    <a:pt x="0" y="70390"/>
                  </a:lnTo>
                  <a:lnTo>
                    <a:pt x="2857" y="60007"/>
                  </a:lnTo>
                  <a:lnTo>
                    <a:pt x="31432" y="60007"/>
                  </a:lnTo>
                  <a:lnTo>
                    <a:pt x="54293" y="56102"/>
                  </a:lnTo>
                  <a:lnTo>
                    <a:pt x="72390" y="45720"/>
                  </a:lnTo>
                  <a:lnTo>
                    <a:pt x="93345" y="45720"/>
                  </a:lnTo>
                  <a:lnTo>
                    <a:pt x="93345" y="31432"/>
                  </a:lnTo>
                  <a:lnTo>
                    <a:pt x="120968" y="17145"/>
                  </a:lnTo>
                  <a:lnTo>
                    <a:pt x="120968" y="6667"/>
                  </a:lnTo>
                  <a:lnTo>
                    <a:pt x="149543" y="10382"/>
                  </a:lnTo>
                  <a:lnTo>
                    <a:pt x="153352" y="0"/>
                  </a:lnTo>
                  <a:lnTo>
                    <a:pt x="188595" y="13240"/>
                  </a:lnTo>
                  <a:lnTo>
                    <a:pt x="205740" y="13240"/>
                  </a:lnTo>
                  <a:lnTo>
                    <a:pt x="209550" y="20955"/>
                  </a:lnTo>
                  <a:lnTo>
                    <a:pt x="212407" y="35242"/>
                  </a:lnTo>
                  <a:lnTo>
                    <a:pt x="223838" y="41815"/>
                  </a:lnTo>
                  <a:lnTo>
                    <a:pt x="205740" y="48482"/>
                  </a:lnTo>
                  <a:lnTo>
                    <a:pt x="195263" y="60007"/>
                  </a:lnTo>
                  <a:lnTo>
                    <a:pt x="191452" y="70390"/>
                  </a:lnTo>
                  <a:lnTo>
                    <a:pt x="180975" y="77057"/>
                  </a:lnTo>
                  <a:lnTo>
                    <a:pt x="156210" y="87630"/>
                  </a:lnTo>
                  <a:lnTo>
                    <a:pt x="135255" y="91345"/>
                  </a:lnTo>
                  <a:lnTo>
                    <a:pt x="118110" y="83820"/>
                  </a:lnTo>
                  <a:lnTo>
                    <a:pt x="89535" y="87630"/>
                  </a:lnTo>
                  <a:lnTo>
                    <a:pt x="72390" y="80963"/>
                  </a:lnTo>
                  <a:lnTo>
                    <a:pt x="72390" y="70390"/>
                  </a:lnTo>
                  <a:lnTo>
                    <a:pt x="45720" y="70390"/>
                  </a:lnTo>
                  <a:lnTo>
                    <a:pt x="41910" y="80963"/>
                  </a:lnTo>
                  <a:lnTo>
                    <a:pt x="24765" y="8096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10" name="Freeform: Shape 3709">
              <a:extLst>
                <a:ext uri="{FF2B5EF4-FFF2-40B4-BE49-F238E27FC236}">
                  <a16:creationId xmlns:a16="http://schemas.microsoft.com/office/drawing/2014/main" id="{09ADE2F3-C813-A9DA-86C7-4625ECA9F7E9}"/>
                </a:ext>
              </a:extLst>
            </p:cNvPr>
            <p:cNvSpPr/>
            <p:nvPr/>
          </p:nvSpPr>
          <p:spPr>
            <a:xfrm>
              <a:off x="6446708" y="3099255"/>
              <a:ext cx="172739" cy="97108"/>
            </a:xfrm>
            <a:custGeom>
              <a:avLst/>
              <a:gdLst>
                <a:gd name="connsiteX0" fmla="*/ 0 w 176212"/>
                <a:gd name="connsiteY0" fmla="*/ 53245 h 99060"/>
                <a:gd name="connsiteX1" fmla="*/ 3810 w 176212"/>
                <a:gd name="connsiteY1" fmla="*/ 42863 h 99060"/>
                <a:gd name="connsiteX2" fmla="*/ 14288 w 176212"/>
                <a:gd name="connsiteY2" fmla="*/ 31337 h 99060"/>
                <a:gd name="connsiteX3" fmla="*/ 32385 w 176212"/>
                <a:gd name="connsiteY3" fmla="*/ 24670 h 99060"/>
                <a:gd name="connsiteX4" fmla="*/ 60007 w 176212"/>
                <a:gd name="connsiteY4" fmla="*/ 28575 h 99060"/>
                <a:gd name="connsiteX5" fmla="*/ 67628 w 176212"/>
                <a:gd name="connsiteY5" fmla="*/ 18098 h 99060"/>
                <a:gd name="connsiteX6" fmla="*/ 80963 w 176212"/>
                <a:gd name="connsiteY6" fmla="*/ 18098 h 99060"/>
                <a:gd name="connsiteX7" fmla="*/ 91440 w 176212"/>
                <a:gd name="connsiteY7" fmla="*/ 10382 h 99060"/>
                <a:gd name="connsiteX8" fmla="*/ 109538 w 176212"/>
                <a:gd name="connsiteY8" fmla="*/ 10382 h 99060"/>
                <a:gd name="connsiteX9" fmla="*/ 113348 w 176212"/>
                <a:gd name="connsiteY9" fmla="*/ 6668 h 99060"/>
                <a:gd name="connsiteX10" fmla="*/ 123825 w 176212"/>
                <a:gd name="connsiteY10" fmla="*/ 0 h 99060"/>
                <a:gd name="connsiteX11" fmla="*/ 159068 w 176212"/>
                <a:gd name="connsiteY11" fmla="*/ 6668 h 99060"/>
                <a:gd name="connsiteX12" fmla="*/ 169545 w 176212"/>
                <a:gd name="connsiteY12" fmla="*/ 14288 h 99060"/>
                <a:gd name="connsiteX13" fmla="*/ 176213 w 176212"/>
                <a:gd name="connsiteY13" fmla="*/ 24670 h 99060"/>
                <a:gd name="connsiteX14" fmla="*/ 161925 w 176212"/>
                <a:gd name="connsiteY14" fmla="*/ 38957 h 99060"/>
                <a:gd name="connsiteX15" fmla="*/ 144780 w 176212"/>
                <a:gd name="connsiteY15" fmla="*/ 63818 h 99060"/>
                <a:gd name="connsiteX16" fmla="*/ 120015 w 176212"/>
                <a:gd name="connsiteY16" fmla="*/ 88487 h 99060"/>
                <a:gd name="connsiteX17" fmla="*/ 84773 w 176212"/>
                <a:gd name="connsiteY17" fmla="*/ 88487 h 99060"/>
                <a:gd name="connsiteX18" fmla="*/ 70485 w 176212"/>
                <a:gd name="connsiteY18" fmla="*/ 95250 h 99060"/>
                <a:gd name="connsiteX19" fmla="*/ 39053 w 176212"/>
                <a:gd name="connsiteY19" fmla="*/ 99060 h 99060"/>
                <a:gd name="connsiteX20" fmla="*/ 18098 w 176212"/>
                <a:gd name="connsiteY20" fmla="*/ 80963 h 99060"/>
                <a:gd name="connsiteX21" fmla="*/ 3810 w 176212"/>
                <a:gd name="connsiteY21" fmla="*/ 66675 h 99060"/>
                <a:gd name="connsiteX22" fmla="*/ 0 w 176212"/>
                <a:gd name="connsiteY22" fmla="*/ 53245 h 9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6212" h="99060">
                  <a:moveTo>
                    <a:pt x="0" y="53245"/>
                  </a:moveTo>
                  <a:lnTo>
                    <a:pt x="3810" y="42863"/>
                  </a:lnTo>
                  <a:lnTo>
                    <a:pt x="14288" y="31337"/>
                  </a:lnTo>
                  <a:lnTo>
                    <a:pt x="32385" y="24670"/>
                  </a:lnTo>
                  <a:lnTo>
                    <a:pt x="60007" y="28575"/>
                  </a:lnTo>
                  <a:lnTo>
                    <a:pt x="67628" y="18098"/>
                  </a:lnTo>
                  <a:lnTo>
                    <a:pt x="80963" y="18098"/>
                  </a:lnTo>
                  <a:lnTo>
                    <a:pt x="91440" y="10382"/>
                  </a:lnTo>
                  <a:lnTo>
                    <a:pt x="109538" y="10382"/>
                  </a:lnTo>
                  <a:lnTo>
                    <a:pt x="113348" y="6668"/>
                  </a:lnTo>
                  <a:lnTo>
                    <a:pt x="123825" y="0"/>
                  </a:lnTo>
                  <a:lnTo>
                    <a:pt x="159068" y="6668"/>
                  </a:lnTo>
                  <a:lnTo>
                    <a:pt x="169545" y="14288"/>
                  </a:lnTo>
                  <a:lnTo>
                    <a:pt x="176213" y="24670"/>
                  </a:lnTo>
                  <a:lnTo>
                    <a:pt x="161925" y="38957"/>
                  </a:lnTo>
                  <a:lnTo>
                    <a:pt x="144780" y="63818"/>
                  </a:lnTo>
                  <a:lnTo>
                    <a:pt x="120015" y="88487"/>
                  </a:lnTo>
                  <a:lnTo>
                    <a:pt x="84773" y="88487"/>
                  </a:lnTo>
                  <a:lnTo>
                    <a:pt x="70485" y="95250"/>
                  </a:lnTo>
                  <a:lnTo>
                    <a:pt x="39053" y="99060"/>
                  </a:lnTo>
                  <a:lnTo>
                    <a:pt x="18098" y="80963"/>
                  </a:lnTo>
                  <a:lnTo>
                    <a:pt x="3810" y="66675"/>
                  </a:lnTo>
                  <a:lnTo>
                    <a:pt x="0" y="5324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11" name="Freeform: Shape 3710">
              <a:extLst>
                <a:ext uri="{FF2B5EF4-FFF2-40B4-BE49-F238E27FC236}">
                  <a16:creationId xmlns:a16="http://schemas.microsoft.com/office/drawing/2014/main" id="{4D3148F5-B07C-C687-4959-65BDAAA0CC4A}"/>
                </a:ext>
              </a:extLst>
            </p:cNvPr>
            <p:cNvSpPr/>
            <p:nvPr/>
          </p:nvSpPr>
          <p:spPr>
            <a:xfrm>
              <a:off x="6360805" y="3151451"/>
              <a:ext cx="89638" cy="51355"/>
            </a:xfrm>
            <a:custGeom>
              <a:avLst/>
              <a:gdLst>
                <a:gd name="connsiteX0" fmla="*/ 17145 w 91440"/>
                <a:gd name="connsiteY0" fmla="*/ 48673 h 52387"/>
                <a:gd name="connsiteX1" fmla="*/ 35243 w 91440"/>
                <a:gd name="connsiteY1" fmla="*/ 52388 h 52387"/>
                <a:gd name="connsiteX2" fmla="*/ 56198 w 91440"/>
                <a:gd name="connsiteY2" fmla="*/ 48673 h 52387"/>
                <a:gd name="connsiteX3" fmla="*/ 66675 w 91440"/>
                <a:gd name="connsiteY3" fmla="*/ 38100 h 52387"/>
                <a:gd name="connsiteX4" fmla="*/ 77153 w 91440"/>
                <a:gd name="connsiteY4" fmla="*/ 27718 h 52387"/>
                <a:gd name="connsiteX5" fmla="*/ 91440 w 91440"/>
                <a:gd name="connsiteY5" fmla="*/ 13430 h 52387"/>
                <a:gd name="connsiteX6" fmla="*/ 87630 w 91440"/>
                <a:gd name="connsiteY6" fmla="*/ 0 h 52387"/>
                <a:gd name="connsiteX7" fmla="*/ 77153 w 91440"/>
                <a:gd name="connsiteY7" fmla="*/ 6667 h 52387"/>
                <a:gd name="connsiteX8" fmla="*/ 52388 w 91440"/>
                <a:gd name="connsiteY8" fmla="*/ 17240 h 52387"/>
                <a:gd name="connsiteX9" fmla="*/ 31433 w 91440"/>
                <a:gd name="connsiteY9" fmla="*/ 20955 h 52387"/>
                <a:gd name="connsiteX10" fmla="*/ 14288 w 91440"/>
                <a:gd name="connsiteY10" fmla="*/ 13430 h 52387"/>
                <a:gd name="connsiteX11" fmla="*/ 3810 w 91440"/>
                <a:gd name="connsiteY11" fmla="*/ 27718 h 52387"/>
                <a:gd name="connsiteX12" fmla="*/ 0 w 91440"/>
                <a:gd name="connsiteY12" fmla="*/ 42005 h 52387"/>
                <a:gd name="connsiteX13" fmla="*/ 17145 w 91440"/>
                <a:gd name="connsiteY13" fmla="*/ 48673 h 5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1440" h="52387">
                  <a:moveTo>
                    <a:pt x="17145" y="48673"/>
                  </a:moveTo>
                  <a:lnTo>
                    <a:pt x="35243" y="52388"/>
                  </a:lnTo>
                  <a:lnTo>
                    <a:pt x="56198" y="48673"/>
                  </a:lnTo>
                  <a:lnTo>
                    <a:pt x="66675" y="38100"/>
                  </a:lnTo>
                  <a:lnTo>
                    <a:pt x="77153" y="27718"/>
                  </a:lnTo>
                  <a:lnTo>
                    <a:pt x="91440" y="13430"/>
                  </a:lnTo>
                  <a:lnTo>
                    <a:pt x="87630" y="0"/>
                  </a:lnTo>
                  <a:lnTo>
                    <a:pt x="77153" y="6667"/>
                  </a:lnTo>
                  <a:lnTo>
                    <a:pt x="52388" y="17240"/>
                  </a:lnTo>
                  <a:lnTo>
                    <a:pt x="31433" y="20955"/>
                  </a:lnTo>
                  <a:lnTo>
                    <a:pt x="14288" y="13430"/>
                  </a:lnTo>
                  <a:lnTo>
                    <a:pt x="3810" y="27718"/>
                  </a:lnTo>
                  <a:lnTo>
                    <a:pt x="0" y="42005"/>
                  </a:lnTo>
                  <a:lnTo>
                    <a:pt x="17145" y="4867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12" name="Freeform: Shape 3711">
              <a:extLst>
                <a:ext uri="{FF2B5EF4-FFF2-40B4-BE49-F238E27FC236}">
                  <a16:creationId xmlns:a16="http://schemas.microsoft.com/office/drawing/2014/main" id="{C5EF0BE1-F246-0A66-5F4E-4E07564E5623}"/>
                </a:ext>
              </a:extLst>
            </p:cNvPr>
            <p:cNvSpPr/>
            <p:nvPr/>
          </p:nvSpPr>
          <p:spPr>
            <a:xfrm>
              <a:off x="6371077" y="3164616"/>
              <a:ext cx="154997" cy="127921"/>
            </a:xfrm>
            <a:custGeom>
              <a:avLst/>
              <a:gdLst>
                <a:gd name="connsiteX0" fmla="*/ 147638 w 158114"/>
                <a:gd name="connsiteY0" fmla="*/ 28575 h 130492"/>
                <a:gd name="connsiteX1" fmla="*/ 151447 w 158114"/>
                <a:gd name="connsiteY1" fmla="*/ 42863 h 130492"/>
                <a:gd name="connsiteX2" fmla="*/ 158115 w 158114"/>
                <a:gd name="connsiteY2" fmla="*/ 53245 h 130492"/>
                <a:gd name="connsiteX3" fmla="*/ 151447 w 158114"/>
                <a:gd name="connsiteY3" fmla="*/ 59912 h 130492"/>
                <a:gd name="connsiteX4" fmla="*/ 122872 w 158114"/>
                <a:gd name="connsiteY4" fmla="*/ 57150 h 130492"/>
                <a:gd name="connsiteX5" fmla="*/ 95250 w 158114"/>
                <a:gd name="connsiteY5" fmla="*/ 53245 h 130492"/>
                <a:gd name="connsiteX6" fmla="*/ 84772 w 158114"/>
                <a:gd name="connsiteY6" fmla="*/ 49530 h 130492"/>
                <a:gd name="connsiteX7" fmla="*/ 62865 w 158114"/>
                <a:gd name="connsiteY7" fmla="*/ 53245 h 130492"/>
                <a:gd name="connsiteX8" fmla="*/ 66675 w 158114"/>
                <a:gd name="connsiteY8" fmla="*/ 67532 h 130492"/>
                <a:gd name="connsiteX9" fmla="*/ 74295 w 158114"/>
                <a:gd name="connsiteY9" fmla="*/ 88487 h 130492"/>
                <a:gd name="connsiteX10" fmla="*/ 80963 w 158114"/>
                <a:gd name="connsiteY10" fmla="*/ 99060 h 130492"/>
                <a:gd name="connsiteX11" fmla="*/ 98107 w 158114"/>
                <a:gd name="connsiteY11" fmla="*/ 113348 h 130492"/>
                <a:gd name="connsiteX12" fmla="*/ 109538 w 158114"/>
                <a:gd name="connsiteY12" fmla="*/ 119920 h 130492"/>
                <a:gd name="connsiteX13" fmla="*/ 105727 w 158114"/>
                <a:gd name="connsiteY13" fmla="*/ 130493 h 130492"/>
                <a:gd name="connsiteX14" fmla="*/ 84772 w 158114"/>
                <a:gd name="connsiteY14" fmla="*/ 113348 h 130492"/>
                <a:gd name="connsiteX15" fmla="*/ 62865 w 158114"/>
                <a:gd name="connsiteY15" fmla="*/ 99060 h 130492"/>
                <a:gd name="connsiteX16" fmla="*/ 49530 w 158114"/>
                <a:gd name="connsiteY16" fmla="*/ 84773 h 130492"/>
                <a:gd name="connsiteX17" fmla="*/ 41910 w 158114"/>
                <a:gd name="connsiteY17" fmla="*/ 70485 h 130492"/>
                <a:gd name="connsiteX18" fmla="*/ 39052 w 158114"/>
                <a:gd name="connsiteY18" fmla="*/ 57150 h 130492"/>
                <a:gd name="connsiteX19" fmla="*/ 27622 w 158114"/>
                <a:gd name="connsiteY19" fmla="*/ 57150 h 130492"/>
                <a:gd name="connsiteX20" fmla="*/ 14288 w 158114"/>
                <a:gd name="connsiteY20" fmla="*/ 63818 h 130492"/>
                <a:gd name="connsiteX21" fmla="*/ 0 w 158114"/>
                <a:gd name="connsiteY21" fmla="*/ 57150 h 130492"/>
                <a:gd name="connsiteX22" fmla="*/ 0 w 158114"/>
                <a:gd name="connsiteY22" fmla="*/ 42863 h 130492"/>
                <a:gd name="connsiteX23" fmla="*/ 6668 w 158114"/>
                <a:gd name="connsiteY23" fmla="*/ 35243 h 130492"/>
                <a:gd name="connsiteX24" fmla="*/ 14288 w 158114"/>
                <a:gd name="connsiteY24" fmla="*/ 38957 h 130492"/>
                <a:gd name="connsiteX25" fmla="*/ 24765 w 158114"/>
                <a:gd name="connsiteY25" fmla="*/ 38957 h 130492"/>
                <a:gd name="connsiteX26" fmla="*/ 45720 w 158114"/>
                <a:gd name="connsiteY26" fmla="*/ 35243 h 130492"/>
                <a:gd name="connsiteX27" fmla="*/ 56197 w 158114"/>
                <a:gd name="connsiteY27" fmla="*/ 24670 h 130492"/>
                <a:gd name="connsiteX28" fmla="*/ 66675 w 158114"/>
                <a:gd name="connsiteY28" fmla="*/ 14288 h 130492"/>
                <a:gd name="connsiteX29" fmla="*/ 80963 w 158114"/>
                <a:gd name="connsiteY29" fmla="*/ 0 h 130492"/>
                <a:gd name="connsiteX30" fmla="*/ 95250 w 158114"/>
                <a:gd name="connsiteY30" fmla="*/ 14288 h 130492"/>
                <a:gd name="connsiteX31" fmla="*/ 116205 w 158114"/>
                <a:gd name="connsiteY31" fmla="*/ 32385 h 130492"/>
                <a:gd name="connsiteX32" fmla="*/ 130493 w 158114"/>
                <a:gd name="connsiteY32" fmla="*/ 32385 h 130492"/>
                <a:gd name="connsiteX33" fmla="*/ 147638 w 158114"/>
                <a:gd name="connsiteY33" fmla="*/ 28575 h 130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8114" h="130492">
                  <a:moveTo>
                    <a:pt x="147638" y="28575"/>
                  </a:moveTo>
                  <a:lnTo>
                    <a:pt x="151447" y="42863"/>
                  </a:lnTo>
                  <a:lnTo>
                    <a:pt x="158115" y="53245"/>
                  </a:lnTo>
                  <a:lnTo>
                    <a:pt x="151447" y="59912"/>
                  </a:lnTo>
                  <a:lnTo>
                    <a:pt x="122872" y="57150"/>
                  </a:lnTo>
                  <a:lnTo>
                    <a:pt x="95250" y="53245"/>
                  </a:lnTo>
                  <a:lnTo>
                    <a:pt x="84772" y="49530"/>
                  </a:lnTo>
                  <a:lnTo>
                    <a:pt x="62865" y="53245"/>
                  </a:lnTo>
                  <a:lnTo>
                    <a:pt x="66675" y="67532"/>
                  </a:lnTo>
                  <a:lnTo>
                    <a:pt x="74295" y="88487"/>
                  </a:lnTo>
                  <a:lnTo>
                    <a:pt x="80963" y="99060"/>
                  </a:lnTo>
                  <a:lnTo>
                    <a:pt x="98107" y="113348"/>
                  </a:lnTo>
                  <a:lnTo>
                    <a:pt x="109538" y="119920"/>
                  </a:lnTo>
                  <a:lnTo>
                    <a:pt x="105727" y="130493"/>
                  </a:lnTo>
                  <a:lnTo>
                    <a:pt x="84772" y="113348"/>
                  </a:lnTo>
                  <a:lnTo>
                    <a:pt x="62865" y="99060"/>
                  </a:lnTo>
                  <a:lnTo>
                    <a:pt x="49530" y="84773"/>
                  </a:lnTo>
                  <a:lnTo>
                    <a:pt x="41910" y="70485"/>
                  </a:lnTo>
                  <a:lnTo>
                    <a:pt x="39052" y="57150"/>
                  </a:lnTo>
                  <a:lnTo>
                    <a:pt x="27622" y="57150"/>
                  </a:lnTo>
                  <a:lnTo>
                    <a:pt x="14288" y="63818"/>
                  </a:lnTo>
                  <a:lnTo>
                    <a:pt x="0" y="57150"/>
                  </a:lnTo>
                  <a:lnTo>
                    <a:pt x="0" y="42863"/>
                  </a:lnTo>
                  <a:lnTo>
                    <a:pt x="6668" y="35243"/>
                  </a:lnTo>
                  <a:lnTo>
                    <a:pt x="14288" y="38957"/>
                  </a:lnTo>
                  <a:lnTo>
                    <a:pt x="24765" y="38957"/>
                  </a:lnTo>
                  <a:lnTo>
                    <a:pt x="45720" y="35243"/>
                  </a:lnTo>
                  <a:lnTo>
                    <a:pt x="56197" y="24670"/>
                  </a:lnTo>
                  <a:lnTo>
                    <a:pt x="66675" y="14288"/>
                  </a:lnTo>
                  <a:lnTo>
                    <a:pt x="80963" y="0"/>
                  </a:lnTo>
                  <a:lnTo>
                    <a:pt x="95250" y="14288"/>
                  </a:lnTo>
                  <a:lnTo>
                    <a:pt x="116205" y="32385"/>
                  </a:lnTo>
                  <a:lnTo>
                    <a:pt x="130493" y="32385"/>
                  </a:lnTo>
                  <a:lnTo>
                    <a:pt x="147638" y="2857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13" name="Freeform: Shape 3712">
              <a:extLst>
                <a:ext uri="{FF2B5EF4-FFF2-40B4-BE49-F238E27FC236}">
                  <a16:creationId xmlns:a16="http://schemas.microsoft.com/office/drawing/2014/main" id="{36ED0FC7-5A42-5D76-B172-D85664F87B59}"/>
                </a:ext>
              </a:extLst>
            </p:cNvPr>
            <p:cNvSpPr/>
            <p:nvPr/>
          </p:nvSpPr>
          <p:spPr>
            <a:xfrm>
              <a:off x="6371077" y="3164616"/>
              <a:ext cx="154997" cy="127921"/>
            </a:xfrm>
            <a:custGeom>
              <a:avLst/>
              <a:gdLst>
                <a:gd name="connsiteX0" fmla="*/ 147638 w 158114"/>
                <a:gd name="connsiteY0" fmla="*/ 28575 h 130492"/>
                <a:gd name="connsiteX1" fmla="*/ 151447 w 158114"/>
                <a:gd name="connsiteY1" fmla="*/ 42863 h 130492"/>
                <a:gd name="connsiteX2" fmla="*/ 158115 w 158114"/>
                <a:gd name="connsiteY2" fmla="*/ 53245 h 130492"/>
                <a:gd name="connsiteX3" fmla="*/ 151447 w 158114"/>
                <a:gd name="connsiteY3" fmla="*/ 59912 h 130492"/>
                <a:gd name="connsiteX4" fmla="*/ 122872 w 158114"/>
                <a:gd name="connsiteY4" fmla="*/ 57150 h 130492"/>
                <a:gd name="connsiteX5" fmla="*/ 95250 w 158114"/>
                <a:gd name="connsiteY5" fmla="*/ 53245 h 130492"/>
                <a:gd name="connsiteX6" fmla="*/ 84772 w 158114"/>
                <a:gd name="connsiteY6" fmla="*/ 49530 h 130492"/>
                <a:gd name="connsiteX7" fmla="*/ 62865 w 158114"/>
                <a:gd name="connsiteY7" fmla="*/ 53245 h 130492"/>
                <a:gd name="connsiteX8" fmla="*/ 66675 w 158114"/>
                <a:gd name="connsiteY8" fmla="*/ 67532 h 130492"/>
                <a:gd name="connsiteX9" fmla="*/ 74295 w 158114"/>
                <a:gd name="connsiteY9" fmla="*/ 88487 h 130492"/>
                <a:gd name="connsiteX10" fmla="*/ 80963 w 158114"/>
                <a:gd name="connsiteY10" fmla="*/ 99060 h 130492"/>
                <a:gd name="connsiteX11" fmla="*/ 98107 w 158114"/>
                <a:gd name="connsiteY11" fmla="*/ 113348 h 130492"/>
                <a:gd name="connsiteX12" fmla="*/ 109538 w 158114"/>
                <a:gd name="connsiteY12" fmla="*/ 119920 h 130492"/>
                <a:gd name="connsiteX13" fmla="*/ 105727 w 158114"/>
                <a:gd name="connsiteY13" fmla="*/ 130493 h 130492"/>
                <a:gd name="connsiteX14" fmla="*/ 84772 w 158114"/>
                <a:gd name="connsiteY14" fmla="*/ 113348 h 130492"/>
                <a:gd name="connsiteX15" fmla="*/ 62865 w 158114"/>
                <a:gd name="connsiteY15" fmla="*/ 99060 h 130492"/>
                <a:gd name="connsiteX16" fmla="*/ 49530 w 158114"/>
                <a:gd name="connsiteY16" fmla="*/ 84773 h 130492"/>
                <a:gd name="connsiteX17" fmla="*/ 41910 w 158114"/>
                <a:gd name="connsiteY17" fmla="*/ 70485 h 130492"/>
                <a:gd name="connsiteX18" fmla="*/ 39052 w 158114"/>
                <a:gd name="connsiteY18" fmla="*/ 57150 h 130492"/>
                <a:gd name="connsiteX19" fmla="*/ 27622 w 158114"/>
                <a:gd name="connsiteY19" fmla="*/ 57150 h 130492"/>
                <a:gd name="connsiteX20" fmla="*/ 14288 w 158114"/>
                <a:gd name="connsiteY20" fmla="*/ 63818 h 130492"/>
                <a:gd name="connsiteX21" fmla="*/ 0 w 158114"/>
                <a:gd name="connsiteY21" fmla="*/ 57150 h 130492"/>
                <a:gd name="connsiteX22" fmla="*/ 0 w 158114"/>
                <a:gd name="connsiteY22" fmla="*/ 42863 h 130492"/>
                <a:gd name="connsiteX23" fmla="*/ 6668 w 158114"/>
                <a:gd name="connsiteY23" fmla="*/ 35243 h 130492"/>
                <a:gd name="connsiteX24" fmla="*/ 14288 w 158114"/>
                <a:gd name="connsiteY24" fmla="*/ 38957 h 130492"/>
                <a:gd name="connsiteX25" fmla="*/ 24765 w 158114"/>
                <a:gd name="connsiteY25" fmla="*/ 38957 h 130492"/>
                <a:gd name="connsiteX26" fmla="*/ 45720 w 158114"/>
                <a:gd name="connsiteY26" fmla="*/ 35243 h 130492"/>
                <a:gd name="connsiteX27" fmla="*/ 56197 w 158114"/>
                <a:gd name="connsiteY27" fmla="*/ 24670 h 130492"/>
                <a:gd name="connsiteX28" fmla="*/ 66675 w 158114"/>
                <a:gd name="connsiteY28" fmla="*/ 14288 h 130492"/>
                <a:gd name="connsiteX29" fmla="*/ 80963 w 158114"/>
                <a:gd name="connsiteY29" fmla="*/ 0 h 130492"/>
                <a:gd name="connsiteX30" fmla="*/ 95250 w 158114"/>
                <a:gd name="connsiteY30" fmla="*/ 14288 h 130492"/>
                <a:gd name="connsiteX31" fmla="*/ 116205 w 158114"/>
                <a:gd name="connsiteY31" fmla="*/ 32385 h 130492"/>
                <a:gd name="connsiteX32" fmla="*/ 130493 w 158114"/>
                <a:gd name="connsiteY32" fmla="*/ 32385 h 130492"/>
                <a:gd name="connsiteX33" fmla="*/ 147638 w 158114"/>
                <a:gd name="connsiteY33" fmla="*/ 28575 h 130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8114" h="130492">
                  <a:moveTo>
                    <a:pt x="147638" y="28575"/>
                  </a:moveTo>
                  <a:lnTo>
                    <a:pt x="151447" y="42863"/>
                  </a:lnTo>
                  <a:lnTo>
                    <a:pt x="158115" y="53245"/>
                  </a:lnTo>
                  <a:lnTo>
                    <a:pt x="151447" y="59912"/>
                  </a:lnTo>
                  <a:lnTo>
                    <a:pt x="122872" y="57150"/>
                  </a:lnTo>
                  <a:lnTo>
                    <a:pt x="95250" y="53245"/>
                  </a:lnTo>
                  <a:lnTo>
                    <a:pt x="84772" y="49530"/>
                  </a:lnTo>
                  <a:lnTo>
                    <a:pt x="62865" y="53245"/>
                  </a:lnTo>
                  <a:lnTo>
                    <a:pt x="66675" y="67532"/>
                  </a:lnTo>
                  <a:lnTo>
                    <a:pt x="74295" y="88487"/>
                  </a:lnTo>
                  <a:lnTo>
                    <a:pt x="80963" y="99060"/>
                  </a:lnTo>
                  <a:lnTo>
                    <a:pt x="98107" y="113348"/>
                  </a:lnTo>
                  <a:lnTo>
                    <a:pt x="109538" y="119920"/>
                  </a:lnTo>
                  <a:lnTo>
                    <a:pt x="105727" y="130493"/>
                  </a:lnTo>
                  <a:lnTo>
                    <a:pt x="84772" y="113348"/>
                  </a:lnTo>
                  <a:lnTo>
                    <a:pt x="62865" y="99060"/>
                  </a:lnTo>
                  <a:lnTo>
                    <a:pt x="49530" y="84773"/>
                  </a:lnTo>
                  <a:lnTo>
                    <a:pt x="41910" y="70485"/>
                  </a:lnTo>
                  <a:lnTo>
                    <a:pt x="39052" y="57150"/>
                  </a:lnTo>
                  <a:lnTo>
                    <a:pt x="27622" y="57150"/>
                  </a:lnTo>
                  <a:lnTo>
                    <a:pt x="14288" y="63818"/>
                  </a:lnTo>
                  <a:lnTo>
                    <a:pt x="0" y="57150"/>
                  </a:lnTo>
                  <a:lnTo>
                    <a:pt x="0" y="42863"/>
                  </a:lnTo>
                  <a:lnTo>
                    <a:pt x="6668" y="35243"/>
                  </a:lnTo>
                  <a:lnTo>
                    <a:pt x="14288" y="38957"/>
                  </a:lnTo>
                  <a:lnTo>
                    <a:pt x="24765" y="38957"/>
                  </a:lnTo>
                  <a:lnTo>
                    <a:pt x="45720" y="35243"/>
                  </a:lnTo>
                  <a:lnTo>
                    <a:pt x="56197" y="24670"/>
                  </a:lnTo>
                  <a:lnTo>
                    <a:pt x="66675" y="14288"/>
                  </a:lnTo>
                  <a:lnTo>
                    <a:pt x="80963" y="0"/>
                  </a:lnTo>
                  <a:lnTo>
                    <a:pt x="95250" y="14288"/>
                  </a:lnTo>
                  <a:lnTo>
                    <a:pt x="116205" y="32385"/>
                  </a:lnTo>
                  <a:lnTo>
                    <a:pt x="130493" y="32385"/>
                  </a:lnTo>
                  <a:lnTo>
                    <a:pt x="147638" y="2857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14" name="Freeform: Shape 3713">
              <a:extLst>
                <a:ext uri="{FF2B5EF4-FFF2-40B4-BE49-F238E27FC236}">
                  <a16:creationId xmlns:a16="http://schemas.microsoft.com/office/drawing/2014/main" id="{23201836-1930-B595-5B4B-08EC25169DFA}"/>
                </a:ext>
              </a:extLst>
            </p:cNvPr>
            <p:cNvSpPr/>
            <p:nvPr/>
          </p:nvSpPr>
          <p:spPr>
            <a:xfrm>
              <a:off x="6432702" y="3213170"/>
              <a:ext cx="103643" cy="90572"/>
            </a:xfrm>
            <a:custGeom>
              <a:avLst/>
              <a:gdLst>
                <a:gd name="connsiteX0" fmla="*/ 0 w 105727"/>
                <a:gd name="connsiteY0" fmla="*/ 3715 h 92392"/>
                <a:gd name="connsiteX1" fmla="*/ 21907 w 105727"/>
                <a:gd name="connsiteY1" fmla="*/ 0 h 92392"/>
                <a:gd name="connsiteX2" fmla="*/ 46673 w 105727"/>
                <a:gd name="connsiteY2" fmla="*/ 3715 h 92392"/>
                <a:gd name="connsiteX3" fmla="*/ 88582 w 105727"/>
                <a:gd name="connsiteY3" fmla="*/ 10382 h 92392"/>
                <a:gd name="connsiteX4" fmla="*/ 99060 w 105727"/>
                <a:gd name="connsiteY4" fmla="*/ 10382 h 92392"/>
                <a:gd name="connsiteX5" fmla="*/ 102870 w 105727"/>
                <a:gd name="connsiteY5" fmla="*/ 24670 h 92392"/>
                <a:gd name="connsiteX6" fmla="*/ 95250 w 105727"/>
                <a:gd name="connsiteY6" fmla="*/ 32290 h 92392"/>
                <a:gd name="connsiteX7" fmla="*/ 105728 w 105727"/>
                <a:gd name="connsiteY7" fmla="*/ 45720 h 92392"/>
                <a:gd name="connsiteX8" fmla="*/ 92393 w 105727"/>
                <a:gd name="connsiteY8" fmla="*/ 56102 h 92392"/>
                <a:gd name="connsiteX9" fmla="*/ 88582 w 105727"/>
                <a:gd name="connsiteY9" fmla="*/ 70390 h 92392"/>
                <a:gd name="connsiteX10" fmla="*/ 78105 w 105727"/>
                <a:gd name="connsiteY10" fmla="*/ 70390 h 92392"/>
                <a:gd name="connsiteX11" fmla="*/ 74295 w 105727"/>
                <a:gd name="connsiteY11" fmla="*/ 92392 h 92392"/>
                <a:gd name="connsiteX12" fmla="*/ 60007 w 105727"/>
                <a:gd name="connsiteY12" fmla="*/ 80963 h 92392"/>
                <a:gd name="connsiteX13" fmla="*/ 46673 w 105727"/>
                <a:gd name="connsiteY13" fmla="*/ 70390 h 92392"/>
                <a:gd name="connsiteX14" fmla="*/ 28575 w 105727"/>
                <a:gd name="connsiteY14" fmla="*/ 56102 h 92392"/>
                <a:gd name="connsiteX15" fmla="*/ 18098 w 105727"/>
                <a:gd name="connsiteY15" fmla="*/ 49530 h 92392"/>
                <a:gd name="connsiteX16" fmla="*/ 11430 w 105727"/>
                <a:gd name="connsiteY16" fmla="*/ 38957 h 92392"/>
                <a:gd name="connsiteX17" fmla="*/ 3810 w 105727"/>
                <a:gd name="connsiteY17" fmla="*/ 18002 h 92392"/>
                <a:gd name="connsiteX18" fmla="*/ 0 w 105727"/>
                <a:gd name="connsiteY18" fmla="*/ 3715 h 92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5727" h="92392">
                  <a:moveTo>
                    <a:pt x="0" y="3715"/>
                  </a:moveTo>
                  <a:lnTo>
                    <a:pt x="21907" y="0"/>
                  </a:lnTo>
                  <a:lnTo>
                    <a:pt x="46673" y="3715"/>
                  </a:lnTo>
                  <a:lnTo>
                    <a:pt x="88582" y="10382"/>
                  </a:lnTo>
                  <a:lnTo>
                    <a:pt x="99060" y="10382"/>
                  </a:lnTo>
                  <a:lnTo>
                    <a:pt x="102870" y="24670"/>
                  </a:lnTo>
                  <a:lnTo>
                    <a:pt x="95250" y="32290"/>
                  </a:lnTo>
                  <a:lnTo>
                    <a:pt x="105728" y="45720"/>
                  </a:lnTo>
                  <a:lnTo>
                    <a:pt x="92393" y="56102"/>
                  </a:lnTo>
                  <a:lnTo>
                    <a:pt x="88582" y="70390"/>
                  </a:lnTo>
                  <a:lnTo>
                    <a:pt x="78105" y="70390"/>
                  </a:lnTo>
                  <a:lnTo>
                    <a:pt x="74295" y="92392"/>
                  </a:lnTo>
                  <a:lnTo>
                    <a:pt x="60007" y="80963"/>
                  </a:lnTo>
                  <a:lnTo>
                    <a:pt x="46673" y="70390"/>
                  </a:lnTo>
                  <a:lnTo>
                    <a:pt x="28575" y="56102"/>
                  </a:lnTo>
                  <a:lnTo>
                    <a:pt x="18098" y="49530"/>
                  </a:lnTo>
                  <a:lnTo>
                    <a:pt x="11430" y="38957"/>
                  </a:lnTo>
                  <a:lnTo>
                    <a:pt x="3810" y="18002"/>
                  </a:lnTo>
                  <a:lnTo>
                    <a:pt x="0" y="371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15" name="Freeform: Shape 3714">
              <a:extLst>
                <a:ext uri="{FF2B5EF4-FFF2-40B4-BE49-F238E27FC236}">
                  <a16:creationId xmlns:a16="http://schemas.microsoft.com/office/drawing/2014/main" id="{EAAF910F-F9BB-FB62-4CC2-0AC5516DA560}"/>
                </a:ext>
              </a:extLst>
            </p:cNvPr>
            <p:cNvSpPr/>
            <p:nvPr/>
          </p:nvSpPr>
          <p:spPr>
            <a:xfrm>
              <a:off x="6505533" y="3185998"/>
              <a:ext cx="121384" cy="134551"/>
            </a:xfrm>
            <a:custGeom>
              <a:avLst/>
              <a:gdLst>
                <a:gd name="connsiteX0" fmla="*/ 24765 w 123825"/>
                <a:gd name="connsiteY0" fmla="*/ 137255 h 137255"/>
                <a:gd name="connsiteX1" fmla="*/ 10478 w 123825"/>
                <a:gd name="connsiteY1" fmla="*/ 126683 h 137255"/>
                <a:gd name="connsiteX2" fmla="*/ 0 w 123825"/>
                <a:gd name="connsiteY2" fmla="*/ 120110 h 137255"/>
                <a:gd name="connsiteX3" fmla="*/ 3810 w 123825"/>
                <a:gd name="connsiteY3" fmla="*/ 98108 h 137255"/>
                <a:gd name="connsiteX4" fmla="*/ 14288 w 123825"/>
                <a:gd name="connsiteY4" fmla="*/ 98108 h 137255"/>
                <a:gd name="connsiteX5" fmla="*/ 18098 w 123825"/>
                <a:gd name="connsiteY5" fmla="*/ 83820 h 137255"/>
                <a:gd name="connsiteX6" fmla="*/ 31433 w 123825"/>
                <a:gd name="connsiteY6" fmla="*/ 73438 h 137255"/>
                <a:gd name="connsiteX7" fmla="*/ 20955 w 123825"/>
                <a:gd name="connsiteY7" fmla="*/ 60008 h 137255"/>
                <a:gd name="connsiteX8" fmla="*/ 28575 w 123825"/>
                <a:gd name="connsiteY8" fmla="*/ 52388 h 137255"/>
                <a:gd name="connsiteX9" fmla="*/ 24765 w 123825"/>
                <a:gd name="connsiteY9" fmla="*/ 38100 h 137255"/>
                <a:gd name="connsiteX10" fmla="*/ 14288 w 123825"/>
                <a:gd name="connsiteY10" fmla="*/ 38100 h 137255"/>
                <a:gd name="connsiteX11" fmla="*/ 20955 w 123825"/>
                <a:gd name="connsiteY11" fmla="*/ 31433 h 137255"/>
                <a:gd name="connsiteX12" fmla="*/ 10478 w 123825"/>
                <a:gd name="connsiteY12" fmla="*/ 6763 h 137255"/>
                <a:gd name="connsiteX13" fmla="*/ 24765 w 123825"/>
                <a:gd name="connsiteY13" fmla="*/ 0 h 137255"/>
                <a:gd name="connsiteX14" fmla="*/ 60008 w 123825"/>
                <a:gd name="connsiteY14" fmla="*/ 0 h 137255"/>
                <a:gd name="connsiteX15" fmla="*/ 63818 w 123825"/>
                <a:gd name="connsiteY15" fmla="*/ 13430 h 137255"/>
                <a:gd name="connsiteX16" fmla="*/ 74295 w 123825"/>
                <a:gd name="connsiteY16" fmla="*/ 27718 h 137255"/>
                <a:gd name="connsiteX17" fmla="*/ 88583 w 123825"/>
                <a:gd name="connsiteY17" fmla="*/ 48673 h 137255"/>
                <a:gd name="connsiteX18" fmla="*/ 116205 w 123825"/>
                <a:gd name="connsiteY18" fmla="*/ 52388 h 137255"/>
                <a:gd name="connsiteX19" fmla="*/ 116205 w 123825"/>
                <a:gd name="connsiteY19" fmla="*/ 70580 h 137255"/>
                <a:gd name="connsiteX20" fmla="*/ 105728 w 123825"/>
                <a:gd name="connsiteY20" fmla="*/ 77248 h 137255"/>
                <a:gd name="connsiteX21" fmla="*/ 116205 w 123825"/>
                <a:gd name="connsiteY21" fmla="*/ 91535 h 137255"/>
                <a:gd name="connsiteX22" fmla="*/ 123825 w 123825"/>
                <a:gd name="connsiteY22" fmla="*/ 102013 h 137255"/>
                <a:gd name="connsiteX23" fmla="*/ 112395 w 123825"/>
                <a:gd name="connsiteY23" fmla="*/ 122968 h 137255"/>
                <a:gd name="connsiteX24" fmla="*/ 95250 w 123825"/>
                <a:gd name="connsiteY24" fmla="*/ 126683 h 137255"/>
                <a:gd name="connsiteX25" fmla="*/ 77153 w 123825"/>
                <a:gd name="connsiteY25" fmla="*/ 133350 h 137255"/>
                <a:gd name="connsiteX26" fmla="*/ 63818 w 123825"/>
                <a:gd name="connsiteY26" fmla="*/ 133350 h 137255"/>
                <a:gd name="connsiteX27" fmla="*/ 49530 w 123825"/>
                <a:gd name="connsiteY27" fmla="*/ 122968 h 137255"/>
                <a:gd name="connsiteX28" fmla="*/ 35243 w 123825"/>
                <a:gd name="connsiteY28" fmla="*/ 120110 h 137255"/>
                <a:gd name="connsiteX29" fmla="*/ 28575 w 123825"/>
                <a:gd name="connsiteY29" fmla="*/ 126683 h 137255"/>
                <a:gd name="connsiteX30" fmla="*/ 24765 w 123825"/>
                <a:gd name="connsiteY30" fmla="*/ 137255 h 137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23825" h="137255">
                  <a:moveTo>
                    <a:pt x="24765" y="137255"/>
                  </a:moveTo>
                  <a:lnTo>
                    <a:pt x="10478" y="126683"/>
                  </a:lnTo>
                  <a:lnTo>
                    <a:pt x="0" y="120110"/>
                  </a:lnTo>
                  <a:lnTo>
                    <a:pt x="3810" y="98108"/>
                  </a:lnTo>
                  <a:lnTo>
                    <a:pt x="14288" y="98108"/>
                  </a:lnTo>
                  <a:lnTo>
                    <a:pt x="18098" y="83820"/>
                  </a:lnTo>
                  <a:lnTo>
                    <a:pt x="31433" y="73438"/>
                  </a:lnTo>
                  <a:lnTo>
                    <a:pt x="20955" y="60008"/>
                  </a:lnTo>
                  <a:lnTo>
                    <a:pt x="28575" y="52388"/>
                  </a:lnTo>
                  <a:lnTo>
                    <a:pt x="24765" y="38100"/>
                  </a:lnTo>
                  <a:lnTo>
                    <a:pt x="14288" y="38100"/>
                  </a:lnTo>
                  <a:lnTo>
                    <a:pt x="20955" y="31433"/>
                  </a:lnTo>
                  <a:lnTo>
                    <a:pt x="10478" y="6763"/>
                  </a:lnTo>
                  <a:lnTo>
                    <a:pt x="24765" y="0"/>
                  </a:lnTo>
                  <a:lnTo>
                    <a:pt x="60008" y="0"/>
                  </a:lnTo>
                  <a:lnTo>
                    <a:pt x="63818" y="13430"/>
                  </a:lnTo>
                  <a:lnTo>
                    <a:pt x="74295" y="27718"/>
                  </a:lnTo>
                  <a:lnTo>
                    <a:pt x="88583" y="48673"/>
                  </a:lnTo>
                  <a:lnTo>
                    <a:pt x="116205" y="52388"/>
                  </a:lnTo>
                  <a:lnTo>
                    <a:pt x="116205" y="70580"/>
                  </a:lnTo>
                  <a:lnTo>
                    <a:pt x="105728" y="77248"/>
                  </a:lnTo>
                  <a:lnTo>
                    <a:pt x="116205" y="91535"/>
                  </a:lnTo>
                  <a:lnTo>
                    <a:pt x="123825" y="102013"/>
                  </a:lnTo>
                  <a:lnTo>
                    <a:pt x="112395" y="122968"/>
                  </a:lnTo>
                  <a:lnTo>
                    <a:pt x="95250" y="126683"/>
                  </a:lnTo>
                  <a:lnTo>
                    <a:pt x="77153" y="133350"/>
                  </a:lnTo>
                  <a:lnTo>
                    <a:pt x="63818" y="133350"/>
                  </a:lnTo>
                  <a:lnTo>
                    <a:pt x="49530" y="122968"/>
                  </a:lnTo>
                  <a:lnTo>
                    <a:pt x="35243" y="120110"/>
                  </a:lnTo>
                  <a:lnTo>
                    <a:pt x="28575" y="126683"/>
                  </a:lnTo>
                  <a:lnTo>
                    <a:pt x="24765" y="13725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16" name="Freeform: Shape 3715">
              <a:extLst>
                <a:ext uri="{FF2B5EF4-FFF2-40B4-BE49-F238E27FC236}">
                  <a16:creationId xmlns:a16="http://schemas.microsoft.com/office/drawing/2014/main" id="{F6514970-660D-56B1-8743-A4CBC5F132B0}"/>
                </a:ext>
              </a:extLst>
            </p:cNvPr>
            <p:cNvSpPr/>
            <p:nvPr/>
          </p:nvSpPr>
          <p:spPr>
            <a:xfrm>
              <a:off x="6564358" y="3306543"/>
              <a:ext cx="69095" cy="54997"/>
            </a:xfrm>
            <a:custGeom>
              <a:avLst/>
              <a:gdLst>
                <a:gd name="connsiteX0" fmla="*/ 52388 w 70484"/>
                <a:gd name="connsiteY0" fmla="*/ 0 h 56102"/>
                <a:gd name="connsiteX1" fmla="*/ 56197 w 70484"/>
                <a:gd name="connsiteY1" fmla="*/ 14288 h 56102"/>
                <a:gd name="connsiteX2" fmla="*/ 66675 w 70484"/>
                <a:gd name="connsiteY2" fmla="*/ 24670 h 56102"/>
                <a:gd name="connsiteX3" fmla="*/ 70485 w 70484"/>
                <a:gd name="connsiteY3" fmla="*/ 35242 h 56102"/>
                <a:gd name="connsiteX4" fmla="*/ 56197 w 70484"/>
                <a:gd name="connsiteY4" fmla="*/ 45720 h 56102"/>
                <a:gd name="connsiteX5" fmla="*/ 35242 w 70484"/>
                <a:gd name="connsiteY5" fmla="*/ 49530 h 56102"/>
                <a:gd name="connsiteX6" fmla="*/ 10477 w 70484"/>
                <a:gd name="connsiteY6" fmla="*/ 56102 h 56102"/>
                <a:gd name="connsiteX7" fmla="*/ 0 w 70484"/>
                <a:gd name="connsiteY7" fmla="*/ 35242 h 56102"/>
                <a:gd name="connsiteX8" fmla="*/ 3810 w 70484"/>
                <a:gd name="connsiteY8" fmla="*/ 10382 h 56102"/>
                <a:gd name="connsiteX9" fmla="*/ 17145 w 70484"/>
                <a:gd name="connsiteY9" fmla="*/ 10382 h 56102"/>
                <a:gd name="connsiteX10" fmla="*/ 35242 w 70484"/>
                <a:gd name="connsiteY10" fmla="*/ 3715 h 56102"/>
                <a:gd name="connsiteX11" fmla="*/ 52388 w 70484"/>
                <a:gd name="connsiteY11" fmla="*/ 0 h 56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0484" h="56102">
                  <a:moveTo>
                    <a:pt x="52388" y="0"/>
                  </a:moveTo>
                  <a:lnTo>
                    <a:pt x="56197" y="14288"/>
                  </a:lnTo>
                  <a:lnTo>
                    <a:pt x="66675" y="24670"/>
                  </a:lnTo>
                  <a:lnTo>
                    <a:pt x="70485" y="35242"/>
                  </a:lnTo>
                  <a:lnTo>
                    <a:pt x="56197" y="45720"/>
                  </a:lnTo>
                  <a:lnTo>
                    <a:pt x="35242" y="49530"/>
                  </a:lnTo>
                  <a:lnTo>
                    <a:pt x="10477" y="56102"/>
                  </a:lnTo>
                  <a:lnTo>
                    <a:pt x="0" y="35242"/>
                  </a:lnTo>
                  <a:lnTo>
                    <a:pt x="3810" y="10382"/>
                  </a:lnTo>
                  <a:lnTo>
                    <a:pt x="17145" y="10382"/>
                  </a:lnTo>
                  <a:lnTo>
                    <a:pt x="35242" y="3715"/>
                  </a:lnTo>
                  <a:lnTo>
                    <a:pt x="52388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17" name="Freeform: Shape 3716">
              <a:extLst>
                <a:ext uri="{FF2B5EF4-FFF2-40B4-BE49-F238E27FC236}">
                  <a16:creationId xmlns:a16="http://schemas.microsoft.com/office/drawing/2014/main" id="{C8E01A39-EE3F-DBFD-9AD1-D99DCA741618}"/>
                </a:ext>
              </a:extLst>
            </p:cNvPr>
            <p:cNvSpPr/>
            <p:nvPr/>
          </p:nvSpPr>
          <p:spPr>
            <a:xfrm>
              <a:off x="6740831" y="3102990"/>
              <a:ext cx="89638" cy="103644"/>
            </a:xfrm>
            <a:custGeom>
              <a:avLst/>
              <a:gdLst>
                <a:gd name="connsiteX0" fmla="*/ 35243 w 91440"/>
                <a:gd name="connsiteY0" fmla="*/ 105727 h 105727"/>
                <a:gd name="connsiteX1" fmla="*/ 27623 w 91440"/>
                <a:gd name="connsiteY1" fmla="*/ 84677 h 105727"/>
                <a:gd name="connsiteX2" fmla="*/ 35243 w 91440"/>
                <a:gd name="connsiteY2" fmla="*/ 62865 h 105727"/>
                <a:gd name="connsiteX3" fmla="*/ 31432 w 91440"/>
                <a:gd name="connsiteY3" fmla="*/ 56102 h 105727"/>
                <a:gd name="connsiteX4" fmla="*/ 23813 w 91440"/>
                <a:gd name="connsiteY4" fmla="*/ 45720 h 105727"/>
                <a:gd name="connsiteX5" fmla="*/ 6668 w 91440"/>
                <a:gd name="connsiteY5" fmla="*/ 31433 h 105727"/>
                <a:gd name="connsiteX6" fmla="*/ 2857 w 91440"/>
                <a:gd name="connsiteY6" fmla="*/ 17145 h 105727"/>
                <a:gd name="connsiteX7" fmla="*/ 0 w 91440"/>
                <a:gd name="connsiteY7" fmla="*/ 6572 h 105727"/>
                <a:gd name="connsiteX8" fmla="*/ 6668 w 91440"/>
                <a:gd name="connsiteY8" fmla="*/ 0 h 105727"/>
                <a:gd name="connsiteX9" fmla="*/ 31432 w 91440"/>
                <a:gd name="connsiteY9" fmla="*/ 2858 h 105727"/>
                <a:gd name="connsiteX10" fmla="*/ 52388 w 91440"/>
                <a:gd name="connsiteY10" fmla="*/ 10477 h 105727"/>
                <a:gd name="connsiteX11" fmla="*/ 59055 w 91440"/>
                <a:gd name="connsiteY11" fmla="*/ 24765 h 105727"/>
                <a:gd name="connsiteX12" fmla="*/ 66675 w 91440"/>
                <a:gd name="connsiteY12" fmla="*/ 39052 h 105727"/>
                <a:gd name="connsiteX13" fmla="*/ 83820 w 91440"/>
                <a:gd name="connsiteY13" fmla="*/ 49435 h 105727"/>
                <a:gd name="connsiteX14" fmla="*/ 91440 w 91440"/>
                <a:gd name="connsiteY14" fmla="*/ 62865 h 105727"/>
                <a:gd name="connsiteX15" fmla="*/ 83820 w 91440"/>
                <a:gd name="connsiteY15" fmla="*/ 74295 h 105727"/>
                <a:gd name="connsiteX16" fmla="*/ 69532 w 91440"/>
                <a:gd name="connsiteY16" fmla="*/ 74295 h 105727"/>
                <a:gd name="connsiteX17" fmla="*/ 52388 w 91440"/>
                <a:gd name="connsiteY17" fmla="*/ 70390 h 105727"/>
                <a:gd name="connsiteX18" fmla="*/ 52388 w 91440"/>
                <a:gd name="connsiteY18" fmla="*/ 84677 h 105727"/>
                <a:gd name="connsiteX19" fmla="*/ 41910 w 91440"/>
                <a:gd name="connsiteY19" fmla="*/ 98108 h 105727"/>
                <a:gd name="connsiteX20" fmla="*/ 35243 w 91440"/>
                <a:gd name="connsiteY20" fmla="*/ 105727 h 10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1440" h="105727">
                  <a:moveTo>
                    <a:pt x="35243" y="105727"/>
                  </a:moveTo>
                  <a:lnTo>
                    <a:pt x="27623" y="84677"/>
                  </a:lnTo>
                  <a:lnTo>
                    <a:pt x="35243" y="62865"/>
                  </a:lnTo>
                  <a:lnTo>
                    <a:pt x="31432" y="56102"/>
                  </a:lnTo>
                  <a:lnTo>
                    <a:pt x="23813" y="45720"/>
                  </a:lnTo>
                  <a:lnTo>
                    <a:pt x="6668" y="31433"/>
                  </a:lnTo>
                  <a:lnTo>
                    <a:pt x="2857" y="17145"/>
                  </a:lnTo>
                  <a:lnTo>
                    <a:pt x="0" y="6572"/>
                  </a:lnTo>
                  <a:lnTo>
                    <a:pt x="6668" y="0"/>
                  </a:lnTo>
                  <a:lnTo>
                    <a:pt x="31432" y="2858"/>
                  </a:lnTo>
                  <a:lnTo>
                    <a:pt x="52388" y="10477"/>
                  </a:lnTo>
                  <a:lnTo>
                    <a:pt x="59055" y="24765"/>
                  </a:lnTo>
                  <a:lnTo>
                    <a:pt x="66675" y="39052"/>
                  </a:lnTo>
                  <a:lnTo>
                    <a:pt x="83820" y="49435"/>
                  </a:lnTo>
                  <a:lnTo>
                    <a:pt x="91440" y="62865"/>
                  </a:lnTo>
                  <a:lnTo>
                    <a:pt x="83820" y="74295"/>
                  </a:lnTo>
                  <a:lnTo>
                    <a:pt x="69532" y="74295"/>
                  </a:lnTo>
                  <a:lnTo>
                    <a:pt x="52388" y="70390"/>
                  </a:lnTo>
                  <a:lnTo>
                    <a:pt x="52388" y="84677"/>
                  </a:lnTo>
                  <a:lnTo>
                    <a:pt x="41910" y="98108"/>
                  </a:lnTo>
                  <a:lnTo>
                    <a:pt x="35243" y="10572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18" name="Freeform: Shape 3717">
              <a:extLst>
                <a:ext uri="{FF2B5EF4-FFF2-40B4-BE49-F238E27FC236}">
                  <a16:creationId xmlns:a16="http://schemas.microsoft.com/office/drawing/2014/main" id="{09C76082-53FE-C448-438D-204F7DF10EF8}"/>
                </a:ext>
              </a:extLst>
            </p:cNvPr>
            <p:cNvSpPr/>
            <p:nvPr/>
          </p:nvSpPr>
          <p:spPr>
            <a:xfrm>
              <a:off x="6740831" y="3102990"/>
              <a:ext cx="89638" cy="103644"/>
            </a:xfrm>
            <a:custGeom>
              <a:avLst/>
              <a:gdLst>
                <a:gd name="connsiteX0" fmla="*/ 35243 w 91440"/>
                <a:gd name="connsiteY0" fmla="*/ 105727 h 105727"/>
                <a:gd name="connsiteX1" fmla="*/ 27623 w 91440"/>
                <a:gd name="connsiteY1" fmla="*/ 84677 h 105727"/>
                <a:gd name="connsiteX2" fmla="*/ 35243 w 91440"/>
                <a:gd name="connsiteY2" fmla="*/ 62865 h 105727"/>
                <a:gd name="connsiteX3" fmla="*/ 31432 w 91440"/>
                <a:gd name="connsiteY3" fmla="*/ 56102 h 105727"/>
                <a:gd name="connsiteX4" fmla="*/ 23813 w 91440"/>
                <a:gd name="connsiteY4" fmla="*/ 45720 h 105727"/>
                <a:gd name="connsiteX5" fmla="*/ 6668 w 91440"/>
                <a:gd name="connsiteY5" fmla="*/ 31433 h 105727"/>
                <a:gd name="connsiteX6" fmla="*/ 2857 w 91440"/>
                <a:gd name="connsiteY6" fmla="*/ 17145 h 105727"/>
                <a:gd name="connsiteX7" fmla="*/ 0 w 91440"/>
                <a:gd name="connsiteY7" fmla="*/ 6572 h 105727"/>
                <a:gd name="connsiteX8" fmla="*/ 6668 w 91440"/>
                <a:gd name="connsiteY8" fmla="*/ 0 h 105727"/>
                <a:gd name="connsiteX9" fmla="*/ 31432 w 91440"/>
                <a:gd name="connsiteY9" fmla="*/ 2858 h 105727"/>
                <a:gd name="connsiteX10" fmla="*/ 52388 w 91440"/>
                <a:gd name="connsiteY10" fmla="*/ 10477 h 105727"/>
                <a:gd name="connsiteX11" fmla="*/ 59055 w 91440"/>
                <a:gd name="connsiteY11" fmla="*/ 24765 h 105727"/>
                <a:gd name="connsiteX12" fmla="*/ 66675 w 91440"/>
                <a:gd name="connsiteY12" fmla="*/ 39052 h 105727"/>
                <a:gd name="connsiteX13" fmla="*/ 83820 w 91440"/>
                <a:gd name="connsiteY13" fmla="*/ 49435 h 105727"/>
                <a:gd name="connsiteX14" fmla="*/ 91440 w 91440"/>
                <a:gd name="connsiteY14" fmla="*/ 62865 h 105727"/>
                <a:gd name="connsiteX15" fmla="*/ 83820 w 91440"/>
                <a:gd name="connsiteY15" fmla="*/ 74295 h 105727"/>
                <a:gd name="connsiteX16" fmla="*/ 69532 w 91440"/>
                <a:gd name="connsiteY16" fmla="*/ 74295 h 105727"/>
                <a:gd name="connsiteX17" fmla="*/ 52388 w 91440"/>
                <a:gd name="connsiteY17" fmla="*/ 70390 h 105727"/>
                <a:gd name="connsiteX18" fmla="*/ 52388 w 91440"/>
                <a:gd name="connsiteY18" fmla="*/ 84677 h 105727"/>
                <a:gd name="connsiteX19" fmla="*/ 41910 w 91440"/>
                <a:gd name="connsiteY19" fmla="*/ 98108 h 105727"/>
                <a:gd name="connsiteX20" fmla="*/ 35243 w 91440"/>
                <a:gd name="connsiteY20" fmla="*/ 105727 h 1057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1440" h="105727">
                  <a:moveTo>
                    <a:pt x="35243" y="105727"/>
                  </a:moveTo>
                  <a:lnTo>
                    <a:pt x="27623" y="84677"/>
                  </a:lnTo>
                  <a:lnTo>
                    <a:pt x="35243" y="62865"/>
                  </a:lnTo>
                  <a:lnTo>
                    <a:pt x="31432" y="56102"/>
                  </a:lnTo>
                  <a:lnTo>
                    <a:pt x="23813" y="45720"/>
                  </a:lnTo>
                  <a:lnTo>
                    <a:pt x="6668" y="31433"/>
                  </a:lnTo>
                  <a:lnTo>
                    <a:pt x="2857" y="17145"/>
                  </a:lnTo>
                  <a:lnTo>
                    <a:pt x="0" y="6572"/>
                  </a:lnTo>
                  <a:lnTo>
                    <a:pt x="6668" y="0"/>
                  </a:lnTo>
                  <a:lnTo>
                    <a:pt x="31432" y="2858"/>
                  </a:lnTo>
                  <a:lnTo>
                    <a:pt x="52388" y="10477"/>
                  </a:lnTo>
                  <a:lnTo>
                    <a:pt x="59055" y="24765"/>
                  </a:lnTo>
                  <a:lnTo>
                    <a:pt x="66675" y="39052"/>
                  </a:lnTo>
                  <a:lnTo>
                    <a:pt x="83820" y="49435"/>
                  </a:lnTo>
                  <a:lnTo>
                    <a:pt x="91440" y="62865"/>
                  </a:lnTo>
                  <a:lnTo>
                    <a:pt x="83820" y="74295"/>
                  </a:lnTo>
                  <a:lnTo>
                    <a:pt x="69532" y="74295"/>
                  </a:lnTo>
                  <a:lnTo>
                    <a:pt x="52388" y="70390"/>
                  </a:lnTo>
                  <a:lnTo>
                    <a:pt x="52388" y="84677"/>
                  </a:lnTo>
                  <a:lnTo>
                    <a:pt x="41910" y="98108"/>
                  </a:lnTo>
                  <a:lnTo>
                    <a:pt x="35243" y="10572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19" name="Freeform: Shape 3718">
              <a:extLst>
                <a:ext uri="{FF2B5EF4-FFF2-40B4-BE49-F238E27FC236}">
                  <a16:creationId xmlns:a16="http://schemas.microsoft.com/office/drawing/2014/main" id="{3CA94EE3-6CD9-4DE2-CD6B-7E328CEBA86E}"/>
                </a:ext>
              </a:extLst>
            </p:cNvPr>
            <p:cNvSpPr/>
            <p:nvPr/>
          </p:nvSpPr>
          <p:spPr>
            <a:xfrm>
              <a:off x="6602640" y="2964704"/>
              <a:ext cx="493005" cy="276478"/>
            </a:xfrm>
            <a:custGeom>
              <a:avLst/>
              <a:gdLst>
                <a:gd name="connsiteX0" fmla="*/ 263843 w 502919"/>
                <a:gd name="connsiteY0" fmla="*/ 2953 h 282035"/>
                <a:gd name="connsiteX1" fmla="*/ 278130 w 502919"/>
                <a:gd name="connsiteY1" fmla="*/ 10573 h 282035"/>
                <a:gd name="connsiteX2" fmla="*/ 288607 w 502919"/>
                <a:gd name="connsiteY2" fmla="*/ 6667 h 282035"/>
                <a:gd name="connsiteX3" fmla="*/ 295275 w 502919"/>
                <a:gd name="connsiteY3" fmla="*/ 0 h 282035"/>
                <a:gd name="connsiteX4" fmla="*/ 309563 w 502919"/>
                <a:gd name="connsiteY4" fmla="*/ 0 h 282035"/>
                <a:gd name="connsiteX5" fmla="*/ 338138 w 502919"/>
                <a:gd name="connsiteY5" fmla="*/ 0 h 282035"/>
                <a:gd name="connsiteX6" fmla="*/ 344805 w 502919"/>
                <a:gd name="connsiteY6" fmla="*/ 17240 h 282035"/>
                <a:gd name="connsiteX7" fmla="*/ 340995 w 502919"/>
                <a:gd name="connsiteY7" fmla="*/ 38100 h 282035"/>
                <a:gd name="connsiteX8" fmla="*/ 373380 w 502919"/>
                <a:gd name="connsiteY8" fmla="*/ 45815 h 282035"/>
                <a:gd name="connsiteX9" fmla="*/ 380048 w 502919"/>
                <a:gd name="connsiteY9" fmla="*/ 70580 h 282035"/>
                <a:gd name="connsiteX10" fmla="*/ 436245 w 502919"/>
                <a:gd name="connsiteY10" fmla="*/ 73342 h 282035"/>
                <a:gd name="connsiteX11" fmla="*/ 440055 w 502919"/>
                <a:gd name="connsiteY11" fmla="*/ 84868 h 282035"/>
                <a:gd name="connsiteX12" fmla="*/ 475298 w 502919"/>
                <a:gd name="connsiteY12" fmla="*/ 84868 h 282035"/>
                <a:gd name="connsiteX13" fmla="*/ 502920 w 502919"/>
                <a:gd name="connsiteY13" fmla="*/ 101917 h 282035"/>
                <a:gd name="connsiteX14" fmla="*/ 502920 w 502919"/>
                <a:gd name="connsiteY14" fmla="*/ 137255 h 282035"/>
                <a:gd name="connsiteX15" fmla="*/ 500063 w 502919"/>
                <a:gd name="connsiteY15" fmla="*/ 158210 h 282035"/>
                <a:gd name="connsiteX16" fmla="*/ 471488 w 502919"/>
                <a:gd name="connsiteY16" fmla="*/ 165830 h 282035"/>
                <a:gd name="connsiteX17" fmla="*/ 454343 w 502919"/>
                <a:gd name="connsiteY17" fmla="*/ 172498 h 282035"/>
                <a:gd name="connsiteX18" fmla="*/ 450532 w 502919"/>
                <a:gd name="connsiteY18" fmla="*/ 186785 h 282035"/>
                <a:gd name="connsiteX19" fmla="*/ 425768 w 502919"/>
                <a:gd name="connsiteY19" fmla="*/ 197167 h 282035"/>
                <a:gd name="connsiteX20" fmla="*/ 394335 w 502919"/>
                <a:gd name="connsiteY20" fmla="*/ 203930 h 282035"/>
                <a:gd name="connsiteX21" fmla="*/ 365760 w 502919"/>
                <a:gd name="connsiteY21" fmla="*/ 218218 h 282035"/>
                <a:gd name="connsiteX22" fmla="*/ 338138 w 502919"/>
                <a:gd name="connsiteY22" fmla="*/ 225742 h 282035"/>
                <a:gd name="connsiteX23" fmla="*/ 334327 w 502919"/>
                <a:gd name="connsiteY23" fmla="*/ 232505 h 282035"/>
                <a:gd name="connsiteX24" fmla="*/ 351473 w 502919"/>
                <a:gd name="connsiteY24" fmla="*/ 236315 h 282035"/>
                <a:gd name="connsiteX25" fmla="*/ 361950 w 502919"/>
                <a:gd name="connsiteY25" fmla="*/ 246793 h 282035"/>
                <a:gd name="connsiteX26" fmla="*/ 369570 w 502919"/>
                <a:gd name="connsiteY26" fmla="*/ 250603 h 282035"/>
                <a:gd name="connsiteX27" fmla="*/ 380048 w 502919"/>
                <a:gd name="connsiteY27" fmla="*/ 253460 h 282035"/>
                <a:gd name="connsiteX28" fmla="*/ 408623 w 502919"/>
                <a:gd name="connsiteY28" fmla="*/ 250603 h 282035"/>
                <a:gd name="connsiteX29" fmla="*/ 419100 w 502919"/>
                <a:gd name="connsiteY29" fmla="*/ 253460 h 282035"/>
                <a:gd name="connsiteX30" fmla="*/ 421957 w 502919"/>
                <a:gd name="connsiteY30" fmla="*/ 263842 h 282035"/>
                <a:gd name="connsiteX31" fmla="*/ 411480 w 502919"/>
                <a:gd name="connsiteY31" fmla="*/ 263842 h 282035"/>
                <a:gd name="connsiteX32" fmla="*/ 386715 w 502919"/>
                <a:gd name="connsiteY32" fmla="*/ 263842 h 282035"/>
                <a:gd name="connsiteX33" fmla="*/ 369570 w 502919"/>
                <a:gd name="connsiteY33" fmla="*/ 263842 h 282035"/>
                <a:gd name="connsiteX34" fmla="*/ 355282 w 502919"/>
                <a:gd name="connsiteY34" fmla="*/ 271463 h 282035"/>
                <a:gd name="connsiteX35" fmla="*/ 340995 w 502919"/>
                <a:gd name="connsiteY35" fmla="*/ 282035 h 282035"/>
                <a:gd name="connsiteX36" fmla="*/ 323850 w 502919"/>
                <a:gd name="connsiteY36" fmla="*/ 282035 h 282035"/>
                <a:gd name="connsiteX37" fmla="*/ 323850 w 502919"/>
                <a:gd name="connsiteY37" fmla="*/ 267748 h 282035"/>
                <a:gd name="connsiteX38" fmla="*/ 316230 w 502919"/>
                <a:gd name="connsiteY38" fmla="*/ 257175 h 282035"/>
                <a:gd name="connsiteX39" fmla="*/ 299085 w 502919"/>
                <a:gd name="connsiteY39" fmla="*/ 246793 h 282035"/>
                <a:gd name="connsiteX40" fmla="*/ 309563 w 502919"/>
                <a:gd name="connsiteY40" fmla="*/ 239173 h 282035"/>
                <a:gd name="connsiteX41" fmla="*/ 323850 w 502919"/>
                <a:gd name="connsiteY41" fmla="*/ 232505 h 282035"/>
                <a:gd name="connsiteX42" fmla="*/ 323850 w 502919"/>
                <a:gd name="connsiteY42" fmla="*/ 225742 h 282035"/>
                <a:gd name="connsiteX43" fmla="*/ 284798 w 502919"/>
                <a:gd name="connsiteY43" fmla="*/ 225742 h 282035"/>
                <a:gd name="connsiteX44" fmla="*/ 278130 w 502919"/>
                <a:gd name="connsiteY44" fmla="*/ 203930 h 282035"/>
                <a:gd name="connsiteX45" fmla="*/ 257175 w 502919"/>
                <a:gd name="connsiteY45" fmla="*/ 203930 h 282035"/>
                <a:gd name="connsiteX46" fmla="*/ 242888 w 502919"/>
                <a:gd name="connsiteY46" fmla="*/ 207740 h 282035"/>
                <a:gd name="connsiteX47" fmla="*/ 242888 w 502919"/>
                <a:gd name="connsiteY47" fmla="*/ 222028 h 282035"/>
                <a:gd name="connsiteX48" fmla="*/ 221932 w 502919"/>
                <a:gd name="connsiteY48" fmla="*/ 236315 h 282035"/>
                <a:gd name="connsiteX49" fmla="*/ 210502 w 502919"/>
                <a:gd name="connsiteY49" fmla="*/ 257175 h 282035"/>
                <a:gd name="connsiteX50" fmla="*/ 200025 w 502919"/>
                <a:gd name="connsiteY50" fmla="*/ 246793 h 282035"/>
                <a:gd name="connsiteX51" fmla="*/ 193357 w 502919"/>
                <a:gd name="connsiteY51" fmla="*/ 253460 h 282035"/>
                <a:gd name="connsiteX52" fmla="*/ 176213 w 502919"/>
                <a:gd name="connsiteY52" fmla="*/ 250603 h 282035"/>
                <a:gd name="connsiteX53" fmla="*/ 176213 w 502919"/>
                <a:gd name="connsiteY53" fmla="*/ 246793 h 282035"/>
                <a:gd name="connsiteX54" fmla="*/ 193357 w 502919"/>
                <a:gd name="connsiteY54" fmla="*/ 225742 h 282035"/>
                <a:gd name="connsiteX55" fmla="*/ 193357 w 502919"/>
                <a:gd name="connsiteY55" fmla="*/ 211455 h 282035"/>
                <a:gd name="connsiteX56" fmla="*/ 224790 w 502919"/>
                <a:gd name="connsiteY56" fmla="*/ 215360 h 282035"/>
                <a:gd name="connsiteX57" fmla="*/ 232410 w 502919"/>
                <a:gd name="connsiteY57" fmla="*/ 203930 h 282035"/>
                <a:gd name="connsiteX58" fmla="*/ 224790 w 502919"/>
                <a:gd name="connsiteY58" fmla="*/ 190500 h 282035"/>
                <a:gd name="connsiteX59" fmla="*/ 207645 w 502919"/>
                <a:gd name="connsiteY59" fmla="*/ 180118 h 282035"/>
                <a:gd name="connsiteX60" fmla="*/ 193357 w 502919"/>
                <a:gd name="connsiteY60" fmla="*/ 151543 h 282035"/>
                <a:gd name="connsiteX61" fmla="*/ 172402 w 502919"/>
                <a:gd name="connsiteY61" fmla="*/ 143923 h 282035"/>
                <a:gd name="connsiteX62" fmla="*/ 154305 w 502919"/>
                <a:gd name="connsiteY62" fmla="*/ 141065 h 282035"/>
                <a:gd name="connsiteX63" fmla="*/ 147638 w 502919"/>
                <a:gd name="connsiteY63" fmla="*/ 141065 h 282035"/>
                <a:gd name="connsiteX64" fmla="*/ 140970 w 502919"/>
                <a:gd name="connsiteY64" fmla="*/ 147638 h 282035"/>
                <a:gd name="connsiteX65" fmla="*/ 119063 w 502919"/>
                <a:gd name="connsiteY65" fmla="*/ 147638 h 282035"/>
                <a:gd name="connsiteX66" fmla="*/ 112395 w 502919"/>
                <a:gd name="connsiteY66" fmla="*/ 161925 h 282035"/>
                <a:gd name="connsiteX67" fmla="*/ 77152 w 502919"/>
                <a:gd name="connsiteY67" fmla="*/ 161925 h 282035"/>
                <a:gd name="connsiteX68" fmla="*/ 56198 w 502919"/>
                <a:gd name="connsiteY68" fmla="*/ 151543 h 282035"/>
                <a:gd name="connsiteX69" fmla="*/ 17145 w 502919"/>
                <a:gd name="connsiteY69" fmla="*/ 165830 h 282035"/>
                <a:gd name="connsiteX70" fmla="*/ 10477 w 502919"/>
                <a:gd name="connsiteY70" fmla="*/ 151543 h 282035"/>
                <a:gd name="connsiteX71" fmla="*/ 0 w 502919"/>
                <a:gd name="connsiteY71" fmla="*/ 143923 h 282035"/>
                <a:gd name="connsiteX72" fmla="*/ 6668 w 502919"/>
                <a:gd name="connsiteY72" fmla="*/ 133350 h 282035"/>
                <a:gd name="connsiteX73" fmla="*/ 13335 w 502919"/>
                <a:gd name="connsiteY73" fmla="*/ 116205 h 282035"/>
                <a:gd name="connsiteX74" fmla="*/ 17145 w 502919"/>
                <a:gd name="connsiteY74" fmla="*/ 101917 h 282035"/>
                <a:gd name="connsiteX75" fmla="*/ 31432 w 502919"/>
                <a:gd name="connsiteY75" fmla="*/ 80963 h 282035"/>
                <a:gd name="connsiteX76" fmla="*/ 38100 w 502919"/>
                <a:gd name="connsiteY76" fmla="*/ 73342 h 282035"/>
                <a:gd name="connsiteX77" fmla="*/ 56198 w 502919"/>
                <a:gd name="connsiteY77" fmla="*/ 62960 h 282035"/>
                <a:gd name="connsiteX78" fmla="*/ 48577 w 502919"/>
                <a:gd name="connsiteY78" fmla="*/ 42005 h 282035"/>
                <a:gd name="connsiteX79" fmla="*/ 48577 w 502919"/>
                <a:gd name="connsiteY79" fmla="*/ 27718 h 282035"/>
                <a:gd name="connsiteX80" fmla="*/ 62865 w 502919"/>
                <a:gd name="connsiteY80" fmla="*/ 6667 h 282035"/>
                <a:gd name="connsiteX81" fmla="*/ 147638 w 502919"/>
                <a:gd name="connsiteY81" fmla="*/ 24860 h 282035"/>
                <a:gd name="connsiteX82" fmla="*/ 197168 w 502919"/>
                <a:gd name="connsiteY82" fmla="*/ 24860 h 282035"/>
                <a:gd name="connsiteX83" fmla="*/ 200025 w 502919"/>
                <a:gd name="connsiteY83" fmla="*/ 35242 h 282035"/>
                <a:gd name="connsiteX84" fmla="*/ 235268 w 502919"/>
                <a:gd name="connsiteY84" fmla="*/ 38100 h 282035"/>
                <a:gd name="connsiteX85" fmla="*/ 242888 w 502919"/>
                <a:gd name="connsiteY85" fmla="*/ 6667 h 282035"/>
                <a:gd name="connsiteX86" fmla="*/ 263843 w 502919"/>
                <a:gd name="connsiteY86" fmla="*/ 2953 h 2820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502919" h="282035">
                  <a:moveTo>
                    <a:pt x="263843" y="2953"/>
                  </a:moveTo>
                  <a:lnTo>
                    <a:pt x="278130" y="10573"/>
                  </a:lnTo>
                  <a:lnTo>
                    <a:pt x="288607" y="6667"/>
                  </a:lnTo>
                  <a:lnTo>
                    <a:pt x="295275" y="0"/>
                  </a:lnTo>
                  <a:lnTo>
                    <a:pt x="309563" y="0"/>
                  </a:lnTo>
                  <a:lnTo>
                    <a:pt x="338138" y="0"/>
                  </a:lnTo>
                  <a:lnTo>
                    <a:pt x="344805" y="17240"/>
                  </a:lnTo>
                  <a:lnTo>
                    <a:pt x="340995" y="38100"/>
                  </a:lnTo>
                  <a:lnTo>
                    <a:pt x="373380" y="45815"/>
                  </a:lnTo>
                  <a:lnTo>
                    <a:pt x="380048" y="70580"/>
                  </a:lnTo>
                  <a:lnTo>
                    <a:pt x="436245" y="73342"/>
                  </a:lnTo>
                  <a:lnTo>
                    <a:pt x="440055" y="84868"/>
                  </a:lnTo>
                  <a:lnTo>
                    <a:pt x="475298" y="84868"/>
                  </a:lnTo>
                  <a:lnTo>
                    <a:pt x="502920" y="101917"/>
                  </a:lnTo>
                  <a:lnTo>
                    <a:pt x="502920" y="137255"/>
                  </a:lnTo>
                  <a:lnTo>
                    <a:pt x="500063" y="158210"/>
                  </a:lnTo>
                  <a:lnTo>
                    <a:pt x="471488" y="165830"/>
                  </a:lnTo>
                  <a:lnTo>
                    <a:pt x="454343" y="172498"/>
                  </a:lnTo>
                  <a:lnTo>
                    <a:pt x="450532" y="186785"/>
                  </a:lnTo>
                  <a:lnTo>
                    <a:pt x="425768" y="197167"/>
                  </a:lnTo>
                  <a:lnTo>
                    <a:pt x="394335" y="203930"/>
                  </a:lnTo>
                  <a:lnTo>
                    <a:pt x="365760" y="218218"/>
                  </a:lnTo>
                  <a:lnTo>
                    <a:pt x="338138" y="225742"/>
                  </a:lnTo>
                  <a:lnTo>
                    <a:pt x="334327" y="232505"/>
                  </a:lnTo>
                  <a:lnTo>
                    <a:pt x="351473" y="236315"/>
                  </a:lnTo>
                  <a:lnTo>
                    <a:pt x="361950" y="246793"/>
                  </a:lnTo>
                  <a:lnTo>
                    <a:pt x="369570" y="250603"/>
                  </a:lnTo>
                  <a:lnTo>
                    <a:pt x="380048" y="253460"/>
                  </a:lnTo>
                  <a:lnTo>
                    <a:pt x="408623" y="250603"/>
                  </a:lnTo>
                  <a:lnTo>
                    <a:pt x="419100" y="253460"/>
                  </a:lnTo>
                  <a:lnTo>
                    <a:pt x="421957" y="263842"/>
                  </a:lnTo>
                  <a:lnTo>
                    <a:pt x="411480" y="263842"/>
                  </a:lnTo>
                  <a:lnTo>
                    <a:pt x="386715" y="263842"/>
                  </a:lnTo>
                  <a:lnTo>
                    <a:pt x="369570" y="263842"/>
                  </a:lnTo>
                  <a:lnTo>
                    <a:pt x="355282" y="271463"/>
                  </a:lnTo>
                  <a:lnTo>
                    <a:pt x="340995" y="282035"/>
                  </a:lnTo>
                  <a:lnTo>
                    <a:pt x="323850" y="282035"/>
                  </a:lnTo>
                  <a:lnTo>
                    <a:pt x="323850" y="267748"/>
                  </a:lnTo>
                  <a:lnTo>
                    <a:pt x="316230" y="257175"/>
                  </a:lnTo>
                  <a:lnTo>
                    <a:pt x="299085" y="246793"/>
                  </a:lnTo>
                  <a:lnTo>
                    <a:pt x="309563" y="239173"/>
                  </a:lnTo>
                  <a:lnTo>
                    <a:pt x="323850" y="232505"/>
                  </a:lnTo>
                  <a:lnTo>
                    <a:pt x="323850" y="225742"/>
                  </a:lnTo>
                  <a:lnTo>
                    <a:pt x="284798" y="225742"/>
                  </a:lnTo>
                  <a:lnTo>
                    <a:pt x="278130" y="203930"/>
                  </a:lnTo>
                  <a:lnTo>
                    <a:pt x="257175" y="203930"/>
                  </a:lnTo>
                  <a:lnTo>
                    <a:pt x="242888" y="207740"/>
                  </a:lnTo>
                  <a:lnTo>
                    <a:pt x="242888" y="222028"/>
                  </a:lnTo>
                  <a:lnTo>
                    <a:pt x="221932" y="236315"/>
                  </a:lnTo>
                  <a:lnTo>
                    <a:pt x="210502" y="257175"/>
                  </a:lnTo>
                  <a:lnTo>
                    <a:pt x="200025" y="246793"/>
                  </a:lnTo>
                  <a:lnTo>
                    <a:pt x="193357" y="253460"/>
                  </a:lnTo>
                  <a:lnTo>
                    <a:pt x="176213" y="250603"/>
                  </a:lnTo>
                  <a:lnTo>
                    <a:pt x="176213" y="246793"/>
                  </a:lnTo>
                  <a:lnTo>
                    <a:pt x="193357" y="225742"/>
                  </a:lnTo>
                  <a:lnTo>
                    <a:pt x="193357" y="211455"/>
                  </a:lnTo>
                  <a:lnTo>
                    <a:pt x="224790" y="215360"/>
                  </a:lnTo>
                  <a:lnTo>
                    <a:pt x="232410" y="203930"/>
                  </a:lnTo>
                  <a:lnTo>
                    <a:pt x="224790" y="190500"/>
                  </a:lnTo>
                  <a:lnTo>
                    <a:pt x="207645" y="180118"/>
                  </a:lnTo>
                  <a:lnTo>
                    <a:pt x="193357" y="151543"/>
                  </a:lnTo>
                  <a:lnTo>
                    <a:pt x="172402" y="143923"/>
                  </a:lnTo>
                  <a:lnTo>
                    <a:pt x="154305" y="141065"/>
                  </a:lnTo>
                  <a:lnTo>
                    <a:pt x="147638" y="141065"/>
                  </a:lnTo>
                  <a:lnTo>
                    <a:pt x="140970" y="147638"/>
                  </a:lnTo>
                  <a:lnTo>
                    <a:pt x="119063" y="147638"/>
                  </a:lnTo>
                  <a:lnTo>
                    <a:pt x="112395" y="161925"/>
                  </a:lnTo>
                  <a:lnTo>
                    <a:pt x="77152" y="161925"/>
                  </a:lnTo>
                  <a:lnTo>
                    <a:pt x="56198" y="151543"/>
                  </a:lnTo>
                  <a:lnTo>
                    <a:pt x="17145" y="165830"/>
                  </a:lnTo>
                  <a:lnTo>
                    <a:pt x="10477" y="151543"/>
                  </a:lnTo>
                  <a:lnTo>
                    <a:pt x="0" y="143923"/>
                  </a:lnTo>
                  <a:lnTo>
                    <a:pt x="6668" y="133350"/>
                  </a:lnTo>
                  <a:lnTo>
                    <a:pt x="13335" y="116205"/>
                  </a:lnTo>
                  <a:lnTo>
                    <a:pt x="17145" y="101917"/>
                  </a:lnTo>
                  <a:lnTo>
                    <a:pt x="31432" y="80963"/>
                  </a:lnTo>
                  <a:lnTo>
                    <a:pt x="38100" y="73342"/>
                  </a:lnTo>
                  <a:lnTo>
                    <a:pt x="56198" y="62960"/>
                  </a:lnTo>
                  <a:lnTo>
                    <a:pt x="48577" y="42005"/>
                  </a:lnTo>
                  <a:lnTo>
                    <a:pt x="48577" y="27718"/>
                  </a:lnTo>
                  <a:lnTo>
                    <a:pt x="62865" y="6667"/>
                  </a:lnTo>
                  <a:lnTo>
                    <a:pt x="147638" y="24860"/>
                  </a:lnTo>
                  <a:lnTo>
                    <a:pt x="197168" y="24860"/>
                  </a:lnTo>
                  <a:lnTo>
                    <a:pt x="200025" y="35242"/>
                  </a:lnTo>
                  <a:lnTo>
                    <a:pt x="235268" y="38100"/>
                  </a:lnTo>
                  <a:lnTo>
                    <a:pt x="242888" y="6667"/>
                  </a:lnTo>
                  <a:lnTo>
                    <a:pt x="263843" y="295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20" name="Freeform: Shape 3719">
              <a:extLst>
                <a:ext uri="{FF2B5EF4-FFF2-40B4-BE49-F238E27FC236}">
                  <a16:creationId xmlns:a16="http://schemas.microsoft.com/office/drawing/2014/main" id="{9DB81A11-F0F7-63D0-67BD-D392E853AE87}"/>
                </a:ext>
              </a:extLst>
            </p:cNvPr>
            <p:cNvSpPr/>
            <p:nvPr/>
          </p:nvSpPr>
          <p:spPr>
            <a:xfrm>
              <a:off x="6564358" y="3109432"/>
              <a:ext cx="244635" cy="155933"/>
            </a:xfrm>
            <a:custGeom>
              <a:avLst/>
              <a:gdLst>
                <a:gd name="connsiteX0" fmla="*/ 56197 w 249554"/>
                <a:gd name="connsiteY0" fmla="*/ 18193 h 159067"/>
                <a:gd name="connsiteX1" fmla="*/ 80963 w 249554"/>
                <a:gd name="connsiteY1" fmla="*/ 7715 h 159067"/>
                <a:gd name="connsiteX2" fmla="*/ 95250 w 249554"/>
                <a:gd name="connsiteY2" fmla="*/ 3905 h 159067"/>
                <a:gd name="connsiteX3" fmla="*/ 116205 w 249554"/>
                <a:gd name="connsiteY3" fmla="*/ 14288 h 159067"/>
                <a:gd name="connsiteX4" fmla="*/ 151447 w 249554"/>
                <a:gd name="connsiteY4" fmla="*/ 14288 h 159067"/>
                <a:gd name="connsiteX5" fmla="*/ 158115 w 249554"/>
                <a:gd name="connsiteY5" fmla="*/ 0 h 159067"/>
                <a:gd name="connsiteX6" fmla="*/ 180022 w 249554"/>
                <a:gd name="connsiteY6" fmla="*/ 0 h 159067"/>
                <a:gd name="connsiteX7" fmla="*/ 186690 w 249554"/>
                <a:gd name="connsiteY7" fmla="*/ 18193 h 159067"/>
                <a:gd name="connsiteX8" fmla="*/ 190500 w 249554"/>
                <a:gd name="connsiteY8" fmla="*/ 28575 h 159067"/>
                <a:gd name="connsiteX9" fmla="*/ 211455 w 249554"/>
                <a:gd name="connsiteY9" fmla="*/ 49530 h 159067"/>
                <a:gd name="connsiteX10" fmla="*/ 215265 w 249554"/>
                <a:gd name="connsiteY10" fmla="*/ 56293 h 159067"/>
                <a:gd name="connsiteX11" fmla="*/ 207645 w 249554"/>
                <a:gd name="connsiteY11" fmla="*/ 74390 h 159067"/>
                <a:gd name="connsiteX12" fmla="*/ 211455 w 249554"/>
                <a:gd name="connsiteY12" fmla="*/ 91535 h 159067"/>
                <a:gd name="connsiteX13" fmla="*/ 215265 w 249554"/>
                <a:gd name="connsiteY13" fmla="*/ 102965 h 159067"/>
                <a:gd name="connsiteX14" fmla="*/ 232410 w 249554"/>
                <a:gd name="connsiteY14" fmla="*/ 105823 h 159067"/>
                <a:gd name="connsiteX15" fmla="*/ 239077 w 249554"/>
                <a:gd name="connsiteY15" fmla="*/ 99155 h 159067"/>
                <a:gd name="connsiteX16" fmla="*/ 249555 w 249554"/>
                <a:gd name="connsiteY16" fmla="*/ 109538 h 159067"/>
                <a:gd name="connsiteX17" fmla="*/ 242888 w 249554"/>
                <a:gd name="connsiteY17" fmla="*/ 120110 h 159067"/>
                <a:gd name="connsiteX18" fmla="*/ 228600 w 249554"/>
                <a:gd name="connsiteY18" fmla="*/ 126778 h 159067"/>
                <a:gd name="connsiteX19" fmla="*/ 221932 w 249554"/>
                <a:gd name="connsiteY19" fmla="*/ 138113 h 159067"/>
                <a:gd name="connsiteX20" fmla="*/ 218122 w 249554"/>
                <a:gd name="connsiteY20" fmla="*/ 159067 h 159067"/>
                <a:gd name="connsiteX21" fmla="*/ 207645 w 249554"/>
                <a:gd name="connsiteY21" fmla="*/ 159067 h 159067"/>
                <a:gd name="connsiteX22" fmla="*/ 186690 w 249554"/>
                <a:gd name="connsiteY22" fmla="*/ 148685 h 159067"/>
                <a:gd name="connsiteX23" fmla="*/ 161925 w 249554"/>
                <a:gd name="connsiteY23" fmla="*/ 141065 h 159067"/>
                <a:gd name="connsiteX24" fmla="*/ 147638 w 249554"/>
                <a:gd name="connsiteY24" fmla="*/ 155353 h 159067"/>
                <a:gd name="connsiteX25" fmla="*/ 126682 w 249554"/>
                <a:gd name="connsiteY25" fmla="*/ 155353 h 159067"/>
                <a:gd name="connsiteX26" fmla="*/ 77152 w 249554"/>
                <a:gd name="connsiteY26" fmla="*/ 155353 h 159067"/>
                <a:gd name="connsiteX27" fmla="*/ 56197 w 249554"/>
                <a:gd name="connsiteY27" fmla="*/ 148685 h 159067"/>
                <a:gd name="connsiteX28" fmla="*/ 56197 w 249554"/>
                <a:gd name="connsiteY28" fmla="*/ 130492 h 159067"/>
                <a:gd name="connsiteX29" fmla="*/ 28575 w 249554"/>
                <a:gd name="connsiteY29" fmla="*/ 126778 h 159067"/>
                <a:gd name="connsiteX30" fmla="*/ 14288 w 249554"/>
                <a:gd name="connsiteY30" fmla="*/ 105823 h 159067"/>
                <a:gd name="connsiteX31" fmla="*/ 3810 w 249554"/>
                <a:gd name="connsiteY31" fmla="*/ 91535 h 159067"/>
                <a:gd name="connsiteX32" fmla="*/ 0 w 249554"/>
                <a:gd name="connsiteY32" fmla="*/ 78105 h 159067"/>
                <a:gd name="connsiteX33" fmla="*/ 24765 w 249554"/>
                <a:gd name="connsiteY33" fmla="*/ 53435 h 159067"/>
                <a:gd name="connsiteX34" fmla="*/ 41910 w 249554"/>
                <a:gd name="connsiteY34" fmla="*/ 28575 h 159067"/>
                <a:gd name="connsiteX35" fmla="*/ 56197 w 249554"/>
                <a:gd name="connsiteY35" fmla="*/ 18193 h 159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49554" h="159067">
                  <a:moveTo>
                    <a:pt x="56197" y="18193"/>
                  </a:moveTo>
                  <a:lnTo>
                    <a:pt x="80963" y="7715"/>
                  </a:lnTo>
                  <a:lnTo>
                    <a:pt x="95250" y="3905"/>
                  </a:lnTo>
                  <a:lnTo>
                    <a:pt x="116205" y="14288"/>
                  </a:lnTo>
                  <a:lnTo>
                    <a:pt x="151447" y="14288"/>
                  </a:lnTo>
                  <a:lnTo>
                    <a:pt x="158115" y="0"/>
                  </a:lnTo>
                  <a:lnTo>
                    <a:pt x="180022" y="0"/>
                  </a:lnTo>
                  <a:lnTo>
                    <a:pt x="186690" y="18193"/>
                  </a:lnTo>
                  <a:lnTo>
                    <a:pt x="190500" y="28575"/>
                  </a:lnTo>
                  <a:lnTo>
                    <a:pt x="211455" y="49530"/>
                  </a:lnTo>
                  <a:lnTo>
                    <a:pt x="215265" y="56293"/>
                  </a:lnTo>
                  <a:lnTo>
                    <a:pt x="207645" y="74390"/>
                  </a:lnTo>
                  <a:lnTo>
                    <a:pt x="211455" y="91535"/>
                  </a:lnTo>
                  <a:lnTo>
                    <a:pt x="215265" y="102965"/>
                  </a:lnTo>
                  <a:lnTo>
                    <a:pt x="232410" y="105823"/>
                  </a:lnTo>
                  <a:lnTo>
                    <a:pt x="239077" y="99155"/>
                  </a:lnTo>
                  <a:lnTo>
                    <a:pt x="249555" y="109538"/>
                  </a:lnTo>
                  <a:lnTo>
                    <a:pt x="242888" y="120110"/>
                  </a:lnTo>
                  <a:lnTo>
                    <a:pt x="228600" y="126778"/>
                  </a:lnTo>
                  <a:lnTo>
                    <a:pt x="221932" y="138113"/>
                  </a:lnTo>
                  <a:lnTo>
                    <a:pt x="218122" y="159067"/>
                  </a:lnTo>
                  <a:lnTo>
                    <a:pt x="207645" y="159067"/>
                  </a:lnTo>
                  <a:lnTo>
                    <a:pt x="186690" y="148685"/>
                  </a:lnTo>
                  <a:lnTo>
                    <a:pt x="161925" y="141065"/>
                  </a:lnTo>
                  <a:lnTo>
                    <a:pt x="147638" y="155353"/>
                  </a:lnTo>
                  <a:lnTo>
                    <a:pt x="126682" y="155353"/>
                  </a:lnTo>
                  <a:lnTo>
                    <a:pt x="77152" y="155353"/>
                  </a:lnTo>
                  <a:lnTo>
                    <a:pt x="56197" y="148685"/>
                  </a:lnTo>
                  <a:lnTo>
                    <a:pt x="56197" y="130492"/>
                  </a:lnTo>
                  <a:lnTo>
                    <a:pt x="28575" y="126778"/>
                  </a:lnTo>
                  <a:lnTo>
                    <a:pt x="14288" y="105823"/>
                  </a:lnTo>
                  <a:lnTo>
                    <a:pt x="3810" y="91535"/>
                  </a:lnTo>
                  <a:lnTo>
                    <a:pt x="0" y="78105"/>
                  </a:lnTo>
                  <a:lnTo>
                    <a:pt x="24765" y="53435"/>
                  </a:lnTo>
                  <a:lnTo>
                    <a:pt x="41910" y="28575"/>
                  </a:lnTo>
                  <a:lnTo>
                    <a:pt x="56197" y="1819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21" name="Freeform: Shape 3720">
              <a:extLst>
                <a:ext uri="{FF2B5EF4-FFF2-40B4-BE49-F238E27FC236}">
                  <a16:creationId xmlns:a16="http://schemas.microsoft.com/office/drawing/2014/main" id="{DDABC567-CDE6-57BD-D83A-4097019D408A}"/>
                </a:ext>
              </a:extLst>
            </p:cNvPr>
            <p:cNvSpPr/>
            <p:nvPr/>
          </p:nvSpPr>
          <p:spPr>
            <a:xfrm>
              <a:off x="6609177" y="3247718"/>
              <a:ext cx="169004" cy="97014"/>
            </a:xfrm>
            <a:custGeom>
              <a:avLst/>
              <a:gdLst>
                <a:gd name="connsiteX0" fmla="*/ 31432 w 172402"/>
                <a:gd name="connsiteY0" fmla="*/ 14288 h 98964"/>
                <a:gd name="connsiteX1" fmla="*/ 80963 w 172402"/>
                <a:gd name="connsiteY1" fmla="*/ 14288 h 98964"/>
                <a:gd name="connsiteX2" fmla="*/ 101918 w 172402"/>
                <a:gd name="connsiteY2" fmla="*/ 14288 h 98964"/>
                <a:gd name="connsiteX3" fmla="*/ 116205 w 172402"/>
                <a:gd name="connsiteY3" fmla="*/ 0 h 98964"/>
                <a:gd name="connsiteX4" fmla="*/ 140970 w 172402"/>
                <a:gd name="connsiteY4" fmla="*/ 7620 h 98964"/>
                <a:gd name="connsiteX5" fmla="*/ 161925 w 172402"/>
                <a:gd name="connsiteY5" fmla="*/ 18002 h 98964"/>
                <a:gd name="connsiteX6" fmla="*/ 172402 w 172402"/>
                <a:gd name="connsiteY6" fmla="*/ 18002 h 98964"/>
                <a:gd name="connsiteX7" fmla="*/ 172402 w 172402"/>
                <a:gd name="connsiteY7" fmla="*/ 24765 h 98964"/>
                <a:gd name="connsiteX8" fmla="*/ 158115 w 172402"/>
                <a:gd name="connsiteY8" fmla="*/ 28575 h 98964"/>
                <a:gd name="connsiteX9" fmla="*/ 158115 w 172402"/>
                <a:gd name="connsiteY9" fmla="*/ 49435 h 98964"/>
                <a:gd name="connsiteX10" fmla="*/ 144780 w 172402"/>
                <a:gd name="connsiteY10" fmla="*/ 63722 h 98964"/>
                <a:gd name="connsiteX11" fmla="*/ 147638 w 172402"/>
                <a:gd name="connsiteY11" fmla="*/ 67627 h 98964"/>
                <a:gd name="connsiteX12" fmla="*/ 161925 w 172402"/>
                <a:gd name="connsiteY12" fmla="*/ 74295 h 98964"/>
                <a:gd name="connsiteX13" fmla="*/ 158115 w 172402"/>
                <a:gd name="connsiteY13" fmla="*/ 80963 h 98964"/>
                <a:gd name="connsiteX14" fmla="*/ 140970 w 172402"/>
                <a:gd name="connsiteY14" fmla="*/ 78010 h 98964"/>
                <a:gd name="connsiteX15" fmla="*/ 126682 w 172402"/>
                <a:gd name="connsiteY15" fmla="*/ 74295 h 98964"/>
                <a:gd name="connsiteX16" fmla="*/ 112395 w 172402"/>
                <a:gd name="connsiteY16" fmla="*/ 80963 h 98964"/>
                <a:gd name="connsiteX17" fmla="*/ 105727 w 172402"/>
                <a:gd name="connsiteY17" fmla="*/ 92297 h 98964"/>
                <a:gd name="connsiteX18" fmla="*/ 105727 w 172402"/>
                <a:gd name="connsiteY18" fmla="*/ 98965 h 98964"/>
                <a:gd name="connsiteX19" fmla="*/ 91440 w 172402"/>
                <a:gd name="connsiteY19" fmla="*/ 98965 h 98964"/>
                <a:gd name="connsiteX20" fmla="*/ 70485 w 172402"/>
                <a:gd name="connsiteY20" fmla="*/ 98965 h 98964"/>
                <a:gd name="connsiteX21" fmla="*/ 52388 w 172402"/>
                <a:gd name="connsiteY21" fmla="*/ 92297 h 98964"/>
                <a:gd name="connsiteX22" fmla="*/ 41910 w 172402"/>
                <a:gd name="connsiteY22" fmla="*/ 92297 h 98964"/>
                <a:gd name="connsiteX23" fmla="*/ 24765 w 172402"/>
                <a:gd name="connsiteY23" fmla="*/ 95250 h 98964"/>
                <a:gd name="connsiteX24" fmla="*/ 20955 w 172402"/>
                <a:gd name="connsiteY24" fmla="*/ 84677 h 98964"/>
                <a:gd name="connsiteX25" fmla="*/ 10477 w 172402"/>
                <a:gd name="connsiteY25" fmla="*/ 74295 h 98964"/>
                <a:gd name="connsiteX26" fmla="*/ 6668 w 172402"/>
                <a:gd name="connsiteY26" fmla="*/ 60008 h 98964"/>
                <a:gd name="connsiteX27" fmla="*/ 18097 w 172402"/>
                <a:gd name="connsiteY27" fmla="*/ 39052 h 98964"/>
                <a:gd name="connsiteX28" fmla="*/ 6668 w 172402"/>
                <a:gd name="connsiteY28" fmla="*/ 24765 h 98964"/>
                <a:gd name="connsiteX29" fmla="*/ 0 w 172402"/>
                <a:gd name="connsiteY29" fmla="*/ 14288 h 98964"/>
                <a:gd name="connsiteX30" fmla="*/ 10477 w 172402"/>
                <a:gd name="connsiteY30" fmla="*/ 7620 h 98964"/>
                <a:gd name="connsiteX31" fmla="*/ 31432 w 172402"/>
                <a:gd name="connsiteY31" fmla="*/ 14288 h 98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72402" h="98964">
                  <a:moveTo>
                    <a:pt x="31432" y="14288"/>
                  </a:moveTo>
                  <a:lnTo>
                    <a:pt x="80963" y="14288"/>
                  </a:lnTo>
                  <a:lnTo>
                    <a:pt x="101918" y="14288"/>
                  </a:lnTo>
                  <a:lnTo>
                    <a:pt x="116205" y="0"/>
                  </a:lnTo>
                  <a:lnTo>
                    <a:pt x="140970" y="7620"/>
                  </a:lnTo>
                  <a:lnTo>
                    <a:pt x="161925" y="18002"/>
                  </a:lnTo>
                  <a:lnTo>
                    <a:pt x="172402" y="18002"/>
                  </a:lnTo>
                  <a:lnTo>
                    <a:pt x="172402" y="24765"/>
                  </a:lnTo>
                  <a:lnTo>
                    <a:pt x="158115" y="28575"/>
                  </a:lnTo>
                  <a:lnTo>
                    <a:pt x="158115" y="49435"/>
                  </a:lnTo>
                  <a:lnTo>
                    <a:pt x="144780" y="63722"/>
                  </a:lnTo>
                  <a:lnTo>
                    <a:pt x="147638" y="67627"/>
                  </a:lnTo>
                  <a:lnTo>
                    <a:pt x="161925" y="74295"/>
                  </a:lnTo>
                  <a:lnTo>
                    <a:pt x="158115" y="80963"/>
                  </a:lnTo>
                  <a:lnTo>
                    <a:pt x="140970" y="78010"/>
                  </a:lnTo>
                  <a:lnTo>
                    <a:pt x="126682" y="74295"/>
                  </a:lnTo>
                  <a:lnTo>
                    <a:pt x="112395" y="80963"/>
                  </a:lnTo>
                  <a:lnTo>
                    <a:pt x="105727" y="92297"/>
                  </a:lnTo>
                  <a:lnTo>
                    <a:pt x="105727" y="98965"/>
                  </a:lnTo>
                  <a:lnTo>
                    <a:pt x="91440" y="98965"/>
                  </a:lnTo>
                  <a:lnTo>
                    <a:pt x="70485" y="98965"/>
                  </a:lnTo>
                  <a:lnTo>
                    <a:pt x="52388" y="92297"/>
                  </a:lnTo>
                  <a:lnTo>
                    <a:pt x="41910" y="92297"/>
                  </a:lnTo>
                  <a:lnTo>
                    <a:pt x="24765" y="95250"/>
                  </a:lnTo>
                  <a:lnTo>
                    <a:pt x="20955" y="84677"/>
                  </a:lnTo>
                  <a:lnTo>
                    <a:pt x="10477" y="74295"/>
                  </a:lnTo>
                  <a:lnTo>
                    <a:pt x="6668" y="60008"/>
                  </a:lnTo>
                  <a:lnTo>
                    <a:pt x="18097" y="39052"/>
                  </a:lnTo>
                  <a:lnTo>
                    <a:pt x="6668" y="24765"/>
                  </a:lnTo>
                  <a:lnTo>
                    <a:pt x="0" y="14288"/>
                  </a:lnTo>
                  <a:lnTo>
                    <a:pt x="10477" y="7620"/>
                  </a:lnTo>
                  <a:lnTo>
                    <a:pt x="31432" y="1428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22" name="Freeform: Shape 3721">
              <a:extLst>
                <a:ext uri="{FF2B5EF4-FFF2-40B4-BE49-F238E27FC236}">
                  <a16:creationId xmlns:a16="http://schemas.microsoft.com/office/drawing/2014/main" id="{CFE46C8E-07B0-5952-1271-9ACCA3EC934B}"/>
                </a:ext>
              </a:extLst>
            </p:cNvPr>
            <p:cNvSpPr/>
            <p:nvPr/>
          </p:nvSpPr>
          <p:spPr>
            <a:xfrm>
              <a:off x="6712820" y="3320549"/>
              <a:ext cx="72830" cy="52195"/>
            </a:xfrm>
            <a:custGeom>
              <a:avLst/>
              <a:gdLst>
                <a:gd name="connsiteX0" fmla="*/ 0 w 74294"/>
                <a:gd name="connsiteY0" fmla="*/ 24670 h 53244"/>
                <a:gd name="connsiteX1" fmla="*/ 0 w 74294"/>
                <a:gd name="connsiteY1" fmla="*/ 35242 h 53244"/>
                <a:gd name="connsiteX2" fmla="*/ 3810 w 74294"/>
                <a:gd name="connsiteY2" fmla="*/ 45720 h 53244"/>
                <a:gd name="connsiteX3" fmla="*/ 17145 w 74294"/>
                <a:gd name="connsiteY3" fmla="*/ 45720 h 53244"/>
                <a:gd name="connsiteX4" fmla="*/ 6668 w 74294"/>
                <a:gd name="connsiteY4" fmla="*/ 53245 h 53244"/>
                <a:gd name="connsiteX5" fmla="*/ 24765 w 74294"/>
                <a:gd name="connsiteY5" fmla="*/ 49530 h 53244"/>
                <a:gd name="connsiteX6" fmla="*/ 45720 w 74294"/>
                <a:gd name="connsiteY6" fmla="*/ 35242 h 53244"/>
                <a:gd name="connsiteX7" fmla="*/ 60007 w 74294"/>
                <a:gd name="connsiteY7" fmla="*/ 28575 h 53244"/>
                <a:gd name="connsiteX8" fmla="*/ 74295 w 74294"/>
                <a:gd name="connsiteY8" fmla="*/ 31432 h 53244"/>
                <a:gd name="connsiteX9" fmla="*/ 66675 w 74294"/>
                <a:gd name="connsiteY9" fmla="*/ 24670 h 53244"/>
                <a:gd name="connsiteX10" fmla="*/ 56198 w 74294"/>
                <a:gd name="connsiteY10" fmla="*/ 18002 h 53244"/>
                <a:gd name="connsiteX11" fmla="*/ 52388 w 74294"/>
                <a:gd name="connsiteY11" fmla="*/ 6667 h 53244"/>
                <a:gd name="connsiteX12" fmla="*/ 39053 w 74294"/>
                <a:gd name="connsiteY12" fmla="*/ 6667 h 53244"/>
                <a:gd name="connsiteX13" fmla="*/ 20955 w 74294"/>
                <a:gd name="connsiteY13" fmla="*/ 0 h 53244"/>
                <a:gd name="connsiteX14" fmla="*/ 6668 w 74294"/>
                <a:gd name="connsiteY14" fmla="*/ 6667 h 53244"/>
                <a:gd name="connsiteX15" fmla="*/ 0 w 74294"/>
                <a:gd name="connsiteY15" fmla="*/ 18002 h 53244"/>
                <a:gd name="connsiteX16" fmla="*/ 0 w 74294"/>
                <a:gd name="connsiteY16" fmla="*/ 24670 h 5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4294" h="53244">
                  <a:moveTo>
                    <a:pt x="0" y="24670"/>
                  </a:moveTo>
                  <a:lnTo>
                    <a:pt x="0" y="35242"/>
                  </a:lnTo>
                  <a:lnTo>
                    <a:pt x="3810" y="45720"/>
                  </a:lnTo>
                  <a:lnTo>
                    <a:pt x="17145" y="45720"/>
                  </a:lnTo>
                  <a:lnTo>
                    <a:pt x="6668" y="53245"/>
                  </a:lnTo>
                  <a:lnTo>
                    <a:pt x="24765" y="49530"/>
                  </a:lnTo>
                  <a:lnTo>
                    <a:pt x="45720" y="35242"/>
                  </a:lnTo>
                  <a:lnTo>
                    <a:pt x="60007" y="28575"/>
                  </a:lnTo>
                  <a:lnTo>
                    <a:pt x="74295" y="31432"/>
                  </a:lnTo>
                  <a:lnTo>
                    <a:pt x="66675" y="24670"/>
                  </a:lnTo>
                  <a:lnTo>
                    <a:pt x="56198" y="18002"/>
                  </a:lnTo>
                  <a:lnTo>
                    <a:pt x="52388" y="6667"/>
                  </a:lnTo>
                  <a:lnTo>
                    <a:pt x="39053" y="6667"/>
                  </a:lnTo>
                  <a:lnTo>
                    <a:pt x="20955" y="0"/>
                  </a:lnTo>
                  <a:lnTo>
                    <a:pt x="6668" y="6667"/>
                  </a:lnTo>
                  <a:lnTo>
                    <a:pt x="0" y="18002"/>
                  </a:lnTo>
                  <a:lnTo>
                    <a:pt x="0" y="2467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23" name="Freeform: Shape 3722">
              <a:extLst>
                <a:ext uri="{FF2B5EF4-FFF2-40B4-BE49-F238E27FC236}">
                  <a16:creationId xmlns:a16="http://schemas.microsoft.com/office/drawing/2014/main" id="{0E3B5CF7-C6FA-3ADA-0247-064763D739FF}"/>
                </a:ext>
              </a:extLst>
            </p:cNvPr>
            <p:cNvSpPr/>
            <p:nvPr/>
          </p:nvSpPr>
          <p:spPr>
            <a:xfrm>
              <a:off x="6712820" y="3320549"/>
              <a:ext cx="72830" cy="52195"/>
            </a:xfrm>
            <a:custGeom>
              <a:avLst/>
              <a:gdLst>
                <a:gd name="connsiteX0" fmla="*/ 0 w 74294"/>
                <a:gd name="connsiteY0" fmla="*/ 24670 h 53244"/>
                <a:gd name="connsiteX1" fmla="*/ 0 w 74294"/>
                <a:gd name="connsiteY1" fmla="*/ 35242 h 53244"/>
                <a:gd name="connsiteX2" fmla="*/ 3810 w 74294"/>
                <a:gd name="connsiteY2" fmla="*/ 45720 h 53244"/>
                <a:gd name="connsiteX3" fmla="*/ 17145 w 74294"/>
                <a:gd name="connsiteY3" fmla="*/ 45720 h 53244"/>
                <a:gd name="connsiteX4" fmla="*/ 6668 w 74294"/>
                <a:gd name="connsiteY4" fmla="*/ 53245 h 53244"/>
                <a:gd name="connsiteX5" fmla="*/ 24765 w 74294"/>
                <a:gd name="connsiteY5" fmla="*/ 49530 h 53244"/>
                <a:gd name="connsiteX6" fmla="*/ 45720 w 74294"/>
                <a:gd name="connsiteY6" fmla="*/ 35242 h 53244"/>
                <a:gd name="connsiteX7" fmla="*/ 60007 w 74294"/>
                <a:gd name="connsiteY7" fmla="*/ 28575 h 53244"/>
                <a:gd name="connsiteX8" fmla="*/ 74295 w 74294"/>
                <a:gd name="connsiteY8" fmla="*/ 31432 h 53244"/>
                <a:gd name="connsiteX9" fmla="*/ 66675 w 74294"/>
                <a:gd name="connsiteY9" fmla="*/ 24670 h 53244"/>
                <a:gd name="connsiteX10" fmla="*/ 56198 w 74294"/>
                <a:gd name="connsiteY10" fmla="*/ 18002 h 53244"/>
                <a:gd name="connsiteX11" fmla="*/ 52388 w 74294"/>
                <a:gd name="connsiteY11" fmla="*/ 6667 h 53244"/>
                <a:gd name="connsiteX12" fmla="*/ 39053 w 74294"/>
                <a:gd name="connsiteY12" fmla="*/ 6667 h 53244"/>
                <a:gd name="connsiteX13" fmla="*/ 20955 w 74294"/>
                <a:gd name="connsiteY13" fmla="*/ 0 h 53244"/>
                <a:gd name="connsiteX14" fmla="*/ 6668 w 74294"/>
                <a:gd name="connsiteY14" fmla="*/ 6667 h 53244"/>
                <a:gd name="connsiteX15" fmla="*/ 0 w 74294"/>
                <a:gd name="connsiteY15" fmla="*/ 18002 h 53244"/>
                <a:gd name="connsiteX16" fmla="*/ 0 w 74294"/>
                <a:gd name="connsiteY16" fmla="*/ 24670 h 5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4294" h="53244">
                  <a:moveTo>
                    <a:pt x="0" y="24670"/>
                  </a:moveTo>
                  <a:lnTo>
                    <a:pt x="0" y="35242"/>
                  </a:lnTo>
                  <a:lnTo>
                    <a:pt x="3810" y="45720"/>
                  </a:lnTo>
                  <a:lnTo>
                    <a:pt x="17145" y="45720"/>
                  </a:lnTo>
                  <a:lnTo>
                    <a:pt x="6668" y="53245"/>
                  </a:lnTo>
                  <a:lnTo>
                    <a:pt x="24765" y="49530"/>
                  </a:lnTo>
                  <a:lnTo>
                    <a:pt x="45720" y="35242"/>
                  </a:lnTo>
                  <a:lnTo>
                    <a:pt x="60007" y="28575"/>
                  </a:lnTo>
                  <a:lnTo>
                    <a:pt x="74295" y="31432"/>
                  </a:lnTo>
                  <a:lnTo>
                    <a:pt x="66675" y="24670"/>
                  </a:lnTo>
                  <a:lnTo>
                    <a:pt x="56198" y="18002"/>
                  </a:lnTo>
                  <a:lnTo>
                    <a:pt x="52388" y="6667"/>
                  </a:lnTo>
                  <a:lnTo>
                    <a:pt x="39053" y="6667"/>
                  </a:lnTo>
                  <a:lnTo>
                    <a:pt x="20955" y="0"/>
                  </a:lnTo>
                  <a:lnTo>
                    <a:pt x="6668" y="6667"/>
                  </a:lnTo>
                  <a:lnTo>
                    <a:pt x="0" y="18002"/>
                  </a:lnTo>
                  <a:lnTo>
                    <a:pt x="0" y="2467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24" name="Freeform: Shape 3723">
              <a:extLst>
                <a:ext uri="{FF2B5EF4-FFF2-40B4-BE49-F238E27FC236}">
                  <a16:creationId xmlns:a16="http://schemas.microsoft.com/office/drawing/2014/main" id="{FC7189FA-E6F0-243D-D107-810038012434}"/>
                </a:ext>
              </a:extLst>
            </p:cNvPr>
            <p:cNvSpPr/>
            <p:nvPr/>
          </p:nvSpPr>
          <p:spPr>
            <a:xfrm>
              <a:off x="6643724" y="3531479"/>
              <a:ext cx="75631" cy="16807"/>
            </a:xfrm>
            <a:custGeom>
              <a:avLst/>
              <a:gdLst>
                <a:gd name="connsiteX0" fmla="*/ 6667 w 77152"/>
                <a:gd name="connsiteY0" fmla="*/ 0 h 17145"/>
                <a:gd name="connsiteX1" fmla="*/ 17145 w 77152"/>
                <a:gd name="connsiteY1" fmla="*/ 0 h 17145"/>
                <a:gd name="connsiteX2" fmla="*/ 28575 w 77152"/>
                <a:gd name="connsiteY2" fmla="*/ 3905 h 17145"/>
                <a:gd name="connsiteX3" fmla="*/ 39052 w 77152"/>
                <a:gd name="connsiteY3" fmla="*/ 3905 h 17145"/>
                <a:gd name="connsiteX4" fmla="*/ 52388 w 77152"/>
                <a:gd name="connsiteY4" fmla="*/ 3905 h 17145"/>
                <a:gd name="connsiteX5" fmla="*/ 60007 w 77152"/>
                <a:gd name="connsiteY5" fmla="*/ 3905 h 17145"/>
                <a:gd name="connsiteX6" fmla="*/ 74295 w 77152"/>
                <a:gd name="connsiteY6" fmla="*/ 6763 h 17145"/>
                <a:gd name="connsiteX7" fmla="*/ 77152 w 77152"/>
                <a:gd name="connsiteY7" fmla="*/ 14288 h 17145"/>
                <a:gd name="connsiteX8" fmla="*/ 70485 w 77152"/>
                <a:gd name="connsiteY8" fmla="*/ 17145 h 17145"/>
                <a:gd name="connsiteX9" fmla="*/ 56197 w 77152"/>
                <a:gd name="connsiteY9" fmla="*/ 14288 h 17145"/>
                <a:gd name="connsiteX10" fmla="*/ 41910 w 77152"/>
                <a:gd name="connsiteY10" fmla="*/ 14288 h 17145"/>
                <a:gd name="connsiteX11" fmla="*/ 31432 w 77152"/>
                <a:gd name="connsiteY11" fmla="*/ 17145 h 17145"/>
                <a:gd name="connsiteX12" fmla="*/ 28575 w 77152"/>
                <a:gd name="connsiteY12" fmla="*/ 10573 h 17145"/>
                <a:gd name="connsiteX13" fmla="*/ 14288 w 77152"/>
                <a:gd name="connsiteY13" fmla="*/ 10573 h 17145"/>
                <a:gd name="connsiteX14" fmla="*/ 0 w 77152"/>
                <a:gd name="connsiteY14" fmla="*/ 6763 h 17145"/>
                <a:gd name="connsiteX15" fmla="*/ 6667 w 77152"/>
                <a:gd name="connsiteY15" fmla="*/ 0 h 17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7152" h="17145">
                  <a:moveTo>
                    <a:pt x="6667" y="0"/>
                  </a:moveTo>
                  <a:lnTo>
                    <a:pt x="17145" y="0"/>
                  </a:lnTo>
                  <a:lnTo>
                    <a:pt x="28575" y="3905"/>
                  </a:lnTo>
                  <a:lnTo>
                    <a:pt x="39052" y="3905"/>
                  </a:lnTo>
                  <a:lnTo>
                    <a:pt x="52388" y="3905"/>
                  </a:lnTo>
                  <a:lnTo>
                    <a:pt x="60007" y="3905"/>
                  </a:lnTo>
                  <a:lnTo>
                    <a:pt x="74295" y="6763"/>
                  </a:lnTo>
                  <a:lnTo>
                    <a:pt x="77152" y="14288"/>
                  </a:lnTo>
                  <a:lnTo>
                    <a:pt x="70485" y="17145"/>
                  </a:lnTo>
                  <a:lnTo>
                    <a:pt x="56197" y="14288"/>
                  </a:lnTo>
                  <a:lnTo>
                    <a:pt x="41910" y="14288"/>
                  </a:lnTo>
                  <a:lnTo>
                    <a:pt x="31432" y="17145"/>
                  </a:lnTo>
                  <a:lnTo>
                    <a:pt x="28575" y="10573"/>
                  </a:lnTo>
                  <a:lnTo>
                    <a:pt x="14288" y="10573"/>
                  </a:lnTo>
                  <a:lnTo>
                    <a:pt x="0" y="6763"/>
                  </a:lnTo>
                  <a:lnTo>
                    <a:pt x="6667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25" name="Freeform: Shape 3724">
              <a:extLst>
                <a:ext uri="{FF2B5EF4-FFF2-40B4-BE49-F238E27FC236}">
                  <a16:creationId xmlns:a16="http://schemas.microsoft.com/office/drawing/2014/main" id="{B27EF512-5A7A-5AC1-B93B-3A3672EC2575}"/>
                </a:ext>
              </a:extLst>
            </p:cNvPr>
            <p:cNvSpPr/>
            <p:nvPr/>
          </p:nvSpPr>
          <p:spPr>
            <a:xfrm>
              <a:off x="6643724" y="3531479"/>
              <a:ext cx="75631" cy="16807"/>
            </a:xfrm>
            <a:custGeom>
              <a:avLst/>
              <a:gdLst>
                <a:gd name="connsiteX0" fmla="*/ 6667 w 77152"/>
                <a:gd name="connsiteY0" fmla="*/ 0 h 17145"/>
                <a:gd name="connsiteX1" fmla="*/ 17145 w 77152"/>
                <a:gd name="connsiteY1" fmla="*/ 0 h 17145"/>
                <a:gd name="connsiteX2" fmla="*/ 28575 w 77152"/>
                <a:gd name="connsiteY2" fmla="*/ 3905 h 17145"/>
                <a:gd name="connsiteX3" fmla="*/ 39052 w 77152"/>
                <a:gd name="connsiteY3" fmla="*/ 3905 h 17145"/>
                <a:gd name="connsiteX4" fmla="*/ 52388 w 77152"/>
                <a:gd name="connsiteY4" fmla="*/ 3905 h 17145"/>
                <a:gd name="connsiteX5" fmla="*/ 60007 w 77152"/>
                <a:gd name="connsiteY5" fmla="*/ 3905 h 17145"/>
                <a:gd name="connsiteX6" fmla="*/ 74295 w 77152"/>
                <a:gd name="connsiteY6" fmla="*/ 6763 h 17145"/>
                <a:gd name="connsiteX7" fmla="*/ 77152 w 77152"/>
                <a:gd name="connsiteY7" fmla="*/ 14288 h 17145"/>
                <a:gd name="connsiteX8" fmla="*/ 70485 w 77152"/>
                <a:gd name="connsiteY8" fmla="*/ 17145 h 17145"/>
                <a:gd name="connsiteX9" fmla="*/ 56197 w 77152"/>
                <a:gd name="connsiteY9" fmla="*/ 14288 h 17145"/>
                <a:gd name="connsiteX10" fmla="*/ 41910 w 77152"/>
                <a:gd name="connsiteY10" fmla="*/ 14288 h 17145"/>
                <a:gd name="connsiteX11" fmla="*/ 31432 w 77152"/>
                <a:gd name="connsiteY11" fmla="*/ 17145 h 17145"/>
                <a:gd name="connsiteX12" fmla="*/ 28575 w 77152"/>
                <a:gd name="connsiteY12" fmla="*/ 10573 h 17145"/>
                <a:gd name="connsiteX13" fmla="*/ 14288 w 77152"/>
                <a:gd name="connsiteY13" fmla="*/ 10573 h 17145"/>
                <a:gd name="connsiteX14" fmla="*/ 0 w 77152"/>
                <a:gd name="connsiteY14" fmla="*/ 6763 h 17145"/>
                <a:gd name="connsiteX15" fmla="*/ 6667 w 77152"/>
                <a:gd name="connsiteY15" fmla="*/ 0 h 171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7152" h="17145">
                  <a:moveTo>
                    <a:pt x="6667" y="0"/>
                  </a:moveTo>
                  <a:lnTo>
                    <a:pt x="17145" y="0"/>
                  </a:lnTo>
                  <a:lnTo>
                    <a:pt x="28575" y="3905"/>
                  </a:lnTo>
                  <a:lnTo>
                    <a:pt x="39052" y="3905"/>
                  </a:lnTo>
                  <a:lnTo>
                    <a:pt x="52388" y="3905"/>
                  </a:lnTo>
                  <a:lnTo>
                    <a:pt x="60007" y="3905"/>
                  </a:lnTo>
                  <a:lnTo>
                    <a:pt x="74295" y="6763"/>
                  </a:lnTo>
                  <a:lnTo>
                    <a:pt x="77152" y="14288"/>
                  </a:lnTo>
                  <a:lnTo>
                    <a:pt x="70485" y="17145"/>
                  </a:lnTo>
                  <a:lnTo>
                    <a:pt x="56197" y="14288"/>
                  </a:lnTo>
                  <a:lnTo>
                    <a:pt x="41910" y="14288"/>
                  </a:lnTo>
                  <a:lnTo>
                    <a:pt x="31432" y="17145"/>
                  </a:lnTo>
                  <a:lnTo>
                    <a:pt x="28575" y="10573"/>
                  </a:lnTo>
                  <a:lnTo>
                    <a:pt x="14288" y="10573"/>
                  </a:lnTo>
                  <a:lnTo>
                    <a:pt x="0" y="6763"/>
                  </a:lnTo>
                  <a:lnTo>
                    <a:pt x="6667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26" name="Freeform: Shape 3725">
              <a:extLst>
                <a:ext uri="{FF2B5EF4-FFF2-40B4-BE49-F238E27FC236}">
                  <a16:creationId xmlns:a16="http://schemas.microsoft.com/office/drawing/2014/main" id="{49EBCBE1-45D7-2989-D796-DD2FCAD416DB}"/>
                </a:ext>
              </a:extLst>
            </p:cNvPr>
            <p:cNvSpPr/>
            <p:nvPr/>
          </p:nvSpPr>
          <p:spPr>
            <a:xfrm>
              <a:off x="6550352" y="3334555"/>
              <a:ext cx="162467" cy="168912"/>
            </a:xfrm>
            <a:custGeom>
              <a:avLst/>
              <a:gdLst>
                <a:gd name="connsiteX0" fmla="*/ 74295 w 165734"/>
                <a:gd name="connsiteY0" fmla="*/ 109538 h 172307"/>
                <a:gd name="connsiteX1" fmla="*/ 80963 w 165734"/>
                <a:gd name="connsiteY1" fmla="*/ 112395 h 172307"/>
                <a:gd name="connsiteX2" fmla="*/ 78105 w 165734"/>
                <a:gd name="connsiteY2" fmla="*/ 119920 h 172307"/>
                <a:gd name="connsiteX3" fmla="*/ 66675 w 165734"/>
                <a:gd name="connsiteY3" fmla="*/ 119920 h 172307"/>
                <a:gd name="connsiteX4" fmla="*/ 53340 w 165734"/>
                <a:gd name="connsiteY4" fmla="*/ 116205 h 172307"/>
                <a:gd name="connsiteX5" fmla="*/ 42863 w 165734"/>
                <a:gd name="connsiteY5" fmla="*/ 116205 h 172307"/>
                <a:gd name="connsiteX6" fmla="*/ 35242 w 165734"/>
                <a:gd name="connsiteY6" fmla="*/ 122777 h 172307"/>
                <a:gd name="connsiteX7" fmla="*/ 35242 w 165734"/>
                <a:gd name="connsiteY7" fmla="*/ 137065 h 172307"/>
                <a:gd name="connsiteX8" fmla="*/ 45720 w 165734"/>
                <a:gd name="connsiteY8" fmla="*/ 144780 h 172307"/>
                <a:gd name="connsiteX9" fmla="*/ 45720 w 165734"/>
                <a:gd name="connsiteY9" fmla="*/ 155257 h 172307"/>
                <a:gd name="connsiteX10" fmla="*/ 49530 w 165734"/>
                <a:gd name="connsiteY10" fmla="*/ 161925 h 172307"/>
                <a:gd name="connsiteX11" fmla="*/ 56197 w 165734"/>
                <a:gd name="connsiteY11" fmla="*/ 151352 h 172307"/>
                <a:gd name="connsiteX12" fmla="*/ 60007 w 165734"/>
                <a:gd name="connsiteY12" fmla="*/ 158020 h 172307"/>
                <a:gd name="connsiteX13" fmla="*/ 63817 w 165734"/>
                <a:gd name="connsiteY13" fmla="*/ 172307 h 172307"/>
                <a:gd name="connsiteX14" fmla="*/ 74295 w 165734"/>
                <a:gd name="connsiteY14" fmla="*/ 169545 h 172307"/>
                <a:gd name="connsiteX15" fmla="*/ 74295 w 165734"/>
                <a:gd name="connsiteY15" fmla="*/ 161925 h 172307"/>
                <a:gd name="connsiteX16" fmla="*/ 80963 w 165734"/>
                <a:gd name="connsiteY16" fmla="*/ 172307 h 172307"/>
                <a:gd name="connsiteX17" fmla="*/ 84772 w 165734"/>
                <a:gd name="connsiteY17" fmla="*/ 165640 h 172307"/>
                <a:gd name="connsiteX18" fmla="*/ 84772 w 165734"/>
                <a:gd name="connsiteY18" fmla="*/ 158020 h 172307"/>
                <a:gd name="connsiteX19" fmla="*/ 78105 w 165734"/>
                <a:gd name="connsiteY19" fmla="*/ 151352 h 172307"/>
                <a:gd name="connsiteX20" fmla="*/ 70485 w 165734"/>
                <a:gd name="connsiteY20" fmla="*/ 140970 h 172307"/>
                <a:gd name="connsiteX21" fmla="*/ 74295 w 165734"/>
                <a:gd name="connsiteY21" fmla="*/ 134207 h 172307"/>
                <a:gd name="connsiteX22" fmla="*/ 80963 w 165734"/>
                <a:gd name="connsiteY22" fmla="*/ 134207 h 172307"/>
                <a:gd name="connsiteX23" fmla="*/ 91440 w 165734"/>
                <a:gd name="connsiteY23" fmla="*/ 130492 h 172307"/>
                <a:gd name="connsiteX24" fmla="*/ 84772 w 165734"/>
                <a:gd name="connsiteY24" fmla="*/ 122777 h 172307"/>
                <a:gd name="connsiteX25" fmla="*/ 84772 w 165734"/>
                <a:gd name="connsiteY25" fmla="*/ 112395 h 172307"/>
                <a:gd name="connsiteX26" fmla="*/ 91440 w 165734"/>
                <a:gd name="connsiteY26" fmla="*/ 119920 h 172307"/>
                <a:gd name="connsiteX27" fmla="*/ 101917 w 165734"/>
                <a:gd name="connsiteY27" fmla="*/ 122777 h 172307"/>
                <a:gd name="connsiteX28" fmla="*/ 112395 w 165734"/>
                <a:gd name="connsiteY28" fmla="*/ 116205 h 172307"/>
                <a:gd name="connsiteX29" fmla="*/ 109538 w 165734"/>
                <a:gd name="connsiteY29" fmla="*/ 105632 h 172307"/>
                <a:gd name="connsiteX30" fmla="*/ 101917 w 165734"/>
                <a:gd name="connsiteY30" fmla="*/ 98107 h 172307"/>
                <a:gd name="connsiteX31" fmla="*/ 88582 w 165734"/>
                <a:gd name="connsiteY31" fmla="*/ 95250 h 172307"/>
                <a:gd name="connsiteX32" fmla="*/ 80963 w 165734"/>
                <a:gd name="connsiteY32" fmla="*/ 87630 h 172307"/>
                <a:gd name="connsiteX33" fmla="*/ 78105 w 165734"/>
                <a:gd name="connsiteY33" fmla="*/ 77057 h 172307"/>
                <a:gd name="connsiteX34" fmla="*/ 78105 w 165734"/>
                <a:gd name="connsiteY34" fmla="*/ 70390 h 172307"/>
                <a:gd name="connsiteX35" fmla="*/ 66675 w 165734"/>
                <a:gd name="connsiteY35" fmla="*/ 56102 h 172307"/>
                <a:gd name="connsiteX36" fmla="*/ 63817 w 165734"/>
                <a:gd name="connsiteY36" fmla="*/ 49530 h 172307"/>
                <a:gd name="connsiteX37" fmla="*/ 66675 w 165734"/>
                <a:gd name="connsiteY37" fmla="*/ 38957 h 172307"/>
                <a:gd name="connsiteX38" fmla="*/ 78105 w 165734"/>
                <a:gd name="connsiteY38" fmla="*/ 35242 h 172307"/>
                <a:gd name="connsiteX39" fmla="*/ 84772 w 165734"/>
                <a:gd name="connsiteY39" fmla="*/ 45720 h 172307"/>
                <a:gd name="connsiteX40" fmla="*/ 99060 w 165734"/>
                <a:gd name="connsiteY40" fmla="*/ 49530 h 172307"/>
                <a:gd name="connsiteX41" fmla="*/ 101917 w 165734"/>
                <a:gd name="connsiteY41" fmla="*/ 45720 h 172307"/>
                <a:gd name="connsiteX42" fmla="*/ 105727 w 165734"/>
                <a:gd name="connsiteY42" fmla="*/ 38957 h 172307"/>
                <a:gd name="connsiteX43" fmla="*/ 101917 w 165734"/>
                <a:gd name="connsiteY43" fmla="*/ 27527 h 172307"/>
                <a:gd name="connsiteX44" fmla="*/ 112395 w 165734"/>
                <a:gd name="connsiteY44" fmla="*/ 27527 h 172307"/>
                <a:gd name="connsiteX45" fmla="*/ 123825 w 165734"/>
                <a:gd name="connsiteY45" fmla="*/ 24670 h 172307"/>
                <a:gd name="connsiteX46" fmla="*/ 137160 w 165734"/>
                <a:gd name="connsiteY46" fmla="*/ 24670 h 172307"/>
                <a:gd name="connsiteX47" fmla="*/ 147638 w 165734"/>
                <a:gd name="connsiteY47" fmla="*/ 24670 h 172307"/>
                <a:gd name="connsiteX48" fmla="*/ 159067 w 165734"/>
                <a:gd name="connsiteY48" fmla="*/ 24670 h 172307"/>
                <a:gd name="connsiteX49" fmla="*/ 165735 w 165734"/>
                <a:gd name="connsiteY49" fmla="*/ 20955 h 172307"/>
                <a:gd name="connsiteX50" fmla="*/ 165735 w 165734"/>
                <a:gd name="connsiteY50" fmla="*/ 10382 h 172307"/>
                <a:gd name="connsiteX51" fmla="*/ 151447 w 165734"/>
                <a:gd name="connsiteY51" fmla="*/ 10382 h 172307"/>
                <a:gd name="connsiteX52" fmla="*/ 130492 w 165734"/>
                <a:gd name="connsiteY52" fmla="*/ 10382 h 172307"/>
                <a:gd name="connsiteX53" fmla="*/ 123825 w 165734"/>
                <a:gd name="connsiteY53" fmla="*/ 6667 h 172307"/>
                <a:gd name="connsiteX54" fmla="*/ 112395 w 165734"/>
                <a:gd name="connsiteY54" fmla="*/ 3715 h 172307"/>
                <a:gd name="connsiteX55" fmla="*/ 101917 w 165734"/>
                <a:gd name="connsiteY55" fmla="*/ 0 h 172307"/>
                <a:gd name="connsiteX56" fmla="*/ 84772 w 165734"/>
                <a:gd name="connsiteY56" fmla="*/ 6667 h 172307"/>
                <a:gd name="connsiteX57" fmla="*/ 70485 w 165734"/>
                <a:gd name="connsiteY57" fmla="*/ 17145 h 172307"/>
                <a:gd name="connsiteX58" fmla="*/ 60007 w 165734"/>
                <a:gd name="connsiteY58" fmla="*/ 17145 h 172307"/>
                <a:gd name="connsiteX59" fmla="*/ 45720 w 165734"/>
                <a:gd name="connsiteY59" fmla="*/ 20955 h 172307"/>
                <a:gd name="connsiteX60" fmla="*/ 31432 w 165734"/>
                <a:gd name="connsiteY60" fmla="*/ 24670 h 172307"/>
                <a:gd name="connsiteX61" fmla="*/ 24765 w 165734"/>
                <a:gd name="connsiteY61" fmla="*/ 27527 h 172307"/>
                <a:gd name="connsiteX62" fmla="*/ 24765 w 165734"/>
                <a:gd name="connsiteY62" fmla="*/ 35242 h 172307"/>
                <a:gd name="connsiteX63" fmla="*/ 18097 w 165734"/>
                <a:gd name="connsiteY63" fmla="*/ 45720 h 172307"/>
                <a:gd name="connsiteX64" fmla="*/ 3810 w 165734"/>
                <a:gd name="connsiteY64" fmla="*/ 60007 h 172307"/>
                <a:gd name="connsiteX65" fmla="*/ 0 w 165734"/>
                <a:gd name="connsiteY65" fmla="*/ 66675 h 172307"/>
                <a:gd name="connsiteX66" fmla="*/ 7620 w 165734"/>
                <a:gd name="connsiteY66" fmla="*/ 74295 h 172307"/>
                <a:gd name="connsiteX67" fmla="*/ 18097 w 165734"/>
                <a:gd name="connsiteY67" fmla="*/ 80963 h 172307"/>
                <a:gd name="connsiteX68" fmla="*/ 28575 w 165734"/>
                <a:gd name="connsiteY68" fmla="*/ 80963 h 172307"/>
                <a:gd name="connsiteX69" fmla="*/ 35242 w 165734"/>
                <a:gd name="connsiteY69" fmla="*/ 84677 h 172307"/>
                <a:gd name="connsiteX70" fmla="*/ 24765 w 165734"/>
                <a:gd name="connsiteY70" fmla="*/ 91345 h 172307"/>
                <a:gd name="connsiteX71" fmla="*/ 24765 w 165734"/>
                <a:gd name="connsiteY71" fmla="*/ 101917 h 172307"/>
                <a:gd name="connsiteX72" fmla="*/ 31432 w 165734"/>
                <a:gd name="connsiteY72" fmla="*/ 105632 h 172307"/>
                <a:gd name="connsiteX73" fmla="*/ 45720 w 165734"/>
                <a:gd name="connsiteY73" fmla="*/ 101917 h 172307"/>
                <a:gd name="connsiteX74" fmla="*/ 56197 w 165734"/>
                <a:gd name="connsiteY74" fmla="*/ 105632 h 172307"/>
                <a:gd name="connsiteX75" fmla="*/ 74295 w 165734"/>
                <a:gd name="connsiteY75" fmla="*/ 109538 h 172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165734" h="172307">
                  <a:moveTo>
                    <a:pt x="74295" y="109538"/>
                  </a:moveTo>
                  <a:lnTo>
                    <a:pt x="80963" y="112395"/>
                  </a:lnTo>
                  <a:lnTo>
                    <a:pt x="78105" y="119920"/>
                  </a:lnTo>
                  <a:lnTo>
                    <a:pt x="66675" y="119920"/>
                  </a:lnTo>
                  <a:lnTo>
                    <a:pt x="53340" y="116205"/>
                  </a:lnTo>
                  <a:lnTo>
                    <a:pt x="42863" y="116205"/>
                  </a:lnTo>
                  <a:lnTo>
                    <a:pt x="35242" y="122777"/>
                  </a:lnTo>
                  <a:lnTo>
                    <a:pt x="35242" y="137065"/>
                  </a:lnTo>
                  <a:lnTo>
                    <a:pt x="45720" y="144780"/>
                  </a:lnTo>
                  <a:lnTo>
                    <a:pt x="45720" y="155257"/>
                  </a:lnTo>
                  <a:lnTo>
                    <a:pt x="49530" y="161925"/>
                  </a:lnTo>
                  <a:lnTo>
                    <a:pt x="56197" y="151352"/>
                  </a:lnTo>
                  <a:lnTo>
                    <a:pt x="60007" y="158020"/>
                  </a:lnTo>
                  <a:lnTo>
                    <a:pt x="63817" y="172307"/>
                  </a:lnTo>
                  <a:lnTo>
                    <a:pt x="74295" y="169545"/>
                  </a:lnTo>
                  <a:lnTo>
                    <a:pt x="74295" y="161925"/>
                  </a:lnTo>
                  <a:lnTo>
                    <a:pt x="80963" y="172307"/>
                  </a:lnTo>
                  <a:lnTo>
                    <a:pt x="84772" y="165640"/>
                  </a:lnTo>
                  <a:lnTo>
                    <a:pt x="84772" y="158020"/>
                  </a:lnTo>
                  <a:lnTo>
                    <a:pt x="78105" y="151352"/>
                  </a:lnTo>
                  <a:lnTo>
                    <a:pt x="70485" y="140970"/>
                  </a:lnTo>
                  <a:lnTo>
                    <a:pt x="74295" y="134207"/>
                  </a:lnTo>
                  <a:lnTo>
                    <a:pt x="80963" y="134207"/>
                  </a:lnTo>
                  <a:lnTo>
                    <a:pt x="91440" y="130492"/>
                  </a:lnTo>
                  <a:lnTo>
                    <a:pt x="84772" y="122777"/>
                  </a:lnTo>
                  <a:lnTo>
                    <a:pt x="84772" y="112395"/>
                  </a:lnTo>
                  <a:lnTo>
                    <a:pt x="91440" y="119920"/>
                  </a:lnTo>
                  <a:lnTo>
                    <a:pt x="101917" y="122777"/>
                  </a:lnTo>
                  <a:lnTo>
                    <a:pt x="112395" y="116205"/>
                  </a:lnTo>
                  <a:lnTo>
                    <a:pt x="109538" y="105632"/>
                  </a:lnTo>
                  <a:lnTo>
                    <a:pt x="101917" y="98107"/>
                  </a:lnTo>
                  <a:lnTo>
                    <a:pt x="88582" y="95250"/>
                  </a:lnTo>
                  <a:lnTo>
                    <a:pt x="80963" y="87630"/>
                  </a:lnTo>
                  <a:lnTo>
                    <a:pt x="78105" y="77057"/>
                  </a:lnTo>
                  <a:lnTo>
                    <a:pt x="78105" y="70390"/>
                  </a:lnTo>
                  <a:lnTo>
                    <a:pt x="66675" y="56102"/>
                  </a:lnTo>
                  <a:lnTo>
                    <a:pt x="63817" y="49530"/>
                  </a:lnTo>
                  <a:lnTo>
                    <a:pt x="66675" y="38957"/>
                  </a:lnTo>
                  <a:lnTo>
                    <a:pt x="78105" y="35242"/>
                  </a:lnTo>
                  <a:lnTo>
                    <a:pt x="84772" y="45720"/>
                  </a:lnTo>
                  <a:lnTo>
                    <a:pt x="99060" y="49530"/>
                  </a:lnTo>
                  <a:lnTo>
                    <a:pt x="101917" y="45720"/>
                  </a:lnTo>
                  <a:lnTo>
                    <a:pt x="105727" y="38957"/>
                  </a:lnTo>
                  <a:lnTo>
                    <a:pt x="101917" y="27527"/>
                  </a:lnTo>
                  <a:lnTo>
                    <a:pt x="112395" y="27527"/>
                  </a:lnTo>
                  <a:lnTo>
                    <a:pt x="123825" y="24670"/>
                  </a:lnTo>
                  <a:lnTo>
                    <a:pt x="137160" y="24670"/>
                  </a:lnTo>
                  <a:lnTo>
                    <a:pt x="147638" y="24670"/>
                  </a:lnTo>
                  <a:lnTo>
                    <a:pt x="159067" y="24670"/>
                  </a:lnTo>
                  <a:lnTo>
                    <a:pt x="165735" y="20955"/>
                  </a:lnTo>
                  <a:lnTo>
                    <a:pt x="165735" y="10382"/>
                  </a:lnTo>
                  <a:lnTo>
                    <a:pt x="151447" y="10382"/>
                  </a:lnTo>
                  <a:lnTo>
                    <a:pt x="130492" y="10382"/>
                  </a:lnTo>
                  <a:lnTo>
                    <a:pt x="123825" y="6667"/>
                  </a:lnTo>
                  <a:lnTo>
                    <a:pt x="112395" y="3715"/>
                  </a:lnTo>
                  <a:lnTo>
                    <a:pt x="101917" y="0"/>
                  </a:lnTo>
                  <a:lnTo>
                    <a:pt x="84772" y="6667"/>
                  </a:lnTo>
                  <a:lnTo>
                    <a:pt x="70485" y="17145"/>
                  </a:lnTo>
                  <a:lnTo>
                    <a:pt x="60007" y="17145"/>
                  </a:lnTo>
                  <a:lnTo>
                    <a:pt x="45720" y="20955"/>
                  </a:lnTo>
                  <a:lnTo>
                    <a:pt x="31432" y="24670"/>
                  </a:lnTo>
                  <a:lnTo>
                    <a:pt x="24765" y="27527"/>
                  </a:lnTo>
                  <a:lnTo>
                    <a:pt x="24765" y="35242"/>
                  </a:lnTo>
                  <a:lnTo>
                    <a:pt x="18097" y="45720"/>
                  </a:lnTo>
                  <a:lnTo>
                    <a:pt x="3810" y="60007"/>
                  </a:lnTo>
                  <a:lnTo>
                    <a:pt x="0" y="66675"/>
                  </a:lnTo>
                  <a:lnTo>
                    <a:pt x="7620" y="74295"/>
                  </a:lnTo>
                  <a:lnTo>
                    <a:pt x="18097" y="80963"/>
                  </a:lnTo>
                  <a:lnTo>
                    <a:pt x="28575" y="80963"/>
                  </a:lnTo>
                  <a:lnTo>
                    <a:pt x="35242" y="84677"/>
                  </a:lnTo>
                  <a:lnTo>
                    <a:pt x="24765" y="91345"/>
                  </a:lnTo>
                  <a:lnTo>
                    <a:pt x="24765" y="101917"/>
                  </a:lnTo>
                  <a:lnTo>
                    <a:pt x="31432" y="105632"/>
                  </a:lnTo>
                  <a:lnTo>
                    <a:pt x="45720" y="101917"/>
                  </a:lnTo>
                  <a:lnTo>
                    <a:pt x="56197" y="105632"/>
                  </a:lnTo>
                  <a:lnTo>
                    <a:pt x="74295" y="10953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27" name="Freeform: Shape 3726">
              <a:extLst>
                <a:ext uri="{FF2B5EF4-FFF2-40B4-BE49-F238E27FC236}">
                  <a16:creationId xmlns:a16="http://schemas.microsoft.com/office/drawing/2014/main" id="{CA0F6E54-1A8E-46C8-9A9E-BCBA76C33DD0}"/>
                </a:ext>
              </a:extLst>
            </p:cNvPr>
            <p:cNvSpPr/>
            <p:nvPr/>
          </p:nvSpPr>
          <p:spPr>
            <a:xfrm>
              <a:off x="6529810" y="3303742"/>
              <a:ext cx="44818" cy="96174"/>
            </a:xfrm>
            <a:custGeom>
              <a:avLst/>
              <a:gdLst>
                <a:gd name="connsiteX0" fmla="*/ 0 w 45719"/>
                <a:gd name="connsiteY0" fmla="*/ 20860 h 98107"/>
                <a:gd name="connsiteX1" fmla="*/ 3810 w 45719"/>
                <a:gd name="connsiteY1" fmla="*/ 6572 h 98107"/>
                <a:gd name="connsiteX2" fmla="*/ 10477 w 45719"/>
                <a:gd name="connsiteY2" fmla="*/ 0 h 98107"/>
                <a:gd name="connsiteX3" fmla="*/ 24765 w 45719"/>
                <a:gd name="connsiteY3" fmla="*/ 2858 h 98107"/>
                <a:gd name="connsiteX4" fmla="*/ 39052 w 45719"/>
                <a:gd name="connsiteY4" fmla="*/ 13240 h 98107"/>
                <a:gd name="connsiteX5" fmla="*/ 35243 w 45719"/>
                <a:gd name="connsiteY5" fmla="*/ 27527 h 98107"/>
                <a:gd name="connsiteX6" fmla="*/ 35243 w 45719"/>
                <a:gd name="connsiteY6" fmla="*/ 38100 h 98107"/>
                <a:gd name="connsiteX7" fmla="*/ 41910 w 45719"/>
                <a:gd name="connsiteY7" fmla="*/ 52388 h 98107"/>
                <a:gd name="connsiteX8" fmla="*/ 45720 w 45719"/>
                <a:gd name="connsiteY8" fmla="*/ 58960 h 98107"/>
                <a:gd name="connsiteX9" fmla="*/ 45720 w 45719"/>
                <a:gd name="connsiteY9" fmla="*/ 66675 h 98107"/>
                <a:gd name="connsiteX10" fmla="*/ 39052 w 45719"/>
                <a:gd name="connsiteY10" fmla="*/ 77152 h 98107"/>
                <a:gd name="connsiteX11" fmla="*/ 20955 w 45719"/>
                <a:gd name="connsiteY11" fmla="*/ 98108 h 98107"/>
                <a:gd name="connsiteX12" fmla="*/ 3810 w 45719"/>
                <a:gd name="connsiteY12" fmla="*/ 70390 h 98107"/>
                <a:gd name="connsiteX13" fmla="*/ 6668 w 45719"/>
                <a:gd name="connsiteY13" fmla="*/ 48577 h 98107"/>
                <a:gd name="connsiteX14" fmla="*/ 3810 w 45719"/>
                <a:gd name="connsiteY14" fmla="*/ 31433 h 98107"/>
                <a:gd name="connsiteX15" fmla="*/ 0 w 45719"/>
                <a:gd name="connsiteY15" fmla="*/ 20860 h 98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719" h="98107">
                  <a:moveTo>
                    <a:pt x="0" y="20860"/>
                  </a:moveTo>
                  <a:lnTo>
                    <a:pt x="3810" y="6572"/>
                  </a:lnTo>
                  <a:lnTo>
                    <a:pt x="10477" y="0"/>
                  </a:lnTo>
                  <a:lnTo>
                    <a:pt x="24765" y="2858"/>
                  </a:lnTo>
                  <a:lnTo>
                    <a:pt x="39052" y="13240"/>
                  </a:lnTo>
                  <a:lnTo>
                    <a:pt x="35243" y="27527"/>
                  </a:lnTo>
                  <a:lnTo>
                    <a:pt x="35243" y="38100"/>
                  </a:lnTo>
                  <a:lnTo>
                    <a:pt x="41910" y="52388"/>
                  </a:lnTo>
                  <a:lnTo>
                    <a:pt x="45720" y="58960"/>
                  </a:lnTo>
                  <a:lnTo>
                    <a:pt x="45720" y="66675"/>
                  </a:lnTo>
                  <a:lnTo>
                    <a:pt x="39052" y="77152"/>
                  </a:lnTo>
                  <a:lnTo>
                    <a:pt x="20955" y="98108"/>
                  </a:lnTo>
                  <a:lnTo>
                    <a:pt x="3810" y="70390"/>
                  </a:lnTo>
                  <a:lnTo>
                    <a:pt x="6668" y="48577"/>
                  </a:lnTo>
                  <a:lnTo>
                    <a:pt x="3810" y="31433"/>
                  </a:lnTo>
                  <a:lnTo>
                    <a:pt x="0" y="2086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28" name="Freeform: Shape 3727">
              <a:extLst>
                <a:ext uri="{FF2B5EF4-FFF2-40B4-BE49-F238E27FC236}">
                  <a16:creationId xmlns:a16="http://schemas.microsoft.com/office/drawing/2014/main" id="{B9FE7E29-3B53-00B9-C16C-392F1DF9506C}"/>
                </a:ext>
              </a:extLst>
            </p:cNvPr>
            <p:cNvSpPr/>
            <p:nvPr/>
          </p:nvSpPr>
          <p:spPr>
            <a:xfrm>
              <a:off x="8805297" y="4143074"/>
              <a:ext cx="137257" cy="117743"/>
            </a:xfrm>
            <a:custGeom>
              <a:avLst/>
              <a:gdLst>
                <a:gd name="connsiteX0" fmla="*/ 70485 w 140017"/>
                <a:gd name="connsiteY0" fmla="*/ 116300 h 120110"/>
                <a:gd name="connsiteX1" fmla="*/ 59055 w 140017"/>
                <a:gd name="connsiteY1" fmla="*/ 116300 h 120110"/>
                <a:gd name="connsiteX2" fmla="*/ 56197 w 140017"/>
                <a:gd name="connsiteY2" fmla="*/ 120110 h 120110"/>
                <a:gd name="connsiteX3" fmla="*/ 31432 w 140017"/>
                <a:gd name="connsiteY3" fmla="*/ 113347 h 120110"/>
                <a:gd name="connsiteX4" fmla="*/ 20955 w 140017"/>
                <a:gd name="connsiteY4" fmla="*/ 95250 h 120110"/>
                <a:gd name="connsiteX5" fmla="*/ 13335 w 140017"/>
                <a:gd name="connsiteY5" fmla="*/ 78200 h 120110"/>
                <a:gd name="connsiteX6" fmla="*/ 0 w 140017"/>
                <a:gd name="connsiteY6" fmla="*/ 42863 h 120110"/>
                <a:gd name="connsiteX7" fmla="*/ 0 w 140017"/>
                <a:gd name="connsiteY7" fmla="*/ 31528 h 120110"/>
                <a:gd name="connsiteX8" fmla="*/ 13335 w 140017"/>
                <a:gd name="connsiteY8" fmla="*/ 7715 h 120110"/>
                <a:gd name="connsiteX9" fmla="*/ 83820 w 140017"/>
                <a:gd name="connsiteY9" fmla="*/ 3810 h 120110"/>
                <a:gd name="connsiteX10" fmla="*/ 83820 w 140017"/>
                <a:gd name="connsiteY10" fmla="*/ 14288 h 120110"/>
                <a:gd name="connsiteX11" fmla="*/ 101917 w 140017"/>
                <a:gd name="connsiteY11" fmla="*/ 14288 h 120110"/>
                <a:gd name="connsiteX12" fmla="*/ 108585 w 140017"/>
                <a:gd name="connsiteY12" fmla="*/ 0 h 120110"/>
                <a:gd name="connsiteX13" fmla="*/ 116205 w 140017"/>
                <a:gd name="connsiteY13" fmla="*/ 3810 h 120110"/>
                <a:gd name="connsiteX14" fmla="*/ 119063 w 140017"/>
                <a:gd name="connsiteY14" fmla="*/ 10573 h 120110"/>
                <a:gd name="connsiteX15" fmla="*/ 140017 w 140017"/>
                <a:gd name="connsiteY15" fmla="*/ 10573 h 120110"/>
                <a:gd name="connsiteX16" fmla="*/ 140017 w 140017"/>
                <a:gd name="connsiteY16" fmla="*/ 28575 h 120110"/>
                <a:gd name="connsiteX17" fmla="*/ 133350 w 140017"/>
                <a:gd name="connsiteY17" fmla="*/ 45815 h 120110"/>
                <a:gd name="connsiteX18" fmla="*/ 122872 w 140017"/>
                <a:gd name="connsiteY18" fmla="*/ 66675 h 120110"/>
                <a:gd name="connsiteX19" fmla="*/ 112395 w 140017"/>
                <a:gd name="connsiteY19" fmla="*/ 80963 h 120110"/>
                <a:gd name="connsiteX20" fmla="*/ 94297 w 140017"/>
                <a:gd name="connsiteY20" fmla="*/ 88678 h 120110"/>
                <a:gd name="connsiteX21" fmla="*/ 94297 w 140017"/>
                <a:gd name="connsiteY21" fmla="*/ 102013 h 120110"/>
                <a:gd name="connsiteX22" fmla="*/ 77152 w 140017"/>
                <a:gd name="connsiteY22" fmla="*/ 109538 h 120110"/>
                <a:gd name="connsiteX23" fmla="*/ 70485 w 140017"/>
                <a:gd name="connsiteY23" fmla="*/ 116300 h 12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0017" h="120110">
                  <a:moveTo>
                    <a:pt x="70485" y="116300"/>
                  </a:moveTo>
                  <a:lnTo>
                    <a:pt x="59055" y="116300"/>
                  </a:lnTo>
                  <a:lnTo>
                    <a:pt x="56197" y="120110"/>
                  </a:lnTo>
                  <a:lnTo>
                    <a:pt x="31432" y="113347"/>
                  </a:lnTo>
                  <a:lnTo>
                    <a:pt x="20955" y="95250"/>
                  </a:lnTo>
                  <a:lnTo>
                    <a:pt x="13335" y="78200"/>
                  </a:lnTo>
                  <a:lnTo>
                    <a:pt x="0" y="42863"/>
                  </a:lnTo>
                  <a:lnTo>
                    <a:pt x="0" y="31528"/>
                  </a:lnTo>
                  <a:lnTo>
                    <a:pt x="13335" y="7715"/>
                  </a:lnTo>
                  <a:lnTo>
                    <a:pt x="83820" y="3810"/>
                  </a:lnTo>
                  <a:lnTo>
                    <a:pt x="83820" y="14288"/>
                  </a:lnTo>
                  <a:lnTo>
                    <a:pt x="101917" y="14288"/>
                  </a:lnTo>
                  <a:lnTo>
                    <a:pt x="108585" y="0"/>
                  </a:lnTo>
                  <a:lnTo>
                    <a:pt x="116205" y="3810"/>
                  </a:lnTo>
                  <a:lnTo>
                    <a:pt x="119063" y="10573"/>
                  </a:lnTo>
                  <a:lnTo>
                    <a:pt x="140017" y="10573"/>
                  </a:lnTo>
                  <a:lnTo>
                    <a:pt x="140017" y="28575"/>
                  </a:lnTo>
                  <a:lnTo>
                    <a:pt x="133350" y="45815"/>
                  </a:lnTo>
                  <a:lnTo>
                    <a:pt x="122872" y="66675"/>
                  </a:lnTo>
                  <a:lnTo>
                    <a:pt x="112395" y="80963"/>
                  </a:lnTo>
                  <a:lnTo>
                    <a:pt x="94297" y="88678"/>
                  </a:lnTo>
                  <a:lnTo>
                    <a:pt x="94297" y="102013"/>
                  </a:lnTo>
                  <a:lnTo>
                    <a:pt x="77152" y="109538"/>
                  </a:lnTo>
                  <a:lnTo>
                    <a:pt x="70485" y="11630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29" name="Freeform: Shape 3728">
              <a:extLst>
                <a:ext uri="{FF2B5EF4-FFF2-40B4-BE49-F238E27FC236}">
                  <a16:creationId xmlns:a16="http://schemas.microsoft.com/office/drawing/2014/main" id="{8044ADE2-06E7-9B4B-D3F1-6AF27759186C}"/>
                </a:ext>
              </a:extLst>
            </p:cNvPr>
            <p:cNvSpPr/>
            <p:nvPr/>
          </p:nvSpPr>
          <p:spPr>
            <a:xfrm>
              <a:off x="8805297" y="4143074"/>
              <a:ext cx="137257" cy="117743"/>
            </a:xfrm>
            <a:custGeom>
              <a:avLst/>
              <a:gdLst>
                <a:gd name="connsiteX0" fmla="*/ 70485 w 140017"/>
                <a:gd name="connsiteY0" fmla="*/ 116300 h 120110"/>
                <a:gd name="connsiteX1" fmla="*/ 59055 w 140017"/>
                <a:gd name="connsiteY1" fmla="*/ 116300 h 120110"/>
                <a:gd name="connsiteX2" fmla="*/ 56197 w 140017"/>
                <a:gd name="connsiteY2" fmla="*/ 120110 h 120110"/>
                <a:gd name="connsiteX3" fmla="*/ 31432 w 140017"/>
                <a:gd name="connsiteY3" fmla="*/ 113347 h 120110"/>
                <a:gd name="connsiteX4" fmla="*/ 20955 w 140017"/>
                <a:gd name="connsiteY4" fmla="*/ 95250 h 120110"/>
                <a:gd name="connsiteX5" fmla="*/ 13335 w 140017"/>
                <a:gd name="connsiteY5" fmla="*/ 78200 h 120110"/>
                <a:gd name="connsiteX6" fmla="*/ 0 w 140017"/>
                <a:gd name="connsiteY6" fmla="*/ 42863 h 120110"/>
                <a:gd name="connsiteX7" fmla="*/ 0 w 140017"/>
                <a:gd name="connsiteY7" fmla="*/ 31528 h 120110"/>
                <a:gd name="connsiteX8" fmla="*/ 13335 w 140017"/>
                <a:gd name="connsiteY8" fmla="*/ 7715 h 120110"/>
                <a:gd name="connsiteX9" fmla="*/ 83820 w 140017"/>
                <a:gd name="connsiteY9" fmla="*/ 3810 h 120110"/>
                <a:gd name="connsiteX10" fmla="*/ 83820 w 140017"/>
                <a:gd name="connsiteY10" fmla="*/ 14288 h 120110"/>
                <a:gd name="connsiteX11" fmla="*/ 101917 w 140017"/>
                <a:gd name="connsiteY11" fmla="*/ 14288 h 120110"/>
                <a:gd name="connsiteX12" fmla="*/ 108585 w 140017"/>
                <a:gd name="connsiteY12" fmla="*/ 0 h 120110"/>
                <a:gd name="connsiteX13" fmla="*/ 116205 w 140017"/>
                <a:gd name="connsiteY13" fmla="*/ 3810 h 120110"/>
                <a:gd name="connsiteX14" fmla="*/ 119063 w 140017"/>
                <a:gd name="connsiteY14" fmla="*/ 10573 h 120110"/>
                <a:gd name="connsiteX15" fmla="*/ 140017 w 140017"/>
                <a:gd name="connsiteY15" fmla="*/ 10573 h 120110"/>
                <a:gd name="connsiteX16" fmla="*/ 140017 w 140017"/>
                <a:gd name="connsiteY16" fmla="*/ 28575 h 120110"/>
                <a:gd name="connsiteX17" fmla="*/ 133350 w 140017"/>
                <a:gd name="connsiteY17" fmla="*/ 45815 h 120110"/>
                <a:gd name="connsiteX18" fmla="*/ 122872 w 140017"/>
                <a:gd name="connsiteY18" fmla="*/ 66675 h 120110"/>
                <a:gd name="connsiteX19" fmla="*/ 112395 w 140017"/>
                <a:gd name="connsiteY19" fmla="*/ 80963 h 120110"/>
                <a:gd name="connsiteX20" fmla="*/ 94297 w 140017"/>
                <a:gd name="connsiteY20" fmla="*/ 88678 h 120110"/>
                <a:gd name="connsiteX21" fmla="*/ 94297 w 140017"/>
                <a:gd name="connsiteY21" fmla="*/ 102013 h 120110"/>
                <a:gd name="connsiteX22" fmla="*/ 77152 w 140017"/>
                <a:gd name="connsiteY22" fmla="*/ 109538 h 120110"/>
                <a:gd name="connsiteX23" fmla="*/ 70485 w 140017"/>
                <a:gd name="connsiteY23" fmla="*/ 116300 h 120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0017" h="120110">
                  <a:moveTo>
                    <a:pt x="70485" y="116300"/>
                  </a:moveTo>
                  <a:lnTo>
                    <a:pt x="59055" y="116300"/>
                  </a:lnTo>
                  <a:lnTo>
                    <a:pt x="56197" y="120110"/>
                  </a:lnTo>
                  <a:lnTo>
                    <a:pt x="31432" y="113347"/>
                  </a:lnTo>
                  <a:lnTo>
                    <a:pt x="20955" y="95250"/>
                  </a:lnTo>
                  <a:lnTo>
                    <a:pt x="13335" y="78200"/>
                  </a:lnTo>
                  <a:lnTo>
                    <a:pt x="0" y="42863"/>
                  </a:lnTo>
                  <a:lnTo>
                    <a:pt x="0" y="31528"/>
                  </a:lnTo>
                  <a:lnTo>
                    <a:pt x="13335" y="7715"/>
                  </a:lnTo>
                  <a:lnTo>
                    <a:pt x="83820" y="3810"/>
                  </a:lnTo>
                  <a:lnTo>
                    <a:pt x="83820" y="14288"/>
                  </a:lnTo>
                  <a:lnTo>
                    <a:pt x="101917" y="14288"/>
                  </a:lnTo>
                  <a:lnTo>
                    <a:pt x="108585" y="0"/>
                  </a:lnTo>
                  <a:lnTo>
                    <a:pt x="116205" y="3810"/>
                  </a:lnTo>
                  <a:lnTo>
                    <a:pt x="119063" y="10573"/>
                  </a:lnTo>
                  <a:lnTo>
                    <a:pt x="140017" y="10573"/>
                  </a:lnTo>
                  <a:lnTo>
                    <a:pt x="140017" y="28575"/>
                  </a:lnTo>
                  <a:lnTo>
                    <a:pt x="133350" y="45815"/>
                  </a:lnTo>
                  <a:lnTo>
                    <a:pt x="122872" y="66675"/>
                  </a:lnTo>
                  <a:lnTo>
                    <a:pt x="112395" y="80963"/>
                  </a:lnTo>
                  <a:lnTo>
                    <a:pt x="94297" y="88678"/>
                  </a:lnTo>
                  <a:lnTo>
                    <a:pt x="94297" y="102013"/>
                  </a:lnTo>
                  <a:lnTo>
                    <a:pt x="77152" y="109538"/>
                  </a:lnTo>
                  <a:lnTo>
                    <a:pt x="70485" y="11630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30" name="Freeform: Shape 3729">
              <a:extLst>
                <a:ext uri="{FF2B5EF4-FFF2-40B4-BE49-F238E27FC236}">
                  <a16:creationId xmlns:a16="http://schemas.microsoft.com/office/drawing/2014/main" id="{404788CF-54F5-90B9-20F0-B1413B6ADF59}"/>
                </a:ext>
              </a:extLst>
            </p:cNvPr>
            <p:cNvSpPr/>
            <p:nvPr/>
          </p:nvSpPr>
          <p:spPr>
            <a:xfrm>
              <a:off x="8801561" y="3904972"/>
              <a:ext cx="193280" cy="404399"/>
            </a:xfrm>
            <a:custGeom>
              <a:avLst/>
              <a:gdLst>
                <a:gd name="connsiteX0" fmla="*/ 74295 w 197167"/>
                <a:gd name="connsiteY0" fmla="*/ 359188 h 412527"/>
                <a:gd name="connsiteX1" fmla="*/ 77152 w 197167"/>
                <a:gd name="connsiteY1" fmla="*/ 362998 h 412527"/>
                <a:gd name="connsiteX2" fmla="*/ 77152 w 197167"/>
                <a:gd name="connsiteY2" fmla="*/ 366713 h 412527"/>
                <a:gd name="connsiteX3" fmla="*/ 77152 w 197167"/>
                <a:gd name="connsiteY3" fmla="*/ 377285 h 412527"/>
                <a:gd name="connsiteX4" fmla="*/ 74295 w 197167"/>
                <a:gd name="connsiteY4" fmla="*/ 377285 h 412527"/>
                <a:gd name="connsiteX5" fmla="*/ 70485 w 197167"/>
                <a:gd name="connsiteY5" fmla="*/ 412528 h 412527"/>
                <a:gd name="connsiteX6" fmla="*/ 91440 w 197167"/>
                <a:gd name="connsiteY6" fmla="*/ 398240 h 412527"/>
                <a:gd name="connsiteX7" fmla="*/ 116205 w 197167"/>
                <a:gd name="connsiteY7" fmla="*/ 383953 h 412527"/>
                <a:gd name="connsiteX8" fmla="*/ 116205 w 197167"/>
                <a:gd name="connsiteY8" fmla="*/ 369665 h 412527"/>
                <a:gd name="connsiteX9" fmla="*/ 122873 w 197167"/>
                <a:gd name="connsiteY9" fmla="*/ 359188 h 412527"/>
                <a:gd name="connsiteX10" fmla="*/ 143827 w 197167"/>
                <a:gd name="connsiteY10" fmla="*/ 362998 h 412527"/>
                <a:gd name="connsiteX11" fmla="*/ 165735 w 197167"/>
                <a:gd name="connsiteY11" fmla="*/ 356235 h 412527"/>
                <a:gd name="connsiteX12" fmla="*/ 190500 w 197167"/>
                <a:gd name="connsiteY12" fmla="*/ 334423 h 412527"/>
                <a:gd name="connsiteX13" fmla="*/ 197168 w 197167"/>
                <a:gd name="connsiteY13" fmla="*/ 302990 h 412527"/>
                <a:gd name="connsiteX14" fmla="*/ 190500 w 197167"/>
                <a:gd name="connsiteY14" fmla="*/ 267748 h 412527"/>
                <a:gd name="connsiteX15" fmla="*/ 182880 w 197167"/>
                <a:gd name="connsiteY15" fmla="*/ 242888 h 412527"/>
                <a:gd name="connsiteX16" fmla="*/ 176213 w 197167"/>
                <a:gd name="connsiteY16" fmla="*/ 215360 h 412527"/>
                <a:gd name="connsiteX17" fmla="*/ 105727 w 197167"/>
                <a:gd name="connsiteY17" fmla="*/ 137160 h 412527"/>
                <a:gd name="connsiteX18" fmla="*/ 95250 w 197167"/>
                <a:gd name="connsiteY18" fmla="*/ 122872 h 412527"/>
                <a:gd name="connsiteX19" fmla="*/ 109538 w 197167"/>
                <a:gd name="connsiteY19" fmla="*/ 87725 h 412527"/>
                <a:gd name="connsiteX20" fmla="*/ 130493 w 197167"/>
                <a:gd name="connsiteY20" fmla="*/ 60103 h 412527"/>
                <a:gd name="connsiteX21" fmla="*/ 143827 w 197167"/>
                <a:gd name="connsiteY21" fmla="*/ 56197 h 412527"/>
                <a:gd name="connsiteX22" fmla="*/ 140970 w 197167"/>
                <a:gd name="connsiteY22" fmla="*/ 41910 h 412527"/>
                <a:gd name="connsiteX23" fmla="*/ 122873 w 197167"/>
                <a:gd name="connsiteY23" fmla="*/ 35338 h 412527"/>
                <a:gd name="connsiteX24" fmla="*/ 120015 w 197167"/>
                <a:gd name="connsiteY24" fmla="*/ 10573 h 412527"/>
                <a:gd name="connsiteX25" fmla="*/ 101918 w 197167"/>
                <a:gd name="connsiteY25" fmla="*/ 6763 h 412527"/>
                <a:gd name="connsiteX26" fmla="*/ 87630 w 197167"/>
                <a:gd name="connsiteY26" fmla="*/ 0 h 412527"/>
                <a:gd name="connsiteX27" fmla="*/ 77152 w 197167"/>
                <a:gd name="connsiteY27" fmla="*/ 0 h 412527"/>
                <a:gd name="connsiteX28" fmla="*/ 60007 w 197167"/>
                <a:gd name="connsiteY28" fmla="*/ 10573 h 412527"/>
                <a:gd name="connsiteX29" fmla="*/ 3810 w 197167"/>
                <a:gd name="connsiteY29" fmla="*/ 13335 h 412527"/>
                <a:gd name="connsiteX30" fmla="*/ 0 w 197167"/>
                <a:gd name="connsiteY30" fmla="*/ 24860 h 412527"/>
                <a:gd name="connsiteX31" fmla="*/ 17145 w 197167"/>
                <a:gd name="connsiteY31" fmla="*/ 41910 h 412527"/>
                <a:gd name="connsiteX32" fmla="*/ 20955 w 197167"/>
                <a:gd name="connsiteY32" fmla="*/ 66675 h 412527"/>
                <a:gd name="connsiteX33" fmla="*/ 60007 w 197167"/>
                <a:gd name="connsiteY33" fmla="*/ 62960 h 412527"/>
                <a:gd name="connsiteX34" fmla="*/ 70485 w 197167"/>
                <a:gd name="connsiteY34" fmla="*/ 80963 h 412527"/>
                <a:gd name="connsiteX35" fmla="*/ 74295 w 197167"/>
                <a:gd name="connsiteY35" fmla="*/ 98203 h 412527"/>
                <a:gd name="connsiteX36" fmla="*/ 49530 w 197167"/>
                <a:gd name="connsiteY36" fmla="*/ 98203 h 412527"/>
                <a:gd name="connsiteX37" fmla="*/ 45720 w 197167"/>
                <a:gd name="connsiteY37" fmla="*/ 116300 h 412527"/>
                <a:gd name="connsiteX38" fmla="*/ 60007 w 197167"/>
                <a:gd name="connsiteY38" fmla="*/ 122872 h 412527"/>
                <a:gd name="connsiteX39" fmla="*/ 109538 w 197167"/>
                <a:gd name="connsiteY39" fmla="*/ 168688 h 412527"/>
                <a:gd name="connsiteX40" fmla="*/ 140970 w 197167"/>
                <a:gd name="connsiteY40" fmla="*/ 203835 h 412527"/>
                <a:gd name="connsiteX41" fmla="*/ 147638 w 197167"/>
                <a:gd name="connsiteY41" fmla="*/ 228600 h 412527"/>
                <a:gd name="connsiteX42" fmla="*/ 143827 w 197167"/>
                <a:gd name="connsiteY42" fmla="*/ 253460 h 412527"/>
                <a:gd name="connsiteX43" fmla="*/ 143827 w 197167"/>
                <a:gd name="connsiteY43" fmla="*/ 267748 h 412527"/>
                <a:gd name="connsiteX44" fmla="*/ 137160 w 197167"/>
                <a:gd name="connsiteY44" fmla="*/ 288703 h 412527"/>
                <a:gd name="connsiteX45" fmla="*/ 126682 w 197167"/>
                <a:gd name="connsiteY45" fmla="*/ 309563 h 412527"/>
                <a:gd name="connsiteX46" fmla="*/ 116205 w 197167"/>
                <a:gd name="connsiteY46" fmla="*/ 323850 h 412527"/>
                <a:gd name="connsiteX47" fmla="*/ 98107 w 197167"/>
                <a:gd name="connsiteY47" fmla="*/ 331565 h 412527"/>
                <a:gd name="connsiteX48" fmla="*/ 98107 w 197167"/>
                <a:gd name="connsiteY48" fmla="*/ 344900 h 412527"/>
                <a:gd name="connsiteX49" fmla="*/ 80963 w 197167"/>
                <a:gd name="connsiteY49" fmla="*/ 352425 h 412527"/>
                <a:gd name="connsiteX50" fmla="*/ 74295 w 197167"/>
                <a:gd name="connsiteY50" fmla="*/ 359188 h 412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197167" h="412527">
                  <a:moveTo>
                    <a:pt x="74295" y="359188"/>
                  </a:moveTo>
                  <a:lnTo>
                    <a:pt x="77152" y="362998"/>
                  </a:lnTo>
                  <a:lnTo>
                    <a:pt x="77152" y="366713"/>
                  </a:lnTo>
                  <a:lnTo>
                    <a:pt x="77152" y="377285"/>
                  </a:lnTo>
                  <a:lnTo>
                    <a:pt x="74295" y="377285"/>
                  </a:lnTo>
                  <a:lnTo>
                    <a:pt x="70485" y="412528"/>
                  </a:lnTo>
                  <a:lnTo>
                    <a:pt x="91440" y="398240"/>
                  </a:lnTo>
                  <a:lnTo>
                    <a:pt x="116205" y="383953"/>
                  </a:lnTo>
                  <a:lnTo>
                    <a:pt x="116205" y="369665"/>
                  </a:lnTo>
                  <a:lnTo>
                    <a:pt x="122873" y="359188"/>
                  </a:lnTo>
                  <a:lnTo>
                    <a:pt x="143827" y="362998"/>
                  </a:lnTo>
                  <a:lnTo>
                    <a:pt x="165735" y="356235"/>
                  </a:lnTo>
                  <a:lnTo>
                    <a:pt x="190500" y="334423"/>
                  </a:lnTo>
                  <a:lnTo>
                    <a:pt x="197168" y="302990"/>
                  </a:lnTo>
                  <a:lnTo>
                    <a:pt x="190500" y="267748"/>
                  </a:lnTo>
                  <a:lnTo>
                    <a:pt x="182880" y="242888"/>
                  </a:lnTo>
                  <a:lnTo>
                    <a:pt x="176213" y="215360"/>
                  </a:lnTo>
                  <a:lnTo>
                    <a:pt x="105727" y="137160"/>
                  </a:lnTo>
                  <a:lnTo>
                    <a:pt x="95250" y="122872"/>
                  </a:lnTo>
                  <a:lnTo>
                    <a:pt x="109538" y="87725"/>
                  </a:lnTo>
                  <a:lnTo>
                    <a:pt x="130493" y="60103"/>
                  </a:lnTo>
                  <a:lnTo>
                    <a:pt x="143827" y="56197"/>
                  </a:lnTo>
                  <a:lnTo>
                    <a:pt x="140970" y="41910"/>
                  </a:lnTo>
                  <a:lnTo>
                    <a:pt x="122873" y="35338"/>
                  </a:lnTo>
                  <a:lnTo>
                    <a:pt x="120015" y="10573"/>
                  </a:lnTo>
                  <a:lnTo>
                    <a:pt x="101918" y="6763"/>
                  </a:lnTo>
                  <a:lnTo>
                    <a:pt x="87630" y="0"/>
                  </a:lnTo>
                  <a:lnTo>
                    <a:pt x="77152" y="0"/>
                  </a:lnTo>
                  <a:lnTo>
                    <a:pt x="60007" y="10573"/>
                  </a:lnTo>
                  <a:lnTo>
                    <a:pt x="3810" y="13335"/>
                  </a:lnTo>
                  <a:lnTo>
                    <a:pt x="0" y="24860"/>
                  </a:lnTo>
                  <a:lnTo>
                    <a:pt x="17145" y="41910"/>
                  </a:lnTo>
                  <a:lnTo>
                    <a:pt x="20955" y="66675"/>
                  </a:lnTo>
                  <a:lnTo>
                    <a:pt x="60007" y="62960"/>
                  </a:lnTo>
                  <a:lnTo>
                    <a:pt x="70485" y="80963"/>
                  </a:lnTo>
                  <a:lnTo>
                    <a:pt x="74295" y="98203"/>
                  </a:lnTo>
                  <a:lnTo>
                    <a:pt x="49530" y="98203"/>
                  </a:lnTo>
                  <a:lnTo>
                    <a:pt x="45720" y="116300"/>
                  </a:lnTo>
                  <a:lnTo>
                    <a:pt x="60007" y="122872"/>
                  </a:lnTo>
                  <a:lnTo>
                    <a:pt x="109538" y="168688"/>
                  </a:lnTo>
                  <a:lnTo>
                    <a:pt x="140970" y="203835"/>
                  </a:lnTo>
                  <a:lnTo>
                    <a:pt x="147638" y="228600"/>
                  </a:lnTo>
                  <a:lnTo>
                    <a:pt x="143827" y="253460"/>
                  </a:lnTo>
                  <a:lnTo>
                    <a:pt x="143827" y="267748"/>
                  </a:lnTo>
                  <a:lnTo>
                    <a:pt x="137160" y="288703"/>
                  </a:lnTo>
                  <a:lnTo>
                    <a:pt x="126682" y="309563"/>
                  </a:lnTo>
                  <a:lnTo>
                    <a:pt x="116205" y="323850"/>
                  </a:lnTo>
                  <a:lnTo>
                    <a:pt x="98107" y="331565"/>
                  </a:lnTo>
                  <a:lnTo>
                    <a:pt x="98107" y="344900"/>
                  </a:lnTo>
                  <a:lnTo>
                    <a:pt x="80963" y="352425"/>
                  </a:lnTo>
                  <a:lnTo>
                    <a:pt x="74295" y="35918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31" name="Freeform: Shape 3730">
              <a:extLst>
                <a:ext uri="{FF2B5EF4-FFF2-40B4-BE49-F238E27FC236}">
                  <a16:creationId xmlns:a16="http://schemas.microsoft.com/office/drawing/2014/main" id="{DC382D27-CA99-D3B2-1A6E-6C7C3AB09266}"/>
                </a:ext>
              </a:extLst>
            </p:cNvPr>
            <p:cNvSpPr/>
            <p:nvPr/>
          </p:nvSpPr>
          <p:spPr>
            <a:xfrm>
              <a:off x="8669906" y="3976963"/>
              <a:ext cx="225027" cy="415510"/>
            </a:xfrm>
            <a:custGeom>
              <a:avLst/>
              <a:gdLst>
                <a:gd name="connsiteX0" fmla="*/ 60007 w 229552"/>
                <a:gd name="connsiteY0" fmla="*/ 378047 h 423862"/>
                <a:gd name="connsiteX1" fmla="*/ 35242 w 229552"/>
                <a:gd name="connsiteY1" fmla="*/ 349472 h 423862"/>
                <a:gd name="connsiteX2" fmla="*/ 21907 w 229552"/>
                <a:gd name="connsiteY2" fmla="*/ 342900 h 423862"/>
                <a:gd name="connsiteX3" fmla="*/ 24765 w 229552"/>
                <a:gd name="connsiteY3" fmla="*/ 307562 h 423862"/>
                <a:gd name="connsiteX4" fmla="*/ 28575 w 229552"/>
                <a:gd name="connsiteY4" fmla="*/ 285750 h 423862"/>
                <a:gd name="connsiteX5" fmla="*/ 49530 w 229552"/>
                <a:gd name="connsiteY5" fmla="*/ 268510 h 423862"/>
                <a:gd name="connsiteX6" fmla="*/ 57150 w 229552"/>
                <a:gd name="connsiteY6" fmla="*/ 247650 h 423862"/>
                <a:gd name="connsiteX7" fmla="*/ 45720 w 229552"/>
                <a:gd name="connsiteY7" fmla="*/ 229553 h 423862"/>
                <a:gd name="connsiteX8" fmla="*/ 45720 w 229552"/>
                <a:gd name="connsiteY8" fmla="*/ 200978 h 423862"/>
                <a:gd name="connsiteX9" fmla="*/ 32385 w 229552"/>
                <a:gd name="connsiteY9" fmla="*/ 180022 h 423862"/>
                <a:gd name="connsiteX10" fmla="*/ 21907 w 229552"/>
                <a:gd name="connsiteY10" fmla="*/ 165735 h 423862"/>
                <a:gd name="connsiteX11" fmla="*/ 35242 w 229552"/>
                <a:gd name="connsiteY11" fmla="*/ 130397 h 423862"/>
                <a:gd name="connsiteX12" fmla="*/ 24765 w 229552"/>
                <a:gd name="connsiteY12" fmla="*/ 102775 h 423862"/>
                <a:gd name="connsiteX13" fmla="*/ 7620 w 229552"/>
                <a:gd name="connsiteY13" fmla="*/ 88487 h 423862"/>
                <a:gd name="connsiteX14" fmla="*/ 0 w 229552"/>
                <a:gd name="connsiteY14" fmla="*/ 53340 h 423862"/>
                <a:gd name="connsiteX15" fmla="*/ 7620 w 229552"/>
                <a:gd name="connsiteY15" fmla="*/ 42863 h 423862"/>
                <a:gd name="connsiteX16" fmla="*/ 7620 w 229552"/>
                <a:gd name="connsiteY16" fmla="*/ 21812 h 423862"/>
                <a:gd name="connsiteX17" fmla="*/ 39052 w 229552"/>
                <a:gd name="connsiteY17" fmla="*/ 18097 h 423862"/>
                <a:gd name="connsiteX18" fmla="*/ 63817 w 229552"/>
                <a:gd name="connsiteY18" fmla="*/ 0 h 423862"/>
                <a:gd name="connsiteX19" fmla="*/ 84772 w 229552"/>
                <a:gd name="connsiteY19" fmla="*/ 11335 h 423862"/>
                <a:gd name="connsiteX20" fmla="*/ 84772 w 229552"/>
                <a:gd name="connsiteY20" fmla="*/ 24765 h 423862"/>
                <a:gd name="connsiteX21" fmla="*/ 99060 w 229552"/>
                <a:gd name="connsiteY21" fmla="*/ 28575 h 423862"/>
                <a:gd name="connsiteX22" fmla="*/ 105727 w 229552"/>
                <a:gd name="connsiteY22" fmla="*/ 53340 h 423862"/>
                <a:gd name="connsiteX23" fmla="*/ 99060 w 229552"/>
                <a:gd name="connsiteY23" fmla="*/ 59912 h 423862"/>
                <a:gd name="connsiteX24" fmla="*/ 99060 w 229552"/>
                <a:gd name="connsiteY24" fmla="*/ 84772 h 423862"/>
                <a:gd name="connsiteX25" fmla="*/ 120015 w 229552"/>
                <a:gd name="connsiteY25" fmla="*/ 74200 h 423862"/>
                <a:gd name="connsiteX26" fmla="*/ 134302 w 229552"/>
                <a:gd name="connsiteY26" fmla="*/ 63722 h 423862"/>
                <a:gd name="connsiteX27" fmla="*/ 155257 w 229552"/>
                <a:gd name="connsiteY27" fmla="*/ 70485 h 423862"/>
                <a:gd name="connsiteX28" fmla="*/ 176213 w 229552"/>
                <a:gd name="connsiteY28" fmla="*/ 57150 h 423862"/>
                <a:gd name="connsiteX29" fmla="*/ 204788 w 229552"/>
                <a:gd name="connsiteY29" fmla="*/ 88487 h 423862"/>
                <a:gd name="connsiteX30" fmla="*/ 211455 w 229552"/>
                <a:gd name="connsiteY30" fmla="*/ 117062 h 423862"/>
                <a:gd name="connsiteX31" fmla="*/ 229552 w 229552"/>
                <a:gd name="connsiteY31" fmla="*/ 134303 h 423862"/>
                <a:gd name="connsiteX32" fmla="*/ 229552 w 229552"/>
                <a:gd name="connsiteY32" fmla="*/ 152400 h 423862"/>
                <a:gd name="connsiteX33" fmla="*/ 221932 w 229552"/>
                <a:gd name="connsiteY33" fmla="*/ 173260 h 423862"/>
                <a:gd name="connsiteX34" fmla="*/ 151447 w 229552"/>
                <a:gd name="connsiteY34" fmla="*/ 177165 h 423862"/>
                <a:gd name="connsiteX35" fmla="*/ 138113 w 229552"/>
                <a:gd name="connsiteY35" fmla="*/ 198025 h 423862"/>
                <a:gd name="connsiteX36" fmla="*/ 138113 w 229552"/>
                <a:gd name="connsiteY36" fmla="*/ 212312 h 423862"/>
                <a:gd name="connsiteX37" fmla="*/ 144780 w 229552"/>
                <a:gd name="connsiteY37" fmla="*/ 229553 h 423862"/>
                <a:gd name="connsiteX38" fmla="*/ 151447 w 229552"/>
                <a:gd name="connsiteY38" fmla="*/ 247650 h 423862"/>
                <a:gd name="connsiteX39" fmla="*/ 148590 w 229552"/>
                <a:gd name="connsiteY39" fmla="*/ 254222 h 423862"/>
                <a:gd name="connsiteX40" fmla="*/ 127635 w 229552"/>
                <a:gd name="connsiteY40" fmla="*/ 225647 h 423862"/>
                <a:gd name="connsiteX41" fmla="*/ 99060 w 229552"/>
                <a:gd name="connsiteY41" fmla="*/ 222885 h 423862"/>
                <a:gd name="connsiteX42" fmla="*/ 99060 w 229552"/>
                <a:gd name="connsiteY42" fmla="*/ 204788 h 423862"/>
                <a:gd name="connsiteX43" fmla="*/ 78105 w 229552"/>
                <a:gd name="connsiteY43" fmla="*/ 204788 h 423862"/>
                <a:gd name="connsiteX44" fmla="*/ 70485 w 229552"/>
                <a:gd name="connsiteY44" fmla="*/ 212312 h 423862"/>
                <a:gd name="connsiteX45" fmla="*/ 70485 w 229552"/>
                <a:gd name="connsiteY45" fmla="*/ 233363 h 423862"/>
                <a:gd name="connsiteX46" fmla="*/ 67627 w 229552"/>
                <a:gd name="connsiteY46" fmla="*/ 247650 h 423862"/>
                <a:gd name="connsiteX47" fmla="*/ 57150 w 229552"/>
                <a:gd name="connsiteY47" fmla="*/ 271463 h 423862"/>
                <a:gd name="connsiteX48" fmla="*/ 49530 w 229552"/>
                <a:gd name="connsiteY48" fmla="*/ 285750 h 423862"/>
                <a:gd name="connsiteX49" fmla="*/ 42863 w 229552"/>
                <a:gd name="connsiteY49" fmla="*/ 314325 h 423862"/>
                <a:gd name="connsiteX50" fmla="*/ 53340 w 229552"/>
                <a:gd name="connsiteY50" fmla="*/ 320897 h 423862"/>
                <a:gd name="connsiteX51" fmla="*/ 70485 w 229552"/>
                <a:gd name="connsiteY51" fmla="*/ 328613 h 423862"/>
                <a:gd name="connsiteX52" fmla="*/ 74295 w 229552"/>
                <a:gd name="connsiteY52" fmla="*/ 339090 h 423862"/>
                <a:gd name="connsiteX53" fmla="*/ 80963 w 229552"/>
                <a:gd name="connsiteY53" fmla="*/ 370522 h 423862"/>
                <a:gd name="connsiteX54" fmla="*/ 92392 w 229552"/>
                <a:gd name="connsiteY54" fmla="*/ 384810 h 423862"/>
                <a:gd name="connsiteX55" fmla="*/ 113347 w 229552"/>
                <a:gd name="connsiteY55" fmla="*/ 391478 h 423862"/>
                <a:gd name="connsiteX56" fmla="*/ 127635 w 229552"/>
                <a:gd name="connsiteY56" fmla="*/ 405765 h 423862"/>
                <a:gd name="connsiteX57" fmla="*/ 120015 w 229552"/>
                <a:gd name="connsiteY57" fmla="*/ 413385 h 423862"/>
                <a:gd name="connsiteX58" fmla="*/ 116205 w 229552"/>
                <a:gd name="connsiteY58" fmla="*/ 423863 h 423862"/>
                <a:gd name="connsiteX59" fmla="*/ 99060 w 229552"/>
                <a:gd name="connsiteY59" fmla="*/ 420053 h 423862"/>
                <a:gd name="connsiteX60" fmla="*/ 102870 w 229552"/>
                <a:gd name="connsiteY60" fmla="*/ 405765 h 423862"/>
                <a:gd name="connsiteX61" fmla="*/ 92392 w 229552"/>
                <a:gd name="connsiteY61" fmla="*/ 399097 h 423862"/>
                <a:gd name="connsiteX62" fmla="*/ 74295 w 229552"/>
                <a:gd name="connsiteY62" fmla="*/ 395288 h 423862"/>
                <a:gd name="connsiteX63" fmla="*/ 60007 w 229552"/>
                <a:gd name="connsiteY63" fmla="*/ 378047 h 423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229552" h="423862">
                  <a:moveTo>
                    <a:pt x="60007" y="378047"/>
                  </a:moveTo>
                  <a:lnTo>
                    <a:pt x="35242" y="349472"/>
                  </a:lnTo>
                  <a:lnTo>
                    <a:pt x="21907" y="342900"/>
                  </a:lnTo>
                  <a:lnTo>
                    <a:pt x="24765" y="307562"/>
                  </a:lnTo>
                  <a:lnTo>
                    <a:pt x="28575" y="285750"/>
                  </a:lnTo>
                  <a:lnTo>
                    <a:pt x="49530" y="268510"/>
                  </a:lnTo>
                  <a:lnTo>
                    <a:pt x="57150" y="247650"/>
                  </a:lnTo>
                  <a:lnTo>
                    <a:pt x="45720" y="229553"/>
                  </a:lnTo>
                  <a:lnTo>
                    <a:pt x="45720" y="200978"/>
                  </a:lnTo>
                  <a:lnTo>
                    <a:pt x="32385" y="180022"/>
                  </a:lnTo>
                  <a:lnTo>
                    <a:pt x="21907" y="165735"/>
                  </a:lnTo>
                  <a:lnTo>
                    <a:pt x="35242" y="130397"/>
                  </a:lnTo>
                  <a:lnTo>
                    <a:pt x="24765" y="102775"/>
                  </a:lnTo>
                  <a:lnTo>
                    <a:pt x="7620" y="88487"/>
                  </a:lnTo>
                  <a:lnTo>
                    <a:pt x="0" y="53340"/>
                  </a:lnTo>
                  <a:lnTo>
                    <a:pt x="7620" y="42863"/>
                  </a:lnTo>
                  <a:lnTo>
                    <a:pt x="7620" y="21812"/>
                  </a:lnTo>
                  <a:lnTo>
                    <a:pt x="39052" y="18097"/>
                  </a:lnTo>
                  <a:lnTo>
                    <a:pt x="63817" y="0"/>
                  </a:lnTo>
                  <a:lnTo>
                    <a:pt x="84772" y="11335"/>
                  </a:lnTo>
                  <a:lnTo>
                    <a:pt x="84772" y="24765"/>
                  </a:lnTo>
                  <a:lnTo>
                    <a:pt x="99060" y="28575"/>
                  </a:lnTo>
                  <a:lnTo>
                    <a:pt x="105727" y="53340"/>
                  </a:lnTo>
                  <a:lnTo>
                    <a:pt x="99060" y="59912"/>
                  </a:lnTo>
                  <a:lnTo>
                    <a:pt x="99060" y="84772"/>
                  </a:lnTo>
                  <a:lnTo>
                    <a:pt x="120015" y="74200"/>
                  </a:lnTo>
                  <a:lnTo>
                    <a:pt x="134302" y="63722"/>
                  </a:lnTo>
                  <a:lnTo>
                    <a:pt x="155257" y="70485"/>
                  </a:lnTo>
                  <a:lnTo>
                    <a:pt x="176213" y="57150"/>
                  </a:lnTo>
                  <a:lnTo>
                    <a:pt x="204788" y="88487"/>
                  </a:lnTo>
                  <a:lnTo>
                    <a:pt x="211455" y="117062"/>
                  </a:lnTo>
                  <a:lnTo>
                    <a:pt x="229552" y="134303"/>
                  </a:lnTo>
                  <a:lnTo>
                    <a:pt x="229552" y="152400"/>
                  </a:lnTo>
                  <a:lnTo>
                    <a:pt x="221932" y="173260"/>
                  </a:lnTo>
                  <a:lnTo>
                    <a:pt x="151447" y="177165"/>
                  </a:lnTo>
                  <a:lnTo>
                    <a:pt x="138113" y="198025"/>
                  </a:lnTo>
                  <a:lnTo>
                    <a:pt x="138113" y="212312"/>
                  </a:lnTo>
                  <a:lnTo>
                    <a:pt x="144780" y="229553"/>
                  </a:lnTo>
                  <a:lnTo>
                    <a:pt x="151447" y="247650"/>
                  </a:lnTo>
                  <a:lnTo>
                    <a:pt x="148590" y="254222"/>
                  </a:lnTo>
                  <a:lnTo>
                    <a:pt x="127635" y="225647"/>
                  </a:lnTo>
                  <a:lnTo>
                    <a:pt x="99060" y="222885"/>
                  </a:lnTo>
                  <a:lnTo>
                    <a:pt x="99060" y="204788"/>
                  </a:lnTo>
                  <a:lnTo>
                    <a:pt x="78105" y="204788"/>
                  </a:lnTo>
                  <a:lnTo>
                    <a:pt x="70485" y="212312"/>
                  </a:lnTo>
                  <a:lnTo>
                    <a:pt x="70485" y="233363"/>
                  </a:lnTo>
                  <a:lnTo>
                    <a:pt x="67627" y="247650"/>
                  </a:lnTo>
                  <a:lnTo>
                    <a:pt x="57150" y="271463"/>
                  </a:lnTo>
                  <a:lnTo>
                    <a:pt x="49530" y="285750"/>
                  </a:lnTo>
                  <a:lnTo>
                    <a:pt x="42863" y="314325"/>
                  </a:lnTo>
                  <a:lnTo>
                    <a:pt x="53340" y="320897"/>
                  </a:lnTo>
                  <a:lnTo>
                    <a:pt x="70485" y="328613"/>
                  </a:lnTo>
                  <a:lnTo>
                    <a:pt x="74295" y="339090"/>
                  </a:lnTo>
                  <a:lnTo>
                    <a:pt x="80963" y="370522"/>
                  </a:lnTo>
                  <a:lnTo>
                    <a:pt x="92392" y="384810"/>
                  </a:lnTo>
                  <a:lnTo>
                    <a:pt x="113347" y="391478"/>
                  </a:lnTo>
                  <a:lnTo>
                    <a:pt x="127635" y="405765"/>
                  </a:lnTo>
                  <a:lnTo>
                    <a:pt x="120015" y="413385"/>
                  </a:lnTo>
                  <a:lnTo>
                    <a:pt x="116205" y="423863"/>
                  </a:lnTo>
                  <a:lnTo>
                    <a:pt x="99060" y="420053"/>
                  </a:lnTo>
                  <a:lnTo>
                    <a:pt x="102870" y="405765"/>
                  </a:lnTo>
                  <a:lnTo>
                    <a:pt x="92392" y="399097"/>
                  </a:lnTo>
                  <a:lnTo>
                    <a:pt x="74295" y="395288"/>
                  </a:lnTo>
                  <a:lnTo>
                    <a:pt x="60007" y="378047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32" name="Freeform: Shape 3731">
              <a:extLst>
                <a:ext uri="{FF2B5EF4-FFF2-40B4-BE49-F238E27FC236}">
                  <a16:creationId xmlns:a16="http://schemas.microsoft.com/office/drawing/2014/main" id="{F8E647BE-F498-CAF1-4BA1-ABE0F5A3936D}"/>
                </a:ext>
              </a:extLst>
            </p:cNvPr>
            <p:cNvSpPr/>
            <p:nvPr/>
          </p:nvSpPr>
          <p:spPr>
            <a:xfrm>
              <a:off x="8980837" y="4423194"/>
              <a:ext cx="276381" cy="231659"/>
            </a:xfrm>
            <a:custGeom>
              <a:avLst/>
              <a:gdLst>
                <a:gd name="connsiteX0" fmla="*/ 24765 w 281939"/>
                <a:gd name="connsiteY0" fmla="*/ 80963 h 236315"/>
                <a:gd name="connsiteX1" fmla="*/ 42863 w 281939"/>
                <a:gd name="connsiteY1" fmla="*/ 99060 h 236315"/>
                <a:gd name="connsiteX2" fmla="*/ 63818 w 281939"/>
                <a:gd name="connsiteY2" fmla="*/ 99060 h 236315"/>
                <a:gd name="connsiteX3" fmla="*/ 78105 w 281939"/>
                <a:gd name="connsiteY3" fmla="*/ 95250 h 236315"/>
                <a:gd name="connsiteX4" fmla="*/ 116205 w 281939"/>
                <a:gd name="connsiteY4" fmla="*/ 80963 h 236315"/>
                <a:gd name="connsiteX5" fmla="*/ 130493 w 281939"/>
                <a:gd name="connsiteY5" fmla="*/ 95250 h 236315"/>
                <a:gd name="connsiteX6" fmla="*/ 151447 w 281939"/>
                <a:gd name="connsiteY6" fmla="*/ 84772 h 236315"/>
                <a:gd name="connsiteX7" fmla="*/ 172402 w 281939"/>
                <a:gd name="connsiteY7" fmla="*/ 63913 h 236315"/>
                <a:gd name="connsiteX8" fmla="*/ 203835 w 281939"/>
                <a:gd name="connsiteY8" fmla="*/ 21050 h 236315"/>
                <a:gd name="connsiteX9" fmla="*/ 204788 w 281939"/>
                <a:gd name="connsiteY9" fmla="*/ 3810 h 236315"/>
                <a:gd name="connsiteX10" fmla="*/ 232410 w 281939"/>
                <a:gd name="connsiteY10" fmla="*/ 0 h 236315"/>
                <a:gd name="connsiteX11" fmla="*/ 246697 w 281939"/>
                <a:gd name="connsiteY11" fmla="*/ 10573 h 236315"/>
                <a:gd name="connsiteX12" fmla="*/ 242888 w 281939"/>
                <a:gd name="connsiteY12" fmla="*/ 24860 h 236315"/>
                <a:gd name="connsiteX13" fmla="*/ 232410 w 281939"/>
                <a:gd name="connsiteY13" fmla="*/ 28575 h 236315"/>
                <a:gd name="connsiteX14" fmla="*/ 246697 w 281939"/>
                <a:gd name="connsiteY14" fmla="*/ 45815 h 236315"/>
                <a:gd name="connsiteX15" fmla="*/ 257175 w 281939"/>
                <a:gd name="connsiteY15" fmla="*/ 74390 h 236315"/>
                <a:gd name="connsiteX16" fmla="*/ 263843 w 281939"/>
                <a:gd name="connsiteY16" fmla="*/ 84772 h 236315"/>
                <a:gd name="connsiteX17" fmla="*/ 281940 w 281939"/>
                <a:gd name="connsiteY17" fmla="*/ 99060 h 236315"/>
                <a:gd name="connsiteX18" fmla="*/ 275272 w 281939"/>
                <a:gd name="connsiteY18" fmla="*/ 105823 h 236315"/>
                <a:gd name="connsiteX19" fmla="*/ 253365 w 281939"/>
                <a:gd name="connsiteY19" fmla="*/ 102013 h 236315"/>
                <a:gd name="connsiteX20" fmla="*/ 242888 w 281939"/>
                <a:gd name="connsiteY20" fmla="*/ 112490 h 236315"/>
                <a:gd name="connsiteX21" fmla="*/ 240030 w 281939"/>
                <a:gd name="connsiteY21" fmla="*/ 148685 h 236315"/>
                <a:gd name="connsiteX22" fmla="*/ 211455 w 281939"/>
                <a:gd name="connsiteY22" fmla="*/ 169640 h 236315"/>
                <a:gd name="connsiteX23" fmla="*/ 215265 w 281939"/>
                <a:gd name="connsiteY23" fmla="*/ 197263 h 236315"/>
                <a:gd name="connsiteX24" fmla="*/ 211455 w 281939"/>
                <a:gd name="connsiteY24" fmla="*/ 207740 h 236315"/>
                <a:gd name="connsiteX25" fmla="*/ 207645 w 281939"/>
                <a:gd name="connsiteY25" fmla="*/ 236315 h 236315"/>
                <a:gd name="connsiteX26" fmla="*/ 165735 w 281939"/>
                <a:gd name="connsiteY26" fmla="*/ 232410 h 236315"/>
                <a:gd name="connsiteX27" fmla="*/ 161925 w 281939"/>
                <a:gd name="connsiteY27" fmla="*/ 219075 h 236315"/>
                <a:gd name="connsiteX28" fmla="*/ 112395 w 281939"/>
                <a:gd name="connsiteY28" fmla="*/ 211550 h 236315"/>
                <a:gd name="connsiteX29" fmla="*/ 105727 w 281939"/>
                <a:gd name="connsiteY29" fmla="*/ 222028 h 236315"/>
                <a:gd name="connsiteX30" fmla="*/ 80963 w 281939"/>
                <a:gd name="connsiteY30" fmla="*/ 219075 h 236315"/>
                <a:gd name="connsiteX31" fmla="*/ 78105 w 281939"/>
                <a:gd name="connsiteY31" fmla="*/ 204788 h 236315"/>
                <a:gd name="connsiteX32" fmla="*/ 42863 w 281939"/>
                <a:gd name="connsiteY32" fmla="*/ 204788 h 236315"/>
                <a:gd name="connsiteX33" fmla="*/ 35243 w 281939"/>
                <a:gd name="connsiteY33" fmla="*/ 169640 h 236315"/>
                <a:gd name="connsiteX34" fmla="*/ 20955 w 281939"/>
                <a:gd name="connsiteY34" fmla="*/ 151447 h 236315"/>
                <a:gd name="connsiteX35" fmla="*/ 3810 w 281939"/>
                <a:gd name="connsiteY35" fmla="*/ 116300 h 236315"/>
                <a:gd name="connsiteX36" fmla="*/ 0 w 281939"/>
                <a:gd name="connsiteY36" fmla="*/ 95250 h 236315"/>
                <a:gd name="connsiteX37" fmla="*/ 10477 w 281939"/>
                <a:gd name="connsiteY37" fmla="*/ 80963 h 236315"/>
                <a:gd name="connsiteX38" fmla="*/ 24765 w 281939"/>
                <a:gd name="connsiteY38" fmla="*/ 80963 h 2363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281939" h="236315">
                  <a:moveTo>
                    <a:pt x="24765" y="80963"/>
                  </a:moveTo>
                  <a:lnTo>
                    <a:pt x="42863" y="99060"/>
                  </a:lnTo>
                  <a:lnTo>
                    <a:pt x="63818" y="99060"/>
                  </a:lnTo>
                  <a:lnTo>
                    <a:pt x="78105" y="95250"/>
                  </a:lnTo>
                  <a:lnTo>
                    <a:pt x="116205" y="80963"/>
                  </a:lnTo>
                  <a:lnTo>
                    <a:pt x="130493" y="95250"/>
                  </a:lnTo>
                  <a:lnTo>
                    <a:pt x="151447" y="84772"/>
                  </a:lnTo>
                  <a:lnTo>
                    <a:pt x="172402" y="63913"/>
                  </a:lnTo>
                  <a:lnTo>
                    <a:pt x="203835" y="21050"/>
                  </a:lnTo>
                  <a:lnTo>
                    <a:pt x="204788" y="3810"/>
                  </a:lnTo>
                  <a:lnTo>
                    <a:pt x="232410" y="0"/>
                  </a:lnTo>
                  <a:lnTo>
                    <a:pt x="246697" y="10573"/>
                  </a:lnTo>
                  <a:lnTo>
                    <a:pt x="242888" y="24860"/>
                  </a:lnTo>
                  <a:lnTo>
                    <a:pt x="232410" y="28575"/>
                  </a:lnTo>
                  <a:lnTo>
                    <a:pt x="246697" y="45815"/>
                  </a:lnTo>
                  <a:lnTo>
                    <a:pt x="257175" y="74390"/>
                  </a:lnTo>
                  <a:lnTo>
                    <a:pt x="263843" y="84772"/>
                  </a:lnTo>
                  <a:lnTo>
                    <a:pt x="281940" y="99060"/>
                  </a:lnTo>
                  <a:lnTo>
                    <a:pt x="275272" y="105823"/>
                  </a:lnTo>
                  <a:lnTo>
                    <a:pt x="253365" y="102013"/>
                  </a:lnTo>
                  <a:lnTo>
                    <a:pt x="242888" y="112490"/>
                  </a:lnTo>
                  <a:lnTo>
                    <a:pt x="240030" y="148685"/>
                  </a:lnTo>
                  <a:lnTo>
                    <a:pt x="211455" y="169640"/>
                  </a:lnTo>
                  <a:lnTo>
                    <a:pt x="215265" y="197263"/>
                  </a:lnTo>
                  <a:lnTo>
                    <a:pt x="211455" y="207740"/>
                  </a:lnTo>
                  <a:lnTo>
                    <a:pt x="207645" y="236315"/>
                  </a:lnTo>
                  <a:lnTo>
                    <a:pt x="165735" y="232410"/>
                  </a:lnTo>
                  <a:lnTo>
                    <a:pt x="161925" y="219075"/>
                  </a:lnTo>
                  <a:lnTo>
                    <a:pt x="112395" y="211550"/>
                  </a:lnTo>
                  <a:lnTo>
                    <a:pt x="105727" y="222028"/>
                  </a:lnTo>
                  <a:lnTo>
                    <a:pt x="80963" y="219075"/>
                  </a:lnTo>
                  <a:lnTo>
                    <a:pt x="78105" y="204788"/>
                  </a:lnTo>
                  <a:lnTo>
                    <a:pt x="42863" y="204788"/>
                  </a:lnTo>
                  <a:lnTo>
                    <a:pt x="35243" y="169640"/>
                  </a:lnTo>
                  <a:lnTo>
                    <a:pt x="20955" y="151447"/>
                  </a:lnTo>
                  <a:lnTo>
                    <a:pt x="3810" y="116300"/>
                  </a:lnTo>
                  <a:lnTo>
                    <a:pt x="0" y="95250"/>
                  </a:lnTo>
                  <a:lnTo>
                    <a:pt x="10477" y="80963"/>
                  </a:lnTo>
                  <a:lnTo>
                    <a:pt x="24765" y="8096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33" name="Freeform: Shape 3732">
              <a:extLst>
                <a:ext uri="{FF2B5EF4-FFF2-40B4-BE49-F238E27FC236}">
                  <a16:creationId xmlns:a16="http://schemas.microsoft.com/office/drawing/2014/main" id="{168CFDE0-EE1A-35C3-780C-B07613FE4D32}"/>
                </a:ext>
              </a:extLst>
            </p:cNvPr>
            <p:cNvSpPr/>
            <p:nvPr/>
          </p:nvSpPr>
          <p:spPr>
            <a:xfrm>
              <a:off x="9303904" y="4498919"/>
              <a:ext cx="169004" cy="204394"/>
            </a:xfrm>
            <a:custGeom>
              <a:avLst/>
              <a:gdLst>
                <a:gd name="connsiteX0" fmla="*/ 20955 w 172402"/>
                <a:gd name="connsiteY0" fmla="*/ 63818 h 208502"/>
                <a:gd name="connsiteX1" fmla="*/ 20955 w 172402"/>
                <a:gd name="connsiteY1" fmla="*/ 46577 h 208502"/>
                <a:gd name="connsiteX2" fmla="*/ 35243 w 172402"/>
                <a:gd name="connsiteY2" fmla="*/ 24765 h 208502"/>
                <a:gd name="connsiteX3" fmla="*/ 56198 w 172402"/>
                <a:gd name="connsiteY3" fmla="*/ 14288 h 208502"/>
                <a:gd name="connsiteX4" fmla="*/ 84773 w 172402"/>
                <a:gd name="connsiteY4" fmla="*/ 18002 h 208502"/>
                <a:gd name="connsiteX5" fmla="*/ 102870 w 172402"/>
                <a:gd name="connsiteY5" fmla="*/ 24765 h 208502"/>
                <a:gd name="connsiteX6" fmla="*/ 130493 w 172402"/>
                <a:gd name="connsiteY6" fmla="*/ 24765 h 208502"/>
                <a:gd name="connsiteX7" fmla="*/ 148590 w 172402"/>
                <a:gd name="connsiteY7" fmla="*/ 21812 h 208502"/>
                <a:gd name="connsiteX8" fmla="*/ 159068 w 172402"/>
                <a:gd name="connsiteY8" fmla="*/ 14288 h 208502"/>
                <a:gd name="connsiteX9" fmla="*/ 172403 w 172402"/>
                <a:gd name="connsiteY9" fmla="*/ 0 h 208502"/>
                <a:gd name="connsiteX10" fmla="*/ 172403 w 172402"/>
                <a:gd name="connsiteY10" fmla="*/ 14288 h 208502"/>
                <a:gd name="connsiteX11" fmla="*/ 155257 w 172402"/>
                <a:gd name="connsiteY11" fmla="*/ 35243 h 208502"/>
                <a:gd name="connsiteX12" fmla="*/ 140970 w 172402"/>
                <a:gd name="connsiteY12" fmla="*/ 46577 h 208502"/>
                <a:gd name="connsiteX13" fmla="*/ 99060 w 172402"/>
                <a:gd name="connsiteY13" fmla="*/ 39053 h 208502"/>
                <a:gd name="connsiteX14" fmla="*/ 74295 w 172402"/>
                <a:gd name="connsiteY14" fmla="*/ 35243 h 208502"/>
                <a:gd name="connsiteX15" fmla="*/ 53340 w 172402"/>
                <a:gd name="connsiteY15" fmla="*/ 35243 h 208502"/>
                <a:gd name="connsiteX16" fmla="*/ 42863 w 172402"/>
                <a:gd name="connsiteY16" fmla="*/ 35243 h 208502"/>
                <a:gd name="connsiteX17" fmla="*/ 32385 w 172402"/>
                <a:gd name="connsiteY17" fmla="*/ 46577 h 208502"/>
                <a:gd name="connsiteX18" fmla="*/ 32385 w 172402"/>
                <a:gd name="connsiteY18" fmla="*/ 63818 h 208502"/>
                <a:gd name="connsiteX19" fmla="*/ 39053 w 172402"/>
                <a:gd name="connsiteY19" fmla="*/ 74200 h 208502"/>
                <a:gd name="connsiteX20" fmla="*/ 45720 w 172402"/>
                <a:gd name="connsiteY20" fmla="*/ 81915 h 208502"/>
                <a:gd name="connsiteX21" fmla="*/ 49530 w 172402"/>
                <a:gd name="connsiteY21" fmla="*/ 88487 h 208502"/>
                <a:gd name="connsiteX22" fmla="*/ 56198 w 172402"/>
                <a:gd name="connsiteY22" fmla="*/ 92393 h 208502"/>
                <a:gd name="connsiteX23" fmla="*/ 67628 w 172402"/>
                <a:gd name="connsiteY23" fmla="*/ 78105 h 208502"/>
                <a:gd name="connsiteX24" fmla="*/ 74295 w 172402"/>
                <a:gd name="connsiteY24" fmla="*/ 74200 h 208502"/>
                <a:gd name="connsiteX25" fmla="*/ 91440 w 172402"/>
                <a:gd name="connsiteY25" fmla="*/ 78105 h 208502"/>
                <a:gd name="connsiteX26" fmla="*/ 105728 w 172402"/>
                <a:gd name="connsiteY26" fmla="*/ 71438 h 208502"/>
                <a:gd name="connsiteX27" fmla="*/ 123825 w 172402"/>
                <a:gd name="connsiteY27" fmla="*/ 71438 h 208502"/>
                <a:gd name="connsiteX28" fmla="*/ 120015 w 172402"/>
                <a:gd name="connsiteY28" fmla="*/ 81915 h 208502"/>
                <a:gd name="connsiteX29" fmla="*/ 99060 w 172402"/>
                <a:gd name="connsiteY29" fmla="*/ 84677 h 208502"/>
                <a:gd name="connsiteX30" fmla="*/ 88582 w 172402"/>
                <a:gd name="connsiteY30" fmla="*/ 95250 h 208502"/>
                <a:gd name="connsiteX31" fmla="*/ 78105 w 172402"/>
                <a:gd name="connsiteY31" fmla="*/ 106680 h 208502"/>
                <a:gd name="connsiteX32" fmla="*/ 78105 w 172402"/>
                <a:gd name="connsiteY32" fmla="*/ 109538 h 208502"/>
                <a:gd name="connsiteX33" fmla="*/ 84773 w 172402"/>
                <a:gd name="connsiteY33" fmla="*/ 120015 h 208502"/>
                <a:gd name="connsiteX34" fmla="*/ 95250 w 172402"/>
                <a:gd name="connsiteY34" fmla="*/ 141827 h 208502"/>
                <a:gd name="connsiteX35" fmla="*/ 95250 w 172402"/>
                <a:gd name="connsiteY35" fmla="*/ 148590 h 208502"/>
                <a:gd name="connsiteX36" fmla="*/ 99060 w 172402"/>
                <a:gd name="connsiteY36" fmla="*/ 162878 h 208502"/>
                <a:gd name="connsiteX37" fmla="*/ 109538 w 172402"/>
                <a:gd name="connsiteY37" fmla="*/ 169450 h 208502"/>
                <a:gd name="connsiteX38" fmla="*/ 95250 w 172402"/>
                <a:gd name="connsiteY38" fmla="*/ 177165 h 208502"/>
                <a:gd name="connsiteX39" fmla="*/ 80963 w 172402"/>
                <a:gd name="connsiteY39" fmla="*/ 173355 h 208502"/>
                <a:gd name="connsiteX40" fmla="*/ 78105 w 172402"/>
                <a:gd name="connsiteY40" fmla="*/ 183737 h 208502"/>
                <a:gd name="connsiteX41" fmla="*/ 67628 w 172402"/>
                <a:gd name="connsiteY41" fmla="*/ 165640 h 208502"/>
                <a:gd name="connsiteX42" fmla="*/ 60007 w 172402"/>
                <a:gd name="connsiteY42" fmla="*/ 148590 h 208502"/>
                <a:gd name="connsiteX43" fmla="*/ 56198 w 172402"/>
                <a:gd name="connsiteY43" fmla="*/ 123825 h 208502"/>
                <a:gd name="connsiteX44" fmla="*/ 42863 w 172402"/>
                <a:gd name="connsiteY44" fmla="*/ 123825 h 208502"/>
                <a:gd name="connsiteX45" fmla="*/ 39053 w 172402"/>
                <a:gd name="connsiteY45" fmla="*/ 134303 h 208502"/>
                <a:gd name="connsiteX46" fmla="*/ 42863 w 172402"/>
                <a:gd name="connsiteY46" fmla="*/ 162878 h 208502"/>
                <a:gd name="connsiteX47" fmla="*/ 42863 w 172402"/>
                <a:gd name="connsiteY47" fmla="*/ 173355 h 208502"/>
                <a:gd name="connsiteX48" fmla="*/ 42863 w 172402"/>
                <a:gd name="connsiteY48" fmla="*/ 198025 h 208502"/>
                <a:gd name="connsiteX49" fmla="*/ 39053 w 172402"/>
                <a:gd name="connsiteY49" fmla="*/ 208502 h 208502"/>
                <a:gd name="connsiteX50" fmla="*/ 18098 w 172402"/>
                <a:gd name="connsiteY50" fmla="*/ 204788 h 208502"/>
                <a:gd name="connsiteX51" fmla="*/ 18098 w 172402"/>
                <a:gd name="connsiteY51" fmla="*/ 179927 h 208502"/>
                <a:gd name="connsiteX52" fmla="*/ 20955 w 172402"/>
                <a:gd name="connsiteY52" fmla="*/ 159068 h 208502"/>
                <a:gd name="connsiteX53" fmla="*/ 18098 w 172402"/>
                <a:gd name="connsiteY53" fmla="*/ 148590 h 208502"/>
                <a:gd name="connsiteX54" fmla="*/ 0 w 172402"/>
                <a:gd name="connsiteY54" fmla="*/ 141827 h 208502"/>
                <a:gd name="connsiteX55" fmla="*/ 0 w 172402"/>
                <a:gd name="connsiteY55" fmla="*/ 120015 h 208502"/>
                <a:gd name="connsiteX56" fmla="*/ 7620 w 172402"/>
                <a:gd name="connsiteY56" fmla="*/ 102775 h 208502"/>
                <a:gd name="connsiteX57" fmla="*/ 14288 w 172402"/>
                <a:gd name="connsiteY57" fmla="*/ 74200 h 208502"/>
                <a:gd name="connsiteX58" fmla="*/ 20955 w 172402"/>
                <a:gd name="connsiteY58" fmla="*/ 63818 h 208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172402" h="208502">
                  <a:moveTo>
                    <a:pt x="20955" y="63818"/>
                  </a:moveTo>
                  <a:lnTo>
                    <a:pt x="20955" y="46577"/>
                  </a:lnTo>
                  <a:lnTo>
                    <a:pt x="35243" y="24765"/>
                  </a:lnTo>
                  <a:lnTo>
                    <a:pt x="56198" y="14288"/>
                  </a:lnTo>
                  <a:lnTo>
                    <a:pt x="84773" y="18002"/>
                  </a:lnTo>
                  <a:lnTo>
                    <a:pt x="102870" y="24765"/>
                  </a:lnTo>
                  <a:lnTo>
                    <a:pt x="130493" y="24765"/>
                  </a:lnTo>
                  <a:lnTo>
                    <a:pt x="148590" y="21812"/>
                  </a:lnTo>
                  <a:lnTo>
                    <a:pt x="159068" y="14288"/>
                  </a:lnTo>
                  <a:lnTo>
                    <a:pt x="172403" y="0"/>
                  </a:lnTo>
                  <a:lnTo>
                    <a:pt x="172403" y="14288"/>
                  </a:lnTo>
                  <a:lnTo>
                    <a:pt x="155257" y="35243"/>
                  </a:lnTo>
                  <a:lnTo>
                    <a:pt x="140970" y="46577"/>
                  </a:lnTo>
                  <a:lnTo>
                    <a:pt x="99060" y="39053"/>
                  </a:lnTo>
                  <a:lnTo>
                    <a:pt x="74295" y="35243"/>
                  </a:lnTo>
                  <a:lnTo>
                    <a:pt x="53340" y="35243"/>
                  </a:lnTo>
                  <a:lnTo>
                    <a:pt x="42863" y="35243"/>
                  </a:lnTo>
                  <a:lnTo>
                    <a:pt x="32385" y="46577"/>
                  </a:lnTo>
                  <a:lnTo>
                    <a:pt x="32385" y="63818"/>
                  </a:lnTo>
                  <a:lnTo>
                    <a:pt x="39053" y="74200"/>
                  </a:lnTo>
                  <a:lnTo>
                    <a:pt x="45720" y="81915"/>
                  </a:lnTo>
                  <a:lnTo>
                    <a:pt x="49530" y="88487"/>
                  </a:lnTo>
                  <a:lnTo>
                    <a:pt x="56198" y="92393"/>
                  </a:lnTo>
                  <a:lnTo>
                    <a:pt x="67628" y="78105"/>
                  </a:lnTo>
                  <a:lnTo>
                    <a:pt x="74295" y="74200"/>
                  </a:lnTo>
                  <a:lnTo>
                    <a:pt x="91440" y="78105"/>
                  </a:lnTo>
                  <a:lnTo>
                    <a:pt x="105728" y="71438"/>
                  </a:lnTo>
                  <a:lnTo>
                    <a:pt x="123825" y="71438"/>
                  </a:lnTo>
                  <a:lnTo>
                    <a:pt x="120015" y="81915"/>
                  </a:lnTo>
                  <a:lnTo>
                    <a:pt x="99060" y="84677"/>
                  </a:lnTo>
                  <a:lnTo>
                    <a:pt x="88582" y="95250"/>
                  </a:lnTo>
                  <a:lnTo>
                    <a:pt x="78105" y="106680"/>
                  </a:lnTo>
                  <a:lnTo>
                    <a:pt x="78105" y="109538"/>
                  </a:lnTo>
                  <a:lnTo>
                    <a:pt x="84773" y="120015"/>
                  </a:lnTo>
                  <a:lnTo>
                    <a:pt x="95250" y="141827"/>
                  </a:lnTo>
                  <a:lnTo>
                    <a:pt x="95250" y="148590"/>
                  </a:lnTo>
                  <a:lnTo>
                    <a:pt x="99060" y="162878"/>
                  </a:lnTo>
                  <a:lnTo>
                    <a:pt x="109538" y="169450"/>
                  </a:lnTo>
                  <a:lnTo>
                    <a:pt x="95250" y="177165"/>
                  </a:lnTo>
                  <a:lnTo>
                    <a:pt x="80963" y="173355"/>
                  </a:lnTo>
                  <a:lnTo>
                    <a:pt x="78105" y="183737"/>
                  </a:lnTo>
                  <a:lnTo>
                    <a:pt x="67628" y="165640"/>
                  </a:lnTo>
                  <a:lnTo>
                    <a:pt x="60007" y="148590"/>
                  </a:lnTo>
                  <a:lnTo>
                    <a:pt x="56198" y="123825"/>
                  </a:lnTo>
                  <a:lnTo>
                    <a:pt x="42863" y="123825"/>
                  </a:lnTo>
                  <a:lnTo>
                    <a:pt x="39053" y="134303"/>
                  </a:lnTo>
                  <a:lnTo>
                    <a:pt x="42863" y="162878"/>
                  </a:lnTo>
                  <a:lnTo>
                    <a:pt x="42863" y="173355"/>
                  </a:lnTo>
                  <a:lnTo>
                    <a:pt x="42863" y="198025"/>
                  </a:lnTo>
                  <a:lnTo>
                    <a:pt x="39053" y="208502"/>
                  </a:lnTo>
                  <a:lnTo>
                    <a:pt x="18098" y="204788"/>
                  </a:lnTo>
                  <a:lnTo>
                    <a:pt x="18098" y="179927"/>
                  </a:lnTo>
                  <a:lnTo>
                    <a:pt x="20955" y="159068"/>
                  </a:lnTo>
                  <a:lnTo>
                    <a:pt x="18098" y="148590"/>
                  </a:lnTo>
                  <a:lnTo>
                    <a:pt x="0" y="141827"/>
                  </a:lnTo>
                  <a:lnTo>
                    <a:pt x="0" y="120015"/>
                  </a:lnTo>
                  <a:lnTo>
                    <a:pt x="7620" y="102775"/>
                  </a:lnTo>
                  <a:lnTo>
                    <a:pt x="14288" y="74200"/>
                  </a:lnTo>
                  <a:lnTo>
                    <a:pt x="20955" y="6381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34" name="Freeform: Shape 3733">
              <a:extLst>
                <a:ext uri="{FF2B5EF4-FFF2-40B4-BE49-F238E27FC236}">
                  <a16:creationId xmlns:a16="http://schemas.microsoft.com/office/drawing/2014/main" id="{F7C58D86-4347-4852-7875-9E31717FA3B9}"/>
                </a:ext>
              </a:extLst>
            </p:cNvPr>
            <p:cNvSpPr/>
            <p:nvPr/>
          </p:nvSpPr>
          <p:spPr>
            <a:xfrm>
              <a:off x="9582154" y="4561479"/>
              <a:ext cx="279183" cy="235206"/>
            </a:xfrm>
            <a:custGeom>
              <a:avLst/>
              <a:gdLst>
                <a:gd name="connsiteX0" fmla="*/ 2858 w 284797"/>
                <a:gd name="connsiteY0" fmla="*/ 14288 h 239934"/>
                <a:gd name="connsiteX1" fmla="*/ 34290 w 284797"/>
                <a:gd name="connsiteY1" fmla="*/ 3810 h 239934"/>
                <a:gd name="connsiteX2" fmla="*/ 52388 w 284797"/>
                <a:gd name="connsiteY2" fmla="*/ 0 h 239934"/>
                <a:gd name="connsiteX3" fmla="*/ 83820 w 284797"/>
                <a:gd name="connsiteY3" fmla="*/ 3810 h 239934"/>
                <a:gd name="connsiteX4" fmla="*/ 98108 w 284797"/>
                <a:gd name="connsiteY4" fmla="*/ 18097 h 239934"/>
                <a:gd name="connsiteX5" fmla="*/ 94298 w 284797"/>
                <a:gd name="connsiteY5" fmla="*/ 38957 h 239934"/>
                <a:gd name="connsiteX6" fmla="*/ 94298 w 284797"/>
                <a:gd name="connsiteY6" fmla="*/ 53245 h 239934"/>
                <a:gd name="connsiteX7" fmla="*/ 104775 w 284797"/>
                <a:gd name="connsiteY7" fmla="*/ 60007 h 239934"/>
                <a:gd name="connsiteX8" fmla="*/ 108585 w 284797"/>
                <a:gd name="connsiteY8" fmla="*/ 74295 h 239934"/>
                <a:gd name="connsiteX9" fmla="*/ 122873 w 284797"/>
                <a:gd name="connsiteY9" fmla="*/ 78010 h 239934"/>
                <a:gd name="connsiteX10" fmla="*/ 140018 w 284797"/>
                <a:gd name="connsiteY10" fmla="*/ 74295 h 239934"/>
                <a:gd name="connsiteX11" fmla="*/ 150495 w 284797"/>
                <a:gd name="connsiteY11" fmla="*/ 56197 h 239934"/>
                <a:gd name="connsiteX12" fmla="*/ 164783 w 284797"/>
                <a:gd name="connsiteY12" fmla="*/ 45720 h 239934"/>
                <a:gd name="connsiteX13" fmla="*/ 182880 w 284797"/>
                <a:gd name="connsiteY13" fmla="*/ 38957 h 239934"/>
                <a:gd name="connsiteX14" fmla="*/ 193358 w 284797"/>
                <a:gd name="connsiteY14" fmla="*/ 28575 h 239934"/>
                <a:gd name="connsiteX15" fmla="*/ 224790 w 284797"/>
                <a:gd name="connsiteY15" fmla="*/ 38957 h 239934"/>
                <a:gd name="connsiteX16" fmla="*/ 249555 w 284797"/>
                <a:gd name="connsiteY16" fmla="*/ 45720 h 239934"/>
                <a:gd name="connsiteX17" fmla="*/ 278130 w 284797"/>
                <a:gd name="connsiteY17" fmla="*/ 56197 h 239934"/>
                <a:gd name="connsiteX18" fmla="*/ 284798 w 284797"/>
                <a:gd name="connsiteY18" fmla="*/ 60007 h 239934"/>
                <a:gd name="connsiteX19" fmla="*/ 284798 w 284797"/>
                <a:gd name="connsiteY19" fmla="*/ 239935 h 239934"/>
                <a:gd name="connsiteX20" fmla="*/ 260033 w 284797"/>
                <a:gd name="connsiteY20" fmla="*/ 219075 h 239934"/>
                <a:gd name="connsiteX21" fmla="*/ 242888 w 284797"/>
                <a:gd name="connsiteY21" fmla="*/ 211360 h 239934"/>
                <a:gd name="connsiteX22" fmla="*/ 228600 w 284797"/>
                <a:gd name="connsiteY22" fmla="*/ 211360 h 239934"/>
                <a:gd name="connsiteX23" fmla="*/ 218123 w 284797"/>
                <a:gd name="connsiteY23" fmla="*/ 219075 h 239934"/>
                <a:gd name="connsiteX24" fmla="*/ 193358 w 284797"/>
                <a:gd name="connsiteY24" fmla="*/ 221932 h 239934"/>
                <a:gd name="connsiteX25" fmla="*/ 189548 w 284797"/>
                <a:gd name="connsiteY25" fmla="*/ 208597 h 239934"/>
                <a:gd name="connsiteX26" fmla="*/ 193358 w 284797"/>
                <a:gd name="connsiteY26" fmla="*/ 200882 h 239934"/>
                <a:gd name="connsiteX27" fmla="*/ 203835 w 284797"/>
                <a:gd name="connsiteY27" fmla="*/ 197072 h 239934"/>
                <a:gd name="connsiteX28" fmla="*/ 218123 w 284797"/>
                <a:gd name="connsiteY28" fmla="*/ 194310 h 239934"/>
                <a:gd name="connsiteX29" fmla="*/ 220980 w 284797"/>
                <a:gd name="connsiteY29" fmla="*/ 172307 h 239934"/>
                <a:gd name="connsiteX30" fmla="*/ 214313 w 284797"/>
                <a:gd name="connsiteY30" fmla="*/ 158972 h 239934"/>
                <a:gd name="connsiteX31" fmla="*/ 197168 w 284797"/>
                <a:gd name="connsiteY31" fmla="*/ 140970 h 239934"/>
                <a:gd name="connsiteX32" fmla="*/ 158115 w 284797"/>
                <a:gd name="connsiteY32" fmla="*/ 119920 h 239934"/>
                <a:gd name="connsiteX33" fmla="*/ 116205 w 284797"/>
                <a:gd name="connsiteY33" fmla="*/ 109538 h 239934"/>
                <a:gd name="connsiteX34" fmla="*/ 104775 w 284797"/>
                <a:gd name="connsiteY34" fmla="*/ 99060 h 239934"/>
                <a:gd name="connsiteX35" fmla="*/ 94298 w 284797"/>
                <a:gd name="connsiteY35" fmla="*/ 95250 h 239934"/>
                <a:gd name="connsiteX36" fmla="*/ 83820 w 284797"/>
                <a:gd name="connsiteY36" fmla="*/ 70485 h 239934"/>
                <a:gd name="connsiteX37" fmla="*/ 73343 w 284797"/>
                <a:gd name="connsiteY37" fmla="*/ 74295 h 239934"/>
                <a:gd name="connsiteX38" fmla="*/ 73343 w 284797"/>
                <a:gd name="connsiteY38" fmla="*/ 84772 h 239934"/>
                <a:gd name="connsiteX39" fmla="*/ 73343 w 284797"/>
                <a:gd name="connsiteY39" fmla="*/ 101822 h 239934"/>
                <a:gd name="connsiteX40" fmla="*/ 56198 w 284797"/>
                <a:gd name="connsiteY40" fmla="*/ 99060 h 239934"/>
                <a:gd name="connsiteX41" fmla="*/ 56198 w 284797"/>
                <a:gd name="connsiteY41" fmla="*/ 80963 h 239934"/>
                <a:gd name="connsiteX42" fmla="*/ 52388 w 284797"/>
                <a:gd name="connsiteY42" fmla="*/ 70485 h 239934"/>
                <a:gd name="connsiteX43" fmla="*/ 34290 w 284797"/>
                <a:gd name="connsiteY43" fmla="*/ 66675 h 239934"/>
                <a:gd name="connsiteX44" fmla="*/ 52388 w 284797"/>
                <a:gd name="connsiteY44" fmla="*/ 56197 h 239934"/>
                <a:gd name="connsiteX45" fmla="*/ 73343 w 284797"/>
                <a:gd name="connsiteY45" fmla="*/ 60007 h 239934"/>
                <a:gd name="connsiteX46" fmla="*/ 87630 w 284797"/>
                <a:gd name="connsiteY46" fmla="*/ 56197 h 239934"/>
                <a:gd name="connsiteX47" fmla="*/ 80963 w 284797"/>
                <a:gd name="connsiteY47" fmla="*/ 42863 h 239934"/>
                <a:gd name="connsiteX48" fmla="*/ 52388 w 284797"/>
                <a:gd name="connsiteY48" fmla="*/ 42863 h 239934"/>
                <a:gd name="connsiteX49" fmla="*/ 34290 w 284797"/>
                <a:gd name="connsiteY49" fmla="*/ 45720 h 239934"/>
                <a:gd name="connsiteX50" fmla="*/ 27623 w 284797"/>
                <a:gd name="connsiteY50" fmla="*/ 28575 h 239934"/>
                <a:gd name="connsiteX51" fmla="*/ 10478 w 284797"/>
                <a:gd name="connsiteY51" fmla="*/ 28575 h 239934"/>
                <a:gd name="connsiteX52" fmla="*/ 0 w 284797"/>
                <a:gd name="connsiteY52" fmla="*/ 24670 h 239934"/>
                <a:gd name="connsiteX53" fmla="*/ 2858 w 284797"/>
                <a:gd name="connsiteY53" fmla="*/ 14288 h 239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84797" h="239934">
                  <a:moveTo>
                    <a:pt x="2858" y="14288"/>
                  </a:moveTo>
                  <a:lnTo>
                    <a:pt x="34290" y="3810"/>
                  </a:lnTo>
                  <a:lnTo>
                    <a:pt x="52388" y="0"/>
                  </a:lnTo>
                  <a:lnTo>
                    <a:pt x="83820" y="3810"/>
                  </a:lnTo>
                  <a:lnTo>
                    <a:pt x="98108" y="18097"/>
                  </a:lnTo>
                  <a:lnTo>
                    <a:pt x="94298" y="38957"/>
                  </a:lnTo>
                  <a:lnTo>
                    <a:pt x="94298" y="53245"/>
                  </a:lnTo>
                  <a:lnTo>
                    <a:pt x="104775" y="60007"/>
                  </a:lnTo>
                  <a:lnTo>
                    <a:pt x="108585" y="74295"/>
                  </a:lnTo>
                  <a:lnTo>
                    <a:pt x="122873" y="78010"/>
                  </a:lnTo>
                  <a:lnTo>
                    <a:pt x="140018" y="74295"/>
                  </a:lnTo>
                  <a:lnTo>
                    <a:pt x="150495" y="56197"/>
                  </a:lnTo>
                  <a:lnTo>
                    <a:pt x="164783" y="45720"/>
                  </a:lnTo>
                  <a:lnTo>
                    <a:pt x="182880" y="38957"/>
                  </a:lnTo>
                  <a:lnTo>
                    <a:pt x="193358" y="28575"/>
                  </a:lnTo>
                  <a:lnTo>
                    <a:pt x="224790" y="38957"/>
                  </a:lnTo>
                  <a:lnTo>
                    <a:pt x="249555" y="45720"/>
                  </a:lnTo>
                  <a:lnTo>
                    <a:pt x="278130" y="56197"/>
                  </a:lnTo>
                  <a:lnTo>
                    <a:pt x="284798" y="60007"/>
                  </a:lnTo>
                  <a:lnTo>
                    <a:pt x="284798" y="239935"/>
                  </a:lnTo>
                  <a:lnTo>
                    <a:pt x="260033" y="219075"/>
                  </a:lnTo>
                  <a:lnTo>
                    <a:pt x="242888" y="211360"/>
                  </a:lnTo>
                  <a:lnTo>
                    <a:pt x="228600" y="211360"/>
                  </a:lnTo>
                  <a:lnTo>
                    <a:pt x="218123" y="219075"/>
                  </a:lnTo>
                  <a:lnTo>
                    <a:pt x="193358" y="221932"/>
                  </a:lnTo>
                  <a:lnTo>
                    <a:pt x="189548" y="208597"/>
                  </a:lnTo>
                  <a:lnTo>
                    <a:pt x="193358" y="200882"/>
                  </a:lnTo>
                  <a:lnTo>
                    <a:pt x="203835" y="197072"/>
                  </a:lnTo>
                  <a:lnTo>
                    <a:pt x="218123" y="194310"/>
                  </a:lnTo>
                  <a:lnTo>
                    <a:pt x="220980" y="172307"/>
                  </a:lnTo>
                  <a:lnTo>
                    <a:pt x="214313" y="158972"/>
                  </a:lnTo>
                  <a:lnTo>
                    <a:pt x="197168" y="140970"/>
                  </a:lnTo>
                  <a:lnTo>
                    <a:pt x="158115" y="119920"/>
                  </a:lnTo>
                  <a:lnTo>
                    <a:pt x="116205" y="109538"/>
                  </a:lnTo>
                  <a:lnTo>
                    <a:pt x="104775" y="99060"/>
                  </a:lnTo>
                  <a:lnTo>
                    <a:pt x="94298" y="95250"/>
                  </a:lnTo>
                  <a:lnTo>
                    <a:pt x="83820" y="70485"/>
                  </a:lnTo>
                  <a:lnTo>
                    <a:pt x="73343" y="74295"/>
                  </a:lnTo>
                  <a:lnTo>
                    <a:pt x="73343" y="84772"/>
                  </a:lnTo>
                  <a:lnTo>
                    <a:pt x="73343" y="101822"/>
                  </a:lnTo>
                  <a:lnTo>
                    <a:pt x="56198" y="99060"/>
                  </a:lnTo>
                  <a:lnTo>
                    <a:pt x="56198" y="80963"/>
                  </a:lnTo>
                  <a:lnTo>
                    <a:pt x="52388" y="70485"/>
                  </a:lnTo>
                  <a:lnTo>
                    <a:pt x="34290" y="66675"/>
                  </a:lnTo>
                  <a:lnTo>
                    <a:pt x="52388" y="56197"/>
                  </a:lnTo>
                  <a:lnTo>
                    <a:pt x="73343" y="60007"/>
                  </a:lnTo>
                  <a:lnTo>
                    <a:pt x="87630" y="56197"/>
                  </a:lnTo>
                  <a:lnTo>
                    <a:pt x="80963" y="42863"/>
                  </a:lnTo>
                  <a:lnTo>
                    <a:pt x="52388" y="42863"/>
                  </a:lnTo>
                  <a:lnTo>
                    <a:pt x="34290" y="45720"/>
                  </a:lnTo>
                  <a:lnTo>
                    <a:pt x="27623" y="28575"/>
                  </a:lnTo>
                  <a:lnTo>
                    <a:pt x="10478" y="28575"/>
                  </a:lnTo>
                  <a:lnTo>
                    <a:pt x="0" y="24670"/>
                  </a:lnTo>
                  <a:lnTo>
                    <a:pt x="2858" y="1428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35" name="Freeform: Shape 3734">
              <a:extLst>
                <a:ext uri="{FF2B5EF4-FFF2-40B4-BE49-F238E27FC236}">
                  <a16:creationId xmlns:a16="http://schemas.microsoft.com/office/drawing/2014/main" id="{45C65047-B0D2-5464-2E0A-B22242602B8D}"/>
                </a:ext>
              </a:extLst>
            </p:cNvPr>
            <p:cNvSpPr/>
            <p:nvPr/>
          </p:nvSpPr>
          <p:spPr>
            <a:xfrm>
              <a:off x="9501854" y="4623946"/>
              <a:ext cx="83101" cy="27078"/>
            </a:xfrm>
            <a:custGeom>
              <a:avLst/>
              <a:gdLst>
                <a:gd name="connsiteX0" fmla="*/ 7620 w 84772"/>
                <a:gd name="connsiteY0" fmla="*/ 2953 h 27622"/>
                <a:gd name="connsiteX1" fmla="*/ 35243 w 84772"/>
                <a:gd name="connsiteY1" fmla="*/ 0 h 27622"/>
                <a:gd name="connsiteX2" fmla="*/ 67627 w 84772"/>
                <a:gd name="connsiteY2" fmla="*/ 2953 h 27622"/>
                <a:gd name="connsiteX3" fmla="*/ 84773 w 84772"/>
                <a:gd name="connsiteY3" fmla="*/ 17240 h 27622"/>
                <a:gd name="connsiteX4" fmla="*/ 81915 w 84772"/>
                <a:gd name="connsiteY4" fmla="*/ 27622 h 27622"/>
                <a:gd name="connsiteX5" fmla="*/ 60007 w 84772"/>
                <a:gd name="connsiteY5" fmla="*/ 21050 h 27622"/>
                <a:gd name="connsiteX6" fmla="*/ 42863 w 84772"/>
                <a:gd name="connsiteY6" fmla="*/ 17240 h 27622"/>
                <a:gd name="connsiteX7" fmla="*/ 21907 w 84772"/>
                <a:gd name="connsiteY7" fmla="*/ 17240 h 27622"/>
                <a:gd name="connsiteX8" fmla="*/ 14288 w 84772"/>
                <a:gd name="connsiteY8" fmla="*/ 24860 h 27622"/>
                <a:gd name="connsiteX9" fmla="*/ 3810 w 84772"/>
                <a:gd name="connsiteY9" fmla="*/ 24860 h 27622"/>
                <a:gd name="connsiteX10" fmla="*/ 0 w 84772"/>
                <a:gd name="connsiteY10" fmla="*/ 10573 h 27622"/>
                <a:gd name="connsiteX11" fmla="*/ 7620 w 84772"/>
                <a:gd name="connsiteY11" fmla="*/ 2953 h 27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4772" h="27622">
                  <a:moveTo>
                    <a:pt x="7620" y="2953"/>
                  </a:moveTo>
                  <a:lnTo>
                    <a:pt x="35243" y="0"/>
                  </a:lnTo>
                  <a:lnTo>
                    <a:pt x="67627" y="2953"/>
                  </a:lnTo>
                  <a:lnTo>
                    <a:pt x="84773" y="17240"/>
                  </a:lnTo>
                  <a:lnTo>
                    <a:pt x="81915" y="27622"/>
                  </a:lnTo>
                  <a:lnTo>
                    <a:pt x="60007" y="21050"/>
                  </a:lnTo>
                  <a:lnTo>
                    <a:pt x="42863" y="17240"/>
                  </a:lnTo>
                  <a:lnTo>
                    <a:pt x="21907" y="17240"/>
                  </a:lnTo>
                  <a:lnTo>
                    <a:pt x="14288" y="24860"/>
                  </a:lnTo>
                  <a:lnTo>
                    <a:pt x="3810" y="24860"/>
                  </a:lnTo>
                  <a:lnTo>
                    <a:pt x="0" y="10573"/>
                  </a:lnTo>
                  <a:lnTo>
                    <a:pt x="7620" y="295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36" name="Freeform: Shape 3735">
              <a:extLst>
                <a:ext uri="{FF2B5EF4-FFF2-40B4-BE49-F238E27FC236}">
                  <a16:creationId xmlns:a16="http://schemas.microsoft.com/office/drawing/2014/main" id="{829C1782-A351-4312-BA2D-DC5C616CDF66}"/>
                </a:ext>
              </a:extLst>
            </p:cNvPr>
            <p:cNvSpPr/>
            <p:nvPr/>
          </p:nvSpPr>
          <p:spPr>
            <a:xfrm>
              <a:off x="9457036" y="4634310"/>
              <a:ext cx="31746" cy="16713"/>
            </a:xfrm>
            <a:custGeom>
              <a:avLst/>
              <a:gdLst>
                <a:gd name="connsiteX0" fmla="*/ 3810 w 32384"/>
                <a:gd name="connsiteY0" fmla="*/ 0 h 17049"/>
                <a:gd name="connsiteX1" fmla="*/ 21907 w 32384"/>
                <a:gd name="connsiteY1" fmla="*/ 0 h 17049"/>
                <a:gd name="connsiteX2" fmla="*/ 32385 w 32384"/>
                <a:gd name="connsiteY2" fmla="*/ 6668 h 17049"/>
                <a:gd name="connsiteX3" fmla="*/ 24765 w 32384"/>
                <a:gd name="connsiteY3" fmla="*/ 17050 h 17049"/>
                <a:gd name="connsiteX4" fmla="*/ 7620 w 32384"/>
                <a:gd name="connsiteY4" fmla="*/ 17050 h 17049"/>
                <a:gd name="connsiteX5" fmla="*/ 0 w 32384"/>
                <a:gd name="connsiteY5" fmla="*/ 10478 h 17049"/>
                <a:gd name="connsiteX6" fmla="*/ 3810 w 32384"/>
                <a:gd name="connsiteY6" fmla="*/ 0 h 17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84" h="17049">
                  <a:moveTo>
                    <a:pt x="3810" y="0"/>
                  </a:moveTo>
                  <a:lnTo>
                    <a:pt x="21907" y="0"/>
                  </a:lnTo>
                  <a:lnTo>
                    <a:pt x="32385" y="6668"/>
                  </a:lnTo>
                  <a:lnTo>
                    <a:pt x="24765" y="17050"/>
                  </a:lnTo>
                  <a:lnTo>
                    <a:pt x="7620" y="17050"/>
                  </a:lnTo>
                  <a:lnTo>
                    <a:pt x="0" y="10478"/>
                  </a:lnTo>
                  <a:lnTo>
                    <a:pt x="381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37" name="Freeform: Shape 3736">
              <a:extLst>
                <a:ext uri="{FF2B5EF4-FFF2-40B4-BE49-F238E27FC236}">
                  <a16:creationId xmlns:a16="http://schemas.microsoft.com/office/drawing/2014/main" id="{584C68FC-3A85-1374-C2EC-8C17EA3E3820}"/>
                </a:ext>
              </a:extLst>
            </p:cNvPr>
            <p:cNvSpPr/>
            <p:nvPr/>
          </p:nvSpPr>
          <p:spPr>
            <a:xfrm>
              <a:off x="9491583" y="4492289"/>
              <a:ext cx="38282" cy="86930"/>
            </a:xfrm>
            <a:custGeom>
              <a:avLst/>
              <a:gdLst>
                <a:gd name="connsiteX0" fmla="*/ 0 w 39052"/>
                <a:gd name="connsiteY0" fmla="*/ 0 h 88677"/>
                <a:gd name="connsiteX1" fmla="*/ 10477 w 39052"/>
                <a:gd name="connsiteY1" fmla="*/ 3905 h 88677"/>
                <a:gd name="connsiteX2" fmla="*/ 14288 w 39052"/>
                <a:gd name="connsiteY2" fmla="*/ 18193 h 88677"/>
                <a:gd name="connsiteX3" fmla="*/ 14288 w 39052"/>
                <a:gd name="connsiteY3" fmla="*/ 24765 h 88677"/>
                <a:gd name="connsiteX4" fmla="*/ 24765 w 39052"/>
                <a:gd name="connsiteY4" fmla="*/ 10478 h 88677"/>
                <a:gd name="connsiteX5" fmla="*/ 35242 w 39052"/>
                <a:gd name="connsiteY5" fmla="*/ 6763 h 88677"/>
                <a:gd name="connsiteX6" fmla="*/ 39052 w 39052"/>
                <a:gd name="connsiteY6" fmla="*/ 24765 h 88677"/>
                <a:gd name="connsiteX7" fmla="*/ 28575 w 39052"/>
                <a:gd name="connsiteY7" fmla="*/ 28575 h 88677"/>
                <a:gd name="connsiteX8" fmla="*/ 24765 w 39052"/>
                <a:gd name="connsiteY8" fmla="*/ 35338 h 88677"/>
                <a:gd name="connsiteX9" fmla="*/ 32385 w 39052"/>
                <a:gd name="connsiteY9" fmla="*/ 39053 h 88677"/>
                <a:gd name="connsiteX10" fmla="*/ 35242 w 39052"/>
                <a:gd name="connsiteY10" fmla="*/ 45815 h 88677"/>
                <a:gd name="connsiteX11" fmla="*/ 14288 w 39052"/>
                <a:gd name="connsiteY11" fmla="*/ 45815 h 88677"/>
                <a:gd name="connsiteX12" fmla="*/ 14288 w 39052"/>
                <a:gd name="connsiteY12" fmla="*/ 53340 h 88677"/>
                <a:gd name="connsiteX13" fmla="*/ 18097 w 39052"/>
                <a:gd name="connsiteY13" fmla="*/ 66675 h 88677"/>
                <a:gd name="connsiteX14" fmla="*/ 28575 w 39052"/>
                <a:gd name="connsiteY14" fmla="*/ 78200 h 88677"/>
                <a:gd name="connsiteX15" fmla="*/ 32385 w 39052"/>
                <a:gd name="connsiteY15" fmla="*/ 80963 h 88677"/>
                <a:gd name="connsiteX16" fmla="*/ 32385 w 39052"/>
                <a:gd name="connsiteY16" fmla="*/ 84868 h 88677"/>
                <a:gd name="connsiteX17" fmla="*/ 28575 w 39052"/>
                <a:gd name="connsiteY17" fmla="*/ 88678 h 88677"/>
                <a:gd name="connsiteX18" fmla="*/ 21907 w 39052"/>
                <a:gd name="connsiteY18" fmla="*/ 88678 h 88677"/>
                <a:gd name="connsiteX19" fmla="*/ 14288 w 39052"/>
                <a:gd name="connsiteY19" fmla="*/ 84868 h 88677"/>
                <a:gd name="connsiteX20" fmla="*/ 10477 w 39052"/>
                <a:gd name="connsiteY20" fmla="*/ 80963 h 88677"/>
                <a:gd name="connsiteX21" fmla="*/ 3810 w 39052"/>
                <a:gd name="connsiteY21" fmla="*/ 56293 h 88677"/>
                <a:gd name="connsiteX22" fmla="*/ 0 w 39052"/>
                <a:gd name="connsiteY22" fmla="*/ 39053 h 88677"/>
                <a:gd name="connsiteX23" fmla="*/ 3810 w 39052"/>
                <a:gd name="connsiteY23" fmla="*/ 21050 h 88677"/>
                <a:gd name="connsiteX24" fmla="*/ 0 w 39052"/>
                <a:gd name="connsiteY24" fmla="*/ 0 h 88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9052" h="88677">
                  <a:moveTo>
                    <a:pt x="0" y="0"/>
                  </a:moveTo>
                  <a:lnTo>
                    <a:pt x="10477" y="3905"/>
                  </a:lnTo>
                  <a:lnTo>
                    <a:pt x="14288" y="18193"/>
                  </a:lnTo>
                  <a:lnTo>
                    <a:pt x="14288" y="24765"/>
                  </a:lnTo>
                  <a:lnTo>
                    <a:pt x="24765" y="10478"/>
                  </a:lnTo>
                  <a:lnTo>
                    <a:pt x="35242" y="6763"/>
                  </a:lnTo>
                  <a:lnTo>
                    <a:pt x="39052" y="24765"/>
                  </a:lnTo>
                  <a:lnTo>
                    <a:pt x="28575" y="28575"/>
                  </a:lnTo>
                  <a:lnTo>
                    <a:pt x="24765" y="35338"/>
                  </a:lnTo>
                  <a:lnTo>
                    <a:pt x="32385" y="39053"/>
                  </a:lnTo>
                  <a:lnTo>
                    <a:pt x="35242" y="45815"/>
                  </a:lnTo>
                  <a:lnTo>
                    <a:pt x="14288" y="45815"/>
                  </a:lnTo>
                  <a:lnTo>
                    <a:pt x="14288" y="53340"/>
                  </a:lnTo>
                  <a:lnTo>
                    <a:pt x="18097" y="66675"/>
                  </a:lnTo>
                  <a:lnTo>
                    <a:pt x="28575" y="78200"/>
                  </a:lnTo>
                  <a:lnTo>
                    <a:pt x="32385" y="80963"/>
                  </a:lnTo>
                  <a:lnTo>
                    <a:pt x="32385" y="84868"/>
                  </a:lnTo>
                  <a:lnTo>
                    <a:pt x="28575" y="88678"/>
                  </a:lnTo>
                  <a:lnTo>
                    <a:pt x="21907" y="88678"/>
                  </a:lnTo>
                  <a:lnTo>
                    <a:pt x="14288" y="84868"/>
                  </a:lnTo>
                  <a:lnTo>
                    <a:pt x="10477" y="80963"/>
                  </a:lnTo>
                  <a:lnTo>
                    <a:pt x="3810" y="56293"/>
                  </a:lnTo>
                  <a:lnTo>
                    <a:pt x="0" y="39053"/>
                  </a:lnTo>
                  <a:lnTo>
                    <a:pt x="3810" y="210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38" name="Freeform: Shape 3737">
              <a:extLst>
                <a:ext uri="{FF2B5EF4-FFF2-40B4-BE49-F238E27FC236}">
                  <a16:creationId xmlns:a16="http://schemas.microsoft.com/office/drawing/2014/main" id="{EC107780-8317-0099-589F-7BE48C46E27A}"/>
                </a:ext>
              </a:extLst>
            </p:cNvPr>
            <p:cNvSpPr/>
            <p:nvPr/>
          </p:nvSpPr>
          <p:spPr>
            <a:xfrm>
              <a:off x="9861338" y="4620304"/>
              <a:ext cx="266111" cy="225029"/>
            </a:xfrm>
            <a:custGeom>
              <a:avLst/>
              <a:gdLst>
                <a:gd name="connsiteX0" fmla="*/ 0 w 271462"/>
                <a:gd name="connsiteY0" fmla="*/ 0 h 229552"/>
                <a:gd name="connsiteX1" fmla="*/ 24765 w 271462"/>
                <a:gd name="connsiteY1" fmla="*/ 6668 h 229552"/>
                <a:gd name="connsiteX2" fmla="*/ 56198 w 271462"/>
                <a:gd name="connsiteY2" fmla="*/ 18002 h 229552"/>
                <a:gd name="connsiteX3" fmla="*/ 87630 w 271462"/>
                <a:gd name="connsiteY3" fmla="*/ 31337 h 229552"/>
                <a:gd name="connsiteX4" fmla="*/ 116205 w 271462"/>
                <a:gd name="connsiteY4" fmla="*/ 49530 h 229552"/>
                <a:gd name="connsiteX5" fmla="*/ 130493 w 271462"/>
                <a:gd name="connsiteY5" fmla="*/ 66675 h 229552"/>
                <a:gd name="connsiteX6" fmla="*/ 147638 w 271462"/>
                <a:gd name="connsiteY6" fmla="*/ 77153 h 229552"/>
                <a:gd name="connsiteX7" fmla="*/ 176213 w 271462"/>
                <a:gd name="connsiteY7" fmla="*/ 91440 h 229552"/>
                <a:gd name="connsiteX8" fmla="*/ 190500 w 271462"/>
                <a:gd name="connsiteY8" fmla="*/ 101918 h 229552"/>
                <a:gd name="connsiteX9" fmla="*/ 190500 w 271462"/>
                <a:gd name="connsiteY9" fmla="*/ 109538 h 229552"/>
                <a:gd name="connsiteX10" fmla="*/ 193357 w 271462"/>
                <a:gd name="connsiteY10" fmla="*/ 112300 h 229552"/>
                <a:gd name="connsiteX11" fmla="*/ 190500 w 271462"/>
                <a:gd name="connsiteY11" fmla="*/ 116205 h 229552"/>
                <a:gd name="connsiteX12" fmla="*/ 165735 w 271462"/>
                <a:gd name="connsiteY12" fmla="*/ 116205 h 229552"/>
                <a:gd name="connsiteX13" fmla="*/ 176213 w 271462"/>
                <a:gd name="connsiteY13" fmla="*/ 126587 h 229552"/>
                <a:gd name="connsiteX14" fmla="*/ 193357 w 271462"/>
                <a:gd name="connsiteY14" fmla="*/ 151352 h 229552"/>
                <a:gd name="connsiteX15" fmla="*/ 218123 w 271462"/>
                <a:gd name="connsiteY15" fmla="*/ 179927 h 229552"/>
                <a:gd name="connsiteX16" fmla="*/ 228600 w 271462"/>
                <a:gd name="connsiteY16" fmla="*/ 186690 h 229552"/>
                <a:gd name="connsiteX17" fmla="*/ 242888 w 271462"/>
                <a:gd name="connsiteY17" fmla="*/ 200978 h 229552"/>
                <a:gd name="connsiteX18" fmla="*/ 271463 w 271462"/>
                <a:gd name="connsiteY18" fmla="*/ 219075 h 229552"/>
                <a:gd name="connsiteX19" fmla="*/ 267652 w 271462"/>
                <a:gd name="connsiteY19" fmla="*/ 229553 h 229552"/>
                <a:gd name="connsiteX20" fmla="*/ 239077 w 271462"/>
                <a:gd name="connsiteY20" fmla="*/ 215265 h 229552"/>
                <a:gd name="connsiteX21" fmla="*/ 218123 w 271462"/>
                <a:gd name="connsiteY21" fmla="*/ 211455 h 229552"/>
                <a:gd name="connsiteX22" fmla="*/ 182880 w 271462"/>
                <a:gd name="connsiteY22" fmla="*/ 207550 h 229552"/>
                <a:gd name="connsiteX23" fmla="*/ 165735 w 271462"/>
                <a:gd name="connsiteY23" fmla="*/ 186690 h 229552"/>
                <a:gd name="connsiteX24" fmla="*/ 147638 w 271462"/>
                <a:gd name="connsiteY24" fmla="*/ 161925 h 229552"/>
                <a:gd name="connsiteX25" fmla="*/ 126682 w 271462"/>
                <a:gd name="connsiteY25" fmla="*/ 148590 h 229552"/>
                <a:gd name="connsiteX26" fmla="*/ 105727 w 271462"/>
                <a:gd name="connsiteY26" fmla="*/ 134303 h 229552"/>
                <a:gd name="connsiteX27" fmla="*/ 80963 w 271462"/>
                <a:gd name="connsiteY27" fmla="*/ 123825 h 229552"/>
                <a:gd name="connsiteX28" fmla="*/ 80963 w 271462"/>
                <a:gd name="connsiteY28" fmla="*/ 140875 h 229552"/>
                <a:gd name="connsiteX29" fmla="*/ 74295 w 271462"/>
                <a:gd name="connsiteY29" fmla="*/ 151352 h 229552"/>
                <a:gd name="connsiteX30" fmla="*/ 49530 w 271462"/>
                <a:gd name="connsiteY30" fmla="*/ 155162 h 229552"/>
                <a:gd name="connsiteX31" fmla="*/ 52388 w 271462"/>
                <a:gd name="connsiteY31" fmla="*/ 169450 h 229552"/>
                <a:gd name="connsiteX32" fmla="*/ 66675 w 271462"/>
                <a:gd name="connsiteY32" fmla="*/ 176213 h 229552"/>
                <a:gd name="connsiteX33" fmla="*/ 56198 w 271462"/>
                <a:gd name="connsiteY33" fmla="*/ 186690 h 229552"/>
                <a:gd name="connsiteX34" fmla="*/ 31432 w 271462"/>
                <a:gd name="connsiteY34" fmla="*/ 179927 h 229552"/>
                <a:gd name="connsiteX35" fmla="*/ 14288 w 271462"/>
                <a:gd name="connsiteY35" fmla="*/ 179927 h 229552"/>
                <a:gd name="connsiteX36" fmla="*/ 0 w 271462"/>
                <a:gd name="connsiteY36" fmla="*/ 179927 h 229552"/>
                <a:gd name="connsiteX37" fmla="*/ 0 w 271462"/>
                <a:gd name="connsiteY37" fmla="*/ 0 h 2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71462" h="229552">
                  <a:moveTo>
                    <a:pt x="0" y="0"/>
                  </a:moveTo>
                  <a:lnTo>
                    <a:pt x="24765" y="6668"/>
                  </a:lnTo>
                  <a:lnTo>
                    <a:pt x="56198" y="18002"/>
                  </a:lnTo>
                  <a:lnTo>
                    <a:pt x="87630" y="31337"/>
                  </a:lnTo>
                  <a:lnTo>
                    <a:pt x="116205" y="49530"/>
                  </a:lnTo>
                  <a:lnTo>
                    <a:pt x="130493" y="66675"/>
                  </a:lnTo>
                  <a:lnTo>
                    <a:pt x="147638" y="77153"/>
                  </a:lnTo>
                  <a:lnTo>
                    <a:pt x="176213" y="91440"/>
                  </a:lnTo>
                  <a:lnTo>
                    <a:pt x="190500" y="101918"/>
                  </a:lnTo>
                  <a:lnTo>
                    <a:pt x="190500" y="109538"/>
                  </a:lnTo>
                  <a:lnTo>
                    <a:pt x="193357" y="112300"/>
                  </a:lnTo>
                  <a:lnTo>
                    <a:pt x="190500" y="116205"/>
                  </a:lnTo>
                  <a:lnTo>
                    <a:pt x="165735" y="116205"/>
                  </a:lnTo>
                  <a:lnTo>
                    <a:pt x="176213" y="126587"/>
                  </a:lnTo>
                  <a:lnTo>
                    <a:pt x="193357" y="151352"/>
                  </a:lnTo>
                  <a:lnTo>
                    <a:pt x="218123" y="179927"/>
                  </a:lnTo>
                  <a:lnTo>
                    <a:pt x="228600" y="186690"/>
                  </a:lnTo>
                  <a:lnTo>
                    <a:pt x="242888" y="200978"/>
                  </a:lnTo>
                  <a:lnTo>
                    <a:pt x="271463" y="219075"/>
                  </a:lnTo>
                  <a:lnTo>
                    <a:pt x="267652" y="229553"/>
                  </a:lnTo>
                  <a:lnTo>
                    <a:pt x="239077" y="215265"/>
                  </a:lnTo>
                  <a:lnTo>
                    <a:pt x="218123" y="211455"/>
                  </a:lnTo>
                  <a:lnTo>
                    <a:pt x="182880" y="207550"/>
                  </a:lnTo>
                  <a:lnTo>
                    <a:pt x="165735" y="186690"/>
                  </a:lnTo>
                  <a:lnTo>
                    <a:pt x="147638" y="161925"/>
                  </a:lnTo>
                  <a:lnTo>
                    <a:pt x="126682" y="148590"/>
                  </a:lnTo>
                  <a:lnTo>
                    <a:pt x="105727" y="134303"/>
                  </a:lnTo>
                  <a:lnTo>
                    <a:pt x="80963" y="123825"/>
                  </a:lnTo>
                  <a:lnTo>
                    <a:pt x="80963" y="140875"/>
                  </a:lnTo>
                  <a:lnTo>
                    <a:pt x="74295" y="151352"/>
                  </a:lnTo>
                  <a:lnTo>
                    <a:pt x="49530" y="155162"/>
                  </a:lnTo>
                  <a:lnTo>
                    <a:pt x="52388" y="169450"/>
                  </a:lnTo>
                  <a:lnTo>
                    <a:pt x="66675" y="176213"/>
                  </a:lnTo>
                  <a:lnTo>
                    <a:pt x="56198" y="186690"/>
                  </a:lnTo>
                  <a:lnTo>
                    <a:pt x="31432" y="179927"/>
                  </a:lnTo>
                  <a:lnTo>
                    <a:pt x="14288" y="179927"/>
                  </a:lnTo>
                  <a:lnTo>
                    <a:pt x="0" y="1799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39" name="Freeform: Shape 3738">
              <a:extLst>
                <a:ext uri="{FF2B5EF4-FFF2-40B4-BE49-F238E27FC236}">
                  <a16:creationId xmlns:a16="http://schemas.microsoft.com/office/drawing/2014/main" id="{4EACB1AE-AECC-35AA-DA2D-627DDB2E02CA}"/>
                </a:ext>
              </a:extLst>
            </p:cNvPr>
            <p:cNvSpPr/>
            <p:nvPr/>
          </p:nvSpPr>
          <p:spPr>
            <a:xfrm>
              <a:off x="10075162" y="4661295"/>
              <a:ext cx="99908" cy="62653"/>
            </a:xfrm>
            <a:custGeom>
              <a:avLst/>
              <a:gdLst>
                <a:gd name="connsiteX0" fmla="*/ 0 w 101917"/>
                <a:gd name="connsiteY0" fmla="*/ 39148 h 63912"/>
                <a:gd name="connsiteX1" fmla="*/ 24765 w 101917"/>
                <a:gd name="connsiteY1" fmla="*/ 39148 h 63912"/>
                <a:gd name="connsiteX2" fmla="*/ 60007 w 101917"/>
                <a:gd name="connsiteY2" fmla="*/ 39148 h 63912"/>
                <a:gd name="connsiteX3" fmla="*/ 70485 w 101917"/>
                <a:gd name="connsiteY3" fmla="*/ 28575 h 63912"/>
                <a:gd name="connsiteX4" fmla="*/ 88582 w 101917"/>
                <a:gd name="connsiteY4" fmla="*/ 11525 h 63912"/>
                <a:gd name="connsiteX5" fmla="*/ 99060 w 101917"/>
                <a:gd name="connsiteY5" fmla="*/ 0 h 63912"/>
                <a:gd name="connsiteX6" fmla="*/ 101917 w 101917"/>
                <a:gd name="connsiteY6" fmla="*/ 18097 h 63912"/>
                <a:gd name="connsiteX7" fmla="*/ 95250 w 101917"/>
                <a:gd name="connsiteY7" fmla="*/ 32385 h 63912"/>
                <a:gd name="connsiteX8" fmla="*/ 80963 w 101917"/>
                <a:gd name="connsiteY8" fmla="*/ 39148 h 63912"/>
                <a:gd name="connsiteX9" fmla="*/ 66675 w 101917"/>
                <a:gd name="connsiteY9" fmla="*/ 49625 h 63912"/>
                <a:gd name="connsiteX10" fmla="*/ 56197 w 101917"/>
                <a:gd name="connsiteY10" fmla="*/ 60103 h 63912"/>
                <a:gd name="connsiteX11" fmla="*/ 35242 w 101917"/>
                <a:gd name="connsiteY11" fmla="*/ 63913 h 63912"/>
                <a:gd name="connsiteX12" fmla="*/ 10477 w 101917"/>
                <a:gd name="connsiteY12" fmla="*/ 57150 h 63912"/>
                <a:gd name="connsiteX13" fmla="*/ 0 w 101917"/>
                <a:gd name="connsiteY13" fmla="*/ 49625 h 63912"/>
                <a:gd name="connsiteX14" fmla="*/ 0 w 101917"/>
                <a:gd name="connsiteY14" fmla="*/ 39148 h 6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1917" h="63912">
                  <a:moveTo>
                    <a:pt x="0" y="39148"/>
                  </a:moveTo>
                  <a:lnTo>
                    <a:pt x="24765" y="39148"/>
                  </a:lnTo>
                  <a:lnTo>
                    <a:pt x="60007" y="39148"/>
                  </a:lnTo>
                  <a:lnTo>
                    <a:pt x="70485" y="28575"/>
                  </a:lnTo>
                  <a:lnTo>
                    <a:pt x="88582" y="11525"/>
                  </a:lnTo>
                  <a:lnTo>
                    <a:pt x="99060" y="0"/>
                  </a:lnTo>
                  <a:lnTo>
                    <a:pt x="101917" y="18097"/>
                  </a:lnTo>
                  <a:lnTo>
                    <a:pt x="95250" y="32385"/>
                  </a:lnTo>
                  <a:lnTo>
                    <a:pt x="80963" y="39148"/>
                  </a:lnTo>
                  <a:lnTo>
                    <a:pt x="66675" y="49625"/>
                  </a:lnTo>
                  <a:lnTo>
                    <a:pt x="56197" y="60103"/>
                  </a:lnTo>
                  <a:lnTo>
                    <a:pt x="35242" y="63913"/>
                  </a:lnTo>
                  <a:lnTo>
                    <a:pt x="10477" y="57150"/>
                  </a:lnTo>
                  <a:lnTo>
                    <a:pt x="0" y="49625"/>
                  </a:lnTo>
                  <a:lnTo>
                    <a:pt x="0" y="3914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40" name="Freeform: Shape 3739">
              <a:extLst>
                <a:ext uri="{FF2B5EF4-FFF2-40B4-BE49-F238E27FC236}">
                  <a16:creationId xmlns:a16="http://schemas.microsoft.com/office/drawing/2014/main" id="{9884FFD8-DDC2-7EF6-2057-3D13D67413AE}"/>
                </a:ext>
              </a:extLst>
            </p:cNvPr>
            <p:cNvSpPr/>
            <p:nvPr/>
          </p:nvSpPr>
          <p:spPr>
            <a:xfrm>
              <a:off x="10233895" y="4693042"/>
              <a:ext cx="38282" cy="48647"/>
            </a:xfrm>
            <a:custGeom>
              <a:avLst/>
              <a:gdLst>
                <a:gd name="connsiteX0" fmla="*/ 0 w 39052"/>
                <a:gd name="connsiteY0" fmla="*/ 0 h 49625"/>
                <a:gd name="connsiteX1" fmla="*/ 18097 w 39052"/>
                <a:gd name="connsiteY1" fmla="*/ 10478 h 49625"/>
                <a:gd name="connsiteX2" fmla="*/ 35242 w 39052"/>
                <a:gd name="connsiteY2" fmla="*/ 27718 h 49625"/>
                <a:gd name="connsiteX3" fmla="*/ 39052 w 39052"/>
                <a:gd name="connsiteY3" fmla="*/ 49625 h 49625"/>
                <a:gd name="connsiteX4" fmla="*/ 21907 w 39052"/>
                <a:gd name="connsiteY4" fmla="*/ 38100 h 49625"/>
                <a:gd name="connsiteX5" fmla="*/ 14288 w 39052"/>
                <a:gd name="connsiteY5" fmla="*/ 24765 h 49625"/>
                <a:gd name="connsiteX6" fmla="*/ 3810 w 39052"/>
                <a:gd name="connsiteY6" fmla="*/ 14288 h 49625"/>
                <a:gd name="connsiteX7" fmla="*/ 0 w 39052"/>
                <a:gd name="connsiteY7" fmla="*/ 0 h 49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9052" h="49625">
                  <a:moveTo>
                    <a:pt x="0" y="0"/>
                  </a:moveTo>
                  <a:lnTo>
                    <a:pt x="18097" y="10478"/>
                  </a:lnTo>
                  <a:lnTo>
                    <a:pt x="35242" y="27718"/>
                  </a:lnTo>
                  <a:lnTo>
                    <a:pt x="39052" y="49625"/>
                  </a:lnTo>
                  <a:lnTo>
                    <a:pt x="21907" y="38100"/>
                  </a:lnTo>
                  <a:lnTo>
                    <a:pt x="14288" y="24765"/>
                  </a:lnTo>
                  <a:lnTo>
                    <a:pt x="3810" y="14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41" name="Freeform: Shape 3740">
              <a:extLst>
                <a:ext uri="{FF2B5EF4-FFF2-40B4-BE49-F238E27FC236}">
                  <a16:creationId xmlns:a16="http://schemas.microsoft.com/office/drawing/2014/main" id="{EA54E800-2385-2534-A1AF-EAE45D207061}"/>
                </a:ext>
              </a:extLst>
            </p:cNvPr>
            <p:cNvSpPr/>
            <p:nvPr/>
          </p:nvSpPr>
          <p:spPr>
            <a:xfrm>
              <a:off x="10369284" y="4803315"/>
              <a:ext cx="33613" cy="20448"/>
            </a:xfrm>
            <a:custGeom>
              <a:avLst/>
              <a:gdLst>
                <a:gd name="connsiteX0" fmla="*/ 6667 w 34289"/>
                <a:gd name="connsiteY0" fmla="*/ 0 h 20859"/>
                <a:gd name="connsiteX1" fmla="*/ 17145 w 34289"/>
                <a:gd name="connsiteY1" fmla="*/ 0 h 20859"/>
                <a:gd name="connsiteX2" fmla="*/ 34290 w 34289"/>
                <a:gd name="connsiteY2" fmla="*/ 14288 h 20859"/>
                <a:gd name="connsiteX3" fmla="*/ 34290 w 34289"/>
                <a:gd name="connsiteY3" fmla="*/ 18097 h 20859"/>
                <a:gd name="connsiteX4" fmla="*/ 34290 w 34289"/>
                <a:gd name="connsiteY4" fmla="*/ 20860 h 20859"/>
                <a:gd name="connsiteX5" fmla="*/ 31432 w 34289"/>
                <a:gd name="connsiteY5" fmla="*/ 20860 h 20859"/>
                <a:gd name="connsiteX6" fmla="*/ 6667 w 34289"/>
                <a:gd name="connsiteY6" fmla="*/ 18097 h 20859"/>
                <a:gd name="connsiteX7" fmla="*/ 0 w 34289"/>
                <a:gd name="connsiteY7" fmla="*/ 7525 h 20859"/>
                <a:gd name="connsiteX8" fmla="*/ 6667 w 34289"/>
                <a:gd name="connsiteY8" fmla="*/ 0 h 20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89" h="20859">
                  <a:moveTo>
                    <a:pt x="6667" y="0"/>
                  </a:moveTo>
                  <a:lnTo>
                    <a:pt x="17145" y="0"/>
                  </a:lnTo>
                  <a:lnTo>
                    <a:pt x="34290" y="14288"/>
                  </a:lnTo>
                  <a:lnTo>
                    <a:pt x="34290" y="18097"/>
                  </a:lnTo>
                  <a:lnTo>
                    <a:pt x="34290" y="20860"/>
                  </a:lnTo>
                  <a:lnTo>
                    <a:pt x="31432" y="20860"/>
                  </a:lnTo>
                  <a:lnTo>
                    <a:pt x="6667" y="18097"/>
                  </a:lnTo>
                  <a:lnTo>
                    <a:pt x="0" y="7525"/>
                  </a:lnTo>
                  <a:lnTo>
                    <a:pt x="6667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42" name="Freeform: Shape 3741">
              <a:extLst>
                <a:ext uri="{FF2B5EF4-FFF2-40B4-BE49-F238E27FC236}">
                  <a16:creationId xmlns:a16="http://schemas.microsoft.com/office/drawing/2014/main" id="{E5BF69E8-7884-C3C6-BF98-5FDCE6EF24CB}"/>
                </a:ext>
              </a:extLst>
            </p:cNvPr>
            <p:cNvSpPr/>
            <p:nvPr/>
          </p:nvSpPr>
          <p:spPr>
            <a:xfrm>
              <a:off x="10396362" y="4776237"/>
              <a:ext cx="28012" cy="34454"/>
            </a:xfrm>
            <a:custGeom>
              <a:avLst/>
              <a:gdLst>
                <a:gd name="connsiteX0" fmla="*/ 0 w 28575"/>
                <a:gd name="connsiteY0" fmla="*/ 0 h 35147"/>
                <a:gd name="connsiteX1" fmla="*/ 3810 w 28575"/>
                <a:gd name="connsiteY1" fmla="*/ 13335 h 35147"/>
                <a:gd name="connsiteX2" fmla="*/ 10478 w 28575"/>
                <a:gd name="connsiteY2" fmla="*/ 31432 h 35147"/>
                <a:gd name="connsiteX3" fmla="*/ 28575 w 28575"/>
                <a:gd name="connsiteY3" fmla="*/ 35147 h 35147"/>
                <a:gd name="connsiteX4" fmla="*/ 24765 w 28575"/>
                <a:gd name="connsiteY4" fmla="*/ 13335 h 35147"/>
                <a:gd name="connsiteX5" fmla="*/ 14288 w 28575"/>
                <a:gd name="connsiteY5" fmla="*/ 6572 h 35147"/>
                <a:gd name="connsiteX6" fmla="*/ 0 w 28575"/>
                <a:gd name="connsiteY6" fmla="*/ 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75" h="35147">
                  <a:moveTo>
                    <a:pt x="0" y="0"/>
                  </a:moveTo>
                  <a:lnTo>
                    <a:pt x="3810" y="13335"/>
                  </a:lnTo>
                  <a:lnTo>
                    <a:pt x="10478" y="31432"/>
                  </a:lnTo>
                  <a:lnTo>
                    <a:pt x="28575" y="35147"/>
                  </a:lnTo>
                  <a:lnTo>
                    <a:pt x="24765" y="13335"/>
                  </a:lnTo>
                  <a:lnTo>
                    <a:pt x="14288" y="65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43" name="Freeform: Shape 3742">
              <a:extLst>
                <a:ext uri="{FF2B5EF4-FFF2-40B4-BE49-F238E27FC236}">
                  <a16:creationId xmlns:a16="http://schemas.microsoft.com/office/drawing/2014/main" id="{918DA78C-C2BA-852F-F3B3-5F1E5EFD91A8}"/>
                </a:ext>
              </a:extLst>
            </p:cNvPr>
            <p:cNvSpPr/>
            <p:nvPr/>
          </p:nvSpPr>
          <p:spPr>
            <a:xfrm>
              <a:off x="10420640" y="4831327"/>
              <a:ext cx="24276" cy="16713"/>
            </a:xfrm>
            <a:custGeom>
              <a:avLst/>
              <a:gdLst>
                <a:gd name="connsiteX0" fmla="*/ 0 w 24764"/>
                <a:gd name="connsiteY0" fmla="*/ 3810 h 17049"/>
                <a:gd name="connsiteX1" fmla="*/ 10477 w 24764"/>
                <a:gd name="connsiteY1" fmla="*/ 0 h 17049"/>
                <a:gd name="connsiteX2" fmla="*/ 24765 w 24764"/>
                <a:gd name="connsiteY2" fmla="*/ 6572 h 17049"/>
                <a:gd name="connsiteX3" fmla="*/ 24765 w 24764"/>
                <a:gd name="connsiteY3" fmla="*/ 17050 h 17049"/>
                <a:gd name="connsiteX4" fmla="*/ 10477 w 24764"/>
                <a:gd name="connsiteY4" fmla="*/ 14288 h 17049"/>
                <a:gd name="connsiteX5" fmla="*/ 0 w 24764"/>
                <a:gd name="connsiteY5" fmla="*/ 3810 h 17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764" h="17049">
                  <a:moveTo>
                    <a:pt x="0" y="3810"/>
                  </a:moveTo>
                  <a:lnTo>
                    <a:pt x="10477" y="0"/>
                  </a:lnTo>
                  <a:lnTo>
                    <a:pt x="24765" y="6572"/>
                  </a:lnTo>
                  <a:lnTo>
                    <a:pt x="24765" y="17050"/>
                  </a:lnTo>
                  <a:lnTo>
                    <a:pt x="10477" y="14288"/>
                  </a:lnTo>
                  <a:lnTo>
                    <a:pt x="0" y="381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44" name="Freeform: Shape 3743">
              <a:extLst>
                <a:ext uri="{FF2B5EF4-FFF2-40B4-BE49-F238E27FC236}">
                  <a16:creationId xmlns:a16="http://schemas.microsoft.com/office/drawing/2014/main" id="{17B0FDC2-9C16-BD4E-E2F4-B10108CDC78E}"/>
                </a:ext>
              </a:extLst>
            </p:cNvPr>
            <p:cNvSpPr/>
            <p:nvPr/>
          </p:nvSpPr>
          <p:spPr>
            <a:xfrm>
              <a:off x="10420640" y="4831327"/>
              <a:ext cx="24276" cy="16713"/>
            </a:xfrm>
            <a:custGeom>
              <a:avLst/>
              <a:gdLst>
                <a:gd name="connsiteX0" fmla="*/ 0 w 24764"/>
                <a:gd name="connsiteY0" fmla="*/ 3810 h 17049"/>
                <a:gd name="connsiteX1" fmla="*/ 10477 w 24764"/>
                <a:gd name="connsiteY1" fmla="*/ 0 h 17049"/>
                <a:gd name="connsiteX2" fmla="*/ 24765 w 24764"/>
                <a:gd name="connsiteY2" fmla="*/ 6572 h 17049"/>
                <a:gd name="connsiteX3" fmla="*/ 24765 w 24764"/>
                <a:gd name="connsiteY3" fmla="*/ 17050 h 17049"/>
                <a:gd name="connsiteX4" fmla="*/ 10477 w 24764"/>
                <a:gd name="connsiteY4" fmla="*/ 14288 h 17049"/>
                <a:gd name="connsiteX5" fmla="*/ 0 w 24764"/>
                <a:gd name="connsiteY5" fmla="*/ 3810 h 17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764" h="17049">
                  <a:moveTo>
                    <a:pt x="0" y="3810"/>
                  </a:moveTo>
                  <a:lnTo>
                    <a:pt x="10477" y="0"/>
                  </a:lnTo>
                  <a:lnTo>
                    <a:pt x="24765" y="6572"/>
                  </a:lnTo>
                  <a:lnTo>
                    <a:pt x="24765" y="17050"/>
                  </a:lnTo>
                  <a:lnTo>
                    <a:pt x="10477" y="14288"/>
                  </a:lnTo>
                  <a:lnTo>
                    <a:pt x="0" y="381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45" name="Freeform: Shape 3744">
              <a:extLst>
                <a:ext uri="{FF2B5EF4-FFF2-40B4-BE49-F238E27FC236}">
                  <a16:creationId xmlns:a16="http://schemas.microsoft.com/office/drawing/2014/main" id="{553EF794-3797-7A39-7E37-B413F007BAC8}"/>
                </a:ext>
              </a:extLst>
            </p:cNvPr>
            <p:cNvSpPr/>
            <p:nvPr/>
          </p:nvSpPr>
          <p:spPr>
            <a:xfrm>
              <a:off x="10496271" y="5111447"/>
              <a:ext cx="76565" cy="61626"/>
            </a:xfrm>
            <a:custGeom>
              <a:avLst/>
              <a:gdLst>
                <a:gd name="connsiteX0" fmla="*/ 0 w 78105"/>
                <a:gd name="connsiteY0" fmla="*/ 0 h 62865"/>
                <a:gd name="connsiteX1" fmla="*/ 24765 w 78105"/>
                <a:gd name="connsiteY1" fmla="*/ 10478 h 62865"/>
                <a:gd name="connsiteX2" fmla="*/ 42863 w 78105"/>
                <a:gd name="connsiteY2" fmla="*/ 31337 h 62865"/>
                <a:gd name="connsiteX3" fmla="*/ 60007 w 78105"/>
                <a:gd name="connsiteY3" fmla="*/ 41910 h 62865"/>
                <a:gd name="connsiteX4" fmla="*/ 78105 w 78105"/>
                <a:gd name="connsiteY4" fmla="*/ 56197 h 62865"/>
                <a:gd name="connsiteX5" fmla="*/ 74295 w 78105"/>
                <a:gd name="connsiteY5" fmla="*/ 62865 h 62865"/>
                <a:gd name="connsiteX6" fmla="*/ 53340 w 78105"/>
                <a:gd name="connsiteY6" fmla="*/ 49435 h 62865"/>
                <a:gd name="connsiteX7" fmla="*/ 35243 w 78105"/>
                <a:gd name="connsiteY7" fmla="*/ 35147 h 62865"/>
                <a:gd name="connsiteX8" fmla="*/ 18098 w 78105"/>
                <a:gd name="connsiteY8" fmla="*/ 20860 h 62865"/>
                <a:gd name="connsiteX9" fmla="*/ 3810 w 78105"/>
                <a:gd name="connsiteY9" fmla="*/ 14288 h 62865"/>
                <a:gd name="connsiteX10" fmla="*/ 0 w 78105"/>
                <a:gd name="connsiteY10" fmla="*/ 0 h 62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8105" h="62865">
                  <a:moveTo>
                    <a:pt x="0" y="0"/>
                  </a:moveTo>
                  <a:lnTo>
                    <a:pt x="24765" y="10478"/>
                  </a:lnTo>
                  <a:lnTo>
                    <a:pt x="42863" y="31337"/>
                  </a:lnTo>
                  <a:lnTo>
                    <a:pt x="60007" y="41910"/>
                  </a:lnTo>
                  <a:lnTo>
                    <a:pt x="78105" y="56197"/>
                  </a:lnTo>
                  <a:lnTo>
                    <a:pt x="74295" y="62865"/>
                  </a:lnTo>
                  <a:lnTo>
                    <a:pt x="53340" y="49435"/>
                  </a:lnTo>
                  <a:lnTo>
                    <a:pt x="35243" y="35147"/>
                  </a:lnTo>
                  <a:lnTo>
                    <a:pt x="18098" y="20860"/>
                  </a:lnTo>
                  <a:lnTo>
                    <a:pt x="3810" y="14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46" name="Freeform: Shape 3745">
              <a:extLst>
                <a:ext uri="{FF2B5EF4-FFF2-40B4-BE49-F238E27FC236}">
                  <a16:creationId xmlns:a16="http://schemas.microsoft.com/office/drawing/2014/main" id="{D0CA478E-DAF3-2D0B-E350-F5C87489162E}"/>
                </a:ext>
              </a:extLst>
            </p:cNvPr>
            <p:cNvSpPr/>
            <p:nvPr/>
          </p:nvSpPr>
          <p:spPr>
            <a:xfrm>
              <a:off x="9281496" y="4035694"/>
              <a:ext cx="120450" cy="166297"/>
            </a:xfrm>
            <a:custGeom>
              <a:avLst/>
              <a:gdLst>
                <a:gd name="connsiteX0" fmla="*/ 6667 w 122872"/>
                <a:gd name="connsiteY0" fmla="*/ 102965 h 169640"/>
                <a:gd name="connsiteX1" fmla="*/ 24765 w 122872"/>
                <a:gd name="connsiteY1" fmla="*/ 113347 h 169640"/>
                <a:gd name="connsiteX2" fmla="*/ 27622 w 122872"/>
                <a:gd name="connsiteY2" fmla="*/ 134398 h 169640"/>
                <a:gd name="connsiteX3" fmla="*/ 41910 w 122872"/>
                <a:gd name="connsiteY3" fmla="*/ 138113 h 169640"/>
                <a:gd name="connsiteX4" fmla="*/ 52388 w 122872"/>
                <a:gd name="connsiteY4" fmla="*/ 127635 h 169640"/>
                <a:gd name="connsiteX5" fmla="*/ 66675 w 122872"/>
                <a:gd name="connsiteY5" fmla="*/ 130588 h 169640"/>
                <a:gd name="connsiteX6" fmla="*/ 70485 w 122872"/>
                <a:gd name="connsiteY6" fmla="*/ 144875 h 169640"/>
                <a:gd name="connsiteX7" fmla="*/ 84772 w 122872"/>
                <a:gd name="connsiteY7" fmla="*/ 141065 h 169640"/>
                <a:gd name="connsiteX8" fmla="*/ 91440 w 122872"/>
                <a:gd name="connsiteY8" fmla="*/ 148685 h 169640"/>
                <a:gd name="connsiteX9" fmla="*/ 108585 w 122872"/>
                <a:gd name="connsiteY9" fmla="*/ 159163 h 169640"/>
                <a:gd name="connsiteX10" fmla="*/ 116205 w 122872"/>
                <a:gd name="connsiteY10" fmla="*/ 169640 h 169640"/>
                <a:gd name="connsiteX11" fmla="*/ 122872 w 122872"/>
                <a:gd name="connsiteY11" fmla="*/ 159163 h 169640"/>
                <a:gd name="connsiteX12" fmla="*/ 108585 w 122872"/>
                <a:gd name="connsiteY12" fmla="*/ 148685 h 169640"/>
                <a:gd name="connsiteX13" fmla="*/ 108585 w 122872"/>
                <a:gd name="connsiteY13" fmla="*/ 138113 h 169640"/>
                <a:gd name="connsiteX14" fmla="*/ 101917 w 122872"/>
                <a:gd name="connsiteY14" fmla="*/ 127635 h 169640"/>
                <a:gd name="connsiteX15" fmla="*/ 87630 w 122872"/>
                <a:gd name="connsiteY15" fmla="*/ 127635 h 169640"/>
                <a:gd name="connsiteX16" fmla="*/ 80963 w 122872"/>
                <a:gd name="connsiteY16" fmla="*/ 120110 h 169640"/>
                <a:gd name="connsiteX17" fmla="*/ 70485 w 122872"/>
                <a:gd name="connsiteY17" fmla="*/ 123825 h 169640"/>
                <a:gd name="connsiteX18" fmla="*/ 56197 w 122872"/>
                <a:gd name="connsiteY18" fmla="*/ 117253 h 169640"/>
                <a:gd name="connsiteX19" fmla="*/ 49530 w 122872"/>
                <a:gd name="connsiteY19" fmla="*/ 109538 h 169640"/>
                <a:gd name="connsiteX20" fmla="*/ 45720 w 122872"/>
                <a:gd name="connsiteY20" fmla="*/ 95250 h 169640"/>
                <a:gd name="connsiteX21" fmla="*/ 49530 w 122872"/>
                <a:gd name="connsiteY21" fmla="*/ 74390 h 169640"/>
                <a:gd name="connsiteX22" fmla="*/ 60007 w 122872"/>
                <a:gd name="connsiteY22" fmla="*/ 70485 h 169640"/>
                <a:gd name="connsiteX23" fmla="*/ 70485 w 122872"/>
                <a:gd name="connsiteY23" fmla="*/ 46672 h 169640"/>
                <a:gd name="connsiteX24" fmla="*/ 66675 w 122872"/>
                <a:gd name="connsiteY24" fmla="*/ 24860 h 169640"/>
                <a:gd name="connsiteX25" fmla="*/ 66675 w 122872"/>
                <a:gd name="connsiteY25" fmla="*/ 7715 h 169640"/>
                <a:gd name="connsiteX26" fmla="*/ 49530 w 122872"/>
                <a:gd name="connsiteY26" fmla="*/ 3810 h 169640"/>
                <a:gd name="connsiteX27" fmla="*/ 20955 w 122872"/>
                <a:gd name="connsiteY27" fmla="*/ 0 h 169640"/>
                <a:gd name="connsiteX28" fmla="*/ 17145 w 122872"/>
                <a:gd name="connsiteY28" fmla="*/ 28575 h 169640"/>
                <a:gd name="connsiteX29" fmla="*/ 17145 w 122872"/>
                <a:gd name="connsiteY29" fmla="*/ 49625 h 169640"/>
                <a:gd name="connsiteX30" fmla="*/ 20955 w 122872"/>
                <a:gd name="connsiteY30" fmla="*/ 63913 h 169640"/>
                <a:gd name="connsiteX31" fmla="*/ 0 w 122872"/>
                <a:gd name="connsiteY31" fmla="*/ 67723 h 169640"/>
                <a:gd name="connsiteX32" fmla="*/ 3810 w 122872"/>
                <a:gd name="connsiteY32" fmla="*/ 78200 h 169640"/>
                <a:gd name="connsiteX33" fmla="*/ 6667 w 122872"/>
                <a:gd name="connsiteY33" fmla="*/ 84772 h 169640"/>
                <a:gd name="connsiteX34" fmla="*/ 6667 w 122872"/>
                <a:gd name="connsiteY34" fmla="*/ 102965 h 169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22872" h="169640">
                  <a:moveTo>
                    <a:pt x="6667" y="102965"/>
                  </a:moveTo>
                  <a:lnTo>
                    <a:pt x="24765" y="113347"/>
                  </a:lnTo>
                  <a:lnTo>
                    <a:pt x="27622" y="134398"/>
                  </a:lnTo>
                  <a:lnTo>
                    <a:pt x="41910" y="138113"/>
                  </a:lnTo>
                  <a:lnTo>
                    <a:pt x="52388" y="127635"/>
                  </a:lnTo>
                  <a:lnTo>
                    <a:pt x="66675" y="130588"/>
                  </a:lnTo>
                  <a:lnTo>
                    <a:pt x="70485" y="144875"/>
                  </a:lnTo>
                  <a:lnTo>
                    <a:pt x="84772" y="141065"/>
                  </a:lnTo>
                  <a:lnTo>
                    <a:pt x="91440" y="148685"/>
                  </a:lnTo>
                  <a:lnTo>
                    <a:pt x="108585" y="159163"/>
                  </a:lnTo>
                  <a:lnTo>
                    <a:pt x="116205" y="169640"/>
                  </a:lnTo>
                  <a:lnTo>
                    <a:pt x="122872" y="159163"/>
                  </a:lnTo>
                  <a:lnTo>
                    <a:pt x="108585" y="148685"/>
                  </a:lnTo>
                  <a:lnTo>
                    <a:pt x="108585" y="138113"/>
                  </a:lnTo>
                  <a:lnTo>
                    <a:pt x="101917" y="127635"/>
                  </a:lnTo>
                  <a:lnTo>
                    <a:pt x="87630" y="127635"/>
                  </a:lnTo>
                  <a:lnTo>
                    <a:pt x="80963" y="120110"/>
                  </a:lnTo>
                  <a:lnTo>
                    <a:pt x="70485" y="123825"/>
                  </a:lnTo>
                  <a:lnTo>
                    <a:pt x="56197" y="117253"/>
                  </a:lnTo>
                  <a:lnTo>
                    <a:pt x="49530" y="109538"/>
                  </a:lnTo>
                  <a:lnTo>
                    <a:pt x="45720" y="95250"/>
                  </a:lnTo>
                  <a:lnTo>
                    <a:pt x="49530" y="74390"/>
                  </a:lnTo>
                  <a:lnTo>
                    <a:pt x="60007" y="70485"/>
                  </a:lnTo>
                  <a:lnTo>
                    <a:pt x="70485" y="46672"/>
                  </a:lnTo>
                  <a:lnTo>
                    <a:pt x="66675" y="24860"/>
                  </a:lnTo>
                  <a:lnTo>
                    <a:pt x="66675" y="7715"/>
                  </a:lnTo>
                  <a:lnTo>
                    <a:pt x="49530" y="3810"/>
                  </a:lnTo>
                  <a:lnTo>
                    <a:pt x="20955" y="0"/>
                  </a:lnTo>
                  <a:lnTo>
                    <a:pt x="17145" y="28575"/>
                  </a:lnTo>
                  <a:lnTo>
                    <a:pt x="17145" y="49625"/>
                  </a:lnTo>
                  <a:lnTo>
                    <a:pt x="20955" y="63913"/>
                  </a:lnTo>
                  <a:lnTo>
                    <a:pt x="0" y="67723"/>
                  </a:lnTo>
                  <a:lnTo>
                    <a:pt x="3810" y="78200"/>
                  </a:lnTo>
                  <a:lnTo>
                    <a:pt x="6667" y="84772"/>
                  </a:lnTo>
                  <a:lnTo>
                    <a:pt x="6667" y="10296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47" name="Freeform: Shape 3746">
              <a:extLst>
                <a:ext uri="{FF2B5EF4-FFF2-40B4-BE49-F238E27FC236}">
                  <a16:creationId xmlns:a16="http://schemas.microsoft.com/office/drawing/2014/main" id="{9FC8A199-656E-63DE-A1F0-F5C252406CF2}"/>
                </a:ext>
              </a:extLst>
            </p:cNvPr>
            <p:cNvSpPr/>
            <p:nvPr/>
          </p:nvSpPr>
          <p:spPr>
            <a:xfrm>
              <a:off x="9208665" y="4240181"/>
              <a:ext cx="72831" cy="79367"/>
            </a:xfrm>
            <a:custGeom>
              <a:avLst/>
              <a:gdLst>
                <a:gd name="connsiteX0" fmla="*/ 0 w 74295"/>
                <a:gd name="connsiteY0" fmla="*/ 80963 h 80962"/>
                <a:gd name="connsiteX1" fmla="*/ 14288 w 74295"/>
                <a:gd name="connsiteY1" fmla="*/ 60103 h 80962"/>
                <a:gd name="connsiteX2" fmla="*/ 35243 w 74295"/>
                <a:gd name="connsiteY2" fmla="*/ 35338 h 80962"/>
                <a:gd name="connsiteX3" fmla="*/ 56198 w 74295"/>
                <a:gd name="connsiteY3" fmla="*/ 17240 h 80962"/>
                <a:gd name="connsiteX4" fmla="*/ 63818 w 74295"/>
                <a:gd name="connsiteY4" fmla="*/ 0 h 80962"/>
                <a:gd name="connsiteX5" fmla="*/ 66675 w 74295"/>
                <a:gd name="connsiteY5" fmla="*/ 10478 h 80962"/>
                <a:gd name="connsiteX6" fmla="*/ 74295 w 74295"/>
                <a:gd name="connsiteY6" fmla="*/ 21050 h 80962"/>
                <a:gd name="connsiteX7" fmla="*/ 56198 w 74295"/>
                <a:gd name="connsiteY7" fmla="*/ 27718 h 80962"/>
                <a:gd name="connsiteX8" fmla="*/ 35243 w 74295"/>
                <a:gd name="connsiteY8" fmla="*/ 52388 h 80962"/>
                <a:gd name="connsiteX9" fmla="*/ 24765 w 74295"/>
                <a:gd name="connsiteY9" fmla="*/ 66675 h 80962"/>
                <a:gd name="connsiteX10" fmla="*/ 0 w 74295"/>
                <a:gd name="connsiteY10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295" h="80962">
                  <a:moveTo>
                    <a:pt x="0" y="80963"/>
                  </a:moveTo>
                  <a:lnTo>
                    <a:pt x="14288" y="60103"/>
                  </a:lnTo>
                  <a:lnTo>
                    <a:pt x="35243" y="35338"/>
                  </a:lnTo>
                  <a:lnTo>
                    <a:pt x="56198" y="17240"/>
                  </a:lnTo>
                  <a:lnTo>
                    <a:pt x="63818" y="0"/>
                  </a:lnTo>
                  <a:lnTo>
                    <a:pt x="66675" y="10478"/>
                  </a:lnTo>
                  <a:lnTo>
                    <a:pt x="74295" y="21050"/>
                  </a:lnTo>
                  <a:lnTo>
                    <a:pt x="56198" y="27718"/>
                  </a:lnTo>
                  <a:lnTo>
                    <a:pt x="35243" y="52388"/>
                  </a:lnTo>
                  <a:lnTo>
                    <a:pt x="24765" y="66675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48" name="Freeform: Shape 3747">
              <a:extLst>
                <a:ext uri="{FF2B5EF4-FFF2-40B4-BE49-F238E27FC236}">
                  <a16:creationId xmlns:a16="http://schemas.microsoft.com/office/drawing/2014/main" id="{31F0FB20-774E-38FA-3AFB-8D7EA6E1982A}"/>
                </a:ext>
              </a:extLst>
            </p:cNvPr>
            <p:cNvSpPr/>
            <p:nvPr/>
          </p:nvSpPr>
          <p:spPr>
            <a:xfrm>
              <a:off x="9208665" y="4240181"/>
              <a:ext cx="72831" cy="79367"/>
            </a:xfrm>
            <a:custGeom>
              <a:avLst/>
              <a:gdLst>
                <a:gd name="connsiteX0" fmla="*/ 0 w 74295"/>
                <a:gd name="connsiteY0" fmla="*/ 80963 h 80962"/>
                <a:gd name="connsiteX1" fmla="*/ 14288 w 74295"/>
                <a:gd name="connsiteY1" fmla="*/ 60103 h 80962"/>
                <a:gd name="connsiteX2" fmla="*/ 35243 w 74295"/>
                <a:gd name="connsiteY2" fmla="*/ 35338 h 80962"/>
                <a:gd name="connsiteX3" fmla="*/ 56198 w 74295"/>
                <a:gd name="connsiteY3" fmla="*/ 17240 h 80962"/>
                <a:gd name="connsiteX4" fmla="*/ 63818 w 74295"/>
                <a:gd name="connsiteY4" fmla="*/ 0 h 80962"/>
                <a:gd name="connsiteX5" fmla="*/ 66675 w 74295"/>
                <a:gd name="connsiteY5" fmla="*/ 10478 h 80962"/>
                <a:gd name="connsiteX6" fmla="*/ 74295 w 74295"/>
                <a:gd name="connsiteY6" fmla="*/ 21050 h 80962"/>
                <a:gd name="connsiteX7" fmla="*/ 56198 w 74295"/>
                <a:gd name="connsiteY7" fmla="*/ 27718 h 80962"/>
                <a:gd name="connsiteX8" fmla="*/ 35243 w 74295"/>
                <a:gd name="connsiteY8" fmla="*/ 52388 h 80962"/>
                <a:gd name="connsiteX9" fmla="*/ 24765 w 74295"/>
                <a:gd name="connsiteY9" fmla="*/ 66675 h 80962"/>
                <a:gd name="connsiteX10" fmla="*/ 0 w 74295"/>
                <a:gd name="connsiteY10" fmla="*/ 80963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4295" h="80962">
                  <a:moveTo>
                    <a:pt x="0" y="80963"/>
                  </a:moveTo>
                  <a:lnTo>
                    <a:pt x="14288" y="60103"/>
                  </a:lnTo>
                  <a:lnTo>
                    <a:pt x="35243" y="35338"/>
                  </a:lnTo>
                  <a:lnTo>
                    <a:pt x="56198" y="17240"/>
                  </a:lnTo>
                  <a:lnTo>
                    <a:pt x="63818" y="0"/>
                  </a:lnTo>
                  <a:lnTo>
                    <a:pt x="66675" y="10478"/>
                  </a:lnTo>
                  <a:lnTo>
                    <a:pt x="74295" y="21050"/>
                  </a:lnTo>
                  <a:lnTo>
                    <a:pt x="56198" y="27718"/>
                  </a:lnTo>
                  <a:lnTo>
                    <a:pt x="35243" y="52388"/>
                  </a:lnTo>
                  <a:lnTo>
                    <a:pt x="24765" y="66675"/>
                  </a:lnTo>
                  <a:lnTo>
                    <a:pt x="0" y="8096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49" name="Freeform: Shape 3748">
              <a:extLst>
                <a:ext uri="{FF2B5EF4-FFF2-40B4-BE49-F238E27FC236}">
                  <a16:creationId xmlns:a16="http://schemas.microsoft.com/office/drawing/2014/main" id="{52C5D678-CB03-8E78-6841-DE9C54A0ACD9}"/>
                </a:ext>
              </a:extLst>
            </p:cNvPr>
            <p:cNvSpPr/>
            <p:nvPr/>
          </p:nvSpPr>
          <p:spPr>
            <a:xfrm>
              <a:off x="9336585" y="4281360"/>
              <a:ext cx="127920" cy="103551"/>
            </a:xfrm>
            <a:custGeom>
              <a:avLst/>
              <a:gdLst>
                <a:gd name="connsiteX0" fmla="*/ 101918 w 130492"/>
                <a:gd name="connsiteY0" fmla="*/ 102870 h 105632"/>
                <a:gd name="connsiteX1" fmla="*/ 70485 w 130492"/>
                <a:gd name="connsiteY1" fmla="*/ 105632 h 105632"/>
                <a:gd name="connsiteX2" fmla="*/ 60007 w 130492"/>
                <a:gd name="connsiteY2" fmla="*/ 84772 h 105632"/>
                <a:gd name="connsiteX3" fmla="*/ 60007 w 130492"/>
                <a:gd name="connsiteY3" fmla="*/ 67532 h 105632"/>
                <a:gd name="connsiteX4" fmla="*/ 70485 w 130492"/>
                <a:gd name="connsiteY4" fmla="*/ 63722 h 105632"/>
                <a:gd name="connsiteX5" fmla="*/ 56198 w 130492"/>
                <a:gd name="connsiteY5" fmla="*/ 53245 h 105632"/>
                <a:gd name="connsiteX6" fmla="*/ 41910 w 130492"/>
                <a:gd name="connsiteY6" fmla="*/ 56197 h 105632"/>
                <a:gd name="connsiteX7" fmla="*/ 31432 w 130492"/>
                <a:gd name="connsiteY7" fmla="*/ 60007 h 105632"/>
                <a:gd name="connsiteX8" fmla="*/ 20955 w 130492"/>
                <a:gd name="connsiteY8" fmla="*/ 63722 h 105632"/>
                <a:gd name="connsiteX9" fmla="*/ 14288 w 130492"/>
                <a:gd name="connsiteY9" fmla="*/ 78010 h 105632"/>
                <a:gd name="connsiteX10" fmla="*/ 6668 w 130492"/>
                <a:gd name="connsiteY10" fmla="*/ 88582 h 105632"/>
                <a:gd name="connsiteX11" fmla="*/ 0 w 130492"/>
                <a:gd name="connsiteY11" fmla="*/ 67532 h 105632"/>
                <a:gd name="connsiteX12" fmla="*/ 6668 w 130492"/>
                <a:gd name="connsiteY12" fmla="*/ 49435 h 105632"/>
                <a:gd name="connsiteX13" fmla="*/ 24765 w 130492"/>
                <a:gd name="connsiteY13" fmla="*/ 42863 h 105632"/>
                <a:gd name="connsiteX14" fmla="*/ 39053 w 130492"/>
                <a:gd name="connsiteY14" fmla="*/ 35147 h 105632"/>
                <a:gd name="connsiteX15" fmla="*/ 45720 w 130492"/>
                <a:gd name="connsiteY15" fmla="*/ 24670 h 105632"/>
                <a:gd name="connsiteX16" fmla="*/ 56198 w 130492"/>
                <a:gd name="connsiteY16" fmla="*/ 38957 h 105632"/>
                <a:gd name="connsiteX17" fmla="*/ 63818 w 130492"/>
                <a:gd name="connsiteY17" fmla="*/ 42863 h 105632"/>
                <a:gd name="connsiteX18" fmla="*/ 74295 w 130492"/>
                <a:gd name="connsiteY18" fmla="*/ 32385 h 105632"/>
                <a:gd name="connsiteX19" fmla="*/ 87630 w 130492"/>
                <a:gd name="connsiteY19" fmla="*/ 14288 h 105632"/>
                <a:gd name="connsiteX20" fmla="*/ 95250 w 130492"/>
                <a:gd name="connsiteY20" fmla="*/ 18097 h 105632"/>
                <a:gd name="connsiteX21" fmla="*/ 101918 w 130492"/>
                <a:gd name="connsiteY21" fmla="*/ 18097 h 105632"/>
                <a:gd name="connsiteX22" fmla="*/ 101918 w 130492"/>
                <a:gd name="connsiteY22" fmla="*/ 7620 h 105632"/>
                <a:gd name="connsiteX23" fmla="*/ 109538 w 130492"/>
                <a:gd name="connsiteY23" fmla="*/ 0 h 105632"/>
                <a:gd name="connsiteX24" fmla="*/ 120015 w 130492"/>
                <a:gd name="connsiteY24" fmla="*/ 10382 h 105632"/>
                <a:gd name="connsiteX25" fmla="*/ 126682 w 130492"/>
                <a:gd name="connsiteY25" fmla="*/ 24670 h 105632"/>
                <a:gd name="connsiteX26" fmla="*/ 130493 w 130492"/>
                <a:gd name="connsiteY26" fmla="*/ 49435 h 105632"/>
                <a:gd name="connsiteX27" fmla="*/ 130493 w 130492"/>
                <a:gd name="connsiteY27" fmla="*/ 74295 h 105632"/>
                <a:gd name="connsiteX28" fmla="*/ 116205 w 130492"/>
                <a:gd name="connsiteY28" fmla="*/ 78010 h 105632"/>
                <a:gd name="connsiteX29" fmla="*/ 112395 w 130492"/>
                <a:gd name="connsiteY29" fmla="*/ 63722 h 105632"/>
                <a:gd name="connsiteX30" fmla="*/ 101918 w 130492"/>
                <a:gd name="connsiteY30" fmla="*/ 74295 h 105632"/>
                <a:gd name="connsiteX31" fmla="*/ 95250 w 130492"/>
                <a:gd name="connsiteY31" fmla="*/ 80963 h 105632"/>
                <a:gd name="connsiteX32" fmla="*/ 101918 w 130492"/>
                <a:gd name="connsiteY32" fmla="*/ 102870 h 105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30492" h="105632">
                  <a:moveTo>
                    <a:pt x="101918" y="102870"/>
                  </a:moveTo>
                  <a:lnTo>
                    <a:pt x="70485" y="105632"/>
                  </a:lnTo>
                  <a:lnTo>
                    <a:pt x="60007" y="84772"/>
                  </a:lnTo>
                  <a:lnTo>
                    <a:pt x="60007" y="67532"/>
                  </a:lnTo>
                  <a:lnTo>
                    <a:pt x="70485" y="63722"/>
                  </a:lnTo>
                  <a:lnTo>
                    <a:pt x="56198" y="53245"/>
                  </a:lnTo>
                  <a:lnTo>
                    <a:pt x="41910" y="56197"/>
                  </a:lnTo>
                  <a:lnTo>
                    <a:pt x="31432" y="60007"/>
                  </a:lnTo>
                  <a:lnTo>
                    <a:pt x="20955" y="63722"/>
                  </a:lnTo>
                  <a:lnTo>
                    <a:pt x="14288" y="78010"/>
                  </a:lnTo>
                  <a:lnTo>
                    <a:pt x="6668" y="88582"/>
                  </a:lnTo>
                  <a:lnTo>
                    <a:pt x="0" y="67532"/>
                  </a:lnTo>
                  <a:lnTo>
                    <a:pt x="6668" y="49435"/>
                  </a:lnTo>
                  <a:lnTo>
                    <a:pt x="24765" y="42863"/>
                  </a:lnTo>
                  <a:lnTo>
                    <a:pt x="39053" y="35147"/>
                  </a:lnTo>
                  <a:lnTo>
                    <a:pt x="45720" y="24670"/>
                  </a:lnTo>
                  <a:lnTo>
                    <a:pt x="56198" y="38957"/>
                  </a:lnTo>
                  <a:lnTo>
                    <a:pt x="63818" y="42863"/>
                  </a:lnTo>
                  <a:lnTo>
                    <a:pt x="74295" y="32385"/>
                  </a:lnTo>
                  <a:lnTo>
                    <a:pt x="87630" y="14288"/>
                  </a:lnTo>
                  <a:lnTo>
                    <a:pt x="95250" y="18097"/>
                  </a:lnTo>
                  <a:lnTo>
                    <a:pt x="101918" y="18097"/>
                  </a:lnTo>
                  <a:lnTo>
                    <a:pt x="101918" y="7620"/>
                  </a:lnTo>
                  <a:lnTo>
                    <a:pt x="109538" y="0"/>
                  </a:lnTo>
                  <a:lnTo>
                    <a:pt x="120015" y="10382"/>
                  </a:lnTo>
                  <a:lnTo>
                    <a:pt x="126682" y="24670"/>
                  </a:lnTo>
                  <a:lnTo>
                    <a:pt x="130493" y="49435"/>
                  </a:lnTo>
                  <a:lnTo>
                    <a:pt x="130493" y="74295"/>
                  </a:lnTo>
                  <a:lnTo>
                    <a:pt x="116205" y="78010"/>
                  </a:lnTo>
                  <a:lnTo>
                    <a:pt x="112395" y="63722"/>
                  </a:lnTo>
                  <a:lnTo>
                    <a:pt x="101918" y="74295"/>
                  </a:lnTo>
                  <a:lnTo>
                    <a:pt x="95250" y="80963"/>
                  </a:lnTo>
                  <a:lnTo>
                    <a:pt x="101918" y="10287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50" name="Freeform: Shape 3749">
              <a:extLst>
                <a:ext uri="{FF2B5EF4-FFF2-40B4-BE49-F238E27FC236}">
                  <a16:creationId xmlns:a16="http://schemas.microsoft.com/office/drawing/2014/main" id="{9883764D-F617-9EB3-9E00-EE7F6FECC89A}"/>
                </a:ext>
              </a:extLst>
            </p:cNvPr>
            <p:cNvSpPr/>
            <p:nvPr/>
          </p:nvSpPr>
          <p:spPr>
            <a:xfrm>
              <a:off x="9405681" y="4201992"/>
              <a:ext cx="30812" cy="38189"/>
            </a:xfrm>
            <a:custGeom>
              <a:avLst/>
              <a:gdLst>
                <a:gd name="connsiteX0" fmla="*/ 0 w 31432"/>
                <a:gd name="connsiteY0" fmla="*/ 6572 h 38957"/>
                <a:gd name="connsiteX1" fmla="*/ 20955 w 31432"/>
                <a:gd name="connsiteY1" fmla="*/ 0 h 38957"/>
                <a:gd name="connsiteX2" fmla="*/ 31432 w 31432"/>
                <a:gd name="connsiteY2" fmla="*/ 3810 h 38957"/>
                <a:gd name="connsiteX3" fmla="*/ 31432 w 31432"/>
                <a:gd name="connsiteY3" fmla="*/ 28575 h 38957"/>
                <a:gd name="connsiteX4" fmla="*/ 31432 w 31432"/>
                <a:gd name="connsiteY4" fmla="*/ 38957 h 38957"/>
                <a:gd name="connsiteX5" fmla="*/ 17145 w 31432"/>
                <a:gd name="connsiteY5" fmla="*/ 31432 h 38957"/>
                <a:gd name="connsiteX6" fmla="*/ 6668 w 31432"/>
                <a:gd name="connsiteY6" fmla="*/ 20860 h 38957"/>
                <a:gd name="connsiteX7" fmla="*/ 0 w 31432"/>
                <a:gd name="connsiteY7" fmla="*/ 6572 h 38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432" h="38957">
                  <a:moveTo>
                    <a:pt x="0" y="6572"/>
                  </a:moveTo>
                  <a:lnTo>
                    <a:pt x="20955" y="0"/>
                  </a:lnTo>
                  <a:lnTo>
                    <a:pt x="31432" y="3810"/>
                  </a:lnTo>
                  <a:lnTo>
                    <a:pt x="31432" y="28575"/>
                  </a:lnTo>
                  <a:lnTo>
                    <a:pt x="31432" y="38957"/>
                  </a:lnTo>
                  <a:lnTo>
                    <a:pt x="17145" y="31432"/>
                  </a:lnTo>
                  <a:lnTo>
                    <a:pt x="6668" y="20860"/>
                  </a:lnTo>
                  <a:lnTo>
                    <a:pt x="0" y="657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51" name="Freeform: Shape 3750">
              <a:extLst>
                <a:ext uri="{FF2B5EF4-FFF2-40B4-BE49-F238E27FC236}">
                  <a16:creationId xmlns:a16="http://schemas.microsoft.com/office/drawing/2014/main" id="{128E8352-B508-435F-BA13-64FFF1E48E0C}"/>
                </a:ext>
              </a:extLst>
            </p:cNvPr>
            <p:cNvSpPr/>
            <p:nvPr/>
          </p:nvSpPr>
          <p:spPr>
            <a:xfrm>
              <a:off x="9405681" y="4201992"/>
              <a:ext cx="30812" cy="38189"/>
            </a:xfrm>
            <a:custGeom>
              <a:avLst/>
              <a:gdLst>
                <a:gd name="connsiteX0" fmla="*/ 0 w 31432"/>
                <a:gd name="connsiteY0" fmla="*/ 6572 h 38957"/>
                <a:gd name="connsiteX1" fmla="*/ 20955 w 31432"/>
                <a:gd name="connsiteY1" fmla="*/ 0 h 38957"/>
                <a:gd name="connsiteX2" fmla="*/ 31432 w 31432"/>
                <a:gd name="connsiteY2" fmla="*/ 3810 h 38957"/>
                <a:gd name="connsiteX3" fmla="*/ 31432 w 31432"/>
                <a:gd name="connsiteY3" fmla="*/ 28575 h 38957"/>
                <a:gd name="connsiteX4" fmla="*/ 31432 w 31432"/>
                <a:gd name="connsiteY4" fmla="*/ 38957 h 38957"/>
                <a:gd name="connsiteX5" fmla="*/ 17145 w 31432"/>
                <a:gd name="connsiteY5" fmla="*/ 31432 h 38957"/>
                <a:gd name="connsiteX6" fmla="*/ 6668 w 31432"/>
                <a:gd name="connsiteY6" fmla="*/ 20860 h 38957"/>
                <a:gd name="connsiteX7" fmla="*/ 0 w 31432"/>
                <a:gd name="connsiteY7" fmla="*/ 6572 h 38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432" h="38957">
                  <a:moveTo>
                    <a:pt x="0" y="6572"/>
                  </a:moveTo>
                  <a:lnTo>
                    <a:pt x="20955" y="0"/>
                  </a:lnTo>
                  <a:lnTo>
                    <a:pt x="31432" y="3810"/>
                  </a:lnTo>
                  <a:lnTo>
                    <a:pt x="31432" y="28575"/>
                  </a:lnTo>
                  <a:lnTo>
                    <a:pt x="31432" y="38957"/>
                  </a:lnTo>
                  <a:lnTo>
                    <a:pt x="17145" y="31432"/>
                  </a:lnTo>
                  <a:lnTo>
                    <a:pt x="6668" y="20860"/>
                  </a:lnTo>
                  <a:lnTo>
                    <a:pt x="0" y="657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52" name="Freeform: Shape 3751">
              <a:extLst>
                <a:ext uri="{FF2B5EF4-FFF2-40B4-BE49-F238E27FC236}">
                  <a16:creationId xmlns:a16="http://schemas.microsoft.com/office/drawing/2014/main" id="{E9A94501-2042-9680-F9F0-0DB106E8E229}"/>
                </a:ext>
              </a:extLst>
            </p:cNvPr>
            <p:cNvSpPr/>
            <p:nvPr/>
          </p:nvSpPr>
          <p:spPr>
            <a:xfrm>
              <a:off x="9295501" y="4173980"/>
              <a:ext cx="34547" cy="42017"/>
            </a:xfrm>
            <a:custGeom>
              <a:avLst/>
              <a:gdLst>
                <a:gd name="connsiteX0" fmla="*/ 0 w 35242"/>
                <a:gd name="connsiteY0" fmla="*/ 0 h 42862"/>
                <a:gd name="connsiteX1" fmla="*/ 17145 w 35242"/>
                <a:gd name="connsiteY1" fmla="*/ 3810 h 42862"/>
                <a:gd name="connsiteX2" fmla="*/ 35242 w 35242"/>
                <a:gd name="connsiteY2" fmla="*/ 18097 h 42862"/>
                <a:gd name="connsiteX3" fmla="*/ 31432 w 35242"/>
                <a:gd name="connsiteY3" fmla="*/ 38957 h 42862"/>
                <a:gd name="connsiteX4" fmla="*/ 20955 w 35242"/>
                <a:gd name="connsiteY4" fmla="*/ 42863 h 42862"/>
                <a:gd name="connsiteX5" fmla="*/ 10477 w 35242"/>
                <a:gd name="connsiteY5" fmla="*/ 18097 h 42862"/>
                <a:gd name="connsiteX6" fmla="*/ 2857 w 35242"/>
                <a:gd name="connsiteY6" fmla="*/ 11335 h 42862"/>
                <a:gd name="connsiteX7" fmla="*/ 0 w 35242"/>
                <a:gd name="connsiteY7" fmla="*/ 0 h 4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42" h="42862">
                  <a:moveTo>
                    <a:pt x="0" y="0"/>
                  </a:moveTo>
                  <a:lnTo>
                    <a:pt x="17145" y="3810"/>
                  </a:lnTo>
                  <a:lnTo>
                    <a:pt x="35242" y="18097"/>
                  </a:lnTo>
                  <a:lnTo>
                    <a:pt x="31432" y="38957"/>
                  </a:lnTo>
                  <a:lnTo>
                    <a:pt x="20955" y="42863"/>
                  </a:lnTo>
                  <a:lnTo>
                    <a:pt x="10477" y="18097"/>
                  </a:lnTo>
                  <a:lnTo>
                    <a:pt x="2857" y="113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53" name="Freeform: Shape 3752">
              <a:extLst>
                <a:ext uri="{FF2B5EF4-FFF2-40B4-BE49-F238E27FC236}">
                  <a16:creationId xmlns:a16="http://schemas.microsoft.com/office/drawing/2014/main" id="{0E934D55-9B92-DDC2-A2AF-CA32E75A788C}"/>
                </a:ext>
              </a:extLst>
            </p:cNvPr>
            <p:cNvSpPr/>
            <p:nvPr/>
          </p:nvSpPr>
          <p:spPr>
            <a:xfrm>
              <a:off x="9295501" y="4173980"/>
              <a:ext cx="34547" cy="42017"/>
            </a:xfrm>
            <a:custGeom>
              <a:avLst/>
              <a:gdLst>
                <a:gd name="connsiteX0" fmla="*/ 0 w 35242"/>
                <a:gd name="connsiteY0" fmla="*/ 0 h 42862"/>
                <a:gd name="connsiteX1" fmla="*/ 17145 w 35242"/>
                <a:gd name="connsiteY1" fmla="*/ 3810 h 42862"/>
                <a:gd name="connsiteX2" fmla="*/ 35242 w 35242"/>
                <a:gd name="connsiteY2" fmla="*/ 18097 h 42862"/>
                <a:gd name="connsiteX3" fmla="*/ 31432 w 35242"/>
                <a:gd name="connsiteY3" fmla="*/ 38957 h 42862"/>
                <a:gd name="connsiteX4" fmla="*/ 20955 w 35242"/>
                <a:gd name="connsiteY4" fmla="*/ 42863 h 42862"/>
                <a:gd name="connsiteX5" fmla="*/ 10477 w 35242"/>
                <a:gd name="connsiteY5" fmla="*/ 18097 h 42862"/>
                <a:gd name="connsiteX6" fmla="*/ 2857 w 35242"/>
                <a:gd name="connsiteY6" fmla="*/ 11335 h 42862"/>
                <a:gd name="connsiteX7" fmla="*/ 0 w 35242"/>
                <a:gd name="connsiteY7" fmla="*/ 0 h 4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42" h="42862">
                  <a:moveTo>
                    <a:pt x="0" y="0"/>
                  </a:moveTo>
                  <a:lnTo>
                    <a:pt x="17145" y="3810"/>
                  </a:lnTo>
                  <a:lnTo>
                    <a:pt x="35242" y="18097"/>
                  </a:lnTo>
                  <a:lnTo>
                    <a:pt x="31432" y="38957"/>
                  </a:lnTo>
                  <a:lnTo>
                    <a:pt x="20955" y="42863"/>
                  </a:lnTo>
                  <a:lnTo>
                    <a:pt x="10477" y="18097"/>
                  </a:lnTo>
                  <a:lnTo>
                    <a:pt x="2857" y="113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54" name="Freeform: Shape 3753">
              <a:extLst>
                <a:ext uri="{FF2B5EF4-FFF2-40B4-BE49-F238E27FC236}">
                  <a16:creationId xmlns:a16="http://schemas.microsoft.com/office/drawing/2014/main" id="{967CFB4C-B24C-A538-0513-8E0623F53FAD}"/>
                </a:ext>
              </a:extLst>
            </p:cNvPr>
            <p:cNvSpPr/>
            <p:nvPr/>
          </p:nvSpPr>
          <p:spPr>
            <a:xfrm>
              <a:off x="9340320" y="4226176"/>
              <a:ext cx="37349" cy="34641"/>
            </a:xfrm>
            <a:custGeom>
              <a:avLst/>
              <a:gdLst>
                <a:gd name="connsiteX0" fmla="*/ 0 w 38100"/>
                <a:gd name="connsiteY0" fmla="*/ 0 h 35337"/>
                <a:gd name="connsiteX1" fmla="*/ 0 w 38100"/>
                <a:gd name="connsiteY1" fmla="*/ 17240 h 35337"/>
                <a:gd name="connsiteX2" fmla="*/ 0 w 38100"/>
                <a:gd name="connsiteY2" fmla="*/ 35338 h 35337"/>
                <a:gd name="connsiteX3" fmla="*/ 10477 w 38100"/>
                <a:gd name="connsiteY3" fmla="*/ 28575 h 35337"/>
                <a:gd name="connsiteX4" fmla="*/ 31432 w 38100"/>
                <a:gd name="connsiteY4" fmla="*/ 14288 h 35337"/>
                <a:gd name="connsiteX5" fmla="*/ 38100 w 38100"/>
                <a:gd name="connsiteY5" fmla="*/ 3905 h 35337"/>
                <a:gd name="connsiteX6" fmla="*/ 24765 w 38100"/>
                <a:gd name="connsiteY6" fmla="*/ 0 h 35337"/>
                <a:gd name="connsiteX7" fmla="*/ 13335 w 38100"/>
                <a:gd name="connsiteY7" fmla="*/ 3905 h 35337"/>
                <a:gd name="connsiteX8" fmla="*/ 0 w 38100"/>
                <a:gd name="connsiteY8" fmla="*/ 0 h 35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00" h="35337">
                  <a:moveTo>
                    <a:pt x="0" y="0"/>
                  </a:moveTo>
                  <a:lnTo>
                    <a:pt x="0" y="17240"/>
                  </a:lnTo>
                  <a:lnTo>
                    <a:pt x="0" y="35338"/>
                  </a:lnTo>
                  <a:lnTo>
                    <a:pt x="10477" y="28575"/>
                  </a:lnTo>
                  <a:lnTo>
                    <a:pt x="31432" y="14288"/>
                  </a:lnTo>
                  <a:lnTo>
                    <a:pt x="38100" y="3905"/>
                  </a:lnTo>
                  <a:lnTo>
                    <a:pt x="24765" y="0"/>
                  </a:lnTo>
                  <a:lnTo>
                    <a:pt x="13335" y="39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55" name="Freeform: Shape 3754">
              <a:extLst>
                <a:ext uri="{FF2B5EF4-FFF2-40B4-BE49-F238E27FC236}">
                  <a16:creationId xmlns:a16="http://schemas.microsoft.com/office/drawing/2014/main" id="{C3AFF238-E46A-1EC9-2FF5-FF1C198A4011}"/>
                </a:ext>
              </a:extLst>
            </p:cNvPr>
            <p:cNvSpPr/>
            <p:nvPr/>
          </p:nvSpPr>
          <p:spPr>
            <a:xfrm>
              <a:off x="9340320" y="4226176"/>
              <a:ext cx="37349" cy="34641"/>
            </a:xfrm>
            <a:custGeom>
              <a:avLst/>
              <a:gdLst>
                <a:gd name="connsiteX0" fmla="*/ 0 w 38100"/>
                <a:gd name="connsiteY0" fmla="*/ 0 h 35337"/>
                <a:gd name="connsiteX1" fmla="*/ 0 w 38100"/>
                <a:gd name="connsiteY1" fmla="*/ 17240 h 35337"/>
                <a:gd name="connsiteX2" fmla="*/ 0 w 38100"/>
                <a:gd name="connsiteY2" fmla="*/ 35338 h 35337"/>
                <a:gd name="connsiteX3" fmla="*/ 10477 w 38100"/>
                <a:gd name="connsiteY3" fmla="*/ 28575 h 35337"/>
                <a:gd name="connsiteX4" fmla="*/ 31432 w 38100"/>
                <a:gd name="connsiteY4" fmla="*/ 14288 h 35337"/>
                <a:gd name="connsiteX5" fmla="*/ 38100 w 38100"/>
                <a:gd name="connsiteY5" fmla="*/ 3905 h 35337"/>
                <a:gd name="connsiteX6" fmla="*/ 24765 w 38100"/>
                <a:gd name="connsiteY6" fmla="*/ 0 h 35337"/>
                <a:gd name="connsiteX7" fmla="*/ 13335 w 38100"/>
                <a:gd name="connsiteY7" fmla="*/ 3905 h 35337"/>
                <a:gd name="connsiteX8" fmla="*/ 0 w 38100"/>
                <a:gd name="connsiteY8" fmla="*/ 0 h 35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00" h="35337">
                  <a:moveTo>
                    <a:pt x="0" y="0"/>
                  </a:moveTo>
                  <a:lnTo>
                    <a:pt x="0" y="17240"/>
                  </a:lnTo>
                  <a:lnTo>
                    <a:pt x="0" y="35338"/>
                  </a:lnTo>
                  <a:lnTo>
                    <a:pt x="10477" y="28575"/>
                  </a:lnTo>
                  <a:lnTo>
                    <a:pt x="31432" y="14288"/>
                  </a:lnTo>
                  <a:lnTo>
                    <a:pt x="38100" y="3905"/>
                  </a:lnTo>
                  <a:lnTo>
                    <a:pt x="24765" y="0"/>
                  </a:lnTo>
                  <a:lnTo>
                    <a:pt x="13335" y="39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56" name="Freeform: Shape 3755">
              <a:extLst>
                <a:ext uri="{FF2B5EF4-FFF2-40B4-BE49-F238E27FC236}">
                  <a16:creationId xmlns:a16="http://schemas.microsoft.com/office/drawing/2014/main" id="{F578FEA1-4A27-F7B7-BB51-4E02DD4219FE}"/>
                </a:ext>
              </a:extLst>
            </p:cNvPr>
            <p:cNvSpPr/>
            <p:nvPr/>
          </p:nvSpPr>
          <p:spPr>
            <a:xfrm>
              <a:off x="9350591" y="4246811"/>
              <a:ext cx="41084" cy="48554"/>
            </a:xfrm>
            <a:custGeom>
              <a:avLst/>
              <a:gdLst>
                <a:gd name="connsiteX0" fmla="*/ 0 w 41910"/>
                <a:gd name="connsiteY0" fmla="*/ 32290 h 49530"/>
                <a:gd name="connsiteX1" fmla="*/ 10478 w 41910"/>
                <a:gd name="connsiteY1" fmla="*/ 45625 h 49530"/>
                <a:gd name="connsiteX2" fmla="*/ 24765 w 41910"/>
                <a:gd name="connsiteY2" fmla="*/ 49530 h 49530"/>
                <a:gd name="connsiteX3" fmla="*/ 24765 w 41910"/>
                <a:gd name="connsiteY3" fmla="*/ 28575 h 49530"/>
                <a:gd name="connsiteX4" fmla="*/ 31432 w 41910"/>
                <a:gd name="connsiteY4" fmla="*/ 20955 h 49530"/>
                <a:gd name="connsiteX5" fmla="*/ 41910 w 41910"/>
                <a:gd name="connsiteY5" fmla="*/ 14288 h 49530"/>
                <a:gd name="connsiteX6" fmla="*/ 38100 w 41910"/>
                <a:gd name="connsiteY6" fmla="*/ 7525 h 49530"/>
                <a:gd name="connsiteX7" fmla="*/ 27623 w 41910"/>
                <a:gd name="connsiteY7" fmla="*/ 0 h 49530"/>
                <a:gd name="connsiteX8" fmla="*/ 17145 w 41910"/>
                <a:gd name="connsiteY8" fmla="*/ 3715 h 49530"/>
                <a:gd name="connsiteX9" fmla="*/ 14288 w 41910"/>
                <a:gd name="connsiteY9" fmla="*/ 18002 h 49530"/>
                <a:gd name="connsiteX10" fmla="*/ 6668 w 41910"/>
                <a:gd name="connsiteY10" fmla="*/ 28575 h 49530"/>
                <a:gd name="connsiteX11" fmla="*/ 0 w 41910"/>
                <a:gd name="connsiteY11" fmla="*/ 32290 h 4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910" h="49530">
                  <a:moveTo>
                    <a:pt x="0" y="32290"/>
                  </a:moveTo>
                  <a:lnTo>
                    <a:pt x="10478" y="45625"/>
                  </a:lnTo>
                  <a:lnTo>
                    <a:pt x="24765" y="49530"/>
                  </a:lnTo>
                  <a:lnTo>
                    <a:pt x="24765" y="28575"/>
                  </a:lnTo>
                  <a:lnTo>
                    <a:pt x="31432" y="20955"/>
                  </a:lnTo>
                  <a:lnTo>
                    <a:pt x="41910" y="14288"/>
                  </a:lnTo>
                  <a:lnTo>
                    <a:pt x="38100" y="7525"/>
                  </a:lnTo>
                  <a:lnTo>
                    <a:pt x="27623" y="0"/>
                  </a:lnTo>
                  <a:lnTo>
                    <a:pt x="17145" y="3715"/>
                  </a:lnTo>
                  <a:lnTo>
                    <a:pt x="14288" y="18002"/>
                  </a:lnTo>
                  <a:lnTo>
                    <a:pt x="6668" y="28575"/>
                  </a:lnTo>
                  <a:lnTo>
                    <a:pt x="0" y="3229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57" name="Freeform: Shape 3756">
              <a:extLst>
                <a:ext uri="{FF2B5EF4-FFF2-40B4-BE49-F238E27FC236}">
                  <a16:creationId xmlns:a16="http://schemas.microsoft.com/office/drawing/2014/main" id="{7290303D-EFA6-0A87-D6A5-7F3826F57175}"/>
                </a:ext>
              </a:extLst>
            </p:cNvPr>
            <p:cNvSpPr/>
            <p:nvPr/>
          </p:nvSpPr>
          <p:spPr>
            <a:xfrm>
              <a:off x="9350591" y="4246811"/>
              <a:ext cx="41084" cy="48554"/>
            </a:xfrm>
            <a:custGeom>
              <a:avLst/>
              <a:gdLst>
                <a:gd name="connsiteX0" fmla="*/ 0 w 41910"/>
                <a:gd name="connsiteY0" fmla="*/ 32290 h 49530"/>
                <a:gd name="connsiteX1" fmla="*/ 10478 w 41910"/>
                <a:gd name="connsiteY1" fmla="*/ 45625 h 49530"/>
                <a:gd name="connsiteX2" fmla="*/ 24765 w 41910"/>
                <a:gd name="connsiteY2" fmla="*/ 49530 h 49530"/>
                <a:gd name="connsiteX3" fmla="*/ 24765 w 41910"/>
                <a:gd name="connsiteY3" fmla="*/ 28575 h 49530"/>
                <a:gd name="connsiteX4" fmla="*/ 31432 w 41910"/>
                <a:gd name="connsiteY4" fmla="*/ 20955 h 49530"/>
                <a:gd name="connsiteX5" fmla="*/ 41910 w 41910"/>
                <a:gd name="connsiteY5" fmla="*/ 14288 h 49530"/>
                <a:gd name="connsiteX6" fmla="*/ 38100 w 41910"/>
                <a:gd name="connsiteY6" fmla="*/ 7525 h 49530"/>
                <a:gd name="connsiteX7" fmla="*/ 27623 w 41910"/>
                <a:gd name="connsiteY7" fmla="*/ 0 h 49530"/>
                <a:gd name="connsiteX8" fmla="*/ 17145 w 41910"/>
                <a:gd name="connsiteY8" fmla="*/ 3715 h 49530"/>
                <a:gd name="connsiteX9" fmla="*/ 14288 w 41910"/>
                <a:gd name="connsiteY9" fmla="*/ 18002 h 49530"/>
                <a:gd name="connsiteX10" fmla="*/ 6668 w 41910"/>
                <a:gd name="connsiteY10" fmla="*/ 28575 h 49530"/>
                <a:gd name="connsiteX11" fmla="*/ 0 w 41910"/>
                <a:gd name="connsiteY11" fmla="*/ 32290 h 4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910" h="49530">
                  <a:moveTo>
                    <a:pt x="0" y="32290"/>
                  </a:moveTo>
                  <a:lnTo>
                    <a:pt x="10478" y="45625"/>
                  </a:lnTo>
                  <a:lnTo>
                    <a:pt x="24765" y="49530"/>
                  </a:lnTo>
                  <a:lnTo>
                    <a:pt x="24765" y="28575"/>
                  </a:lnTo>
                  <a:lnTo>
                    <a:pt x="31432" y="20955"/>
                  </a:lnTo>
                  <a:lnTo>
                    <a:pt x="41910" y="14288"/>
                  </a:lnTo>
                  <a:lnTo>
                    <a:pt x="38100" y="7525"/>
                  </a:lnTo>
                  <a:lnTo>
                    <a:pt x="27623" y="0"/>
                  </a:lnTo>
                  <a:lnTo>
                    <a:pt x="17145" y="3715"/>
                  </a:lnTo>
                  <a:lnTo>
                    <a:pt x="14288" y="18002"/>
                  </a:lnTo>
                  <a:lnTo>
                    <a:pt x="6668" y="28575"/>
                  </a:lnTo>
                  <a:lnTo>
                    <a:pt x="0" y="3229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58" name="Freeform: Shape 3757">
              <a:extLst>
                <a:ext uri="{FF2B5EF4-FFF2-40B4-BE49-F238E27FC236}">
                  <a16:creationId xmlns:a16="http://schemas.microsoft.com/office/drawing/2014/main" id="{F3AC9873-1954-87AC-178B-FABC255FE391}"/>
                </a:ext>
              </a:extLst>
            </p:cNvPr>
            <p:cNvSpPr/>
            <p:nvPr/>
          </p:nvSpPr>
          <p:spPr>
            <a:xfrm>
              <a:off x="9288032" y="3842506"/>
              <a:ext cx="52289" cy="93373"/>
            </a:xfrm>
            <a:custGeom>
              <a:avLst/>
              <a:gdLst>
                <a:gd name="connsiteX0" fmla="*/ 53340 w 53340"/>
                <a:gd name="connsiteY0" fmla="*/ 6572 h 95250"/>
                <a:gd name="connsiteX1" fmla="*/ 45720 w 53340"/>
                <a:gd name="connsiteY1" fmla="*/ 31432 h 95250"/>
                <a:gd name="connsiteX2" fmla="*/ 39053 w 53340"/>
                <a:gd name="connsiteY2" fmla="*/ 49435 h 95250"/>
                <a:gd name="connsiteX3" fmla="*/ 35243 w 53340"/>
                <a:gd name="connsiteY3" fmla="*/ 63722 h 95250"/>
                <a:gd name="connsiteX4" fmla="*/ 28575 w 53340"/>
                <a:gd name="connsiteY4" fmla="*/ 84772 h 95250"/>
                <a:gd name="connsiteX5" fmla="*/ 18098 w 53340"/>
                <a:gd name="connsiteY5" fmla="*/ 95250 h 95250"/>
                <a:gd name="connsiteX6" fmla="*/ 7620 w 53340"/>
                <a:gd name="connsiteY6" fmla="*/ 74295 h 95250"/>
                <a:gd name="connsiteX7" fmla="*/ 0 w 53340"/>
                <a:gd name="connsiteY7" fmla="*/ 45720 h 95250"/>
                <a:gd name="connsiteX8" fmla="*/ 14288 w 53340"/>
                <a:gd name="connsiteY8" fmla="*/ 20860 h 95250"/>
                <a:gd name="connsiteX9" fmla="*/ 32385 w 53340"/>
                <a:gd name="connsiteY9" fmla="*/ 6572 h 95250"/>
                <a:gd name="connsiteX10" fmla="*/ 39053 w 53340"/>
                <a:gd name="connsiteY10" fmla="*/ 0 h 95250"/>
                <a:gd name="connsiteX11" fmla="*/ 53340 w 53340"/>
                <a:gd name="connsiteY11" fmla="*/ 6572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3340" h="95250">
                  <a:moveTo>
                    <a:pt x="53340" y="6572"/>
                  </a:moveTo>
                  <a:lnTo>
                    <a:pt x="45720" y="31432"/>
                  </a:lnTo>
                  <a:lnTo>
                    <a:pt x="39053" y="49435"/>
                  </a:lnTo>
                  <a:lnTo>
                    <a:pt x="35243" y="63722"/>
                  </a:lnTo>
                  <a:lnTo>
                    <a:pt x="28575" y="84772"/>
                  </a:lnTo>
                  <a:lnTo>
                    <a:pt x="18098" y="95250"/>
                  </a:lnTo>
                  <a:lnTo>
                    <a:pt x="7620" y="74295"/>
                  </a:lnTo>
                  <a:lnTo>
                    <a:pt x="0" y="45720"/>
                  </a:lnTo>
                  <a:lnTo>
                    <a:pt x="14288" y="20860"/>
                  </a:lnTo>
                  <a:lnTo>
                    <a:pt x="32385" y="6572"/>
                  </a:lnTo>
                  <a:lnTo>
                    <a:pt x="39053" y="0"/>
                  </a:lnTo>
                  <a:lnTo>
                    <a:pt x="53340" y="657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59" name="Freeform: Shape 3758">
              <a:extLst>
                <a:ext uri="{FF2B5EF4-FFF2-40B4-BE49-F238E27FC236}">
                  <a16:creationId xmlns:a16="http://schemas.microsoft.com/office/drawing/2014/main" id="{2B09E979-A9CD-1B06-3018-599126B9FF45}"/>
                </a:ext>
              </a:extLst>
            </p:cNvPr>
            <p:cNvSpPr/>
            <p:nvPr/>
          </p:nvSpPr>
          <p:spPr>
            <a:xfrm>
              <a:off x="9830526" y="3210368"/>
              <a:ext cx="158733" cy="134363"/>
            </a:xfrm>
            <a:custGeom>
              <a:avLst/>
              <a:gdLst>
                <a:gd name="connsiteX0" fmla="*/ 52388 w 161925"/>
                <a:gd name="connsiteY0" fmla="*/ 0 h 137064"/>
                <a:gd name="connsiteX1" fmla="*/ 66675 w 161925"/>
                <a:gd name="connsiteY1" fmla="*/ 10477 h 137064"/>
                <a:gd name="connsiteX2" fmla="*/ 83820 w 161925"/>
                <a:gd name="connsiteY2" fmla="*/ 27527 h 137064"/>
                <a:gd name="connsiteX3" fmla="*/ 116205 w 161925"/>
                <a:gd name="connsiteY3" fmla="*/ 45720 h 137064"/>
                <a:gd name="connsiteX4" fmla="*/ 133350 w 161925"/>
                <a:gd name="connsiteY4" fmla="*/ 52388 h 137064"/>
                <a:gd name="connsiteX5" fmla="*/ 147638 w 161925"/>
                <a:gd name="connsiteY5" fmla="*/ 41815 h 137064"/>
                <a:gd name="connsiteX6" fmla="*/ 158115 w 161925"/>
                <a:gd name="connsiteY6" fmla="*/ 41815 h 137064"/>
                <a:gd name="connsiteX7" fmla="*/ 147638 w 161925"/>
                <a:gd name="connsiteY7" fmla="*/ 52388 h 137064"/>
                <a:gd name="connsiteX8" fmla="*/ 154305 w 161925"/>
                <a:gd name="connsiteY8" fmla="*/ 62865 h 137064"/>
                <a:gd name="connsiteX9" fmla="*/ 161925 w 161925"/>
                <a:gd name="connsiteY9" fmla="*/ 70390 h 137064"/>
                <a:gd name="connsiteX10" fmla="*/ 147638 w 161925"/>
                <a:gd name="connsiteY10" fmla="*/ 80963 h 137064"/>
                <a:gd name="connsiteX11" fmla="*/ 140970 w 161925"/>
                <a:gd name="connsiteY11" fmla="*/ 83820 h 137064"/>
                <a:gd name="connsiteX12" fmla="*/ 130493 w 161925"/>
                <a:gd name="connsiteY12" fmla="*/ 80963 h 137064"/>
                <a:gd name="connsiteX13" fmla="*/ 119063 w 161925"/>
                <a:gd name="connsiteY13" fmla="*/ 83820 h 137064"/>
                <a:gd name="connsiteX14" fmla="*/ 101918 w 161925"/>
                <a:gd name="connsiteY14" fmla="*/ 91440 h 137064"/>
                <a:gd name="connsiteX15" fmla="*/ 91440 w 161925"/>
                <a:gd name="connsiteY15" fmla="*/ 105727 h 137064"/>
                <a:gd name="connsiteX16" fmla="*/ 91440 w 161925"/>
                <a:gd name="connsiteY16" fmla="*/ 116110 h 137064"/>
                <a:gd name="connsiteX17" fmla="*/ 77152 w 161925"/>
                <a:gd name="connsiteY17" fmla="*/ 108490 h 137064"/>
                <a:gd name="connsiteX18" fmla="*/ 62865 w 161925"/>
                <a:gd name="connsiteY18" fmla="*/ 98108 h 137064"/>
                <a:gd name="connsiteX19" fmla="*/ 48577 w 161925"/>
                <a:gd name="connsiteY19" fmla="*/ 95250 h 137064"/>
                <a:gd name="connsiteX20" fmla="*/ 41910 w 161925"/>
                <a:gd name="connsiteY20" fmla="*/ 98108 h 137064"/>
                <a:gd name="connsiteX21" fmla="*/ 38100 w 161925"/>
                <a:gd name="connsiteY21" fmla="*/ 105727 h 137064"/>
                <a:gd name="connsiteX22" fmla="*/ 27622 w 161925"/>
                <a:gd name="connsiteY22" fmla="*/ 98108 h 137064"/>
                <a:gd name="connsiteX23" fmla="*/ 17145 w 161925"/>
                <a:gd name="connsiteY23" fmla="*/ 95250 h 137064"/>
                <a:gd name="connsiteX24" fmla="*/ 14288 w 161925"/>
                <a:gd name="connsiteY24" fmla="*/ 101822 h 137064"/>
                <a:gd name="connsiteX25" fmla="*/ 17145 w 161925"/>
                <a:gd name="connsiteY25" fmla="*/ 112395 h 137064"/>
                <a:gd name="connsiteX26" fmla="*/ 27622 w 161925"/>
                <a:gd name="connsiteY26" fmla="*/ 116110 h 137064"/>
                <a:gd name="connsiteX27" fmla="*/ 24765 w 161925"/>
                <a:gd name="connsiteY27" fmla="*/ 126683 h 137064"/>
                <a:gd name="connsiteX28" fmla="*/ 14288 w 161925"/>
                <a:gd name="connsiteY28" fmla="*/ 130397 h 137064"/>
                <a:gd name="connsiteX29" fmla="*/ 2857 w 161925"/>
                <a:gd name="connsiteY29" fmla="*/ 137065 h 137064"/>
                <a:gd name="connsiteX30" fmla="*/ 2857 w 161925"/>
                <a:gd name="connsiteY30" fmla="*/ 119063 h 137064"/>
                <a:gd name="connsiteX31" fmla="*/ 0 w 161925"/>
                <a:gd name="connsiteY31" fmla="*/ 105727 h 137064"/>
                <a:gd name="connsiteX32" fmla="*/ 0 w 161925"/>
                <a:gd name="connsiteY32" fmla="*/ 91440 h 137064"/>
                <a:gd name="connsiteX33" fmla="*/ 10477 w 161925"/>
                <a:gd name="connsiteY33" fmla="*/ 87535 h 137064"/>
                <a:gd name="connsiteX34" fmla="*/ 17145 w 161925"/>
                <a:gd name="connsiteY34" fmla="*/ 77152 h 137064"/>
                <a:gd name="connsiteX35" fmla="*/ 17145 w 161925"/>
                <a:gd name="connsiteY35" fmla="*/ 66675 h 137064"/>
                <a:gd name="connsiteX36" fmla="*/ 27622 w 161925"/>
                <a:gd name="connsiteY36" fmla="*/ 66675 h 137064"/>
                <a:gd name="connsiteX37" fmla="*/ 38100 w 161925"/>
                <a:gd name="connsiteY37" fmla="*/ 73247 h 137064"/>
                <a:gd name="connsiteX38" fmla="*/ 48577 w 161925"/>
                <a:gd name="connsiteY38" fmla="*/ 70390 h 137064"/>
                <a:gd name="connsiteX39" fmla="*/ 52388 w 161925"/>
                <a:gd name="connsiteY39" fmla="*/ 27527 h 137064"/>
                <a:gd name="connsiteX40" fmla="*/ 52388 w 161925"/>
                <a:gd name="connsiteY40" fmla="*/ 0 h 1370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61925" h="137064">
                  <a:moveTo>
                    <a:pt x="52388" y="0"/>
                  </a:moveTo>
                  <a:lnTo>
                    <a:pt x="66675" y="10477"/>
                  </a:lnTo>
                  <a:lnTo>
                    <a:pt x="83820" y="27527"/>
                  </a:lnTo>
                  <a:lnTo>
                    <a:pt x="116205" y="45720"/>
                  </a:lnTo>
                  <a:lnTo>
                    <a:pt x="133350" y="52388"/>
                  </a:lnTo>
                  <a:lnTo>
                    <a:pt x="147638" y="41815"/>
                  </a:lnTo>
                  <a:lnTo>
                    <a:pt x="158115" y="41815"/>
                  </a:lnTo>
                  <a:lnTo>
                    <a:pt x="147638" y="52388"/>
                  </a:lnTo>
                  <a:lnTo>
                    <a:pt x="154305" y="62865"/>
                  </a:lnTo>
                  <a:lnTo>
                    <a:pt x="161925" y="70390"/>
                  </a:lnTo>
                  <a:lnTo>
                    <a:pt x="147638" y="80963"/>
                  </a:lnTo>
                  <a:lnTo>
                    <a:pt x="140970" y="83820"/>
                  </a:lnTo>
                  <a:lnTo>
                    <a:pt x="130493" y="80963"/>
                  </a:lnTo>
                  <a:lnTo>
                    <a:pt x="119063" y="83820"/>
                  </a:lnTo>
                  <a:lnTo>
                    <a:pt x="101918" y="91440"/>
                  </a:lnTo>
                  <a:lnTo>
                    <a:pt x="91440" y="105727"/>
                  </a:lnTo>
                  <a:lnTo>
                    <a:pt x="91440" y="116110"/>
                  </a:lnTo>
                  <a:lnTo>
                    <a:pt x="77152" y="108490"/>
                  </a:lnTo>
                  <a:lnTo>
                    <a:pt x="62865" y="98108"/>
                  </a:lnTo>
                  <a:lnTo>
                    <a:pt x="48577" y="95250"/>
                  </a:lnTo>
                  <a:lnTo>
                    <a:pt x="41910" y="98108"/>
                  </a:lnTo>
                  <a:lnTo>
                    <a:pt x="38100" y="105727"/>
                  </a:lnTo>
                  <a:lnTo>
                    <a:pt x="27622" y="98108"/>
                  </a:lnTo>
                  <a:lnTo>
                    <a:pt x="17145" y="95250"/>
                  </a:lnTo>
                  <a:lnTo>
                    <a:pt x="14288" y="101822"/>
                  </a:lnTo>
                  <a:lnTo>
                    <a:pt x="17145" y="112395"/>
                  </a:lnTo>
                  <a:lnTo>
                    <a:pt x="27622" y="116110"/>
                  </a:lnTo>
                  <a:lnTo>
                    <a:pt x="24765" y="126683"/>
                  </a:lnTo>
                  <a:lnTo>
                    <a:pt x="14288" y="130397"/>
                  </a:lnTo>
                  <a:lnTo>
                    <a:pt x="2857" y="137065"/>
                  </a:lnTo>
                  <a:lnTo>
                    <a:pt x="2857" y="119063"/>
                  </a:lnTo>
                  <a:lnTo>
                    <a:pt x="0" y="105727"/>
                  </a:lnTo>
                  <a:lnTo>
                    <a:pt x="0" y="91440"/>
                  </a:lnTo>
                  <a:lnTo>
                    <a:pt x="10477" y="87535"/>
                  </a:lnTo>
                  <a:lnTo>
                    <a:pt x="17145" y="77152"/>
                  </a:lnTo>
                  <a:lnTo>
                    <a:pt x="17145" y="66675"/>
                  </a:lnTo>
                  <a:lnTo>
                    <a:pt x="27622" y="66675"/>
                  </a:lnTo>
                  <a:lnTo>
                    <a:pt x="38100" y="73247"/>
                  </a:lnTo>
                  <a:lnTo>
                    <a:pt x="48577" y="70390"/>
                  </a:lnTo>
                  <a:lnTo>
                    <a:pt x="52388" y="27527"/>
                  </a:lnTo>
                  <a:lnTo>
                    <a:pt x="5238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60" name="Freeform: Shape 3759">
              <a:extLst>
                <a:ext uri="{FF2B5EF4-FFF2-40B4-BE49-F238E27FC236}">
                  <a16:creationId xmlns:a16="http://schemas.microsoft.com/office/drawing/2014/main" id="{84F5B028-F455-BE9A-AB9D-D3817344A76B}"/>
                </a:ext>
              </a:extLst>
            </p:cNvPr>
            <p:cNvSpPr/>
            <p:nvPr/>
          </p:nvSpPr>
          <p:spPr>
            <a:xfrm>
              <a:off x="9619503" y="3569856"/>
              <a:ext cx="69096" cy="44725"/>
            </a:xfrm>
            <a:custGeom>
              <a:avLst/>
              <a:gdLst>
                <a:gd name="connsiteX0" fmla="*/ 53340 w 70485"/>
                <a:gd name="connsiteY0" fmla="*/ 27527 h 45624"/>
                <a:gd name="connsiteX1" fmla="*/ 42863 w 70485"/>
                <a:gd name="connsiteY1" fmla="*/ 24765 h 45624"/>
                <a:gd name="connsiteX2" fmla="*/ 31433 w 70485"/>
                <a:gd name="connsiteY2" fmla="*/ 31337 h 45624"/>
                <a:gd name="connsiteX3" fmla="*/ 24765 w 70485"/>
                <a:gd name="connsiteY3" fmla="*/ 45625 h 45624"/>
                <a:gd name="connsiteX4" fmla="*/ 10478 w 70485"/>
                <a:gd name="connsiteY4" fmla="*/ 41815 h 45624"/>
                <a:gd name="connsiteX5" fmla="*/ 10478 w 70485"/>
                <a:gd name="connsiteY5" fmla="*/ 31337 h 45624"/>
                <a:gd name="connsiteX6" fmla="*/ 0 w 70485"/>
                <a:gd name="connsiteY6" fmla="*/ 24765 h 45624"/>
                <a:gd name="connsiteX7" fmla="*/ 14288 w 70485"/>
                <a:gd name="connsiteY7" fmla="*/ 13240 h 45624"/>
                <a:gd name="connsiteX8" fmla="*/ 28575 w 70485"/>
                <a:gd name="connsiteY8" fmla="*/ 13240 h 45624"/>
                <a:gd name="connsiteX9" fmla="*/ 42863 w 70485"/>
                <a:gd name="connsiteY9" fmla="*/ 10477 h 45624"/>
                <a:gd name="connsiteX10" fmla="*/ 49530 w 70485"/>
                <a:gd name="connsiteY10" fmla="*/ 0 h 45624"/>
                <a:gd name="connsiteX11" fmla="*/ 63818 w 70485"/>
                <a:gd name="connsiteY11" fmla="*/ 0 h 45624"/>
                <a:gd name="connsiteX12" fmla="*/ 70485 w 70485"/>
                <a:gd name="connsiteY12" fmla="*/ 10477 h 45624"/>
                <a:gd name="connsiteX13" fmla="*/ 66675 w 70485"/>
                <a:gd name="connsiteY13" fmla="*/ 13240 h 45624"/>
                <a:gd name="connsiteX14" fmla="*/ 60008 w 70485"/>
                <a:gd name="connsiteY14" fmla="*/ 24765 h 45624"/>
                <a:gd name="connsiteX15" fmla="*/ 53340 w 70485"/>
                <a:gd name="connsiteY15" fmla="*/ 27527 h 4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0485" h="45624">
                  <a:moveTo>
                    <a:pt x="53340" y="27527"/>
                  </a:moveTo>
                  <a:lnTo>
                    <a:pt x="42863" y="24765"/>
                  </a:lnTo>
                  <a:lnTo>
                    <a:pt x="31433" y="31337"/>
                  </a:lnTo>
                  <a:lnTo>
                    <a:pt x="24765" y="45625"/>
                  </a:lnTo>
                  <a:lnTo>
                    <a:pt x="10478" y="41815"/>
                  </a:lnTo>
                  <a:lnTo>
                    <a:pt x="10478" y="31337"/>
                  </a:lnTo>
                  <a:lnTo>
                    <a:pt x="0" y="24765"/>
                  </a:lnTo>
                  <a:lnTo>
                    <a:pt x="14288" y="13240"/>
                  </a:lnTo>
                  <a:lnTo>
                    <a:pt x="28575" y="13240"/>
                  </a:lnTo>
                  <a:lnTo>
                    <a:pt x="42863" y="10477"/>
                  </a:lnTo>
                  <a:lnTo>
                    <a:pt x="49530" y="0"/>
                  </a:lnTo>
                  <a:lnTo>
                    <a:pt x="63818" y="0"/>
                  </a:lnTo>
                  <a:lnTo>
                    <a:pt x="70485" y="10477"/>
                  </a:lnTo>
                  <a:lnTo>
                    <a:pt x="66675" y="13240"/>
                  </a:lnTo>
                  <a:lnTo>
                    <a:pt x="60008" y="24765"/>
                  </a:lnTo>
                  <a:lnTo>
                    <a:pt x="53340" y="2752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61" name="Freeform: Shape 3760">
              <a:extLst>
                <a:ext uri="{FF2B5EF4-FFF2-40B4-BE49-F238E27FC236}">
                  <a16:creationId xmlns:a16="http://schemas.microsoft.com/office/drawing/2014/main" id="{755387F0-8F32-55BC-0484-038D031063A0}"/>
                </a:ext>
              </a:extLst>
            </p:cNvPr>
            <p:cNvSpPr/>
            <p:nvPr/>
          </p:nvSpPr>
          <p:spPr>
            <a:xfrm>
              <a:off x="9547607" y="3580126"/>
              <a:ext cx="65361" cy="85809"/>
            </a:xfrm>
            <a:custGeom>
              <a:avLst/>
              <a:gdLst>
                <a:gd name="connsiteX0" fmla="*/ 6667 w 66675"/>
                <a:gd name="connsiteY0" fmla="*/ 20860 h 87534"/>
                <a:gd name="connsiteX1" fmla="*/ 17145 w 66675"/>
                <a:gd name="connsiteY1" fmla="*/ 14288 h 87534"/>
                <a:gd name="connsiteX2" fmla="*/ 27622 w 66675"/>
                <a:gd name="connsiteY2" fmla="*/ 0 h 87534"/>
                <a:gd name="connsiteX3" fmla="*/ 41910 w 66675"/>
                <a:gd name="connsiteY3" fmla="*/ 0 h 87534"/>
                <a:gd name="connsiteX4" fmla="*/ 48577 w 66675"/>
                <a:gd name="connsiteY4" fmla="*/ 10478 h 87534"/>
                <a:gd name="connsiteX5" fmla="*/ 59055 w 66675"/>
                <a:gd name="connsiteY5" fmla="*/ 17050 h 87534"/>
                <a:gd name="connsiteX6" fmla="*/ 66675 w 66675"/>
                <a:gd name="connsiteY6" fmla="*/ 27623 h 87534"/>
                <a:gd name="connsiteX7" fmla="*/ 62865 w 66675"/>
                <a:gd name="connsiteY7" fmla="*/ 41910 h 87534"/>
                <a:gd name="connsiteX8" fmla="*/ 56197 w 66675"/>
                <a:gd name="connsiteY8" fmla="*/ 45625 h 87534"/>
                <a:gd name="connsiteX9" fmla="*/ 52388 w 66675"/>
                <a:gd name="connsiteY9" fmla="*/ 56198 h 87534"/>
                <a:gd name="connsiteX10" fmla="*/ 52388 w 66675"/>
                <a:gd name="connsiteY10" fmla="*/ 70485 h 87534"/>
                <a:gd name="connsiteX11" fmla="*/ 45720 w 66675"/>
                <a:gd name="connsiteY11" fmla="*/ 87535 h 87534"/>
                <a:gd name="connsiteX12" fmla="*/ 31432 w 66675"/>
                <a:gd name="connsiteY12" fmla="*/ 84773 h 87534"/>
                <a:gd name="connsiteX13" fmla="*/ 31432 w 66675"/>
                <a:gd name="connsiteY13" fmla="*/ 77153 h 87534"/>
                <a:gd name="connsiteX14" fmla="*/ 35242 w 66675"/>
                <a:gd name="connsiteY14" fmla="*/ 62865 h 87534"/>
                <a:gd name="connsiteX15" fmla="*/ 20955 w 66675"/>
                <a:gd name="connsiteY15" fmla="*/ 62865 h 87534"/>
                <a:gd name="connsiteX16" fmla="*/ 23813 w 66675"/>
                <a:gd name="connsiteY16" fmla="*/ 52388 h 87534"/>
                <a:gd name="connsiteX17" fmla="*/ 31432 w 66675"/>
                <a:gd name="connsiteY17" fmla="*/ 41910 h 87534"/>
                <a:gd name="connsiteX18" fmla="*/ 31432 w 66675"/>
                <a:gd name="connsiteY18" fmla="*/ 35147 h 87534"/>
                <a:gd name="connsiteX19" fmla="*/ 27622 w 66675"/>
                <a:gd name="connsiteY19" fmla="*/ 24765 h 87534"/>
                <a:gd name="connsiteX20" fmla="*/ 13335 w 66675"/>
                <a:gd name="connsiteY20" fmla="*/ 27623 h 87534"/>
                <a:gd name="connsiteX21" fmla="*/ 0 w 66675"/>
                <a:gd name="connsiteY21" fmla="*/ 31337 h 87534"/>
                <a:gd name="connsiteX22" fmla="*/ 6667 w 66675"/>
                <a:gd name="connsiteY22" fmla="*/ 20860 h 875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6675" h="87534">
                  <a:moveTo>
                    <a:pt x="6667" y="20860"/>
                  </a:moveTo>
                  <a:lnTo>
                    <a:pt x="17145" y="14288"/>
                  </a:lnTo>
                  <a:lnTo>
                    <a:pt x="27622" y="0"/>
                  </a:lnTo>
                  <a:lnTo>
                    <a:pt x="41910" y="0"/>
                  </a:lnTo>
                  <a:lnTo>
                    <a:pt x="48577" y="10478"/>
                  </a:lnTo>
                  <a:lnTo>
                    <a:pt x="59055" y="17050"/>
                  </a:lnTo>
                  <a:lnTo>
                    <a:pt x="66675" y="27623"/>
                  </a:lnTo>
                  <a:lnTo>
                    <a:pt x="62865" y="41910"/>
                  </a:lnTo>
                  <a:lnTo>
                    <a:pt x="56197" y="45625"/>
                  </a:lnTo>
                  <a:lnTo>
                    <a:pt x="52388" y="56198"/>
                  </a:lnTo>
                  <a:lnTo>
                    <a:pt x="52388" y="70485"/>
                  </a:lnTo>
                  <a:lnTo>
                    <a:pt x="45720" y="87535"/>
                  </a:lnTo>
                  <a:lnTo>
                    <a:pt x="31432" y="84773"/>
                  </a:lnTo>
                  <a:lnTo>
                    <a:pt x="31432" y="77153"/>
                  </a:lnTo>
                  <a:lnTo>
                    <a:pt x="35242" y="62865"/>
                  </a:lnTo>
                  <a:lnTo>
                    <a:pt x="20955" y="62865"/>
                  </a:lnTo>
                  <a:lnTo>
                    <a:pt x="23813" y="52388"/>
                  </a:lnTo>
                  <a:lnTo>
                    <a:pt x="31432" y="41910"/>
                  </a:lnTo>
                  <a:lnTo>
                    <a:pt x="31432" y="35147"/>
                  </a:lnTo>
                  <a:lnTo>
                    <a:pt x="27622" y="24765"/>
                  </a:lnTo>
                  <a:lnTo>
                    <a:pt x="13335" y="27623"/>
                  </a:lnTo>
                  <a:lnTo>
                    <a:pt x="0" y="31337"/>
                  </a:lnTo>
                  <a:lnTo>
                    <a:pt x="6667" y="2086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62" name="Freeform: Shape 3761">
              <a:extLst>
                <a:ext uri="{FF2B5EF4-FFF2-40B4-BE49-F238E27FC236}">
                  <a16:creationId xmlns:a16="http://schemas.microsoft.com/office/drawing/2014/main" id="{1D9868F5-9CCE-0D70-DAF7-EA2A0226D64C}"/>
                </a:ext>
              </a:extLst>
            </p:cNvPr>
            <p:cNvSpPr/>
            <p:nvPr/>
          </p:nvSpPr>
          <p:spPr>
            <a:xfrm>
              <a:off x="9588691" y="3338197"/>
              <a:ext cx="300659" cy="255936"/>
            </a:xfrm>
            <a:custGeom>
              <a:avLst/>
              <a:gdLst>
                <a:gd name="connsiteX0" fmla="*/ 0 w 306705"/>
                <a:gd name="connsiteY0" fmla="*/ 236315 h 261080"/>
                <a:gd name="connsiteX1" fmla="*/ 20955 w 306705"/>
                <a:gd name="connsiteY1" fmla="*/ 224790 h 261080"/>
                <a:gd name="connsiteX2" fmla="*/ 45720 w 306705"/>
                <a:gd name="connsiteY2" fmla="*/ 207740 h 261080"/>
                <a:gd name="connsiteX3" fmla="*/ 56198 w 306705"/>
                <a:gd name="connsiteY3" fmla="*/ 197167 h 261080"/>
                <a:gd name="connsiteX4" fmla="*/ 77153 w 306705"/>
                <a:gd name="connsiteY4" fmla="*/ 193453 h 261080"/>
                <a:gd name="connsiteX5" fmla="*/ 105728 w 306705"/>
                <a:gd name="connsiteY5" fmla="*/ 193453 h 261080"/>
                <a:gd name="connsiteX6" fmla="*/ 133350 w 306705"/>
                <a:gd name="connsiteY6" fmla="*/ 193453 h 261080"/>
                <a:gd name="connsiteX7" fmla="*/ 140970 w 306705"/>
                <a:gd name="connsiteY7" fmla="*/ 176213 h 261080"/>
                <a:gd name="connsiteX8" fmla="*/ 155257 w 306705"/>
                <a:gd name="connsiteY8" fmla="*/ 158210 h 261080"/>
                <a:gd name="connsiteX9" fmla="*/ 161925 w 306705"/>
                <a:gd name="connsiteY9" fmla="*/ 143923 h 261080"/>
                <a:gd name="connsiteX10" fmla="*/ 172403 w 306705"/>
                <a:gd name="connsiteY10" fmla="*/ 130492 h 261080"/>
                <a:gd name="connsiteX11" fmla="*/ 176213 w 306705"/>
                <a:gd name="connsiteY11" fmla="*/ 141065 h 261080"/>
                <a:gd name="connsiteX12" fmla="*/ 176213 w 306705"/>
                <a:gd name="connsiteY12" fmla="*/ 151543 h 261080"/>
                <a:gd name="connsiteX13" fmla="*/ 193357 w 306705"/>
                <a:gd name="connsiteY13" fmla="*/ 143923 h 261080"/>
                <a:gd name="connsiteX14" fmla="*/ 221932 w 306705"/>
                <a:gd name="connsiteY14" fmla="*/ 126778 h 261080"/>
                <a:gd name="connsiteX15" fmla="*/ 246698 w 306705"/>
                <a:gd name="connsiteY15" fmla="*/ 91535 h 261080"/>
                <a:gd name="connsiteX16" fmla="*/ 257175 w 306705"/>
                <a:gd name="connsiteY16" fmla="*/ 62960 h 261080"/>
                <a:gd name="connsiteX17" fmla="*/ 253365 w 306705"/>
                <a:gd name="connsiteY17" fmla="*/ 52388 h 261080"/>
                <a:gd name="connsiteX18" fmla="*/ 249555 w 306705"/>
                <a:gd name="connsiteY18" fmla="*/ 31528 h 261080"/>
                <a:gd name="connsiteX19" fmla="*/ 257175 w 306705"/>
                <a:gd name="connsiteY19" fmla="*/ 17240 h 261080"/>
                <a:gd name="connsiteX20" fmla="*/ 263843 w 306705"/>
                <a:gd name="connsiteY20" fmla="*/ 13430 h 261080"/>
                <a:gd name="connsiteX21" fmla="*/ 281940 w 306705"/>
                <a:gd name="connsiteY21" fmla="*/ 20955 h 261080"/>
                <a:gd name="connsiteX22" fmla="*/ 284798 w 306705"/>
                <a:gd name="connsiteY22" fmla="*/ 10573 h 261080"/>
                <a:gd name="connsiteX23" fmla="*/ 278130 w 306705"/>
                <a:gd name="connsiteY23" fmla="*/ 2953 h 261080"/>
                <a:gd name="connsiteX24" fmla="*/ 288607 w 306705"/>
                <a:gd name="connsiteY24" fmla="*/ 0 h 261080"/>
                <a:gd name="connsiteX25" fmla="*/ 292418 w 306705"/>
                <a:gd name="connsiteY25" fmla="*/ 17240 h 261080"/>
                <a:gd name="connsiteX26" fmla="*/ 292418 w 306705"/>
                <a:gd name="connsiteY26" fmla="*/ 31528 h 261080"/>
                <a:gd name="connsiteX27" fmla="*/ 302895 w 306705"/>
                <a:gd name="connsiteY27" fmla="*/ 48673 h 261080"/>
                <a:gd name="connsiteX28" fmla="*/ 306705 w 306705"/>
                <a:gd name="connsiteY28" fmla="*/ 62960 h 261080"/>
                <a:gd name="connsiteX29" fmla="*/ 295275 w 306705"/>
                <a:gd name="connsiteY29" fmla="*/ 83915 h 261080"/>
                <a:gd name="connsiteX30" fmla="*/ 281940 w 306705"/>
                <a:gd name="connsiteY30" fmla="*/ 101917 h 261080"/>
                <a:gd name="connsiteX31" fmla="*/ 278130 w 306705"/>
                <a:gd name="connsiteY31" fmla="*/ 116205 h 261080"/>
                <a:gd name="connsiteX32" fmla="*/ 278130 w 306705"/>
                <a:gd name="connsiteY32" fmla="*/ 141065 h 261080"/>
                <a:gd name="connsiteX33" fmla="*/ 271463 w 306705"/>
                <a:gd name="connsiteY33" fmla="*/ 151543 h 261080"/>
                <a:gd name="connsiteX34" fmla="*/ 267653 w 306705"/>
                <a:gd name="connsiteY34" fmla="*/ 168592 h 261080"/>
                <a:gd name="connsiteX35" fmla="*/ 267653 w 306705"/>
                <a:gd name="connsiteY35" fmla="*/ 172498 h 261080"/>
                <a:gd name="connsiteX36" fmla="*/ 267653 w 306705"/>
                <a:gd name="connsiteY36" fmla="*/ 179165 h 261080"/>
                <a:gd name="connsiteX37" fmla="*/ 267653 w 306705"/>
                <a:gd name="connsiteY37" fmla="*/ 189643 h 261080"/>
                <a:gd name="connsiteX38" fmla="*/ 267653 w 306705"/>
                <a:gd name="connsiteY38" fmla="*/ 193453 h 261080"/>
                <a:gd name="connsiteX39" fmla="*/ 260985 w 306705"/>
                <a:gd name="connsiteY39" fmla="*/ 207740 h 261080"/>
                <a:gd name="connsiteX40" fmla="*/ 249555 w 306705"/>
                <a:gd name="connsiteY40" fmla="*/ 214313 h 261080"/>
                <a:gd name="connsiteX41" fmla="*/ 242888 w 306705"/>
                <a:gd name="connsiteY41" fmla="*/ 203930 h 261080"/>
                <a:gd name="connsiteX42" fmla="*/ 232410 w 306705"/>
                <a:gd name="connsiteY42" fmla="*/ 201073 h 261080"/>
                <a:gd name="connsiteX43" fmla="*/ 221932 w 306705"/>
                <a:gd name="connsiteY43" fmla="*/ 203930 h 261080"/>
                <a:gd name="connsiteX44" fmla="*/ 225743 w 306705"/>
                <a:gd name="connsiteY44" fmla="*/ 218218 h 261080"/>
                <a:gd name="connsiteX45" fmla="*/ 221932 w 306705"/>
                <a:gd name="connsiteY45" fmla="*/ 224790 h 261080"/>
                <a:gd name="connsiteX46" fmla="*/ 207645 w 306705"/>
                <a:gd name="connsiteY46" fmla="*/ 214313 h 261080"/>
                <a:gd name="connsiteX47" fmla="*/ 203835 w 306705"/>
                <a:gd name="connsiteY47" fmla="*/ 222028 h 261080"/>
                <a:gd name="connsiteX48" fmla="*/ 193357 w 306705"/>
                <a:gd name="connsiteY48" fmla="*/ 222028 h 261080"/>
                <a:gd name="connsiteX49" fmla="*/ 179070 w 306705"/>
                <a:gd name="connsiteY49" fmla="*/ 222028 h 261080"/>
                <a:gd name="connsiteX50" fmla="*/ 161925 w 306705"/>
                <a:gd name="connsiteY50" fmla="*/ 222028 h 261080"/>
                <a:gd name="connsiteX51" fmla="*/ 158115 w 306705"/>
                <a:gd name="connsiteY51" fmla="*/ 214313 h 261080"/>
                <a:gd name="connsiteX52" fmla="*/ 155257 w 306705"/>
                <a:gd name="connsiteY52" fmla="*/ 222028 h 261080"/>
                <a:gd name="connsiteX53" fmla="*/ 161925 w 306705"/>
                <a:gd name="connsiteY53" fmla="*/ 232505 h 261080"/>
                <a:gd name="connsiteX54" fmla="*/ 147638 w 306705"/>
                <a:gd name="connsiteY54" fmla="*/ 239077 h 261080"/>
                <a:gd name="connsiteX55" fmla="*/ 140970 w 306705"/>
                <a:gd name="connsiteY55" fmla="*/ 253365 h 261080"/>
                <a:gd name="connsiteX56" fmla="*/ 130493 w 306705"/>
                <a:gd name="connsiteY56" fmla="*/ 261080 h 261080"/>
                <a:gd name="connsiteX57" fmla="*/ 120015 w 306705"/>
                <a:gd name="connsiteY57" fmla="*/ 246793 h 261080"/>
                <a:gd name="connsiteX58" fmla="*/ 109538 w 306705"/>
                <a:gd name="connsiteY58" fmla="*/ 239077 h 261080"/>
                <a:gd name="connsiteX59" fmla="*/ 122873 w 306705"/>
                <a:gd name="connsiteY59" fmla="*/ 228695 h 261080"/>
                <a:gd name="connsiteX60" fmla="*/ 126682 w 306705"/>
                <a:gd name="connsiteY60" fmla="*/ 218218 h 261080"/>
                <a:gd name="connsiteX61" fmla="*/ 98107 w 306705"/>
                <a:gd name="connsiteY61" fmla="*/ 218218 h 261080"/>
                <a:gd name="connsiteX62" fmla="*/ 87630 w 306705"/>
                <a:gd name="connsiteY62" fmla="*/ 224790 h 261080"/>
                <a:gd name="connsiteX63" fmla="*/ 66675 w 306705"/>
                <a:gd name="connsiteY63" fmla="*/ 228695 h 261080"/>
                <a:gd name="connsiteX64" fmla="*/ 49530 w 306705"/>
                <a:gd name="connsiteY64" fmla="*/ 236315 h 261080"/>
                <a:gd name="connsiteX65" fmla="*/ 31432 w 306705"/>
                <a:gd name="connsiteY65" fmla="*/ 236315 h 261080"/>
                <a:gd name="connsiteX66" fmla="*/ 17145 w 306705"/>
                <a:gd name="connsiteY66" fmla="*/ 246793 h 261080"/>
                <a:gd name="connsiteX67" fmla="*/ 3810 w 306705"/>
                <a:gd name="connsiteY67" fmla="*/ 242983 h 261080"/>
                <a:gd name="connsiteX68" fmla="*/ 0 w 306705"/>
                <a:gd name="connsiteY68" fmla="*/ 236315 h 261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306705" h="261080">
                  <a:moveTo>
                    <a:pt x="0" y="236315"/>
                  </a:moveTo>
                  <a:lnTo>
                    <a:pt x="20955" y="224790"/>
                  </a:lnTo>
                  <a:lnTo>
                    <a:pt x="45720" y="207740"/>
                  </a:lnTo>
                  <a:lnTo>
                    <a:pt x="56198" y="197167"/>
                  </a:lnTo>
                  <a:lnTo>
                    <a:pt x="77153" y="193453"/>
                  </a:lnTo>
                  <a:lnTo>
                    <a:pt x="105728" y="193453"/>
                  </a:lnTo>
                  <a:lnTo>
                    <a:pt x="133350" y="193453"/>
                  </a:lnTo>
                  <a:lnTo>
                    <a:pt x="140970" y="176213"/>
                  </a:lnTo>
                  <a:lnTo>
                    <a:pt x="155257" y="158210"/>
                  </a:lnTo>
                  <a:lnTo>
                    <a:pt x="161925" y="143923"/>
                  </a:lnTo>
                  <a:lnTo>
                    <a:pt x="172403" y="130492"/>
                  </a:lnTo>
                  <a:lnTo>
                    <a:pt x="176213" y="141065"/>
                  </a:lnTo>
                  <a:lnTo>
                    <a:pt x="176213" y="151543"/>
                  </a:lnTo>
                  <a:lnTo>
                    <a:pt x="193357" y="143923"/>
                  </a:lnTo>
                  <a:lnTo>
                    <a:pt x="221932" y="126778"/>
                  </a:lnTo>
                  <a:lnTo>
                    <a:pt x="246698" y="91535"/>
                  </a:lnTo>
                  <a:lnTo>
                    <a:pt x="257175" y="62960"/>
                  </a:lnTo>
                  <a:lnTo>
                    <a:pt x="253365" y="52388"/>
                  </a:lnTo>
                  <a:lnTo>
                    <a:pt x="249555" y="31528"/>
                  </a:lnTo>
                  <a:lnTo>
                    <a:pt x="257175" y="17240"/>
                  </a:lnTo>
                  <a:lnTo>
                    <a:pt x="263843" y="13430"/>
                  </a:lnTo>
                  <a:lnTo>
                    <a:pt x="281940" y="20955"/>
                  </a:lnTo>
                  <a:lnTo>
                    <a:pt x="284798" y="10573"/>
                  </a:lnTo>
                  <a:lnTo>
                    <a:pt x="278130" y="2953"/>
                  </a:lnTo>
                  <a:lnTo>
                    <a:pt x="288607" y="0"/>
                  </a:lnTo>
                  <a:lnTo>
                    <a:pt x="292418" y="17240"/>
                  </a:lnTo>
                  <a:lnTo>
                    <a:pt x="292418" y="31528"/>
                  </a:lnTo>
                  <a:lnTo>
                    <a:pt x="302895" y="48673"/>
                  </a:lnTo>
                  <a:lnTo>
                    <a:pt x="306705" y="62960"/>
                  </a:lnTo>
                  <a:lnTo>
                    <a:pt x="295275" y="83915"/>
                  </a:lnTo>
                  <a:lnTo>
                    <a:pt x="281940" y="101917"/>
                  </a:lnTo>
                  <a:lnTo>
                    <a:pt x="278130" y="116205"/>
                  </a:lnTo>
                  <a:lnTo>
                    <a:pt x="278130" y="141065"/>
                  </a:lnTo>
                  <a:lnTo>
                    <a:pt x="271463" y="151543"/>
                  </a:lnTo>
                  <a:lnTo>
                    <a:pt x="267653" y="168592"/>
                  </a:lnTo>
                  <a:lnTo>
                    <a:pt x="267653" y="172498"/>
                  </a:lnTo>
                  <a:lnTo>
                    <a:pt x="267653" y="179165"/>
                  </a:lnTo>
                  <a:lnTo>
                    <a:pt x="267653" y="189643"/>
                  </a:lnTo>
                  <a:lnTo>
                    <a:pt x="267653" y="193453"/>
                  </a:lnTo>
                  <a:lnTo>
                    <a:pt x="260985" y="207740"/>
                  </a:lnTo>
                  <a:lnTo>
                    <a:pt x="249555" y="214313"/>
                  </a:lnTo>
                  <a:lnTo>
                    <a:pt x="242888" y="203930"/>
                  </a:lnTo>
                  <a:lnTo>
                    <a:pt x="232410" y="201073"/>
                  </a:lnTo>
                  <a:lnTo>
                    <a:pt x="221932" y="203930"/>
                  </a:lnTo>
                  <a:lnTo>
                    <a:pt x="225743" y="218218"/>
                  </a:lnTo>
                  <a:lnTo>
                    <a:pt x="221932" y="224790"/>
                  </a:lnTo>
                  <a:lnTo>
                    <a:pt x="207645" y="214313"/>
                  </a:lnTo>
                  <a:lnTo>
                    <a:pt x="203835" y="222028"/>
                  </a:lnTo>
                  <a:lnTo>
                    <a:pt x="193357" y="222028"/>
                  </a:lnTo>
                  <a:lnTo>
                    <a:pt x="179070" y="222028"/>
                  </a:lnTo>
                  <a:lnTo>
                    <a:pt x="161925" y="222028"/>
                  </a:lnTo>
                  <a:lnTo>
                    <a:pt x="158115" y="214313"/>
                  </a:lnTo>
                  <a:lnTo>
                    <a:pt x="155257" y="222028"/>
                  </a:lnTo>
                  <a:lnTo>
                    <a:pt x="161925" y="232505"/>
                  </a:lnTo>
                  <a:lnTo>
                    <a:pt x="147638" y="239077"/>
                  </a:lnTo>
                  <a:lnTo>
                    <a:pt x="140970" y="253365"/>
                  </a:lnTo>
                  <a:lnTo>
                    <a:pt x="130493" y="261080"/>
                  </a:lnTo>
                  <a:lnTo>
                    <a:pt x="120015" y="246793"/>
                  </a:lnTo>
                  <a:lnTo>
                    <a:pt x="109538" y="239077"/>
                  </a:lnTo>
                  <a:lnTo>
                    <a:pt x="122873" y="228695"/>
                  </a:lnTo>
                  <a:lnTo>
                    <a:pt x="126682" y="218218"/>
                  </a:lnTo>
                  <a:lnTo>
                    <a:pt x="98107" y="218218"/>
                  </a:lnTo>
                  <a:lnTo>
                    <a:pt x="87630" y="224790"/>
                  </a:lnTo>
                  <a:lnTo>
                    <a:pt x="66675" y="228695"/>
                  </a:lnTo>
                  <a:lnTo>
                    <a:pt x="49530" y="236315"/>
                  </a:lnTo>
                  <a:lnTo>
                    <a:pt x="31432" y="236315"/>
                  </a:lnTo>
                  <a:lnTo>
                    <a:pt x="17145" y="246793"/>
                  </a:lnTo>
                  <a:lnTo>
                    <a:pt x="3810" y="242983"/>
                  </a:lnTo>
                  <a:lnTo>
                    <a:pt x="0" y="236315"/>
                  </a:lnTo>
                  <a:close/>
                </a:path>
              </a:pathLst>
            </a:custGeom>
            <a:solidFill>
              <a:srgbClr val="CEE4BF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63" name="Freeform: Shape 3762">
              <a:extLst>
                <a:ext uri="{FF2B5EF4-FFF2-40B4-BE49-F238E27FC236}">
                  <a16:creationId xmlns:a16="http://schemas.microsoft.com/office/drawing/2014/main" id="{B582458D-83A3-19F2-23B4-162E3402F8E5}"/>
                </a:ext>
              </a:extLst>
            </p:cNvPr>
            <p:cNvSpPr/>
            <p:nvPr/>
          </p:nvSpPr>
          <p:spPr>
            <a:xfrm>
              <a:off x="9460770" y="3438106"/>
              <a:ext cx="86836" cy="124279"/>
            </a:xfrm>
            <a:custGeom>
              <a:avLst/>
              <a:gdLst>
                <a:gd name="connsiteX0" fmla="*/ 3810 w 88582"/>
                <a:gd name="connsiteY0" fmla="*/ 56293 h 126777"/>
                <a:gd name="connsiteX1" fmla="*/ 3810 w 88582"/>
                <a:gd name="connsiteY1" fmla="*/ 49625 h 126777"/>
                <a:gd name="connsiteX2" fmla="*/ 14288 w 88582"/>
                <a:gd name="connsiteY2" fmla="*/ 52388 h 126777"/>
                <a:gd name="connsiteX3" fmla="*/ 20955 w 88582"/>
                <a:gd name="connsiteY3" fmla="*/ 49625 h 126777"/>
                <a:gd name="connsiteX4" fmla="*/ 18098 w 88582"/>
                <a:gd name="connsiteY4" fmla="*/ 39148 h 126777"/>
                <a:gd name="connsiteX5" fmla="*/ 10478 w 88582"/>
                <a:gd name="connsiteY5" fmla="*/ 35338 h 126777"/>
                <a:gd name="connsiteX6" fmla="*/ 18098 w 88582"/>
                <a:gd name="connsiteY6" fmla="*/ 10573 h 126777"/>
                <a:gd name="connsiteX7" fmla="*/ 35243 w 88582"/>
                <a:gd name="connsiteY7" fmla="*/ 3905 h 126777"/>
                <a:gd name="connsiteX8" fmla="*/ 53340 w 88582"/>
                <a:gd name="connsiteY8" fmla="*/ 0 h 126777"/>
                <a:gd name="connsiteX9" fmla="*/ 66675 w 88582"/>
                <a:gd name="connsiteY9" fmla="*/ 14288 h 126777"/>
                <a:gd name="connsiteX10" fmla="*/ 77153 w 88582"/>
                <a:gd name="connsiteY10" fmla="*/ 31433 h 126777"/>
                <a:gd name="connsiteX11" fmla="*/ 84773 w 88582"/>
                <a:gd name="connsiteY11" fmla="*/ 52388 h 126777"/>
                <a:gd name="connsiteX12" fmla="*/ 88583 w 88582"/>
                <a:gd name="connsiteY12" fmla="*/ 70580 h 126777"/>
                <a:gd name="connsiteX13" fmla="*/ 84773 w 88582"/>
                <a:gd name="connsiteY13" fmla="*/ 95250 h 126777"/>
                <a:gd name="connsiteX14" fmla="*/ 88583 w 88582"/>
                <a:gd name="connsiteY14" fmla="*/ 95250 h 126777"/>
                <a:gd name="connsiteX15" fmla="*/ 88583 w 88582"/>
                <a:gd name="connsiteY15" fmla="*/ 99155 h 126777"/>
                <a:gd name="connsiteX16" fmla="*/ 80963 w 88582"/>
                <a:gd name="connsiteY16" fmla="*/ 102013 h 126777"/>
                <a:gd name="connsiteX17" fmla="*/ 66675 w 88582"/>
                <a:gd name="connsiteY17" fmla="*/ 109538 h 126777"/>
                <a:gd name="connsiteX18" fmla="*/ 60008 w 88582"/>
                <a:gd name="connsiteY18" fmla="*/ 112395 h 126777"/>
                <a:gd name="connsiteX19" fmla="*/ 49530 w 88582"/>
                <a:gd name="connsiteY19" fmla="*/ 105823 h 126777"/>
                <a:gd name="connsiteX20" fmla="*/ 41910 w 88582"/>
                <a:gd name="connsiteY20" fmla="*/ 112395 h 126777"/>
                <a:gd name="connsiteX21" fmla="*/ 28575 w 88582"/>
                <a:gd name="connsiteY21" fmla="*/ 122872 h 126777"/>
                <a:gd name="connsiteX22" fmla="*/ 20955 w 88582"/>
                <a:gd name="connsiteY22" fmla="*/ 120110 h 126777"/>
                <a:gd name="connsiteX23" fmla="*/ 3810 w 88582"/>
                <a:gd name="connsiteY23" fmla="*/ 126778 h 126777"/>
                <a:gd name="connsiteX24" fmla="*/ 0 w 88582"/>
                <a:gd name="connsiteY24" fmla="*/ 116300 h 126777"/>
                <a:gd name="connsiteX25" fmla="*/ 3810 w 88582"/>
                <a:gd name="connsiteY25" fmla="*/ 102013 h 126777"/>
                <a:gd name="connsiteX26" fmla="*/ 3810 w 88582"/>
                <a:gd name="connsiteY26" fmla="*/ 84868 h 126777"/>
                <a:gd name="connsiteX27" fmla="*/ 10478 w 88582"/>
                <a:gd name="connsiteY27" fmla="*/ 80963 h 126777"/>
                <a:gd name="connsiteX28" fmla="*/ 10478 w 88582"/>
                <a:gd name="connsiteY28" fmla="*/ 66675 h 126777"/>
                <a:gd name="connsiteX29" fmla="*/ 3810 w 88582"/>
                <a:gd name="connsiteY29" fmla="*/ 56293 h 126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8582" h="126777">
                  <a:moveTo>
                    <a:pt x="3810" y="56293"/>
                  </a:moveTo>
                  <a:lnTo>
                    <a:pt x="3810" y="49625"/>
                  </a:lnTo>
                  <a:lnTo>
                    <a:pt x="14288" y="52388"/>
                  </a:lnTo>
                  <a:lnTo>
                    <a:pt x="20955" y="49625"/>
                  </a:lnTo>
                  <a:lnTo>
                    <a:pt x="18098" y="39148"/>
                  </a:lnTo>
                  <a:lnTo>
                    <a:pt x="10478" y="35338"/>
                  </a:lnTo>
                  <a:lnTo>
                    <a:pt x="18098" y="10573"/>
                  </a:lnTo>
                  <a:lnTo>
                    <a:pt x="35243" y="3905"/>
                  </a:lnTo>
                  <a:lnTo>
                    <a:pt x="53340" y="0"/>
                  </a:lnTo>
                  <a:lnTo>
                    <a:pt x="66675" y="14288"/>
                  </a:lnTo>
                  <a:lnTo>
                    <a:pt x="77153" y="31433"/>
                  </a:lnTo>
                  <a:lnTo>
                    <a:pt x="84773" y="52388"/>
                  </a:lnTo>
                  <a:lnTo>
                    <a:pt x="88583" y="70580"/>
                  </a:lnTo>
                  <a:lnTo>
                    <a:pt x="84773" y="95250"/>
                  </a:lnTo>
                  <a:lnTo>
                    <a:pt x="88583" y="95250"/>
                  </a:lnTo>
                  <a:lnTo>
                    <a:pt x="88583" y="99155"/>
                  </a:lnTo>
                  <a:lnTo>
                    <a:pt x="80963" y="102013"/>
                  </a:lnTo>
                  <a:lnTo>
                    <a:pt x="66675" y="109538"/>
                  </a:lnTo>
                  <a:lnTo>
                    <a:pt x="60008" y="112395"/>
                  </a:lnTo>
                  <a:lnTo>
                    <a:pt x="49530" y="105823"/>
                  </a:lnTo>
                  <a:lnTo>
                    <a:pt x="41910" y="112395"/>
                  </a:lnTo>
                  <a:lnTo>
                    <a:pt x="28575" y="122872"/>
                  </a:lnTo>
                  <a:lnTo>
                    <a:pt x="20955" y="120110"/>
                  </a:lnTo>
                  <a:lnTo>
                    <a:pt x="3810" y="126778"/>
                  </a:lnTo>
                  <a:lnTo>
                    <a:pt x="0" y="116300"/>
                  </a:lnTo>
                  <a:lnTo>
                    <a:pt x="3810" y="102013"/>
                  </a:lnTo>
                  <a:lnTo>
                    <a:pt x="3810" y="84868"/>
                  </a:lnTo>
                  <a:lnTo>
                    <a:pt x="10478" y="80963"/>
                  </a:lnTo>
                  <a:lnTo>
                    <a:pt x="10478" y="66675"/>
                  </a:lnTo>
                  <a:lnTo>
                    <a:pt x="3810" y="56293"/>
                  </a:lnTo>
                  <a:close/>
                </a:path>
              </a:pathLst>
            </a:custGeom>
            <a:solidFill>
              <a:srgbClr val="CEE4BF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64" name="Freeform: Shape 3763">
              <a:extLst>
                <a:ext uri="{FF2B5EF4-FFF2-40B4-BE49-F238E27FC236}">
                  <a16:creationId xmlns:a16="http://schemas.microsoft.com/office/drawing/2014/main" id="{4E78C8D8-DE2C-573D-DB6E-2611168DA6D0}"/>
                </a:ext>
              </a:extLst>
            </p:cNvPr>
            <p:cNvSpPr/>
            <p:nvPr/>
          </p:nvSpPr>
          <p:spPr>
            <a:xfrm>
              <a:off x="9409416" y="3292537"/>
              <a:ext cx="169004" cy="166203"/>
            </a:xfrm>
            <a:custGeom>
              <a:avLst/>
              <a:gdLst>
                <a:gd name="connsiteX0" fmla="*/ 41910 w 172402"/>
                <a:gd name="connsiteY0" fmla="*/ 162782 h 169544"/>
                <a:gd name="connsiteX1" fmla="*/ 20955 w 172402"/>
                <a:gd name="connsiteY1" fmla="*/ 165640 h 169544"/>
                <a:gd name="connsiteX2" fmla="*/ 13335 w 172402"/>
                <a:gd name="connsiteY2" fmla="*/ 155257 h 169544"/>
                <a:gd name="connsiteX3" fmla="*/ 20955 w 172402"/>
                <a:gd name="connsiteY3" fmla="*/ 140970 h 169544"/>
                <a:gd name="connsiteX4" fmla="*/ 20955 w 172402"/>
                <a:gd name="connsiteY4" fmla="*/ 123825 h 169544"/>
                <a:gd name="connsiteX5" fmla="*/ 27623 w 172402"/>
                <a:gd name="connsiteY5" fmla="*/ 105632 h 169544"/>
                <a:gd name="connsiteX6" fmla="*/ 10478 w 172402"/>
                <a:gd name="connsiteY6" fmla="*/ 105632 h 169544"/>
                <a:gd name="connsiteX7" fmla="*/ 0 w 172402"/>
                <a:gd name="connsiteY7" fmla="*/ 98965 h 169544"/>
                <a:gd name="connsiteX8" fmla="*/ 10478 w 172402"/>
                <a:gd name="connsiteY8" fmla="*/ 84677 h 169544"/>
                <a:gd name="connsiteX9" fmla="*/ 38100 w 172402"/>
                <a:gd name="connsiteY9" fmla="*/ 67532 h 169544"/>
                <a:gd name="connsiteX10" fmla="*/ 48578 w 172402"/>
                <a:gd name="connsiteY10" fmla="*/ 57150 h 169544"/>
                <a:gd name="connsiteX11" fmla="*/ 62865 w 172402"/>
                <a:gd name="connsiteY11" fmla="*/ 42863 h 169544"/>
                <a:gd name="connsiteX12" fmla="*/ 70485 w 172402"/>
                <a:gd name="connsiteY12" fmla="*/ 38957 h 169544"/>
                <a:gd name="connsiteX13" fmla="*/ 87630 w 172402"/>
                <a:gd name="connsiteY13" fmla="*/ 46577 h 169544"/>
                <a:gd name="connsiteX14" fmla="*/ 105728 w 172402"/>
                <a:gd name="connsiteY14" fmla="*/ 42863 h 169544"/>
                <a:gd name="connsiteX15" fmla="*/ 108585 w 172402"/>
                <a:gd name="connsiteY15" fmla="*/ 28575 h 169544"/>
                <a:gd name="connsiteX16" fmla="*/ 126683 w 172402"/>
                <a:gd name="connsiteY16" fmla="*/ 28575 h 169544"/>
                <a:gd name="connsiteX17" fmla="*/ 140970 w 172402"/>
                <a:gd name="connsiteY17" fmla="*/ 18002 h 169544"/>
                <a:gd name="connsiteX18" fmla="*/ 143828 w 172402"/>
                <a:gd name="connsiteY18" fmla="*/ 7620 h 169544"/>
                <a:gd name="connsiteX19" fmla="*/ 154305 w 172402"/>
                <a:gd name="connsiteY19" fmla="*/ 0 h 169544"/>
                <a:gd name="connsiteX20" fmla="*/ 172403 w 172402"/>
                <a:gd name="connsiteY20" fmla="*/ 14288 h 169544"/>
                <a:gd name="connsiteX21" fmla="*/ 161925 w 172402"/>
                <a:gd name="connsiteY21" fmla="*/ 21907 h 169544"/>
                <a:gd name="connsiteX22" fmla="*/ 147638 w 172402"/>
                <a:gd name="connsiteY22" fmla="*/ 32290 h 169544"/>
                <a:gd name="connsiteX23" fmla="*/ 140970 w 172402"/>
                <a:gd name="connsiteY23" fmla="*/ 49530 h 169544"/>
                <a:gd name="connsiteX24" fmla="*/ 137160 w 172402"/>
                <a:gd name="connsiteY24" fmla="*/ 67532 h 169544"/>
                <a:gd name="connsiteX25" fmla="*/ 133350 w 172402"/>
                <a:gd name="connsiteY25" fmla="*/ 74295 h 169544"/>
                <a:gd name="connsiteX26" fmla="*/ 119063 w 172402"/>
                <a:gd name="connsiteY26" fmla="*/ 81820 h 169544"/>
                <a:gd name="connsiteX27" fmla="*/ 91440 w 172402"/>
                <a:gd name="connsiteY27" fmla="*/ 92392 h 169544"/>
                <a:gd name="connsiteX28" fmla="*/ 83820 w 172402"/>
                <a:gd name="connsiteY28" fmla="*/ 102870 h 169544"/>
                <a:gd name="connsiteX29" fmla="*/ 83820 w 172402"/>
                <a:gd name="connsiteY29" fmla="*/ 117157 h 169544"/>
                <a:gd name="connsiteX30" fmla="*/ 91440 w 172402"/>
                <a:gd name="connsiteY30" fmla="*/ 134207 h 169544"/>
                <a:gd name="connsiteX31" fmla="*/ 98108 w 172402"/>
                <a:gd name="connsiteY31" fmla="*/ 140970 h 169544"/>
                <a:gd name="connsiteX32" fmla="*/ 105728 w 172402"/>
                <a:gd name="connsiteY32" fmla="*/ 148495 h 169544"/>
                <a:gd name="connsiteX33" fmla="*/ 87630 w 172402"/>
                <a:gd name="connsiteY33" fmla="*/ 152400 h 169544"/>
                <a:gd name="connsiteX34" fmla="*/ 70485 w 172402"/>
                <a:gd name="connsiteY34" fmla="*/ 159067 h 169544"/>
                <a:gd name="connsiteX35" fmla="*/ 62865 w 172402"/>
                <a:gd name="connsiteY35" fmla="*/ 169545 h 169544"/>
                <a:gd name="connsiteX36" fmla="*/ 41910 w 172402"/>
                <a:gd name="connsiteY36" fmla="*/ 162782 h 169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72402" h="169544">
                  <a:moveTo>
                    <a:pt x="41910" y="162782"/>
                  </a:moveTo>
                  <a:lnTo>
                    <a:pt x="20955" y="165640"/>
                  </a:lnTo>
                  <a:lnTo>
                    <a:pt x="13335" y="155257"/>
                  </a:lnTo>
                  <a:lnTo>
                    <a:pt x="20955" y="140970"/>
                  </a:lnTo>
                  <a:lnTo>
                    <a:pt x="20955" y="123825"/>
                  </a:lnTo>
                  <a:lnTo>
                    <a:pt x="27623" y="105632"/>
                  </a:lnTo>
                  <a:lnTo>
                    <a:pt x="10478" y="105632"/>
                  </a:lnTo>
                  <a:lnTo>
                    <a:pt x="0" y="98965"/>
                  </a:lnTo>
                  <a:lnTo>
                    <a:pt x="10478" y="84677"/>
                  </a:lnTo>
                  <a:lnTo>
                    <a:pt x="38100" y="67532"/>
                  </a:lnTo>
                  <a:lnTo>
                    <a:pt x="48578" y="57150"/>
                  </a:lnTo>
                  <a:lnTo>
                    <a:pt x="62865" y="42863"/>
                  </a:lnTo>
                  <a:lnTo>
                    <a:pt x="70485" y="38957"/>
                  </a:lnTo>
                  <a:lnTo>
                    <a:pt x="87630" y="46577"/>
                  </a:lnTo>
                  <a:lnTo>
                    <a:pt x="105728" y="42863"/>
                  </a:lnTo>
                  <a:lnTo>
                    <a:pt x="108585" y="28575"/>
                  </a:lnTo>
                  <a:lnTo>
                    <a:pt x="126683" y="28575"/>
                  </a:lnTo>
                  <a:lnTo>
                    <a:pt x="140970" y="18002"/>
                  </a:lnTo>
                  <a:lnTo>
                    <a:pt x="143828" y="7620"/>
                  </a:lnTo>
                  <a:lnTo>
                    <a:pt x="154305" y="0"/>
                  </a:lnTo>
                  <a:lnTo>
                    <a:pt x="172403" y="14288"/>
                  </a:lnTo>
                  <a:lnTo>
                    <a:pt x="161925" y="21907"/>
                  </a:lnTo>
                  <a:lnTo>
                    <a:pt x="147638" y="32290"/>
                  </a:lnTo>
                  <a:lnTo>
                    <a:pt x="140970" y="49530"/>
                  </a:lnTo>
                  <a:lnTo>
                    <a:pt x="137160" y="67532"/>
                  </a:lnTo>
                  <a:lnTo>
                    <a:pt x="133350" y="74295"/>
                  </a:lnTo>
                  <a:lnTo>
                    <a:pt x="119063" y="81820"/>
                  </a:lnTo>
                  <a:lnTo>
                    <a:pt x="91440" y="92392"/>
                  </a:lnTo>
                  <a:lnTo>
                    <a:pt x="83820" y="102870"/>
                  </a:lnTo>
                  <a:lnTo>
                    <a:pt x="83820" y="117157"/>
                  </a:lnTo>
                  <a:lnTo>
                    <a:pt x="91440" y="134207"/>
                  </a:lnTo>
                  <a:lnTo>
                    <a:pt x="98108" y="140970"/>
                  </a:lnTo>
                  <a:lnTo>
                    <a:pt x="105728" y="148495"/>
                  </a:lnTo>
                  <a:lnTo>
                    <a:pt x="87630" y="152400"/>
                  </a:lnTo>
                  <a:lnTo>
                    <a:pt x="70485" y="159067"/>
                  </a:lnTo>
                  <a:lnTo>
                    <a:pt x="62865" y="169545"/>
                  </a:lnTo>
                  <a:lnTo>
                    <a:pt x="41910" y="16278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65" name="Freeform: Shape 3764">
              <a:extLst>
                <a:ext uri="{FF2B5EF4-FFF2-40B4-BE49-F238E27FC236}">
                  <a16:creationId xmlns:a16="http://schemas.microsoft.com/office/drawing/2014/main" id="{48662120-3617-60E9-481D-4D5AAADE7E72}"/>
                </a:ext>
              </a:extLst>
            </p:cNvPr>
            <p:cNvSpPr/>
            <p:nvPr/>
          </p:nvSpPr>
          <p:spPr>
            <a:xfrm>
              <a:off x="8732465" y="3921872"/>
              <a:ext cx="213822" cy="235206"/>
            </a:xfrm>
            <a:custGeom>
              <a:avLst/>
              <a:gdLst>
                <a:gd name="connsiteX0" fmla="*/ 20955 w 218122"/>
                <a:gd name="connsiteY0" fmla="*/ 24670 h 239934"/>
                <a:gd name="connsiteX1" fmla="*/ 35243 w 218122"/>
                <a:gd name="connsiteY1" fmla="*/ 24670 h 239934"/>
                <a:gd name="connsiteX2" fmla="*/ 41910 w 218122"/>
                <a:gd name="connsiteY2" fmla="*/ 32385 h 239934"/>
                <a:gd name="connsiteX3" fmla="*/ 56198 w 218122"/>
                <a:gd name="connsiteY3" fmla="*/ 32385 h 239934"/>
                <a:gd name="connsiteX4" fmla="*/ 60008 w 218122"/>
                <a:gd name="connsiteY4" fmla="*/ 18097 h 239934"/>
                <a:gd name="connsiteX5" fmla="*/ 49530 w 218122"/>
                <a:gd name="connsiteY5" fmla="*/ 14288 h 239934"/>
                <a:gd name="connsiteX6" fmla="*/ 49530 w 218122"/>
                <a:gd name="connsiteY6" fmla="*/ 0 h 239934"/>
                <a:gd name="connsiteX7" fmla="*/ 70485 w 218122"/>
                <a:gd name="connsiteY7" fmla="*/ 0 h 239934"/>
                <a:gd name="connsiteX8" fmla="*/ 70485 w 218122"/>
                <a:gd name="connsiteY8" fmla="*/ 7620 h 239934"/>
                <a:gd name="connsiteX9" fmla="*/ 87630 w 218122"/>
                <a:gd name="connsiteY9" fmla="*/ 24670 h 239934"/>
                <a:gd name="connsiteX10" fmla="*/ 91440 w 218122"/>
                <a:gd name="connsiteY10" fmla="*/ 42863 h 239934"/>
                <a:gd name="connsiteX11" fmla="*/ 91440 w 218122"/>
                <a:gd name="connsiteY11" fmla="*/ 49435 h 239934"/>
                <a:gd name="connsiteX12" fmla="*/ 130493 w 218122"/>
                <a:gd name="connsiteY12" fmla="*/ 45720 h 239934"/>
                <a:gd name="connsiteX13" fmla="*/ 140970 w 218122"/>
                <a:gd name="connsiteY13" fmla="*/ 63722 h 239934"/>
                <a:gd name="connsiteX14" fmla="*/ 144780 w 218122"/>
                <a:gd name="connsiteY14" fmla="*/ 80963 h 239934"/>
                <a:gd name="connsiteX15" fmla="*/ 120015 w 218122"/>
                <a:gd name="connsiteY15" fmla="*/ 80963 h 239934"/>
                <a:gd name="connsiteX16" fmla="*/ 120015 w 218122"/>
                <a:gd name="connsiteY16" fmla="*/ 99060 h 239934"/>
                <a:gd name="connsiteX17" fmla="*/ 133350 w 218122"/>
                <a:gd name="connsiteY17" fmla="*/ 105632 h 239934"/>
                <a:gd name="connsiteX18" fmla="*/ 176213 w 218122"/>
                <a:gd name="connsiteY18" fmla="*/ 148495 h 239934"/>
                <a:gd name="connsiteX19" fmla="*/ 211455 w 218122"/>
                <a:gd name="connsiteY19" fmla="*/ 186595 h 239934"/>
                <a:gd name="connsiteX20" fmla="*/ 218123 w 218122"/>
                <a:gd name="connsiteY20" fmla="*/ 211360 h 239934"/>
                <a:gd name="connsiteX21" fmla="*/ 214313 w 218122"/>
                <a:gd name="connsiteY21" fmla="*/ 236220 h 239934"/>
                <a:gd name="connsiteX22" fmla="*/ 197168 w 218122"/>
                <a:gd name="connsiteY22" fmla="*/ 236220 h 239934"/>
                <a:gd name="connsiteX23" fmla="*/ 193358 w 218122"/>
                <a:gd name="connsiteY23" fmla="*/ 225647 h 239934"/>
                <a:gd name="connsiteX24" fmla="*/ 182880 w 218122"/>
                <a:gd name="connsiteY24" fmla="*/ 225647 h 239934"/>
                <a:gd name="connsiteX25" fmla="*/ 180023 w 218122"/>
                <a:gd name="connsiteY25" fmla="*/ 239935 h 239934"/>
                <a:gd name="connsiteX26" fmla="*/ 158115 w 218122"/>
                <a:gd name="connsiteY26" fmla="*/ 239935 h 239934"/>
                <a:gd name="connsiteX27" fmla="*/ 158115 w 218122"/>
                <a:gd name="connsiteY27" fmla="*/ 229457 h 239934"/>
                <a:gd name="connsiteX28" fmla="*/ 165735 w 218122"/>
                <a:gd name="connsiteY28" fmla="*/ 208597 h 239934"/>
                <a:gd name="connsiteX29" fmla="*/ 165735 w 218122"/>
                <a:gd name="connsiteY29" fmla="*/ 190500 h 239934"/>
                <a:gd name="connsiteX30" fmla="*/ 147638 w 218122"/>
                <a:gd name="connsiteY30" fmla="*/ 173260 h 239934"/>
                <a:gd name="connsiteX31" fmla="*/ 140970 w 218122"/>
                <a:gd name="connsiteY31" fmla="*/ 144685 h 239934"/>
                <a:gd name="connsiteX32" fmla="*/ 112395 w 218122"/>
                <a:gd name="connsiteY32" fmla="*/ 113347 h 239934"/>
                <a:gd name="connsiteX33" fmla="*/ 91440 w 218122"/>
                <a:gd name="connsiteY33" fmla="*/ 126682 h 239934"/>
                <a:gd name="connsiteX34" fmla="*/ 70485 w 218122"/>
                <a:gd name="connsiteY34" fmla="*/ 119920 h 239934"/>
                <a:gd name="connsiteX35" fmla="*/ 35243 w 218122"/>
                <a:gd name="connsiteY35" fmla="*/ 140970 h 239934"/>
                <a:gd name="connsiteX36" fmla="*/ 35243 w 218122"/>
                <a:gd name="connsiteY36" fmla="*/ 116110 h 239934"/>
                <a:gd name="connsiteX37" fmla="*/ 41910 w 218122"/>
                <a:gd name="connsiteY37" fmla="*/ 109538 h 239934"/>
                <a:gd name="connsiteX38" fmla="*/ 35243 w 218122"/>
                <a:gd name="connsiteY38" fmla="*/ 84772 h 239934"/>
                <a:gd name="connsiteX39" fmla="*/ 20955 w 218122"/>
                <a:gd name="connsiteY39" fmla="*/ 80963 h 239934"/>
                <a:gd name="connsiteX40" fmla="*/ 20955 w 218122"/>
                <a:gd name="connsiteY40" fmla="*/ 67532 h 239934"/>
                <a:gd name="connsiteX41" fmla="*/ 0 w 218122"/>
                <a:gd name="connsiteY41" fmla="*/ 56197 h 239934"/>
                <a:gd name="connsiteX42" fmla="*/ 24765 w 218122"/>
                <a:gd name="connsiteY42" fmla="*/ 42863 h 239934"/>
                <a:gd name="connsiteX43" fmla="*/ 20955 w 218122"/>
                <a:gd name="connsiteY43" fmla="*/ 24670 h 239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8122" h="239934">
                  <a:moveTo>
                    <a:pt x="20955" y="24670"/>
                  </a:moveTo>
                  <a:lnTo>
                    <a:pt x="35243" y="24670"/>
                  </a:lnTo>
                  <a:lnTo>
                    <a:pt x="41910" y="32385"/>
                  </a:lnTo>
                  <a:lnTo>
                    <a:pt x="56198" y="32385"/>
                  </a:lnTo>
                  <a:lnTo>
                    <a:pt x="60008" y="18097"/>
                  </a:lnTo>
                  <a:lnTo>
                    <a:pt x="49530" y="14288"/>
                  </a:lnTo>
                  <a:lnTo>
                    <a:pt x="49530" y="0"/>
                  </a:lnTo>
                  <a:lnTo>
                    <a:pt x="70485" y="0"/>
                  </a:lnTo>
                  <a:lnTo>
                    <a:pt x="70485" y="7620"/>
                  </a:lnTo>
                  <a:lnTo>
                    <a:pt x="87630" y="24670"/>
                  </a:lnTo>
                  <a:lnTo>
                    <a:pt x="91440" y="42863"/>
                  </a:lnTo>
                  <a:lnTo>
                    <a:pt x="91440" y="49435"/>
                  </a:lnTo>
                  <a:lnTo>
                    <a:pt x="130493" y="45720"/>
                  </a:lnTo>
                  <a:lnTo>
                    <a:pt x="140970" y="63722"/>
                  </a:lnTo>
                  <a:lnTo>
                    <a:pt x="144780" y="80963"/>
                  </a:lnTo>
                  <a:lnTo>
                    <a:pt x="120015" y="80963"/>
                  </a:lnTo>
                  <a:lnTo>
                    <a:pt x="120015" y="99060"/>
                  </a:lnTo>
                  <a:lnTo>
                    <a:pt x="133350" y="105632"/>
                  </a:lnTo>
                  <a:lnTo>
                    <a:pt x="176213" y="148495"/>
                  </a:lnTo>
                  <a:lnTo>
                    <a:pt x="211455" y="186595"/>
                  </a:lnTo>
                  <a:lnTo>
                    <a:pt x="218123" y="211360"/>
                  </a:lnTo>
                  <a:lnTo>
                    <a:pt x="214313" y="236220"/>
                  </a:lnTo>
                  <a:lnTo>
                    <a:pt x="197168" y="236220"/>
                  </a:lnTo>
                  <a:lnTo>
                    <a:pt x="193358" y="225647"/>
                  </a:lnTo>
                  <a:lnTo>
                    <a:pt x="182880" y="225647"/>
                  </a:lnTo>
                  <a:lnTo>
                    <a:pt x="180023" y="239935"/>
                  </a:lnTo>
                  <a:lnTo>
                    <a:pt x="158115" y="239935"/>
                  </a:lnTo>
                  <a:lnTo>
                    <a:pt x="158115" y="229457"/>
                  </a:lnTo>
                  <a:lnTo>
                    <a:pt x="165735" y="208597"/>
                  </a:lnTo>
                  <a:lnTo>
                    <a:pt x="165735" y="190500"/>
                  </a:lnTo>
                  <a:lnTo>
                    <a:pt x="147638" y="173260"/>
                  </a:lnTo>
                  <a:lnTo>
                    <a:pt x="140970" y="144685"/>
                  </a:lnTo>
                  <a:lnTo>
                    <a:pt x="112395" y="113347"/>
                  </a:lnTo>
                  <a:lnTo>
                    <a:pt x="91440" y="126682"/>
                  </a:lnTo>
                  <a:lnTo>
                    <a:pt x="70485" y="119920"/>
                  </a:lnTo>
                  <a:lnTo>
                    <a:pt x="35243" y="140970"/>
                  </a:lnTo>
                  <a:lnTo>
                    <a:pt x="35243" y="116110"/>
                  </a:lnTo>
                  <a:lnTo>
                    <a:pt x="41910" y="109538"/>
                  </a:lnTo>
                  <a:lnTo>
                    <a:pt x="35243" y="84772"/>
                  </a:lnTo>
                  <a:lnTo>
                    <a:pt x="20955" y="80963"/>
                  </a:lnTo>
                  <a:lnTo>
                    <a:pt x="20955" y="67532"/>
                  </a:lnTo>
                  <a:lnTo>
                    <a:pt x="0" y="56197"/>
                  </a:lnTo>
                  <a:lnTo>
                    <a:pt x="24765" y="42863"/>
                  </a:lnTo>
                  <a:lnTo>
                    <a:pt x="20955" y="2467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66" name="Freeform: Shape 3765">
              <a:extLst>
                <a:ext uri="{FF2B5EF4-FFF2-40B4-BE49-F238E27FC236}">
                  <a16:creationId xmlns:a16="http://schemas.microsoft.com/office/drawing/2014/main" id="{93F2AACD-0D0F-58D1-0B05-1F9833E30007}"/>
                </a:ext>
              </a:extLst>
            </p:cNvPr>
            <p:cNvSpPr/>
            <p:nvPr/>
          </p:nvSpPr>
          <p:spPr>
            <a:xfrm>
              <a:off x="8407529" y="2975068"/>
              <a:ext cx="877701" cy="359486"/>
            </a:xfrm>
            <a:custGeom>
              <a:avLst/>
              <a:gdLst>
                <a:gd name="connsiteX0" fmla="*/ 0 w 895350"/>
                <a:gd name="connsiteY0" fmla="*/ 109538 h 366712"/>
                <a:gd name="connsiteX1" fmla="*/ 14288 w 895350"/>
                <a:gd name="connsiteY1" fmla="*/ 95250 h 366712"/>
                <a:gd name="connsiteX2" fmla="*/ 39053 w 895350"/>
                <a:gd name="connsiteY2" fmla="*/ 91345 h 366712"/>
                <a:gd name="connsiteX3" fmla="*/ 53340 w 895350"/>
                <a:gd name="connsiteY3" fmla="*/ 77057 h 366712"/>
                <a:gd name="connsiteX4" fmla="*/ 113348 w 895350"/>
                <a:gd name="connsiteY4" fmla="*/ 45720 h 366712"/>
                <a:gd name="connsiteX5" fmla="*/ 140970 w 895350"/>
                <a:gd name="connsiteY5" fmla="*/ 49530 h 366712"/>
                <a:gd name="connsiteX6" fmla="*/ 180023 w 895350"/>
                <a:gd name="connsiteY6" fmla="*/ 56102 h 366712"/>
                <a:gd name="connsiteX7" fmla="*/ 197168 w 895350"/>
                <a:gd name="connsiteY7" fmla="*/ 77057 h 366712"/>
                <a:gd name="connsiteX8" fmla="*/ 254318 w 895350"/>
                <a:gd name="connsiteY8" fmla="*/ 77057 h 366712"/>
                <a:gd name="connsiteX9" fmla="*/ 267653 w 895350"/>
                <a:gd name="connsiteY9" fmla="*/ 87630 h 366712"/>
                <a:gd name="connsiteX10" fmla="*/ 289560 w 895350"/>
                <a:gd name="connsiteY10" fmla="*/ 70390 h 366712"/>
                <a:gd name="connsiteX11" fmla="*/ 292418 w 895350"/>
                <a:gd name="connsiteY11" fmla="*/ 56102 h 366712"/>
                <a:gd name="connsiteX12" fmla="*/ 271463 w 895350"/>
                <a:gd name="connsiteY12" fmla="*/ 31432 h 366712"/>
                <a:gd name="connsiteX13" fmla="*/ 296228 w 895350"/>
                <a:gd name="connsiteY13" fmla="*/ 6667 h 366712"/>
                <a:gd name="connsiteX14" fmla="*/ 302895 w 895350"/>
                <a:gd name="connsiteY14" fmla="*/ 0 h 366712"/>
                <a:gd name="connsiteX15" fmla="*/ 327660 w 895350"/>
                <a:gd name="connsiteY15" fmla="*/ 3715 h 366712"/>
                <a:gd name="connsiteX16" fmla="*/ 352425 w 895350"/>
                <a:gd name="connsiteY16" fmla="*/ 10382 h 366712"/>
                <a:gd name="connsiteX17" fmla="*/ 395288 w 895350"/>
                <a:gd name="connsiteY17" fmla="*/ 24670 h 366712"/>
                <a:gd name="connsiteX18" fmla="*/ 398145 w 895350"/>
                <a:gd name="connsiteY18" fmla="*/ 41815 h 366712"/>
                <a:gd name="connsiteX19" fmla="*/ 416243 w 895350"/>
                <a:gd name="connsiteY19" fmla="*/ 62770 h 366712"/>
                <a:gd name="connsiteX20" fmla="*/ 461963 w 895350"/>
                <a:gd name="connsiteY20" fmla="*/ 70390 h 366712"/>
                <a:gd name="connsiteX21" fmla="*/ 486728 w 895350"/>
                <a:gd name="connsiteY21" fmla="*/ 56102 h 366712"/>
                <a:gd name="connsiteX22" fmla="*/ 528638 w 895350"/>
                <a:gd name="connsiteY22" fmla="*/ 62770 h 366712"/>
                <a:gd name="connsiteX23" fmla="*/ 539115 w 895350"/>
                <a:gd name="connsiteY23" fmla="*/ 74295 h 366712"/>
                <a:gd name="connsiteX24" fmla="*/ 557213 w 895350"/>
                <a:gd name="connsiteY24" fmla="*/ 77057 h 366712"/>
                <a:gd name="connsiteX25" fmla="*/ 567690 w 895350"/>
                <a:gd name="connsiteY25" fmla="*/ 91345 h 366712"/>
                <a:gd name="connsiteX26" fmla="*/ 578168 w 895350"/>
                <a:gd name="connsiteY26" fmla="*/ 101917 h 366712"/>
                <a:gd name="connsiteX27" fmla="*/ 616268 w 895350"/>
                <a:gd name="connsiteY27" fmla="*/ 105632 h 366712"/>
                <a:gd name="connsiteX28" fmla="*/ 648653 w 895350"/>
                <a:gd name="connsiteY28" fmla="*/ 101917 h 366712"/>
                <a:gd name="connsiteX29" fmla="*/ 701040 w 895350"/>
                <a:gd name="connsiteY29" fmla="*/ 91345 h 366712"/>
                <a:gd name="connsiteX30" fmla="*/ 719138 w 895350"/>
                <a:gd name="connsiteY30" fmla="*/ 77057 h 366712"/>
                <a:gd name="connsiteX31" fmla="*/ 732473 w 895350"/>
                <a:gd name="connsiteY31" fmla="*/ 66675 h 366712"/>
                <a:gd name="connsiteX32" fmla="*/ 750570 w 895350"/>
                <a:gd name="connsiteY32" fmla="*/ 62770 h 366712"/>
                <a:gd name="connsiteX33" fmla="*/ 764857 w 895350"/>
                <a:gd name="connsiteY33" fmla="*/ 74295 h 366712"/>
                <a:gd name="connsiteX34" fmla="*/ 779145 w 895350"/>
                <a:gd name="connsiteY34" fmla="*/ 74295 h 366712"/>
                <a:gd name="connsiteX35" fmla="*/ 806768 w 895350"/>
                <a:gd name="connsiteY35" fmla="*/ 77057 h 366712"/>
                <a:gd name="connsiteX36" fmla="*/ 796290 w 895350"/>
                <a:gd name="connsiteY36" fmla="*/ 91345 h 366712"/>
                <a:gd name="connsiteX37" fmla="*/ 789623 w 895350"/>
                <a:gd name="connsiteY37" fmla="*/ 105632 h 366712"/>
                <a:gd name="connsiteX38" fmla="*/ 775335 w 895350"/>
                <a:gd name="connsiteY38" fmla="*/ 147638 h 366712"/>
                <a:gd name="connsiteX39" fmla="*/ 824865 w 895350"/>
                <a:gd name="connsiteY39" fmla="*/ 151352 h 366712"/>
                <a:gd name="connsiteX40" fmla="*/ 838200 w 895350"/>
                <a:gd name="connsiteY40" fmla="*/ 140970 h 366712"/>
                <a:gd name="connsiteX41" fmla="*/ 856298 w 895350"/>
                <a:gd name="connsiteY41" fmla="*/ 144780 h 366712"/>
                <a:gd name="connsiteX42" fmla="*/ 891540 w 895350"/>
                <a:gd name="connsiteY42" fmla="*/ 179927 h 366712"/>
                <a:gd name="connsiteX43" fmla="*/ 895350 w 895350"/>
                <a:gd name="connsiteY43" fmla="*/ 197167 h 366712"/>
                <a:gd name="connsiteX44" fmla="*/ 870585 w 895350"/>
                <a:gd name="connsiteY44" fmla="*/ 193357 h 366712"/>
                <a:gd name="connsiteX45" fmla="*/ 845820 w 895350"/>
                <a:gd name="connsiteY45" fmla="*/ 193357 h 366712"/>
                <a:gd name="connsiteX46" fmla="*/ 810578 w 895350"/>
                <a:gd name="connsiteY46" fmla="*/ 207645 h 366712"/>
                <a:gd name="connsiteX47" fmla="*/ 779145 w 895350"/>
                <a:gd name="connsiteY47" fmla="*/ 232315 h 366712"/>
                <a:gd name="connsiteX48" fmla="*/ 750570 w 895350"/>
                <a:gd name="connsiteY48" fmla="*/ 232315 h 366712"/>
                <a:gd name="connsiteX49" fmla="*/ 725805 w 895350"/>
                <a:gd name="connsiteY49" fmla="*/ 257175 h 366712"/>
                <a:gd name="connsiteX50" fmla="*/ 694373 w 895350"/>
                <a:gd name="connsiteY50" fmla="*/ 253270 h 366712"/>
                <a:gd name="connsiteX51" fmla="*/ 669607 w 895350"/>
                <a:gd name="connsiteY51" fmla="*/ 253270 h 366712"/>
                <a:gd name="connsiteX52" fmla="*/ 659130 w 895350"/>
                <a:gd name="connsiteY52" fmla="*/ 275177 h 366712"/>
                <a:gd name="connsiteX53" fmla="*/ 669607 w 895350"/>
                <a:gd name="connsiteY53" fmla="*/ 296132 h 366712"/>
                <a:gd name="connsiteX54" fmla="*/ 638175 w 895350"/>
                <a:gd name="connsiteY54" fmla="*/ 313277 h 366712"/>
                <a:gd name="connsiteX55" fmla="*/ 638175 w 895350"/>
                <a:gd name="connsiteY55" fmla="*/ 323850 h 366712"/>
                <a:gd name="connsiteX56" fmla="*/ 605790 w 895350"/>
                <a:gd name="connsiteY56" fmla="*/ 341852 h 366712"/>
                <a:gd name="connsiteX57" fmla="*/ 528638 w 895350"/>
                <a:gd name="connsiteY57" fmla="*/ 341852 h 366712"/>
                <a:gd name="connsiteX58" fmla="*/ 489585 w 895350"/>
                <a:gd name="connsiteY58" fmla="*/ 366713 h 366712"/>
                <a:gd name="connsiteX59" fmla="*/ 426720 w 895350"/>
                <a:gd name="connsiteY59" fmla="*/ 359092 h 366712"/>
                <a:gd name="connsiteX60" fmla="*/ 383857 w 895350"/>
                <a:gd name="connsiteY60" fmla="*/ 338138 h 366712"/>
                <a:gd name="connsiteX61" fmla="*/ 335280 w 895350"/>
                <a:gd name="connsiteY61" fmla="*/ 335280 h 366712"/>
                <a:gd name="connsiteX62" fmla="*/ 240030 w 895350"/>
                <a:gd name="connsiteY62" fmla="*/ 331470 h 366712"/>
                <a:gd name="connsiteX63" fmla="*/ 229553 w 895350"/>
                <a:gd name="connsiteY63" fmla="*/ 313277 h 366712"/>
                <a:gd name="connsiteX64" fmla="*/ 219075 w 895350"/>
                <a:gd name="connsiteY64" fmla="*/ 292417 h 366712"/>
                <a:gd name="connsiteX65" fmla="*/ 180023 w 895350"/>
                <a:gd name="connsiteY65" fmla="*/ 271463 h 366712"/>
                <a:gd name="connsiteX66" fmla="*/ 161925 w 895350"/>
                <a:gd name="connsiteY66" fmla="*/ 253270 h 366712"/>
                <a:gd name="connsiteX67" fmla="*/ 102870 w 895350"/>
                <a:gd name="connsiteY67" fmla="*/ 250507 h 366712"/>
                <a:gd name="connsiteX68" fmla="*/ 88582 w 895350"/>
                <a:gd name="connsiteY68" fmla="*/ 242888 h 366712"/>
                <a:gd name="connsiteX69" fmla="*/ 80963 w 895350"/>
                <a:gd name="connsiteY69" fmla="*/ 221932 h 366712"/>
                <a:gd name="connsiteX70" fmla="*/ 92393 w 895350"/>
                <a:gd name="connsiteY70" fmla="*/ 207645 h 366712"/>
                <a:gd name="connsiteX71" fmla="*/ 92393 w 895350"/>
                <a:gd name="connsiteY71" fmla="*/ 193357 h 366712"/>
                <a:gd name="connsiteX72" fmla="*/ 78105 w 895350"/>
                <a:gd name="connsiteY72" fmla="*/ 172307 h 366712"/>
                <a:gd name="connsiteX73" fmla="*/ 53340 w 895350"/>
                <a:gd name="connsiteY73" fmla="*/ 147638 h 366712"/>
                <a:gd name="connsiteX74" fmla="*/ 24765 w 895350"/>
                <a:gd name="connsiteY74" fmla="*/ 144780 h 366712"/>
                <a:gd name="connsiteX75" fmla="*/ 7620 w 895350"/>
                <a:gd name="connsiteY75" fmla="*/ 126682 h 366712"/>
                <a:gd name="connsiteX76" fmla="*/ 0 w 895350"/>
                <a:gd name="connsiteY76" fmla="*/ 109538 h 36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895350" h="366712">
                  <a:moveTo>
                    <a:pt x="0" y="109538"/>
                  </a:moveTo>
                  <a:lnTo>
                    <a:pt x="14288" y="95250"/>
                  </a:lnTo>
                  <a:lnTo>
                    <a:pt x="39053" y="91345"/>
                  </a:lnTo>
                  <a:lnTo>
                    <a:pt x="53340" y="77057"/>
                  </a:lnTo>
                  <a:lnTo>
                    <a:pt x="113348" y="45720"/>
                  </a:lnTo>
                  <a:lnTo>
                    <a:pt x="140970" y="49530"/>
                  </a:lnTo>
                  <a:lnTo>
                    <a:pt x="180023" y="56102"/>
                  </a:lnTo>
                  <a:lnTo>
                    <a:pt x="197168" y="77057"/>
                  </a:lnTo>
                  <a:lnTo>
                    <a:pt x="254318" y="77057"/>
                  </a:lnTo>
                  <a:lnTo>
                    <a:pt x="267653" y="87630"/>
                  </a:lnTo>
                  <a:lnTo>
                    <a:pt x="289560" y="70390"/>
                  </a:lnTo>
                  <a:lnTo>
                    <a:pt x="292418" y="56102"/>
                  </a:lnTo>
                  <a:lnTo>
                    <a:pt x="271463" y="31432"/>
                  </a:lnTo>
                  <a:lnTo>
                    <a:pt x="296228" y="6667"/>
                  </a:lnTo>
                  <a:lnTo>
                    <a:pt x="302895" y="0"/>
                  </a:lnTo>
                  <a:lnTo>
                    <a:pt x="327660" y="3715"/>
                  </a:lnTo>
                  <a:lnTo>
                    <a:pt x="352425" y="10382"/>
                  </a:lnTo>
                  <a:lnTo>
                    <a:pt x="395288" y="24670"/>
                  </a:lnTo>
                  <a:lnTo>
                    <a:pt x="398145" y="41815"/>
                  </a:lnTo>
                  <a:lnTo>
                    <a:pt x="416243" y="62770"/>
                  </a:lnTo>
                  <a:lnTo>
                    <a:pt x="461963" y="70390"/>
                  </a:lnTo>
                  <a:lnTo>
                    <a:pt x="486728" y="56102"/>
                  </a:lnTo>
                  <a:lnTo>
                    <a:pt x="528638" y="62770"/>
                  </a:lnTo>
                  <a:lnTo>
                    <a:pt x="539115" y="74295"/>
                  </a:lnTo>
                  <a:lnTo>
                    <a:pt x="557213" y="77057"/>
                  </a:lnTo>
                  <a:lnTo>
                    <a:pt x="567690" y="91345"/>
                  </a:lnTo>
                  <a:lnTo>
                    <a:pt x="578168" y="101917"/>
                  </a:lnTo>
                  <a:lnTo>
                    <a:pt x="616268" y="105632"/>
                  </a:lnTo>
                  <a:lnTo>
                    <a:pt x="648653" y="101917"/>
                  </a:lnTo>
                  <a:lnTo>
                    <a:pt x="701040" y="91345"/>
                  </a:lnTo>
                  <a:lnTo>
                    <a:pt x="719138" y="77057"/>
                  </a:lnTo>
                  <a:lnTo>
                    <a:pt x="732473" y="66675"/>
                  </a:lnTo>
                  <a:lnTo>
                    <a:pt x="750570" y="62770"/>
                  </a:lnTo>
                  <a:lnTo>
                    <a:pt x="764857" y="74295"/>
                  </a:lnTo>
                  <a:lnTo>
                    <a:pt x="779145" y="74295"/>
                  </a:lnTo>
                  <a:lnTo>
                    <a:pt x="806768" y="77057"/>
                  </a:lnTo>
                  <a:lnTo>
                    <a:pt x="796290" y="91345"/>
                  </a:lnTo>
                  <a:lnTo>
                    <a:pt x="789623" y="105632"/>
                  </a:lnTo>
                  <a:lnTo>
                    <a:pt x="775335" y="147638"/>
                  </a:lnTo>
                  <a:lnTo>
                    <a:pt x="824865" y="151352"/>
                  </a:lnTo>
                  <a:lnTo>
                    <a:pt x="838200" y="140970"/>
                  </a:lnTo>
                  <a:lnTo>
                    <a:pt x="856298" y="144780"/>
                  </a:lnTo>
                  <a:lnTo>
                    <a:pt x="891540" y="179927"/>
                  </a:lnTo>
                  <a:lnTo>
                    <a:pt x="895350" y="197167"/>
                  </a:lnTo>
                  <a:lnTo>
                    <a:pt x="870585" y="193357"/>
                  </a:lnTo>
                  <a:lnTo>
                    <a:pt x="845820" y="193357"/>
                  </a:lnTo>
                  <a:lnTo>
                    <a:pt x="810578" y="207645"/>
                  </a:lnTo>
                  <a:lnTo>
                    <a:pt x="779145" y="232315"/>
                  </a:lnTo>
                  <a:lnTo>
                    <a:pt x="750570" y="232315"/>
                  </a:lnTo>
                  <a:lnTo>
                    <a:pt x="725805" y="257175"/>
                  </a:lnTo>
                  <a:lnTo>
                    <a:pt x="694373" y="253270"/>
                  </a:lnTo>
                  <a:lnTo>
                    <a:pt x="669607" y="253270"/>
                  </a:lnTo>
                  <a:lnTo>
                    <a:pt x="659130" y="275177"/>
                  </a:lnTo>
                  <a:lnTo>
                    <a:pt x="669607" y="296132"/>
                  </a:lnTo>
                  <a:lnTo>
                    <a:pt x="638175" y="313277"/>
                  </a:lnTo>
                  <a:lnTo>
                    <a:pt x="638175" y="323850"/>
                  </a:lnTo>
                  <a:lnTo>
                    <a:pt x="605790" y="341852"/>
                  </a:lnTo>
                  <a:lnTo>
                    <a:pt x="528638" y="341852"/>
                  </a:lnTo>
                  <a:lnTo>
                    <a:pt x="489585" y="366713"/>
                  </a:lnTo>
                  <a:lnTo>
                    <a:pt x="426720" y="359092"/>
                  </a:lnTo>
                  <a:lnTo>
                    <a:pt x="383857" y="338138"/>
                  </a:lnTo>
                  <a:lnTo>
                    <a:pt x="335280" y="335280"/>
                  </a:lnTo>
                  <a:lnTo>
                    <a:pt x="240030" y="331470"/>
                  </a:lnTo>
                  <a:lnTo>
                    <a:pt x="229553" y="313277"/>
                  </a:lnTo>
                  <a:lnTo>
                    <a:pt x="219075" y="292417"/>
                  </a:lnTo>
                  <a:lnTo>
                    <a:pt x="180023" y="271463"/>
                  </a:lnTo>
                  <a:lnTo>
                    <a:pt x="161925" y="253270"/>
                  </a:lnTo>
                  <a:lnTo>
                    <a:pt x="102870" y="250507"/>
                  </a:lnTo>
                  <a:lnTo>
                    <a:pt x="88582" y="242888"/>
                  </a:lnTo>
                  <a:lnTo>
                    <a:pt x="80963" y="221932"/>
                  </a:lnTo>
                  <a:lnTo>
                    <a:pt x="92393" y="207645"/>
                  </a:lnTo>
                  <a:lnTo>
                    <a:pt x="92393" y="193357"/>
                  </a:lnTo>
                  <a:lnTo>
                    <a:pt x="78105" y="172307"/>
                  </a:lnTo>
                  <a:lnTo>
                    <a:pt x="53340" y="147638"/>
                  </a:lnTo>
                  <a:lnTo>
                    <a:pt x="24765" y="144780"/>
                  </a:lnTo>
                  <a:lnTo>
                    <a:pt x="7620" y="126682"/>
                  </a:lnTo>
                  <a:lnTo>
                    <a:pt x="0" y="10953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67" name="Freeform: Shape 3766">
              <a:extLst>
                <a:ext uri="{FF2B5EF4-FFF2-40B4-BE49-F238E27FC236}">
                  <a16:creationId xmlns:a16="http://schemas.microsoft.com/office/drawing/2014/main" id="{A95B361F-3ECC-0247-7E87-23C8DECF8AB4}"/>
                </a:ext>
              </a:extLst>
            </p:cNvPr>
            <p:cNvSpPr/>
            <p:nvPr/>
          </p:nvSpPr>
          <p:spPr>
            <a:xfrm>
              <a:off x="7392571" y="3818228"/>
              <a:ext cx="17740" cy="44725"/>
            </a:xfrm>
            <a:custGeom>
              <a:avLst/>
              <a:gdLst>
                <a:gd name="connsiteX0" fmla="*/ 0 w 18097"/>
                <a:gd name="connsiteY0" fmla="*/ 39053 h 45624"/>
                <a:gd name="connsiteX1" fmla="*/ 0 w 18097"/>
                <a:gd name="connsiteY1" fmla="*/ 18097 h 45624"/>
                <a:gd name="connsiteX2" fmla="*/ 7620 w 18097"/>
                <a:gd name="connsiteY2" fmla="*/ 0 h 45624"/>
                <a:gd name="connsiteX3" fmla="*/ 14288 w 18097"/>
                <a:gd name="connsiteY3" fmla="*/ 0 h 45624"/>
                <a:gd name="connsiteX4" fmla="*/ 18098 w 18097"/>
                <a:gd name="connsiteY4" fmla="*/ 14288 h 45624"/>
                <a:gd name="connsiteX5" fmla="*/ 18098 w 18097"/>
                <a:gd name="connsiteY5" fmla="*/ 24765 h 45624"/>
                <a:gd name="connsiteX6" fmla="*/ 14288 w 18097"/>
                <a:gd name="connsiteY6" fmla="*/ 39053 h 45624"/>
                <a:gd name="connsiteX7" fmla="*/ 7620 w 18097"/>
                <a:gd name="connsiteY7" fmla="*/ 45625 h 45624"/>
                <a:gd name="connsiteX8" fmla="*/ 0 w 18097"/>
                <a:gd name="connsiteY8" fmla="*/ 39053 h 4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097" h="45624">
                  <a:moveTo>
                    <a:pt x="0" y="39053"/>
                  </a:moveTo>
                  <a:lnTo>
                    <a:pt x="0" y="18097"/>
                  </a:lnTo>
                  <a:lnTo>
                    <a:pt x="7620" y="0"/>
                  </a:lnTo>
                  <a:lnTo>
                    <a:pt x="14288" y="0"/>
                  </a:lnTo>
                  <a:lnTo>
                    <a:pt x="18098" y="14288"/>
                  </a:lnTo>
                  <a:lnTo>
                    <a:pt x="18098" y="24765"/>
                  </a:lnTo>
                  <a:lnTo>
                    <a:pt x="14288" y="39053"/>
                  </a:lnTo>
                  <a:lnTo>
                    <a:pt x="7620" y="45625"/>
                  </a:lnTo>
                  <a:lnTo>
                    <a:pt x="0" y="3905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68" name="Freeform: Shape 3767">
              <a:extLst>
                <a:ext uri="{FF2B5EF4-FFF2-40B4-BE49-F238E27FC236}">
                  <a16:creationId xmlns:a16="http://schemas.microsoft.com/office/drawing/2014/main" id="{9360BFC8-AFAF-654F-F93C-5760912A5135}"/>
                </a:ext>
              </a:extLst>
            </p:cNvPr>
            <p:cNvSpPr/>
            <p:nvPr/>
          </p:nvSpPr>
          <p:spPr>
            <a:xfrm>
              <a:off x="6564358" y="3109432"/>
              <a:ext cx="244635" cy="155933"/>
            </a:xfrm>
            <a:custGeom>
              <a:avLst/>
              <a:gdLst>
                <a:gd name="connsiteX0" fmla="*/ 56197 w 249554"/>
                <a:gd name="connsiteY0" fmla="*/ 18193 h 159067"/>
                <a:gd name="connsiteX1" fmla="*/ 80963 w 249554"/>
                <a:gd name="connsiteY1" fmla="*/ 7715 h 159067"/>
                <a:gd name="connsiteX2" fmla="*/ 95250 w 249554"/>
                <a:gd name="connsiteY2" fmla="*/ 3905 h 159067"/>
                <a:gd name="connsiteX3" fmla="*/ 116205 w 249554"/>
                <a:gd name="connsiteY3" fmla="*/ 14288 h 159067"/>
                <a:gd name="connsiteX4" fmla="*/ 151447 w 249554"/>
                <a:gd name="connsiteY4" fmla="*/ 14288 h 159067"/>
                <a:gd name="connsiteX5" fmla="*/ 158115 w 249554"/>
                <a:gd name="connsiteY5" fmla="*/ 0 h 159067"/>
                <a:gd name="connsiteX6" fmla="*/ 180022 w 249554"/>
                <a:gd name="connsiteY6" fmla="*/ 0 h 159067"/>
                <a:gd name="connsiteX7" fmla="*/ 186690 w 249554"/>
                <a:gd name="connsiteY7" fmla="*/ 18193 h 159067"/>
                <a:gd name="connsiteX8" fmla="*/ 190500 w 249554"/>
                <a:gd name="connsiteY8" fmla="*/ 28575 h 159067"/>
                <a:gd name="connsiteX9" fmla="*/ 211455 w 249554"/>
                <a:gd name="connsiteY9" fmla="*/ 49530 h 159067"/>
                <a:gd name="connsiteX10" fmla="*/ 215265 w 249554"/>
                <a:gd name="connsiteY10" fmla="*/ 56293 h 159067"/>
                <a:gd name="connsiteX11" fmla="*/ 207645 w 249554"/>
                <a:gd name="connsiteY11" fmla="*/ 74390 h 159067"/>
                <a:gd name="connsiteX12" fmla="*/ 211455 w 249554"/>
                <a:gd name="connsiteY12" fmla="*/ 91535 h 159067"/>
                <a:gd name="connsiteX13" fmla="*/ 215265 w 249554"/>
                <a:gd name="connsiteY13" fmla="*/ 102965 h 159067"/>
                <a:gd name="connsiteX14" fmla="*/ 232410 w 249554"/>
                <a:gd name="connsiteY14" fmla="*/ 105823 h 159067"/>
                <a:gd name="connsiteX15" fmla="*/ 239077 w 249554"/>
                <a:gd name="connsiteY15" fmla="*/ 99155 h 159067"/>
                <a:gd name="connsiteX16" fmla="*/ 249555 w 249554"/>
                <a:gd name="connsiteY16" fmla="*/ 109538 h 159067"/>
                <a:gd name="connsiteX17" fmla="*/ 242888 w 249554"/>
                <a:gd name="connsiteY17" fmla="*/ 120110 h 159067"/>
                <a:gd name="connsiteX18" fmla="*/ 228600 w 249554"/>
                <a:gd name="connsiteY18" fmla="*/ 126778 h 159067"/>
                <a:gd name="connsiteX19" fmla="*/ 221932 w 249554"/>
                <a:gd name="connsiteY19" fmla="*/ 138113 h 159067"/>
                <a:gd name="connsiteX20" fmla="*/ 218122 w 249554"/>
                <a:gd name="connsiteY20" fmla="*/ 159067 h 159067"/>
                <a:gd name="connsiteX21" fmla="*/ 207645 w 249554"/>
                <a:gd name="connsiteY21" fmla="*/ 159067 h 159067"/>
                <a:gd name="connsiteX22" fmla="*/ 186690 w 249554"/>
                <a:gd name="connsiteY22" fmla="*/ 148685 h 159067"/>
                <a:gd name="connsiteX23" fmla="*/ 161925 w 249554"/>
                <a:gd name="connsiteY23" fmla="*/ 141065 h 159067"/>
                <a:gd name="connsiteX24" fmla="*/ 147638 w 249554"/>
                <a:gd name="connsiteY24" fmla="*/ 155353 h 159067"/>
                <a:gd name="connsiteX25" fmla="*/ 126682 w 249554"/>
                <a:gd name="connsiteY25" fmla="*/ 155353 h 159067"/>
                <a:gd name="connsiteX26" fmla="*/ 77152 w 249554"/>
                <a:gd name="connsiteY26" fmla="*/ 155353 h 159067"/>
                <a:gd name="connsiteX27" fmla="*/ 56197 w 249554"/>
                <a:gd name="connsiteY27" fmla="*/ 148685 h 159067"/>
                <a:gd name="connsiteX28" fmla="*/ 56197 w 249554"/>
                <a:gd name="connsiteY28" fmla="*/ 130492 h 159067"/>
                <a:gd name="connsiteX29" fmla="*/ 28575 w 249554"/>
                <a:gd name="connsiteY29" fmla="*/ 126778 h 159067"/>
                <a:gd name="connsiteX30" fmla="*/ 14288 w 249554"/>
                <a:gd name="connsiteY30" fmla="*/ 105823 h 159067"/>
                <a:gd name="connsiteX31" fmla="*/ 3810 w 249554"/>
                <a:gd name="connsiteY31" fmla="*/ 91535 h 159067"/>
                <a:gd name="connsiteX32" fmla="*/ 0 w 249554"/>
                <a:gd name="connsiteY32" fmla="*/ 78105 h 159067"/>
                <a:gd name="connsiteX33" fmla="*/ 24765 w 249554"/>
                <a:gd name="connsiteY33" fmla="*/ 53435 h 159067"/>
                <a:gd name="connsiteX34" fmla="*/ 41910 w 249554"/>
                <a:gd name="connsiteY34" fmla="*/ 28575 h 159067"/>
                <a:gd name="connsiteX35" fmla="*/ 56197 w 249554"/>
                <a:gd name="connsiteY35" fmla="*/ 18193 h 159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49554" h="159067">
                  <a:moveTo>
                    <a:pt x="56197" y="18193"/>
                  </a:moveTo>
                  <a:lnTo>
                    <a:pt x="80963" y="7715"/>
                  </a:lnTo>
                  <a:lnTo>
                    <a:pt x="95250" y="3905"/>
                  </a:lnTo>
                  <a:lnTo>
                    <a:pt x="116205" y="14288"/>
                  </a:lnTo>
                  <a:lnTo>
                    <a:pt x="151447" y="14288"/>
                  </a:lnTo>
                  <a:lnTo>
                    <a:pt x="158115" y="0"/>
                  </a:lnTo>
                  <a:lnTo>
                    <a:pt x="180022" y="0"/>
                  </a:lnTo>
                  <a:lnTo>
                    <a:pt x="186690" y="18193"/>
                  </a:lnTo>
                  <a:lnTo>
                    <a:pt x="190500" y="28575"/>
                  </a:lnTo>
                  <a:lnTo>
                    <a:pt x="211455" y="49530"/>
                  </a:lnTo>
                  <a:lnTo>
                    <a:pt x="215265" y="56293"/>
                  </a:lnTo>
                  <a:lnTo>
                    <a:pt x="207645" y="74390"/>
                  </a:lnTo>
                  <a:lnTo>
                    <a:pt x="211455" y="91535"/>
                  </a:lnTo>
                  <a:lnTo>
                    <a:pt x="215265" y="102965"/>
                  </a:lnTo>
                  <a:lnTo>
                    <a:pt x="232410" y="105823"/>
                  </a:lnTo>
                  <a:lnTo>
                    <a:pt x="239077" y="99155"/>
                  </a:lnTo>
                  <a:lnTo>
                    <a:pt x="249555" y="109538"/>
                  </a:lnTo>
                  <a:lnTo>
                    <a:pt x="242888" y="120110"/>
                  </a:lnTo>
                  <a:lnTo>
                    <a:pt x="228600" y="126778"/>
                  </a:lnTo>
                  <a:lnTo>
                    <a:pt x="221932" y="138113"/>
                  </a:lnTo>
                  <a:lnTo>
                    <a:pt x="218122" y="159067"/>
                  </a:lnTo>
                  <a:lnTo>
                    <a:pt x="207645" y="159067"/>
                  </a:lnTo>
                  <a:lnTo>
                    <a:pt x="186690" y="148685"/>
                  </a:lnTo>
                  <a:lnTo>
                    <a:pt x="161925" y="141065"/>
                  </a:lnTo>
                  <a:lnTo>
                    <a:pt x="147638" y="155353"/>
                  </a:lnTo>
                  <a:lnTo>
                    <a:pt x="126682" y="155353"/>
                  </a:lnTo>
                  <a:lnTo>
                    <a:pt x="77152" y="155353"/>
                  </a:lnTo>
                  <a:lnTo>
                    <a:pt x="56197" y="148685"/>
                  </a:lnTo>
                  <a:lnTo>
                    <a:pt x="56197" y="130492"/>
                  </a:lnTo>
                  <a:lnTo>
                    <a:pt x="28575" y="126778"/>
                  </a:lnTo>
                  <a:lnTo>
                    <a:pt x="14288" y="105823"/>
                  </a:lnTo>
                  <a:lnTo>
                    <a:pt x="3810" y="91535"/>
                  </a:lnTo>
                  <a:lnTo>
                    <a:pt x="0" y="78105"/>
                  </a:lnTo>
                  <a:lnTo>
                    <a:pt x="24765" y="53435"/>
                  </a:lnTo>
                  <a:lnTo>
                    <a:pt x="41910" y="28575"/>
                  </a:lnTo>
                  <a:lnTo>
                    <a:pt x="56197" y="1819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69" name="Freeform: Shape 3768">
              <a:extLst>
                <a:ext uri="{FF2B5EF4-FFF2-40B4-BE49-F238E27FC236}">
                  <a16:creationId xmlns:a16="http://schemas.microsoft.com/office/drawing/2014/main" id="{A34D6585-4CD2-77B3-8873-B22568C2D121}"/>
                </a:ext>
              </a:extLst>
            </p:cNvPr>
            <p:cNvSpPr/>
            <p:nvPr/>
          </p:nvSpPr>
          <p:spPr>
            <a:xfrm>
              <a:off x="2840665" y="3617476"/>
              <a:ext cx="76564" cy="31747"/>
            </a:xfrm>
            <a:custGeom>
              <a:avLst/>
              <a:gdLst>
                <a:gd name="connsiteX0" fmla="*/ 32385 w 78104"/>
                <a:gd name="connsiteY0" fmla="*/ 11335 h 32385"/>
                <a:gd name="connsiteX1" fmla="*/ 0 w 78104"/>
                <a:gd name="connsiteY1" fmla="*/ 0 h 32385"/>
                <a:gd name="connsiteX2" fmla="*/ 78105 w 78104"/>
                <a:gd name="connsiteY2" fmla="*/ 32385 h 32385"/>
                <a:gd name="connsiteX3" fmla="*/ 32385 w 78104"/>
                <a:gd name="connsiteY3" fmla="*/ 11335 h 323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104" h="32385">
                  <a:moveTo>
                    <a:pt x="32385" y="11335"/>
                  </a:moveTo>
                  <a:lnTo>
                    <a:pt x="0" y="0"/>
                  </a:lnTo>
                  <a:lnTo>
                    <a:pt x="78105" y="32385"/>
                  </a:lnTo>
                  <a:lnTo>
                    <a:pt x="32385" y="1133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70" name="Freeform: Shape 3769">
              <a:extLst>
                <a:ext uri="{FF2B5EF4-FFF2-40B4-BE49-F238E27FC236}">
                  <a16:creationId xmlns:a16="http://schemas.microsoft.com/office/drawing/2014/main" id="{0DECAC40-E786-630A-E75C-4B56A19CD732}"/>
                </a:ext>
              </a:extLst>
            </p:cNvPr>
            <p:cNvSpPr/>
            <p:nvPr/>
          </p:nvSpPr>
          <p:spPr>
            <a:xfrm>
              <a:off x="2917231" y="3649223"/>
              <a:ext cx="120450" cy="10271"/>
            </a:xfrm>
            <a:custGeom>
              <a:avLst/>
              <a:gdLst>
                <a:gd name="connsiteX0" fmla="*/ 108585 w 122872"/>
                <a:gd name="connsiteY0" fmla="*/ 10477 h 10477"/>
                <a:gd name="connsiteX1" fmla="*/ 122872 w 122872"/>
                <a:gd name="connsiteY1" fmla="*/ 0 h 10477"/>
                <a:gd name="connsiteX2" fmla="*/ 108585 w 122872"/>
                <a:gd name="connsiteY2" fmla="*/ 10477 h 10477"/>
                <a:gd name="connsiteX3" fmla="*/ 27622 w 122872"/>
                <a:gd name="connsiteY3" fmla="*/ 10477 h 10477"/>
                <a:gd name="connsiteX4" fmla="*/ 0 w 122872"/>
                <a:gd name="connsiteY4" fmla="*/ 0 h 10477"/>
                <a:gd name="connsiteX5" fmla="*/ 27622 w 122872"/>
                <a:gd name="connsiteY5" fmla="*/ 10477 h 10477"/>
                <a:gd name="connsiteX6" fmla="*/ 108585 w 122872"/>
                <a:gd name="connsiteY6" fmla="*/ 10477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2872" h="10477">
                  <a:moveTo>
                    <a:pt x="108585" y="10477"/>
                  </a:moveTo>
                  <a:lnTo>
                    <a:pt x="122872" y="0"/>
                  </a:lnTo>
                  <a:lnTo>
                    <a:pt x="108585" y="10477"/>
                  </a:lnTo>
                  <a:lnTo>
                    <a:pt x="27622" y="10477"/>
                  </a:lnTo>
                  <a:lnTo>
                    <a:pt x="0" y="0"/>
                  </a:lnTo>
                  <a:lnTo>
                    <a:pt x="27622" y="10477"/>
                  </a:lnTo>
                  <a:lnTo>
                    <a:pt x="108585" y="1047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71" name="Freeform: Shape 3770">
              <a:extLst>
                <a:ext uri="{FF2B5EF4-FFF2-40B4-BE49-F238E27FC236}">
                  <a16:creationId xmlns:a16="http://schemas.microsoft.com/office/drawing/2014/main" id="{7461DAC9-139B-6989-0273-13FED485B2DA}"/>
                </a:ext>
              </a:extLst>
            </p:cNvPr>
            <p:cNvSpPr/>
            <p:nvPr/>
          </p:nvSpPr>
          <p:spPr>
            <a:xfrm>
              <a:off x="3179607" y="3700578"/>
              <a:ext cx="13071" cy="7470"/>
            </a:xfrm>
            <a:custGeom>
              <a:avLst/>
              <a:gdLst>
                <a:gd name="connsiteX0" fmla="*/ 13335 w 13334"/>
                <a:gd name="connsiteY0" fmla="*/ 0 h 7620"/>
                <a:gd name="connsiteX1" fmla="*/ 0 w 13334"/>
                <a:gd name="connsiteY1" fmla="*/ 7620 h 7620"/>
                <a:gd name="connsiteX2" fmla="*/ 13335 w 13334"/>
                <a:gd name="connsiteY2" fmla="*/ 0 h 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334" h="7620">
                  <a:moveTo>
                    <a:pt x="13335" y="0"/>
                  </a:moveTo>
                  <a:lnTo>
                    <a:pt x="0" y="7620"/>
                  </a:lnTo>
                  <a:lnTo>
                    <a:pt x="13335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72" name="Freeform: Shape 3771">
              <a:extLst>
                <a:ext uri="{FF2B5EF4-FFF2-40B4-BE49-F238E27FC236}">
                  <a16:creationId xmlns:a16="http://schemas.microsoft.com/office/drawing/2014/main" id="{DA6D939E-42DE-83DF-A1ED-1E4226A56126}"/>
                </a:ext>
              </a:extLst>
            </p:cNvPr>
            <p:cNvSpPr/>
            <p:nvPr/>
          </p:nvSpPr>
          <p:spPr>
            <a:xfrm>
              <a:off x="6609177" y="2280371"/>
              <a:ext cx="72830" cy="6443"/>
            </a:xfrm>
            <a:custGeom>
              <a:avLst/>
              <a:gdLst>
                <a:gd name="connsiteX0" fmla="*/ 0 w 74294"/>
                <a:gd name="connsiteY0" fmla="*/ 0 h 6572"/>
                <a:gd name="connsiteX1" fmla="*/ 74295 w 74294"/>
                <a:gd name="connsiteY1" fmla="*/ 6572 h 6572"/>
                <a:gd name="connsiteX2" fmla="*/ 49530 w 74294"/>
                <a:gd name="connsiteY2" fmla="*/ 2762 h 6572"/>
                <a:gd name="connsiteX3" fmla="*/ 0 w 74294"/>
                <a:gd name="connsiteY3" fmla="*/ 0 h 6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4294" h="6572">
                  <a:moveTo>
                    <a:pt x="0" y="0"/>
                  </a:moveTo>
                  <a:lnTo>
                    <a:pt x="74295" y="6572"/>
                  </a:lnTo>
                  <a:lnTo>
                    <a:pt x="49530" y="276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73" name="Freeform: Shape 3772">
              <a:extLst>
                <a:ext uri="{FF2B5EF4-FFF2-40B4-BE49-F238E27FC236}">
                  <a16:creationId xmlns:a16="http://schemas.microsoft.com/office/drawing/2014/main" id="{165BD1CD-A317-85EC-A7BD-19BAB0A554A5}"/>
                </a:ext>
              </a:extLst>
            </p:cNvPr>
            <p:cNvSpPr/>
            <p:nvPr/>
          </p:nvSpPr>
          <p:spPr>
            <a:xfrm>
              <a:off x="6639989" y="2356004"/>
              <a:ext cx="20542" cy="58825"/>
            </a:xfrm>
            <a:custGeom>
              <a:avLst/>
              <a:gdLst>
                <a:gd name="connsiteX0" fmla="*/ 14288 w 20955"/>
                <a:gd name="connsiteY0" fmla="*/ 7620 h 60007"/>
                <a:gd name="connsiteX1" fmla="*/ 0 w 20955"/>
                <a:gd name="connsiteY1" fmla="*/ 0 h 60007"/>
                <a:gd name="connsiteX2" fmla="*/ 14288 w 20955"/>
                <a:gd name="connsiteY2" fmla="*/ 7620 h 60007"/>
                <a:gd name="connsiteX3" fmla="*/ 3810 w 20955"/>
                <a:gd name="connsiteY3" fmla="*/ 35147 h 60007"/>
                <a:gd name="connsiteX4" fmla="*/ 20955 w 20955"/>
                <a:gd name="connsiteY4" fmla="*/ 60007 h 60007"/>
                <a:gd name="connsiteX5" fmla="*/ 3810 w 20955"/>
                <a:gd name="connsiteY5" fmla="*/ 35147 h 60007"/>
                <a:gd name="connsiteX6" fmla="*/ 14288 w 20955"/>
                <a:gd name="connsiteY6" fmla="*/ 7620 h 6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" h="60007">
                  <a:moveTo>
                    <a:pt x="14288" y="7620"/>
                  </a:moveTo>
                  <a:lnTo>
                    <a:pt x="0" y="0"/>
                  </a:lnTo>
                  <a:lnTo>
                    <a:pt x="14288" y="7620"/>
                  </a:lnTo>
                  <a:lnTo>
                    <a:pt x="3810" y="35147"/>
                  </a:lnTo>
                  <a:lnTo>
                    <a:pt x="20955" y="60007"/>
                  </a:lnTo>
                  <a:lnTo>
                    <a:pt x="3810" y="35147"/>
                  </a:lnTo>
                  <a:lnTo>
                    <a:pt x="14288" y="762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74" name="Freeform: Shape 3773">
              <a:extLst>
                <a:ext uri="{FF2B5EF4-FFF2-40B4-BE49-F238E27FC236}">
                  <a16:creationId xmlns:a16="http://schemas.microsoft.com/office/drawing/2014/main" id="{37BFDC5E-B7C2-1F33-7669-F87194132DAD}"/>
                </a:ext>
              </a:extLst>
            </p:cNvPr>
            <p:cNvSpPr/>
            <p:nvPr/>
          </p:nvSpPr>
          <p:spPr>
            <a:xfrm>
              <a:off x="6584899" y="2252359"/>
              <a:ext cx="24277" cy="28012"/>
            </a:xfrm>
            <a:custGeom>
              <a:avLst/>
              <a:gdLst>
                <a:gd name="connsiteX0" fmla="*/ 0 w 24765"/>
                <a:gd name="connsiteY0" fmla="*/ 0 h 28575"/>
                <a:gd name="connsiteX1" fmla="*/ 24765 w 24765"/>
                <a:gd name="connsiteY1" fmla="*/ 28575 h 28575"/>
                <a:gd name="connsiteX2" fmla="*/ 10478 w 24765"/>
                <a:gd name="connsiteY2" fmla="*/ 10477 h 28575"/>
                <a:gd name="connsiteX3" fmla="*/ 0 w 24765"/>
                <a:gd name="connsiteY3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5" h="28575">
                  <a:moveTo>
                    <a:pt x="0" y="0"/>
                  </a:moveTo>
                  <a:lnTo>
                    <a:pt x="24765" y="28575"/>
                  </a:lnTo>
                  <a:lnTo>
                    <a:pt x="10478" y="104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75" name="Freeform: Shape 3774">
              <a:extLst>
                <a:ext uri="{FF2B5EF4-FFF2-40B4-BE49-F238E27FC236}">
                  <a16:creationId xmlns:a16="http://schemas.microsoft.com/office/drawing/2014/main" id="{9033772A-7552-BE4F-72F9-74807A8DB2E1}"/>
                </a:ext>
              </a:extLst>
            </p:cNvPr>
            <p:cNvSpPr/>
            <p:nvPr/>
          </p:nvSpPr>
          <p:spPr>
            <a:xfrm>
              <a:off x="4066645" y="3171993"/>
              <a:ext cx="6536" cy="27171"/>
            </a:xfrm>
            <a:custGeom>
              <a:avLst/>
              <a:gdLst>
                <a:gd name="connsiteX0" fmla="*/ 0 w 6667"/>
                <a:gd name="connsiteY0" fmla="*/ 27718 h 27717"/>
                <a:gd name="connsiteX1" fmla="*/ 6668 w 6667"/>
                <a:gd name="connsiteY1" fmla="*/ 0 h 27717"/>
                <a:gd name="connsiteX2" fmla="*/ 0 w 6667"/>
                <a:gd name="connsiteY2" fmla="*/ 17145 h 27717"/>
                <a:gd name="connsiteX3" fmla="*/ 0 w 6667"/>
                <a:gd name="connsiteY3" fmla="*/ 27718 h 27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" h="27717">
                  <a:moveTo>
                    <a:pt x="0" y="27718"/>
                  </a:moveTo>
                  <a:lnTo>
                    <a:pt x="6668" y="0"/>
                  </a:lnTo>
                  <a:lnTo>
                    <a:pt x="0" y="17145"/>
                  </a:lnTo>
                  <a:lnTo>
                    <a:pt x="0" y="2771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76" name="Freeform: Shape 3775">
              <a:extLst>
                <a:ext uri="{FF2B5EF4-FFF2-40B4-BE49-F238E27FC236}">
                  <a16:creationId xmlns:a16="http://schemas.microsoft.com/office/drawing/2014/main" id="{0FC8850C-837F-9B2A-3288-787631DD8B47}"/>
                </a:ext>
              </a:extLst>
            </p:cNvPr>
            <p:cNvSpPr/>
            <p:nvPr/>
          </p:nvSpPr>
          <p:spPr>
            <a:xfrm>
              <a:off x="2388743" y="2794858"/>
              <a:ext cx="20541" cy="14005"/>
            </a:xfrm>
            <a:custGeom>
              <a:avLst/>
              <a:gdLst>
                <a:gd name="connsiteX0" fmla="*/ 6667 w 20954"/>
                <a:gd name="connsiteY0" fmla="*/ 3715 h 14287"/>
                <a:gd name="connsiteX1" fmla="*/ 0 w 20954"/>
                <a:gd name="connsiteY1" fmla="*/ 0 h 14287"/>
                <a:gd name="connsiteX2" fmla="*/ 20955 w 20954"/>
                <a:gd name="connsiteY2" fmla="*/ 14288 h 14287"/>
                <a:gd name="connsiteX3" fmla="*/ 6667 w 20954"/>
                <a:gd name="connsiteY3" fmla="*/ 3715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54" h="14287">
                  <a:moveTo>
                    <a:pt x="6667" y="3715"/>
                  </a:moveTo>
                  <a:lnTo>
                    <a:pt x="0" y="0"/>
                  </a:lnTo>
                  <a:lnTo>
                    <a:pt x="20955" y="14288"/>
                  </a:lnTo>
                  <a:lnTo>
                    <a:pt x="6667" y="371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77" name="Freeform: Shape 3776">
              <a:extLst>
                <a:ext uri="{FF2B5EF4-FFF2-40B4-BE49-F238E27FC236}">
                  <a16:creationId xmlns:a16="http://schemas.microsoft.com/office/drawing/2014/main" id="{7FB77400-53E0-6BE2-9A20-509D172DF74A}"/>
                </a:ext>
              </a:extLst>
            </p:cNvPr>
            <p:cNvSpPr/>
            <p:nvPr/>
          </p:nvSpPr>
          <p:spPr>
            <a:xfrm>
              <a:off x="6706283" y="2235459"/>
              <a:ext cx="6536" cy="16900"/>
            </a:xfrm>
            <a:custGeom>
              <a:avLst/>
              <a:gdLst>
                <a:gd name="connsiteX0" fmla="*/ 0 w 6667"/>
                <a:gd name="connsiteY0" fmla="*/ 17240 h 17240"/>
                <a:gd name="connsiteX1" fmla="*/ 6668 w 6667"/>
                <a:gd name="connsiteY1" fmla="*/ 0 h 17240"/>
                <a:gd name="connsiteX2" fmla="*/ 2858 w 6667"/>
                <a:gd name="connsiteY2" fmla="*/ 2953 h 17240"/>
                <a:gd name="connsiteX3" fmla="*/ 0 w 6667"/>
                <a:gd name="connsiteY3" fmla="*/ 17240 h 1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67" h="17240">
                  <a:moveTo>
                    <a:pt x="0" y="17240"/>
                  </a:moveTo>
                  <a:lnTo>
                    <a:pt x="6668" y="0"/>
                  </a:lnTo>
                  <a:lnTo>
                    <a:pt x="2858" y="2953"/>
                  </a:lnTo>
                  <a:lnTo>
                    <a:pt x="0" y="1724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78" name="Freeform: Shape 3777">
              <a:extLst>
                <a:ext uri="{FF2B5EF4-FFF2-40B4-BE49-F238E27FC236}">
                  <a16:creationId xmlns:a16="http://schemas.microsoft.com/office/drawing/2014/main" id="{EDA98001-D897-7F8D-D32B-6BC3FF29CAEE}"/>
                </a:ext>
              </a:extLst>
            </p:cNvPr>
            <p:cNvSpPr/>
            <p:nvPr/>
          </p:nvSpPr>
          <p:spPr>
            <a:xfrm>
              <a:off x="6574629" y="2252359"/>
              <a:ext cx="10270" cy="8403"/>
            </a:xfrm>
            <a:custGeom>
              <a:avLst/>
              <a:gdLst>
                <a:gd name="connsiteX0" fmla="*/ 0 w 10477"/>
                <a:gd name="connsiteY0" fmla="*/ 8572 h 8572"/>
                <a:gd name="connsiteX1" fmla="*/ 10477 w 10477"/>
                <a:gd name="connsiteY1" fmla="*/ 0 h 8572"/>
                <a:gd name="connsiteX2" fmla="*/ 10477 w 10477"/>
                <a:gd name="connsiteY2" fmla="*/ 0 h 8572"/>
                <a:gd name="connsiteX3" fmla="*/ 0 w 10477"/>
                <a:gd name="connsiteY3" fmla="*/ 8572 h 8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" h="8572">
                  <a:moveTo>
                    <a:pt x="0" y="8572"/>
                  </a:moveTo>
                  <a:lnTo>
                    <a:pt x="10477" y="0"/>
                  </a:lnTo>
                  <a:lnTo>
                    <a:pt x="10477" y="0"/>
                  </a:lnTo>
                  <a:lnTo>
                    <a:pt x="0" y="857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79" name="Freeform: Shape 3778">
              <a:extLst>
                <a:ext uri="{FF2B5EF4-FFF2-40B4-BE49-F238E27FC236}">
                  <a16:creationId xmlns:a16="http://schemas.microsoft.com/office/drawing/2014/main" id="{A1A08304-DC3F-4797-B70C-E5128CE7D40C}"/>
                </a:ext>
              </a:extLst>
            </p:cNvPr>
            <p:cNvSpPr/>
            <p:nvPr/>
          </p:nvSpPr>
          <p:spPr>
            <a:xfrm>
              <a:off x="6159121" y="3044071"/>
              <a:ext cx="20542" cy="27171"/>
            </a:xfrm>
            <a:custGeom>
              <a:avLst/>
              <a:gdLst>
                <a:gd name="connsiteX0" fmla="*/ 13335 w 20955"/>
                <a:gd name="connsiteY0" fmla="*/ 6667 h 27717"/>
                <a:gd name="connsiteX1" fmla="*/ 10478 w 20955"/>
                <a:gd name="connsiteY1" fmla="*/ 0 h 27717"/>
                <a:gd name="connsiteX2" fmla="*/ 0 w 20955"/>
                <a:gd name="connsiteY2" fmla="*/ 0 h 27717"/>
                <a:gd name="connsiteX3" fmla="*/ 0 w 20955"/>
                <a:gd name="connsiteY3" fmla="*/ 20955 h 27717"/>
                <a:gd name="connsiteX4" fmla="*/ 10478 w 20955"/>
                <a:gd name="connsiteY4" fmla="*/ 20955 h 27717"/>
                <a:gd name="connsiteX5" fmla="*/ 20955 w 20955"/>
                <a:gd name="connsiteY5" fmla="*/ 27718 h 27717"/>
                <a:gd name="connsiteX6" fmla="*/ 10478 w 20955"/>
                <a:gd name="connsiteY6" fmla="*/ 20955 h 27717"/>
                <a:gd name="connsiteX7" fmla="*/ 13335 w 20955"/>
                <a:gd name="connsiteY7" fmla="*/ 6667 h 27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955" h="27717">
                  <a:moveTo>
                    <a:pt x="13335" y="6667"/>
                  </a:moveTo>
                  <a:lnTo>
                    <a:pt x="10478" y="0"/>
                  </a:lnTo>
                  <a:lnTo>
                    <a:pt x="0" y="0"/>
                  </a:lnTo>
                  <a:lnTo>
                    <a:pt x="0" y="20955"/>
                  </a:lnTo>
                  <a:lnTo>
                    <a:pt x="10478" y="20955"/>
                  </a:lnTo>
                  <a:lnTo>
                    <a:pt x="20955" y="27718"/>
                  </a:lnTo>
                  <a:lnTo>
                    <a:pt x="10478" y="20955"/>
                  </a:lnTo>
                  <a:lnTo>
                    <a:pt x="13335" y="666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80" name="Freeform: Shape 3779">
              <a:extLst>
                <a:ext uri="{FF2B5EF4-FFF2-40B4-BE49-F238E27FC236}">
                  <a16:creationId xmlns:a16="http://schemas.microsoft.com/office/drawing/2014/main" id="{6206F974-C508-CBE7-BA74-4679C2738B83}"/>
                </a:ext>
              </a:extLst>
            </p:cNvPr>
            <p:cNvSpPr/>
            <p:nvPr/>
          </p:nvSpPr>
          <p:spPr>
            <a:xfrm>
              <a:off x="6806192" y="2453019"/>
              <a:ext cx="30812" cy="41177"/>
            </a:xfrm>
            <a:custGeom>
              <a:avLst/>
              <a:gdLst>
                <a:gd name="connsiteX0" fmla="*/ 31432 w 31432"/>
                <a:gd name="connsiteY0" fmla="*/ 42005 h 42005"/>
                <a:gd name="connsiteX1" fmla="*/ 17145 w 31432"/>
                <a:gd name="connsiteY1" fmla="*/ 17145 h 42005"/>
                <a:gd name="connsiteX2" fmla="*/ 0 w 31432"/>
                <a:gd name="connsiteY2" fmla="*/ 0 h 42005"/>
                <a:gd name="connsiteX3" fmla="*/ 17145 w 31432"/>
                <a:gd name="connsiteY3" fmla="*/ 17145 h 42005"/>
                <a:gd name="connsiteX4" fmla="*/ 31432 w 31432"/>
                <a:gd name="connsiteY4" fmla="*/ 42005 h 42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32" h="42005">
                  <a:moveTo>
                    <a:pt x="31432" y="42005"/>
                  </a:moveTo>
                  <a:lnTo>
                    <a:pt x="17145" y="17145"/>
                  </a:lnTo>
                  <a:lnTo>
                    <a:pt x="0" y="0"/>
                  </a:lnTo>
                  <a:lnTo>
                    <a:pt x="17145" y="17145"/>
                  </a:lnTo>
                  <a:lnTo>
                    <a:pt x="31432" y="4200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81" name="Freeform: Shape 3780">
              <a:extLst>
                <a:ext uri="{FF2B5EF4-FFF2-40B4-BE49-F238E27FC236}">
                  <a16:creationId xmlns:a16="http://schemas.microsoft.com/office/drawing/2014/main" id="{205A61BE-069C-5963-4F68-A188B9439CCF}"/>
                </a:ext>
              </a:extLst>
            </p:cNvPr>
            <p:cNvSpPr/>
            <p:nvPr/>
          </p:nvSpPr>
          <p:spPr>
            <a:xfrm>
              <a:off x="6626917" y="2297085"/>
              <a:ext cx="16807" cy="24370"/>
            </a:xfrm>
            <a:custGeom>
              <a:avLst/>
              <a:gdLst>
                <a:gd name="connsiteX0" fmla="*/ 17145 w 17145"/>
                <a:gd name="connsiteY0" fmla="*/ 24860 h 24860"/>
                <a:gd name="connsiteX1" fmla="*/ 17145 w 17145"/>
                <a:gd name="connsiteY1" fmla="*/ 24860 h 24860"/>
                <a:gd name="connsiteX2" fmla="*/ 0 w 17145"/>
                <a:gd name="connsiteY2" fmla="*/ 0 h 24860"/>
                <a:gd name="connsiteX3" fmla="*/ 17145 w 17145"/>
                <a:gd name="connsiteY3" fmla="*/ 24860 h 2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5" h="24860">
                  <a:moveTo>
                    <a:pt x="17145" y="24860"/>
                  </a:moveTo>
                  <a:lnTo>
                    <a:pt x="17145" y="24860"/>
                  </a:lnTo>
                  <a:lnTo>
                    <a:pt x="0" y="0"/>
                  </a:lnTo>
                  <a:lnTo>
                    <a:pt x="17145" y="2486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82" name="Freeform: Shape 3781">
              <a:extLst>
                <a:ext uri="{FF2B5EF4-FFF2-40B4-BE49-F238E27FC236}">
                  <a16:creationId xmlns:a16="http://schemas.microsoft.com/office/drawing/2014/main" id="{B568D04E-1CE2-0091-5C65-02F5E668647F}"/>
                </a:ext>
              </a:extLst>
            </p:cNvPr>
            <p:cNvSpPr/>
            <p:nvPr/>
          </p:nvSpPr>
          <p:spPr>
            <a:xfrm>
              <a:off x="6401889" y="2954526"/>
              <a:ext cx="3735" cy="41084"/>
            </a:xfrm>
            <a:custGeom>
              <a:avLst/>
              <a:gdLst>
                <a:gd name="connsiteX0" fmla="*/ 0 w 3810"/>
                <a:gd name="connsiteY0" fmla="*/ 17050 h 41910"/>
                <a:gd name="connsiteX1" fmla="*/ 3810 w 3810"/>
                <a:gd name="connsiteY1" fmla="*/ 41910 h 41910"/>
                <a:gd name="connsiteX2" fmla="*/ 3810 w 3810"/>
                <a:gd name="connsiteY2" fmla="*/ 0 h 41910"/>
                <a:gd name="connsiteX3" fmla="*/ 0 w 3810"/>
                <a:gd name="connsiteY3" fmla="*/ 17050 h 4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" h="41910">
                  <a:moveTo>
                    <a:pt x="0" y="17050"/>
                  </a:moveTo>
                  <a:lnTo>
                    <a:pt x="3810" y="41910"/>
                  </a:lnTo>
                  <a:lnTo>
                    <a:pt x="3810" y="0"/>
                  </a:lnTo>
                  <a:lnTo>
                    <a:pt x="0" y="1705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83" name="Freeform: Shape 3782">
              <a:extLst>
                <a:ext uri="{FF2B5EF4-FFF2-40B4-BE49-F238E27FC236}">
                  <a16:creationId xmlns:a16="http://schemas.microsoft.com/office/drawing/2014/main" id="{26FBDC91-FFE2-05A8-D070-550C482AD11F}"/>
                </a:ext>
              </a:extLst>
            </p:cNvPr>
            <p:cNvSpPr/>
            <p:nvPr/>
          </p:nvSpPr>
          <p:spPr>
            <a:xfrm>
              <a:off x="6806192" y="2418471"/>
              <a:ext cx="14005" cy="34548"/>
            </a:xfrm>
            <a:custGeom>
              <a:avLst/>
              <a:gdLst>
                <a:gd name="connsiteX0" fmla="*/ 14288 w 14287"/>
                <a:gd name="connsiteY0" fmla="*/ 0 h 35242"/>
                <a:gd name="connsiteX1" fmla="*/ 14288 w 14287"/>
                <a:gd name="connsiteY1" fmla="*/ 0 h 35242"/>
                <a:gd name="connsiteX2" fmla="*/ 0 w 14287"/>
                <a:gd name="connsiteY2" fmla="*/ 35243 h 35242"/>
                <a:gd name="connsiteX3" fmla="*/ 14288 w 14287"/>
                <a:gd name="connsiteY3" fmla="*/ 0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287" h="35242">
                  <a:moveTo>
                    <a:pt x="14288" y="0"/>
                  </a:moveTo>
                  <a:lnTo>
                    <a:pt x="14288" y="0"/>
                  </a:lnTo>
                  <a:lnTo>
                    <a:pt x="0" y="35243"/>
                  </a:lnTo>
                  <a:lnTo>
                    <a:pt x="1428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84" name="Freeform: Shape 3783">
              <a:extLst>
                <a:ext uri="{FF2B5EF4-FFF2-40B4-BE49-F238E27FC236}">
                  <a16:creationId xmlns:a16="http://schemas.microsoft.com/office/drawing/2014/main" id="{235ED500-9AD2-464A-7E75-210EAA6E6421}"/>
                </a:ext>
              </a:extLst>
            </p:cNvPr>
            <p:cNvSpPr/>
            <p:nvPr/>
          </p:nvSpPr>
          <p:spPr>
            <a:xfrm>
              <a:off x="6175928" y="2971240"/>
              <a:ext cx="10270" cy="7470"/>
            </a:xfrm>
            <a:custGeom>
              <a:avLst/>
              <a:gdLst>
                <a:gd name="connsiteX0" fmla="*/ 10478 w 10477"/>
                <a:gd name="connsiteY0" fmla="*/ 0 h 7620"/>
                <a:gd name="connsiteX1" fmla="*/ 0 w 10477"/>
                <a:gd name="connsiteY1" fmla="*/ 7620 h 7620"/>
                <a:gd name="connsiteX2" fmla="*/ 10478 w 10477"/>
                <a:gd name="connsiteY2" fmla="*/ 0 h 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77" h="7620">
                  <a:moveTo>
                    <a:pt x="10478" y="0"/>
                  </a:moveTo>
                  <a:lnTo>
                    <a:pt x="0" y="7620"/>
                  </a:lnTo>
                  <a:lnTo>
                    <a:pt x="1047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85" name="Freeform: Shape 3784">
              <a:extLst>
                <a:ext uri="{FF2B5EF4-FFF2-40B4-BE49-F238E27FC236}">
                  <a16:creationId xmlns:a16="http://schemas.microsoft.com/office/drawing/2014/main" id="{5A468FF0-CD52-A22F-D368-1BE657CCB12A}"/>
                </a:ext>
              </a:extLst>
            </p:cNvPr>
            <p:cNvSpPr/>
            <p:nvPr/>
          </p:nvSpPr>
          <p:spPr>
            <a:xfrm>
              <a:off x="6241288" y="3185998"/>
              <a:ext cx="7469" cy="2801"/>
            </a:xfrm>
            <a:custGeom>
              <a:avLst/>
              <a:gdLst>
                <a:gd name="connsiteX0" fmla="*/ 0 w 7619"/>
                <a:gd name="connsiteY0" fmla="*/ 2858 h 2857"/>
                <a:gd name="connsiteX1" fmla="*/ 7620 w 7619"/>
                <a:gd name="connsiteY1" fmla="*/ 0 h 2857"/>
                <a:gd name="connsiteX2" fmla="*/ 0 w 7619"/>
                <a:gd name="connsiteY2" fmla="*/ 2858 h 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9" h="2857">
                  <a:moveTo>
                    <a:pt x="0" y="2858"/>
                  </a:moveTo>
                  <a:lnTo>
                    <a:pt x="7620" y="0"/>
                  </a:lnTo>
                  <a:lnTo>
                    <a:pt x="0" y="285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86" name="Freeform: Shape 3785">
              <a:extLst>
                <a:ext uri="{FF2B5EF4-FFF2-40B4-BE49-F238E27FC236}">
                  <a16:creationId xmlns:a16="http://schemas.microsoft.com/office/drawing/2014/main" id="{A919336A-7E37-35BD-0291-28D1BB6948AE}"/>
                </a:ext>
              </a:extLst>
            </p:cNvPr>
            <p:cNvSpPr/>
            <p:nvPr/>
          </p:nvSpPr>
          <p:spPr>
            <a:xfrm>
              <a:off x="6155387" y="3005882"/>
              <a:ext cx="16806" cy="28012"/>
            </a:xfrm>
            <a:custGeom>
              <a:avLst/>
              <a:gdLst>
                <a:gd name="connsiteX0" fmla="*/ 0 w 17144"/>
                <a:gd name="connsiteY0" fmla="*/ 0 h 28575"/>
                <a:gd name="connsiteX1" fmla="*/ 0 w 17144"/>
                <a:gd name="connsiteY1" fmla="*/ 0 h 28575"/>
                <a:gd name="connsiteX2" fmla="*/ 0 w 17144"/>
                <a:gd name="connsiteY2" fmla="*/ 0 h 28575"/>
                <a:gd name="connsiteX3" fmla="*/ 10478 w 17144"/>
                <a:gd name="connsiteY3" fmla="*/ 14288 h 28575"/>
                <a:gd name="connsiteX4" fmla="*/ 17145 w 17144"/>
                <a:gd name="connsiteY4" fmla="*/ 28575 h 28575"/>
                <a:gd name="connsiteX5" fmla="*/ 10478 w 17144"/>
                <a:gd name="connsiteY5" fmla="*/ 10382 h 28575"/>
                <a:gd name="connsiteX6" fmla="*/ 0 w 17144"/>
                <a:gd name="connsiteY6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144" h="2857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0478" y="14288"/>
                  </a:lnTo>
                  <a:lnTo>
                    <a:pt x="17145" y="28575"/>
                  </a:lnTo>
                  <a:lnTo>
                    <a:pt x="10478" y="103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87" name="Freeform: Shape 3786">
              <a:extLst>
                <a:ext uri="{FF2B5EF4-FFF2-40B4-BE49-F238E27FC236}">
                  <a16:creationId xmlns:a16="http://schemas.microsoft.com/office/drawing/2014/main" id="{3D93C9A9-AF77-5FBF-A781-F55695CC5782}"/>
                </a:ext>
              </a:extLst>
            </p:cNvPr>
            <p:cNvSpPr/>
            <p:nvPr/>
          </p:nvSpPr>
          <p:spPr>
            <a:xfrm>
              <a:off x="6203939" y="3085248"/>
              <a:ext cx="16806" cy="34548"/>
            </a:xfrm>
            <a:custGeom>
              <a:avLst/>
              <a:gdLst>
                <a:gd name="connsiteX0" fmla="*/ 6668 w 17144"/>
                <a:gd name="connsiteY0" fmla="*/ 20955 h 35242"/>
                <a:gd name="connsiteX1" fmla="*/ 0 w 17144"/>
                <a:gd name="connsiteY1" fmla="*/ 35243 h 35242"/>
                <a:gd name="connsiteX2" fmla="*/ 17145 w 17144"/>
                <a:gd name="connsiteY2" fmla="*/ 0 h 35242"/>
                <a:gd name="connsiteX3" fmla="*/ 6668 w 17144"/>
                <a:gd name="connsiteY3" fmla="*/ 20955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4" h="35242">
                  <a:moveTo>
                    <a:pt x="6668" y="20955"/>
                  </a:moveTo>
                  <a:lnTo>
                    <a:pt x="0" y="35243"/>
                  </a:lnTo>
                  <a:lnTo>
                    <a:pt x="17145" y="0"/>
                  </a:lnTo>
                  <a:lnTo>
                    <a:pt x="6668" y="2095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88" name="Freeform: Shape 3787">
              <a:extLst>
                <a:ext uri="{FF2B5EF4-FFF2-40B4-BE49-F238E27FC236}">
                  <a16:creationId xmlns:a16="http://schemas.microsoft.com/office/drawing/2014/main" id="{9293D6AE-AEF1-4ADF-EBEA-0F0DD874F080}"/>
                </a:ext>
              </a:extLst>
            </p:cNvPr>
            <p:cNvSpPr/>
            <p:nvPr/>
          </p:nvSpPr>
          <p:spPr>
            <a:xfrm>
              <a:off x="6329993" y="2487660"/>
              <a:ext cx="55089" cy="16713"/>
            </a:xfrm>
            <a:custGeom>
              <a:avLst/>
              <a:gdLst>
                <a:gd name="connsiteX0" fmla="*/ 27623 w 56197"/>
                <a:gd name="connsiteY0" fmla="*/ 10382 h 17049"/>
                <a:gd name="connsiteX1" fmla="*/ 56198 w 56197"/>
                <a:gd name="connsiteY1" fmla="*/ 0 h 17049"/>
                <a:gd name="connsiteX2" fmla="*/ 0 w 56197"/>
                <a:gd name="connsiteY2" fmla="*/ 17050 h 17049"/>
                <a:gd name="connsiteX3" fmla="*/ 27623 w 56197"/>
                <a:gd name="connsiteY3" fmla="*/ 10382 h 17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6197" h="17049">
                  <a:moveTo>
                    <a:pt x="27623" y="10382"/>
                  </a:moveTo>
                  <a:lnTo>
                    <a:pt x="56198" y="0"/>
                  </a:lnTo>
                  <a:lnTo>
                    <a:pt x="0" y="17050"/>
                  </a:lnTo>
                  <a:lnTo>
                    <a:pt x="27623" y="1038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89" name="Freeform: Shape 3788">
              <a:extLst>
                <a:ext uri="{FF2B5EF4-FFF2-40B4-BE49-F238E27FC236}">
                  <a16:creationId xmlns:a16="http://schemas.microsoft.com/office/drawing/2014/main" id="{CF7D6AE0-F62F-5431-34DD-F0C8BA33D6EA}"/>
                </a:ext>
              </a:extLst>
            </p:cNvPr>
            <p:cNvSpPr/>
            <p:nvPr/>
          </p:nvSpPr>
          <p:spPr>
            <a:xfrm>
              <a:off x="3710896" y="3293378"/>
              <a:ext cx="120450" cy="44819"/>
            </a:xfrm>
            <a:custGeom>
              <a:avLst/>
              <a:gdLst>
                <a:gd name="connsiteX0" fmla="*/ 63817 w 122872"/>
                <a:gd name="connsiteY0" fmla="*/ 10573 h 45720"/>
                <a:gd name="connsiteX1" fmla="*/ 49530 w 122872"/>
                <a:gd name="connsiteY1" fmla="*/ 13430 h 45720"/>
                <a:gd name="connsiteX2" fmla="*/ 35242 w 122872"/>
                <a:gd name="connsiteY2" fmla="*/ 23813 h 45720"/>
                <a:gd name="connsiteX3" fmla="*/ 20955 w 122872"/>
                <a:gd name="connsiteY3" fmla="*/ 31433 h 45720"/>
                <a:gd name="connsiteX4" fmla="*/ 14288 w 122872"/>
                <a:gd name="connsiteY4" fmla="*/ 27718 h 45720"/>
                <a:gd name="connsiteX5" fmla="*/ 14288 w 122872"/>
                <a:gd name="connsiteY5" fmla="*/ 13430 h 45720"/>
                <a:gd name="connsiteX6" fmla="*/ 6667 w 122872"/>
                <a:gd name="connsiteY6" fmla="*/ 21050 h 45720"/>
                <a:gd name="connsiteX7" fmla="*/ 0 w 122872"/>
                <a:gd name="connsiteY7" fmla="*/ 34385 h 45720"/>
                <a:gd name="connsiteX8" fmla="*/ 14288 w 122872"/>
                <a:gd name="connsiteY8" fmla="*/ 45720 h 45720"/>
                <a:gd name="connsiteX9" fmla="*/ 45720 w 122872"/>
                <a:gd name="connsiteY9" fmla="*/ 45720 h 45720"/>
                <a:gd name="connsiteX10" fmla="*/ 66675 w 122872"/>
                <a:gd name="connsiteY10" fmla="*/ 34385 h 45720"/>
                <a:gd name="connsiteX11" fmla="*/ 87630 w 122872"/>
                <a:gd name="connsiteY11" fmla="*/ 27718 h 45720"/>
                <a:gd name="connsiteX12" fmla="*/ 109537 w 122872"/>
                <a:gd name="connsiteY12" fmla="*/ 17145 h 45720"/>
                <a:gd name="connsiteX13" fmla="*/ 120015 w 122872"/>
                <a:gd name="connsiteY13" fmla="*/ 13430 h 45720"/>
                <a:gd name="connsiteX14" fmla="*/ 122873 w 122872"/>
                <a:gd name="connsiteY14" fmla="*/ 2858 h 45720"/>
                <a:gd name="connsiteX15" fmla="*/ 121920 w 122872"/>
                <a:gd name="connsiteY15" fmla="*/ 0 h 45720"/>
                <a:gd name="connsiteX16" fmla="*/ 91440 w 122872"/>
                <a:gd name="connsiteY16" fmla="*/ 2858 h 45720"/>
                <a:gd name="connsiteX17" fmla="*/ 63817 w 122872"/>
                <a:gd name="connsiteY17" fmla="*/ 10573 h 4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2872" h="45720">
                  <a:moveTo>
                    <a:pt x="63817" y="10573"/>
                  </a:moveTo>
                  <a:lnTo>
                    <a:pt x="49530" y="13430"/>
                  </a:lnTo>
                  <a:lnTo>
                    <a:pt x="35242" y="23813"/>
                  </a:lnTo>
                  <a:lnTo>
                    <a:pt x="20955" y="31433"/>
                  </a:lnTo>
                  <a:lnTo>
                    <a:pt x="14288" y="27718"/>
                  </a:lnTo>
                  <a:lnTo>
                    <a:pt x="14288" y="13430"/>
                  </a:lnTo>
                  <a:lnTo>
                    <a:pt x="6667" y="21050"/>
                  </a:lnTo>
                  <a:lnTo>
                    <a:pt x="0" y="34385"/>
                  </a:lnTo>
                  <a:lnTo>
                    <a:pt x="14288" y="45720"/>
                  </a:lnTo>
                  <a:lnTo>
                    <a:pt x="45720" y="45720"/>
                  </a:lnTo>
                  <a:lnTo>
                    <a:pt x="66675" y="34385"/>
                  </a:lnTo>
                  <a:lnTo>
                    <a:pt x="87630" y="27718"/>
                  </a:lnTo>
                  <a:lnTo>
                    <a:pt x="109537" y="17145"/>
                  </a:lnTo>
                  <a:lnTo>
                    <a:pt x="120015" y="13430"/>
                  </a:lnTo>
                  <a:lnTo>
                    <a:pt x="122873" y="2858"/>
                  </a:lnTo>
                  <a:lnTo>
                    <a:pt x="121920" y="0"/>
                  </a:lnTo>
                  <a:lnTo>
                    <a:pt x="91440" y="2858"/>
                  </a:lnTo>
                  <a:lnTo>
                    <a:pt x="63817" y="1057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90" name="Freeform: Shape 3789">
              <a:extLst>
                <a:ext uri="{FF2B5EF4-FFF2-40B4-BE49-F238E27FC236}">
                  <a16:creationId xmlns:a16="http://schemas.microsoft.com/office/drawing/2014/main" id="{D8CCCBE0-77DC-3003-22BE-98D07A5E4647}"/>
                </a:ext>
              </a:extLst>
            </p:cNvPr>
            <p:cNvSpPr/>
            <p:nvPr/>
          </p:nvSpPr>
          <p:spPr>
            <a:xfrm>
              <a:off x="8673641" y="3818228"/>
              <a:ext cx="28012" cy="38283"/>
            </a:xfrm>
            <a:custGeom>
              <a:avLst/>
              <a:gdLst>
                <a:gd name="connsiteX0" fmla="*/ 0 w 28575"/>
                <a:gd name="connsiteY0" fmla="*/ 39053 h 39052"/>
                <a:gd name="connsiteX1" fmla="*/ 28575 w 28575"/>
                <a:gd name="connsiteY1" fmla="*/ 0 h 39052"/>
                <a:gd name="connsiteX2" fmla="*/ 14288 w 28575"/>
                <a:gd name="connsiteY2" fmla="*/ 18097 h 39052"/>
                <a:gd name="connsiteX3" fmla="*/ 0 w 28575"/>
                <a:gd name="connsiteY3" fmla="*/ 39053 h 39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5" h="39052">
                  <a:moveTo>
                    <a:pt x="0" y="39053"/>
                  </a:moveTo>
                  <a:lnTo>
                    <a:pt x="28575" y="0"/>
                  </a:lnTo>
                  <a:lnTo>
                    <a:pt x="14288" y="18097"/>
                  </a:lnTo>
                  <a:lnTo>
                    <a:pt x="0" y="3905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91" name="Freeform: Shape 3790">
              <a:extLst>
                <a:ext uri="{FF2B5EF4-FFF2-40B4-BE49-F238E27FC236}">
                  <a16:creationId xmlns:a16="http://schemas.microsoft.com/office/drawing/2014/main" id="{F12AA4C2-4695-1CFC-8C8D-BA2B874806EC}"/>
                </a:ext>
              </a:extLst>
            </p:cNvPr>
            <p:cNvSpPr/>
            <p:nvPr/>
          </p:nvSpPr>
          <p:spPr>
            <a:xfrm>
              <a:off x="8673641" y="3862954"/>
              <a:ext cx="34547" cy="34641"/>
            </a:xfrm>
            <a:custGeom>
              <a:avLst/>
              <a:gdLst>
                <a:gd name="connsiteX0" fmla="*/ 35243 w 35242"/>
                <a:gd name="connsiteY0" fmla="*/ 35338 h 35337"/>
                <a:gd name="connsiteX1" fmla="*/ 35243 w 35242"/>
                <a:gd name="connsiteY1" fmla="*/ 35338 h 35337"/>
                <a:gd name="connsiteX2" fmla="*/ 35243 w 35242"/>
                <a:gd name="connsiteY2" fmla="*/ 10573 h 35337"/>
                <a:gd name="connsiteX3" fmla="*/ 0 w 35242"/>
                <a:gd name="connsiteY3" fmla="*/ 0 h 35337"/>
                <a:gd name="connsiteX4" fmla="*/ 35243 w 35242"/>
                <a:gd name="connsiteY4" fmla="*/ 10573 h 35337"/>
                <a:gd name="connsiteX5" fmla="*/ 35243 w 35242"/>
                <a:gd name="connsiteY5" fmla="*/ 35338 h 35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242" h="35337">
                  <a:moveTo>
                    <a:pt x="35243" y="35338"/>
                  </a:moveTo>
                  <a:lnTo>
                    <a:pt x="35243" y="35338"/>
                  </a:lnTo>
                  <a:lnTo>
                    <a:pt x="35243" y="10573"/>
                  </a:lnTo>
                  <a:lnTo>
                    <a:pt x="0" y="0"/>
                  </a:lnTo>
                  <a:lnTo>
                    <a:pt x="35243" y="10573"/>
                  </a:lnTo>
                  <a:lnTo>
                    <a:pt x="35243" y="3533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92" name="Freeform: Shape 3791">
              <a:extLst>
                <a:ext uri="{FF2B5EF4-FFF2-40B4-BE49-F238E27FC236}">
                  <a16:creationId xmlns:a16="http://schemas.microsoft.com/office/drawing/2014/main" id="{5CB3453A-4A8B-E45A-6869-3F25CE6F28D5}"/>
                </a:ext>
              </a:extLst>
            </p:cNvPr>
            <p:cNvSpPr/>
            <p:nvPr/>
          </p:nvSpPr>
          <p:spPr>
            <a:xfrm>
              <a:off x="8407529" y="2975068"/>
              <a:ext cx="877701" cy="359486"/>
            </a:xfrm>
            <a:custGeom>
              <a:avLst/>
              <a:gdLst>
                <a:gd name="connsiteX0" fmla="*/ 24765 w 895350"/>
                <a:gd name="connsiteY0" fmla="*/ 144780 h 366712"/>
                <a:gd name="connsiteX1" fmla="*/ 53340 w 895350"/>
                <a:gd name="connsiteY1" fmla="*/ 147638 h 366712"/>
                <a:gd name="connsiteX2" fmla="*/ 78105 w 895350"/>
                <a:gd name="connsiteY2" fmla="*/ 172307 h 366712"/>
                <a:gd name="connsiteX3" fmla="*/ 92393 w 895350"/>
                <a:gd name="connsiteY3" fmla="*/ 193357 h 366712"/>
                <a:gd name="connsiteX4" fmla="*/ 92393 w 895350"/>
                <a:gd name="connsiteY4" fmla="*/ 207645 h 366712"/>
                <a:gd name="connsiteX5" fmla="*/ 80963 w 895350"/>
                <a:gd name="connsiteY5" fmla="*/ 221932 h 366712"/>
                <a:gd name="connsiteX6" fmla="*/ 88582 w 895350"/>
                <a:gd name="connsiteY6" fmla="*/ 242888 h 366712"/>
                <a:gd name="connsiteX7" fmla="*/ 102870 w 895350"/>
                <a:gd name="connsiteY7" fmla="*/ 250507 h 366712"/>
                <a:gd name="connsiteX8" fmla="*/ 161925 w 895350"/>
                <a:gd name="connsiteY8" fmla="*/ 253270 h 366712"/>
                <a:gd name="connsiteX9" fmla="*/ 180023 w 895350"/>
                <a:gd name="connsiteY9" fmla="*/ 271463 h 366712"/>
                <a:gd name="connsiteX10" fmla="*/ 219075 w 895350"/>
                <a:gd name="connsiteY10" fmla="*/ 292417 h 366712"/>
                <a:gd name="connsiteX11" fmla="*/ 229553 w 895350"/>
                <a:gd name="connsiteY11" fmla="*/ 317182 h 366712"/>
                <a:gd name="connsiteX12" fmla="*/ 240030 w 895350"/>
                <a:gd name="connsiteY12" fmla="*/ 331470 h 366712"/>
                <a:gd name="connsiteX13" fmla="*/ 335280 w 895350"/>
                <a:gd name="connsiteY13" fmla="*/ 335280 h 366712"/>
                <a:gd name="connsiteX14" fmla="*/ 383857 w 895350"/>
                <a:gd name="connsiteY14" fmla="*/ 338138 h 366712"/>
                <a:gd name="connsiteX15" fmla="*/ 426720 w 895350"/>
                <a:gd name="connsiteY15" fmla="*/ 359092 h 366712"/>
                <a:gd name="connsiteX16" fmla="*/ 489585 w 895350"/>
                <a:gd name="connsiteY16" fmla="*/ 366713 h 366712"/>
                <a:gd name="connsiteX17" fmla="*/ 528638 w 895350"/>
                <a:gd name="connsiteY17" fmla="*/ 341852 h 366712"/>
                <a:gd name="connsiteX18" fmla="*/ 605790 w 895350"/>
                <a:gd name="connsiteY18" fmla="*/ 341852 h 366712"/>
                <a:gd name="connsiteX19" fmla="*/ 638175 w 895350"/>
                <a:gd name="connsiteY19" fmla="*/ 323850 h 366712"/>
                <a:gd name="connsiteX20" fmla="*/ 638175 w 895350"/>
                <a:gd name="connsiteY20" fmla="*/ 313277 h 366712"/>
                <a:gd name="connsiteX21" fmla="*/ 669607 w 895350"/>
                <a:gd name="connsiteY21" fmla="*/ 296132 h 366712"/>
                <a:gd name="connsiteX22" fmla="*/ 659130 w 895350"/>
                <a:gd name="connsiteY22" fmla="*/ 275177 h 366712"/>
                <a:gd name="connsiteX23" fmla="*/ 669607 w 895350"/>
                <a:gd name="connsiteY23" fmla="*/ 253270 h 366712"/>
                <a:gd name="connsiteX24" fmla="*/ 694373 w 895350"/>
                <a:gd name="connsiteY24" fmla="*/ 253270 h 366712"/>
                <a:gd name="connsiteX25" fmla="*/ 725805 w 895350"/>
                <a:gd name="connsiteY25" fmla="*/ 257175 h 366712"/>
                <a:gd name="connsiteX26" fmla="*/ 750570 w 895350"/>
                <a:gd name="connsiteY26" fmla="*/ 232315 h 366712"/>
                <a:gd name="connsiteX27" fmla="*/ 779145 w 895350"/>
                <a:gd name="connsiteY27" fmla="*/ 232315 h 366712"/>
                <a:gd name="connsiteX28" fmla="*/ 810578 w 895350"/>
                <a:gd name="connsiteY28" fmla="*/ 207645 h 366712"/>
                <a:gd name="connsiteX29" fmla="*/ 845820 w 895350"/>
                <a:gd name="connsiteY29" fmla="*/ 193357 h 366712"/>
                <a:gd name="connsiteX30" fmla="*/ 866775 w 895350"/>
                <a:gd name="connsiteY30" fmla="*/ 193357 h 366712"/>
                <a:gd name="connsiteX31" fmla="*/ 895350 w 895350"/>
                <a:gd name="connsiteY31" fmla="*/ 197167 h 366712"/>
                <a:gd name="connsiteX32" fmla="*/ 891540 w 895350"/>
                <a:gd name="connsiteY32" fmla="*/ 179927 h 366712"/>
                <a:gd name="connsiteX33" fmla="*/ 856298 w 895350"/>
                <a:gd name="connsiteY33" fmla="*/ 144780 h 366712"/>
                <a:gd name="connsiteX34" fmla="*/ 838200 w 895350"/>
                <a:gd name="connsiteY34" fmla="*/ 140970 h 366712"/>
                <a:gd name="connsiteX35" fmla="*/ 824865 w 895350"/>
                <a:gd name="connsiteY35" fmla="*/ 151352 h 366712"/>
                <a:gd name="connsiteX36" fmla="*/ 775335 w 895350"/>
                <a:gd name="connsiteY36" fmla="*/ 147638 h 366712"/>
                <a:gd name="connsiteX37" fmla="*/ 782003 w 895350"/>
                <a:gd name="connsiteY37" fmla="*/ 122777 h 366712"/>
                <a:gd name="connsiteX38" fmla="*/ 796290 w 895350"/>
                <a:gd name="connsiteY38" fmla="*/ 91345 h 366712"/>
                <a:gd name="connsiteX39" fmla="*/ 806768 w 895350"/>
                <a:gd name="connsiteY39" fmla="*/ 77057 h 366712"/>
                <a:gd name="connsiteX40" fmla="*/ 764857 w 895350"/>
                <a:gd name="connsiteY40" fmla="*/ 74295 h 366712"/>
                <a:gd name="connsiteX41" fmla="*/ 750570 w 895350"/>
                <a:gd name="connsiteY41" fmla="*/ 62770 h 366712"/>
                <a:gd name="connsiteX42" fmla="*/ 732473 w 895350"/>
                <a:gd name="connsiteY42" fmla="*/ 66675 h 366712"/>
                <a:gd name="connsiteX43" fmla="*/ 701040 w 895350"/>
                <a:gd name="connsiteY43" fmla="*/ 91345 h 366712"/>
                <a:gd name="connsiteX44" fmla="*/ 648653 w 895350"/>
                <a:gd name="connsiteY44" fmla="*/ 101917 h 366712"/>
                <a:gd name="connsiteX45" fmla="*/ 616268 w 895350"/>
                <a:gd name="connsiteY45" fmla="*/ 105632 h 366712"/>
                <a:gd name="connsiteX46" fmla="*/ 578168 w 895350"/>
                <a:gd name="connsiteY46" fmla="*/ 101917 h 366712"/>
                <a:gd name="connsiteX47" fmla="*/ 567690 w 895350"/>
                <a:gd name="connsiteY47" fmla="*/ 91345 h 366712"/>
                <a:gd name="connsiteX48" fmla="*/ 557213 w 895350"/>
                <a:gd name="connsiteY48" fmla="*/ 77057 h 366712"/>
                <a:gd name="connsiteX49" fmla="*/ 539115 w 895350"/>
                <a:gd name="connsiteY49" fmla="*/ 74295 h 366712"/>
                <a:gd name="connsiteX50" fmla="*/ 528638 w 895350"/>
                <a:gd name="connsiteY50" fmla="*/ 62770 h 366712"/>
                <a:gd name="connsiteX51" fmla="*/ 486728 w 895350"/>
                <a:gd name="connsiteY51" fmla="*/ 56102 h 366712"/>
                <a:gd name="connsiteX52" fmla="*/ 461963 w 895350"/>
                <a:gd name="connsiteY52" fmla="*/ 70390 h 366712"/>
                <a:gd name="connsiteX53" fmla="*/ 416243 w 895350"/>
                <a:gd name="connsiteY53" fmla="*/ 62770 h 366712"/>
                <a:gd name="connsiteX54" fmla="*/ 398145 w 895350"/>
                <a:gd name="connsiteY54" fmla="*/ 41815 h 366712"/>
                <a:gd name="connsiteX55" fmla="*/ 395288 w 895350"/>
                <a:gd name="connsiteY55" fmla="*/ 24670 h 366712"/>
                <a:gd name="connsiteX56" fmla="*/ 352425 w 895350"/>
                <a:gd name="connsiteY56" fmla="*/ 10382 h 366712"/>
                <a:gd name="connsiteX57" fmla="*/ 302895 w 895350"/>
                <a:gd name="connsiteY57" fmla="*/ 0 h 366712"/>
                <a:gd name="connsiteX58" fmla="*/ 271463 w 895350"/>
                <a:gd name="connsiteY58" fmla="*/ 31432 h 366712"/>
                <a:gd name="connsiteX59" fmla="*/ 292418 w 895350"/>
                <a:gd name="connsiteY59" fmla="*/ 56102 h 366712"/>
                <a:gd name="connsiteX60" fmla="*/ 289560 w 895350"/>
                <a:gd name="connsiteY60" fmla="*/ 70390 h 366712"/>
                <a:gd name="connsiteX61" fmla="*/ 267653 w 895350"/>
                <a:gd name="connsiteY61" fmla="*/ 87630 h 366712"/>
                <a:gd name="connsiteX62" fmla="*/ 254318 w 895350"/>
                <a:gd name="connsiteY62" fmla="*/ 77057 h 366712"/>
                <a:gd name="connsiteX63" fmla="*/ 197168 w 895350"/>
                <a:gd name="connsiteY63" fmla="*/ 77057 h 366712"/>
                <a:gd name="connsiteX64" fmla="*/ 180023 w 895350"/>
                <a:gd name="connsiteY64" fmla="*/ 56102 h 366712"/>
                <a:gd name="connsiteX65" fmla="*/ 144780 w 895350"/>
                <a:gd name="connsiteY65" fmla="*/ 49530 h 366712"/>
                <a:gd name="connsiteX66" fmla="*/ 113348 w 895350"/>
                <a:gd name="connsiteY66" fmla="*/ 45720 h 366712"/>
                <a:gd name="connsiteX67" fmla="*/ 53340 w 895350"/>
                <a:gd name="connsiteY67" fmla="*/ 77057 h 366712"/>
                <a:gd name="connsiteX68" fmla="*/ 39053 w 895350"/>
                <a:gd name="connsiteY68" fmla="*/ 91345 h 366712"/>
                <a:gd name="connsiteX69" fmla="*/ 14288 w 895350"/>
                <a:gd name="connsiteY69" fmla="*/ 95250 h 366712"/>
                <a:gd name="connsiteX70" fmla="*/ 0 w 895350"/>
                <a:gd name="connsiteY70" fmla="*/ 109538 h 366712"/>
                <a:gd name="connsiteX71" fmla="*/ 7620 w 895350"/>
                <a:gd name="connsiteY71" fmla="*/ 126682 h 366712"/>
                <a:gd name="connsiteX72" fmla="*/ 24765 w 895350"/>
                <a:gd name="connsiteY72" fmla="*/ 144780 h 3667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895350" h="366712">
                  <a:moveTo>
                    <a:pt x="24765" y="144780"/>
                  </a:moveTo>
                  <a:lnTo>
                    <a:pt x="53340" y="147638"/>
                  </a:lnTo>
                  <a:lnTo>
                    <a:pt x="78105" y="172307"/>
                  </a:lnTo>
                  <a:lnTo>
                    <a:pt x="92393" y="193357"/>
                  </a:lnTo>
                  <a:lnTo>
                    <a:pt x="92393" y="207645"/>
                  </a:lnTo>
                  <a:lnTo>
                    <a:pt x="80963" y="221932"/>
                  </a:lnTo>
                  <a:lnTo>
                    <a:pt x="88582" y="242888"/>
                  </a:lnTo>
                  <a:lnTo>
                    <a:pt x="102870" y="250507"/>
                  </a:lnTo>
                  <a:lnTo>
                    <a:pt x="161925" y="253270"/>
                  </a:lnTo>
                  <a:lnTo>
                    <a:pt x="180023" y="271463"/>
                  </a:lnTo>
                  <a:lnTo>
                    <a:pt x="219075" y="292417"/>
                  </a:lnTo>
                  <a:lnTo>
                    <a:pt x="229553" y="317182"/>
                  </a:lnTo>
                  <a:lnTo>
                    <a:pt x="240030" y="331470"/>
                  </a:lnTo>
                  <a:lnTo>
                    <a:pt x="335280" y="335280"/>
                  </a:lnTo>
                  <a:lnTo>
                    <a:pt x="383857" y="338138"/>
                  </a:lnTo>
                  <a:lnTo>
                    <a:pt x="426720" y="359092"/>
                  </a:lnTo>
                  <a:lnTo>
                    <a:pt x="489585" y="366713"/>
                  </a:lnTo>
                  <a:lnTo>
                    <a:pt x="528638" y="341852"/>
                  </a:lnTo>
                  <a:lnTo>
                    <a:pt x="605790" y="341852"/>
                  </a:lnTo>
                  <a:lnTo>
                    <a:pt x="638175" y="323850"/>
                  </a:lnTo>
                  <a:lnTo>
                    <a:pt x="638175" y="313277"/>
                  </a:lnTo>
                  <a:lnTo>
                    <a:pt x="669607" y="296132"/>
                  </a:lnTo>
                  <a:lnTo>
                    <a:pt x="659130" y="275177"/>
                  </a:lnTo>
                  <a:lnTo>
                    <a:pt x="669607" y="253270"/>
                  </a:lnTo>
                  <a:lnTo>
                    <a:pt x="694373" y="253270"/>
                  </a:lnTo>
                  <a:lnTo>
                    <a:pt x="725805" y="257175"/>
                  </a:lnTo>
                  <a:lnTo>
                    <a:pt x="750570" y="232315"/>
                  </a:lnTo>
                  <a:lnTo>
                    <a:pt x="779145" y="232315"/>
                  </a:lnTo>
                  <a:lnTo>
                    <a:pt x="810578" y="207645"/>
                  </a:lnTo>
                  <a:lnTo>
                    <a:pt x="845820" y="193357"/>
                  </a:lnTo>
                  <a:lnTo>
                    <a:pt x="866775" y="193357"/>
                  </a:lnTo>
                  <a:lnTo>
                    <a:pt x="895350" y="197167"/>
                  </a:lnTo>
                  <a:lnTo>
                    <a:pt x="891540" y="179927"/>
                  </a:lnTo>
                  <a:lnTo>
                    <a:pt x="856298" y="144780"/>
                  </a:lnTo>
                  <a:lnTo>
                    <a:pt x="838200" y="140970"/>
                  </a:lnTo>
                  <a:lnTo>
                    <a:pt x="824865" y="151352"/>
                  </a:lnTo>
                  <a:lnTo>
                    <a:pt x="775335" y="147638"/>
                  </a:lnTo>
                  <a:lnTo>
                    <a:pt x="782003" y="122777"/>
                  </a:lnTo>
                  <a:lnTo>
                    <a:pt x="796290" y="91345"/>
                  </a:lnTo>
                  <a:lnTo>
                    <a:pt x="806768" y="77057"/>
                  </a:lnTo>
                  <a:lnTo>
                    <a:pt x="764857" y="74295"/>
                  </a:lnTo>
                  <a:lnTo>
                    <a:pt x="750570" y="62770"/>
                  </a:lnTo>
                  <a:lnTo>
                    <a:pt x="732473" y="66675"/>
                  </a:lnTo>
                  <a:lnTo>
                    <a:pt x="701040" y="91345"/>
                  </a:lnTo>
                  <a:lnTo>
                    <a:pt x="648653" y="101917"/>
                  </a:lnTo>
                  <a:lnTo>
                    <a:pt x="616268" y="105632"/>
                  </a:lnTo>
                  <a:lnTo>
                    <a:pt x="578168" y="101917"/>
                  </a:lnTo>
                  <a:lnTo>
                    <a:pt x="567690" y="91345"/>
                  </a:lnTo>
                  <a:lnTo>
                    <a:pt x="557213" y="77057"/>
                  </a:lnTo>
                  <a:lnTo>
                    <a:pt x="539115" y="74295"/>
                  </a:lnTo>
                  <a:lnTo>
                    <a:pt x="528638" y="62770"/>
                  </a:lnTo>
                  <a:lnTo>
                    <a:pt x="486728" y="56102"/>
                  </a:lnTo>
                  <a:lnTo>
                    <a:pt x="461963" y="70390"/>
                  </a:lnTo>
                  <a:lnTo>
                    <a:pt x="416243" y="62770"/>
                  </a:lnTo>
                  <a:lnTo>
                    <a:pt x="398145" y="41815"/>
                  </a:lnTo>
                  <a:lnTo>
                    <a:pt x="395288" y="24670"/>
                  </a:lnTo>
                  <a:lnTo>
                    <a:pt x="352425" y="10382"/>
                  </a:lnTo>
                  <a:lnTo>
                    <a:pt x="302895" y="0"/>
                  </a:lnTo>
                  <a:lnTo>
                    <a:pt x="271463" y="31432"/>
                  </a:lnTo>
                  <a:lnTo>
                    <a:pt x="292418" y="56102"/>
                  </a:lnTo>
                  <a:lnTo>
                    <a:pt x="289560" y="70390"/>
                  </a:lnTo>
                  <a:lnTo>
                    <a:pt x="267653" y="87630"/>
                  </a:lnTo>
                  <a:lnTo>
                    <a:pt x="254318" y="77057"/>
                  </a:lnTo>
                  <a:lnTo>
                    <a:pt x="197168" y="77057"/>
                  </a:lnTo>
                  <a:lnTo>
                    <a:pt x="180023" y="56102"/>
                  </a:lnTo>
                  <a:lnTo>
                    <a:pt x="144780" y="49530"/>
                  </a:lnTo>
                  <a:lnTo>
                    <a:pt x="113348" y="45720"/>
                  </a:lnTo>
                  <a:lnTo>
                    <a:pt x="53340" y="77057"/>
                  </a:lnTo>
                  <a:lnTo>
                    <a:pt x="39053" y="91345"/>
                  </a:lnTo>
                  <a:lnTo>
                    <a:pt x="14288" y="95250"/>
                  </a:lnTo>
                  <a:lnTo>
                    <a:pt x="0" y="109538"/>
                  </a:lnTo>
                  <a:lnTo>
                    <a:pt x="7620" y="126682"/>
                  </a:lnTo>
                  <a:lnTo>
                    <a:pt x="24765" y="14478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93" name="Freeform: Shape 3792">
              <a:extLst>
                <a:ext uri="{FF2B5EF4-FFF2-40B4-BE49-F238E27FC236}">
                  <a16:creationId xmlns:a16="http://schemas.microsoft.com/office/drawing/2014/main" id="{96DFF352-D29B-7E27-9FCC-60EE5D943D36}"/>
                </a:ext>
              </a:extLst>
            </p:cNvPr>
            <p:cNvSpPr/>
            <p:nvPr/>
          </p:nvSpPr>
          <p:spPr>
            <a:xfrm>
              <a:off x="8134881" y="3513832"/>
              <a:ext cx="66294" cy="62560"/>
            </a:xfrm>
            <a:custGeom>
              <a:avLst/>
              <a:gdLst>
                <a:gd name="connsiteX0" fmla="*/ 20955 w 67627"/>
                <a:gd name="connsiteY0" fmla="*/ 49530 h 63817"/>
                <a:gd name="connsiteX1" fmla="*/ 24765 w 67627"/>
                <a:gd name="connsiteY1" fmla="*/ 63817 h 63817"/>
                <a:gd name="connsiteX2" fmla="*/ 53340 w 67627"/>
                <a:gd name="connsiteY2" fmla="*/ 49530 h 63817"/>
                <a:gd name="connsiteX3" fmla="*/ 67628 w 67627"/>
                <a:gd name="connsiteY3" fmla="*/ 35147 h 63817"/>
                <a:gd name="connsiteX4" fmla="*/ 67628 w 67627"/>
                <a:gd name="connsiteY4" fmla="*/ 21908 h 63817"/>
                <a:gd name="connsiteX5" fmla="*/ 35243 w 67627"/>
                <a:gd name="connsiteY5" fmla="*/ 0 h 63817"/>
                <a:gd name="connsiteX6" fmla="*/ 0 w 67627"/>
                <a:gd name="connsiteY6" fmla="*/ 14288 h 63817"/>
                <a:gd name="connsiteX7" fmla="*/ 3810 w 67627"/>
                <a:gd name="connsiteY7" fmla="*/ 39052 h 63817"/>
                <a:gd name="connsiteX8" fmla="*/ 20955 w 67627"/>
                <a:gd name="connsiteY8" fmla="*/ 49530 h 63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7627" h="63817">
                  <a:moveTo>
                    <a:pt x="20955" y="49530"/>
                  </a:moveTo>
                  <a:lnTo>
                    <a:pt x="24765" y="63817"/>
                  </a:lnTo>
                  <a:lnTo>
                    <a:pt x="53340" y="49530"/>
                  </a:lnTo>
                  <a:lnTo>
                    <a:pt x="67628" y="35147"/>
                  </a:lnTo>
                  <a:lnTo>
                    <a:pt x="67628" y="21908"/>
                  </a:lnTo>
                  <a:lnTo>
                    <a:pt x="35243" y="0"/>
                  </a:lnTo>
                  <a:lnTo>
                    <a:pt x="0" y="14288"/>
                  </a:lnTo>
                  <a:lnTo>
                    <a:pt x="3810" y="39052"/>
                  </a:lnTo>
                  <a:lnTo>
                    <a:pt x="20955" y="4953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94" name="Freeform: Shape 3793">
              <a:extLst>
                <a:ext uri="{FF2B5EF4-FFF2-40B4-BE49-F238E27FC236}">
                  <a16:creationId xmlns:a16="http://schemas.microsoft.com/office/drawing/2014/main" id="{F3AE9003-B915-929F-0B2A-610724FD41D3}"/>
                </a:ext>
              </a:extLst>
            </p:cNvPr>
            <p:cNvSpPr/>
            <p:nvPr/>
          </p:nvSpPr>
          <p:spPr>
            <a:xfrm>
              <a:off x="9316043" y="2919885"/>
              <a:ext cx="75631" cy="6629"/>
            </a:xfrm>
            <a:custGeom>
              <a:avLst/>
              <a:gdLst>
                <a:gd name="connsiteX0" fmla="*/ 77153 w 77152"/>
                <a:gd name="connsiteY0" fmla="*/ 0 h 6762"/>
                <a:gd name="connsiteX1" fmla="*/ 0 w 77152"/>
                <a:gd name="connsiteY1" fmla="*/ 6763 h 6762"/>
                <a:gd name="connsiteX2" fmla="*/ 45720 w 77152"/>
                <a:gd name="connsiteY2" fmla="*/ 2858 h 6762"/>
                <a:gd name="connsiteX3" fmla="*/ 77153 w 77152"/>
                <a:gd name="connsiteY3" fmla="*/ 0 h 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152" h="6762">
                  <a:moveTo>
                    <a:pt x="77153" y="0"/>
                  </a:moveTo>
                  <a:lnTo>
                    <a:pt x="0" y="6763"/>
                  </a:lnTo>
                  <a:lnTo>
                    <a:pt x="45720" y="2858"/>
                  </a:lnTo>
                  <a:lnTo>
                    <a:pt x="77153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95" name="Freeform: Shape 3794">
              <a:extLst>
                <a:ext uri="{FF2B5EF4-FFF2-40B4-BE49-F238E27FC236}">
                  <a16:creationId xmlns:a16="http://schemas.microsoft.com/office/drawing/2014/main" id="{ADE602D1-CA29-4DDC-7F6B-BF200D1D7476}"/>
                </a:ext>
              </a:extLst>
            </p:cNvPr>
            <p:cNvSpPr/>
            <p:nvPr/>
          </p:nvSpPr>
          <p:spPr>
            <a:xfrm>
              <a:off x="8189972" y="3683771"/>
              <a:ext cx="225027" cy="124186"/>
            </a:xfrm>
            <a:custGeom>
              <a:avLst/>
              <a:gdLst>
                <a:gd name="connsiteX0" fmla="*/ 0 w 229552"/>
                <a:gd name="connsiteY0" fmla="*/ 52388 h 126682"/>
                <a:gd name="connsiteX1" fmla="*/ 35243 w 229552"/>
                <a:gd name="connsiteY1" fmla="*/ 62770 h 126682"/>
                <a:gd name="connsiteX2" fmla="*/ 84773 w 229552"/>
                <a:gd name="connsiteY2" fmla="*/ 91345 h 126682"/>
                <a:gd name="connsiteX3" fmla="*/ 127635 w 229552"/>
                <a:gd name="connsiteY3" fmla="*/ 95250 h 126682"/>
                <a:gd name="connsiteX4" fmla="*/ 155257 w 229552"/>
                <a:gd name="connsiteY4" fmla="*/ 116110 h 126682"/>
                <a:gd name="connsiteX5" fmla="*/ 180023 w 229552"/>
                <a:gd name="connsiteY5" fmla="*/ 126683 h 126682"/>
                <a:gd name="connsiteX6" fmla="*/ 229552 w 229552"/>
                <a:gd name="connsiteY6" fmla="*/ 122872 h 126682"/>
                <a:gd name="connsiteX7" fmla="*/ 225743 w 229552"/>
                <a:gd name="connsiteY7" fmla="*/ 80963 h 126682"/>
                <a:gd name="connsiteX8" fmla="*/ 186690 w 229552"/>
                <a:gd name="connsiteY8" fmla="*/ 77057 h 126682"/>
                <a:gd name="connsiteX9" fmla="*/ 159068 w 229552"/>
                <a:gd name="connsiteY9" fmla="*/ 73247 h 126682"/>
                <a:gd name="connsiteX10" fmla="*/ 127635 w 229552"/>
                <a:gd name="connsiteY10" fmla="*/ 52388 h 126682"/>
                <a:gd name="connsiteX11" fmla="*/ 105727 w 229552"/>
                <a:gd name="connsiteY11" fmla="*/ 38100 h 126682"/>
                <a:gd name="connsiteX12" fmla="*/ 78105 w 229552"/>
                <a:gd name="connsiteY12" fmla="*/ 24670 h 126682"/>
                <a:gd name="connsiteX13" fmla="*/ 53340 w 229552"/>
                <a:gd name="connsiteY13" fmla="*/ 0 h 126682"/>
                <a:gd name="connsiteX14" fmla="*/ 28575 w 229552"/>
                <a:gd name="connsiteY14" fmla="*/ 10382 h 126682"/>
                <a:gd name="connsiteX15" fmla="*/ 7620 w 229552"/>
                <a:gd name="connsiteY15" fmla="*/ 24670 h 126682"/>
                <a:gd name="connsiteX16" fmla="*/ 0 w 229552"/>
                <a:gd name="connsiteY16" fmla="*/ 52388 h 12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29552" h="126682">
                  <a:moveTo>
                    <a:pt x="0" y="52388"/>
                  </a:moveTo>
                  <a:lnTo>
                    <a:pt x="35243" y="62770"/>
                  </a:lnTo>
                  <a:lnTo>
                    <a:pt x="84773" y="91345"/>
                  </a:lnTo>
                  <a:lnTo>
                    <a:pt x="127635" y="95250"/>
                  </a:lnTo>
                  <a:lnTo>
                    <a:pt x="155257" y="116110"/>
                  </a:lnTo>
                  <a:lnTo>
                    <a:pt x="180023" y="126683"/>
                  </a:lnTo>
                  <a:lnTo>
                    <a:pt x="229552" y="122872"/>
                  </a:lnTo>
                  <a:lnTo>
                    <a:pt x="225743" y="80963"/>
                  </a:lnTo>
                  <a:lnTo>
                    <a:pt x="186690" y="77057"/>
                  </a:lnTo>
                  <a:lnTo>
                    <a:pt x="159068" y="73247"/>
                  </a:lnTo>
                  <a:lnTo>
                    <a:pt x="127635" y="52388"/>
                  </a:lnTo>
                  <a:lnTo>
                    <a:pt x="105727" y="38100"/>
                  </a:lnTo>
                  <a:lnTo>
                    <a:pt x="78105" y="24670"/>
                  </a:lnTo>
                  <a:lnTo>
                    <a:pt x="53340" y="0"/>
                  </a:lnTo>
                  <a:lnTo>
                    <a:pt x="28575" y="10382"/>
                  </a:lnTo>
                  <a:lnTo>
                    <a:pt x="7620" y="24670"/>
                  </a:lnTo>
                  <a:lnTo>
                    <a:pt x="0" y="5238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96" name="Freeform: Shape 3795">
              <a:extLst>
                <a:ext uri="{FF2B5EF4-FFF2-40B4-BE49-F238E27FC236}">
                  <a16:creationId xmlns:a16="http://schemas.microsoft.com/office/drawing/2014/main" id="{BE4A4FB8-03F4-990E-06F7-7A8BAC1C4730}"/>
                </a:ext>
              </a:extLst>
            </p:cNvPr>
            <p:cNvSpPr/>
            <p:nvPr/>
          </p:nvSpPr>
          <p:spPr>
            <a:xfrm>
              <a:off x="8439277" y="3752867"/>
              <a:ext cx="85903" cy="44725"/>
            </a:xfrm>
            <a:custGeom>
              <a:avLst/>
              <a:gdLst>
                <a:gd name="connsiteX0" fmla="*/ 2857 w 87630"/>
                <a:gd name="connsiteY0" fmla="*/ 35147 h 45624"/>
                <a:gd name="connsiteX1" fmla="*/ 13335 w 87630"/>
                <a:gd name="connsiteY1" fmla="*/ 41910 h 45624"/>
                <a:gd name="connsiteX2" fmla="*/ 27622 w 87630"/>
                <a:gd name="connsiteY2" fmla="*/ 45625 h 45624"/>
                <a:gd name="connsiteX3" fmla="*/ 80963 w 87630"/>
                <a:gd name="connsiteY3" fmla="*/ 39053 h 45624"/>
                <a:gd name="connsiteX4" fmla="*/ 87630 w 87630"/>
                <a:gd name="connsiteY4" fmla="*/ 27623 h 45624"/>
                <a:gd name="connsiteX5" fmla="*/ 80963 w 87630"/>
                <a:gd name="connsiteY5" fmla="*/ 10478 h 45624"/>
                <a:gd name="connsiteX6" fmla="*/ 56197 w 87630"/>
                <a:gd name="connsiteY6" fmla="*/ 6572 h 45624"/>
                <a:gd name="connsiteX7" fmla="*/ 35243 w 87630"/>
                <a:gd name="connsiteY7" fmla="*/ 0 h 45624"/>
                <a:gd name="connsiteX8" fmla="*/ 17145 w 87630"/>
                <a:gd name="connsiteY8" fmla="*/ 0 h 45624"/>
                <a:gd name="connsiteX9" fmla="*/ 6668 w 87630"/>
                <a:gd name="connsiteY9" fmla="*/ 10478 h 45624"/>
                <a:gd name="connsiteX10" fmla="*/ 0 w 87630"/>
                <a:gd name="connsiteY10" fmla="*/ 10478 h 45624"/>
                <a:gd name="connsiteX11" fmla="*/ 0 w 87630"/>
                <a:gd name="connsiteY11" fmla="*/ 24765 h 45624"/>
                <a:gd name="connsiteX12" fmla="*/ 2857 w 87630"/>
                <a:gd name="connsiteY12" fmla="*/ 35147 h 4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7630" h="45624">
                  <a:moveTo>
                    <a:pt x="2857" y="35147"/>
                  </a:moveTo>
                  <a:lnTo>
                    <a:pt x="13335" y="41910"/>
                  </a:lnTo>
                  <a:lnTo>
                    <a:pt x="27622" y="45625"/>
                  </a:lnTo>
                  <a:lnTo>
                    <a:pt x="80963" y="39053"/>
                  </a:lnTo>
                  <a:lnTo>
                    <a:pt x="87630" y="27623"/>
                  </a:lnTo>
                  <a:lnTo>
                    <a:pt x="80963" y="10478"/>
                  </a:lnTo>
                  <a:lnTo>
                    <a:pt x="56197" y="6572"/>
                  </a:lnTo>
                  <a:lnTo>
                    <a:pt x="35243" y="0"/>
                  </a:lnTo>
                  <a:lnTo>
                    <a:pt x="17145" y="0"/>
                  </a:lnTo>
                  <a:lnTo>
                    <a:pt x="6668" y="10478"/>
                  </a:lnTo>
                  <a:lnTo>
                    <a:pt x="0" y="10478"/>
                  </a:lnTo>
                  <a:lnTo>
                    <a:pt x="0" y="24765"/>
                  </a:lnTo>
                  <a:lnTo>
                    <a:pt x="2857" y="3514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97" name="Freeform: Shape 3796">
              <a:extLst>
                <a:ext uri="{FF2B5EF4-FFF2-40B4-BE49-F238E27FC236}">
                  <a16:creationId xmlns:a16="http://schemas.microsoft.com/office/drawing/2014/main" id="{55D04187-6FCD-69D6-9279-A1BFC8D52BD0}"/>
                </a:ext>
              </a:extLst>
            </p:cNvPr>
            <p:cNvSpPr/>
            <p:nvPr/>
          </p:nvSpPr>
          <p:spPr>
            <a:xfrm>
              <a:off x="9464505" y="2975068"/>
              <a:ext cx="18674" cy="44818"/>
            </a:xfrm>
            <a:custGeom>
              <a:avLst/>
              <a:gdLst>
                <a:gd name="connsiteX0" fmla="*/ 19050 w 19050"/>
                <a:gd name="connsiteY0" fmla="*/ 45720 h 45719"/>
                <a:gd name="connsiteX1" fmla="*/ 0 w 19050"/>
                <a:gd name="connsiteY1" fmla="*/ 0 h 45719"/>
                <a:gd name="connsiteX2" fmla="*/ 14288 w 19050"/>
                <a:gd name="connsiteY2" fmla="*/ 35242 h 45719"/>
                <a:gd name="connsiteX3" fmla="*/ 19050 w 19050"/>
                <a:gd name="connsiteY3" fmla="*/ 45720 h 4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5719">
                  <a:moveTo>
                    <a:pt x="19050" y="45720"/>
                  </a:moveTo>
                  <a:lnTo>
                    <a:pt x="0" y="0"/>
                  </a:lnTo>
                  <a:lnTo>
                    <a:pt x="14288" y="35242"/>
                  </a:lnTo>
                  <a:lnTo>
                    <a:pt x="19050" y="4572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98" name="Freeform: Shape 3797">
              <a:extLst>
                <a:ext uri="{FF2B5EF4-FFF2-40B4-BE49-F238E27FC236}">
                  <a16:creationId xmlns:a16="http://schemas.microsoft.com/office/drawing/2014/main" id="{B717DC56-966A-7264-3482-948D699BC542}"/>
                </a:ext>
              </a:extLst>
            </p:cNvPr>
            <p:cNvSpPr/>
            <p:nvPr/>
          </p:nvSpPr>
          <p:spPr>
            <a:xfrm>
              <a:off x="9529866" y="3064613"/>
              <a:ext cx="52288" cy="28012"/>
            </a:xfrm>
            <a:custGeom>
              <a:avLst/>
              <a:gdLst>
                <a:gd name="connsiteX0" fmla="*/ 41910 w 53339"/>
                <a:gd name="connsiteY0" fmla="*/ 24860 h 28575"/>
                <a:gd name="connsiteX1" fmla="*/ 53340 w 53339"/>
                <a:gd name="connsiteY1" fmla="*/ 28575 h 28575"/>
                <a:gd name="connsiteX2" fmla="*/ 0 w 53339"/>
                <a:gd name="connsiteY2" fmla="*/ 0 h 28575"/>
                <a:gd name="connsiteX3" fmla="*/ 18098 w 53339"/>
                <a:gd name="connsiteY3" fmla="*/ 10573 h 28575"/>
                <a:gd name="connsiteX4" fmla="*/ 41910 w 53339"/>
                <a:gd name="connsiteY4" fmla="*/ 2486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339" h="28575">
                  <a:moveTo>
                    <a:pt x="41910" y="24860"/>
                  </a:moveTo>
                  <a:lnTo>
                    <a:pt x="53340" y="28575"/>
                  </a:lnTo>
                  <a:lnTo>
                    <a:pt x="0" y="0"/>
                  </a:lnTo>
                  <a:lnTo>
                    <a:pt x="18098" y="10573"/>
                  </a:lnTo>
                  <a:lnTo>
                    <a:pt x="41910" y="2486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799" name="Freeform: Shape 3798">
              <a:extLst>
                <a:ext uri="{FF2B5EF4-FFF2-40B4-BE49-F238E27FC236}">
                  <a16:creationId xmlns:a16="http://schemas.microsoft.com/office/drawing/2014/main" id="{3D6B96A2-CDAD-92E8-076C-D475C3F30821}"/>
                </a:ext>
              </a:extLst>
            </p:cNvPr>
            <p:cNvSpPr/>
            <p:nvPr/>
          </p:nvSpPr>
          <p:spPr>
            <a:xfrm>
              <a:off x="3476531" y="3088983"/>
              <a:ext cx="331472" cy="249213"/>
            </a:xfrm>
            <a:custGeom>
              <a:avLst/>
              <a:gdLst>
                <a:gd name="connsiteX0" fmla="*/ 280988 w 338137"/>
                <a:gd name="connsiteY0" fmla="*/ 197072 h 254222"/>
                <a:gd name="connsiteX1" fmla="*/ 284798 w 338137"/>
                <a:gd name="connsiteY1" fmla="*/ 179927 h 254222"/>
                <a:gd name="connsiteX2" fmla="*/ 288608 w 338137"/>
                <a:gd name="connsiteY2" fmla="*/ 165640 h 254222"/>
                <a:gd name="connsiteX3" fmla="*/ 299085 w 338137"/>
                <a:gd name="connsiteY3" fmla="*/ 155258 h 254222"/>
                <a:gd name="connsiteX4" fmla="*/ 302895 w 338137"/>
                <a:gd name="connsiteY4" fmla="*/ 144685 h 254222"/>
                <a:gd name="connsiteX5" fmla="*/ 309563 w 338137"/>
                <a:gd name="connsiteY5" fmla="*/ 144685 h 254222"/>
                <a:gd name="connsiteX6" fmla="*/ 320040 w 338137"/>
                <a:gd name="connsiteY6" fmla="*/ 155258 h 254222"/>
                <a:gd name="connsiteX7" fmla="*/ 334327 w 338137"/>
                <a:gd name="connsiteY7" fmla="*/ 151352 h 254222"/>
                <a:gd name="connsiteX8" fmla="*/ 338138 w 338137"/>
                <a:gd name="connsiteY8" fmla="*/ 137065 h 254222"/>
                <a:gd name="connsiteX9" fmla="*/ 326708 w 338137"/>
                <a:gd name="connsiteY9" fmla="*/ 120015 h 254222"/>
                <a:gd name="connsiteX10" fmla="*/ 313373 w 338137"/>
                <a:gd name="connsiteY10" fmla="*/ 105727 h 254222"/>
                <a:gd name="connsiteX11" fmla="*/ 292418 w 338137"/>
                <a:gd name="connsiteY11" fmla="*/ 98965 h 254222"/>
                <a:gd name="connsiteX12" fmla="*/ 270510 w 338137"/>
                <a:gd name="connsiteY12" fmla="*/ 95250 h 254222"/>
                <a:gd name="connsiteX13" fmla="*/ 242888 w 338137"/>
                <a:gd name="connsiteY13" fmla="*/ 95250 h 254222"/>
                <a:gd name="connsiteX14" fmla="*/ 221933 w 338137"/>
                <a:gd name="connsiteY14" fmla="*/ 91440 h 254222"/>
                <a:gd name="connsiteX15" fmla="*/ 210503 w 338137"/>
                <a:gd name="connsiteY15" fmla="*/ 80963 h 254222"/>
                <a:gd name="connsiteX16" fmla="*/ 203835 w 338137"/>
                <a:gd name="connsiteY16" fmla="*/ 63722 h 254222"/>
                <a:gd name="connsiteX17" fmla="*/ 197168 w 338137"/>
                <a:gd name="connsiteY17" fmla="*/ 41815 h 254222"/>
                <a:gd name="connsiteX18" fmla="*/ 193358 w 338137"/>
                <a:gd name="connsiteY18" fmla="*/ 35147 h 254222"/>
                <a:gd name="connsiteX19" fmla="*/ 172403 w 338137"/>
                <a:gd name="connsiteY19" fmla="*/ 35147 h 254222"/>
                <a:gd name="connsiteX20" fmla="*/ 164783 w 338137"/>
                <a:gd name="connsiteY20" fmla="*/ 20860 h 254222"/>
                <a:gd name="connsiteX21" fmla="*/ 154305 w 338137"/>
                <a:gd name="connsiteY21" fmla="*/ 6572 h 254222"/>
                <a:gd name="connsiteX22" fmla="*/ 137160 w 338137"/>
                <a:gd name="connsiteY22" fmla="*/ 6572 h 254222"/>
                <a:gd name="connsiteX23" fmla="*/ 119063 w 338137"/>
                <a:gd name="connsiteY23" fmla="*/ 0 h 254222"/>
                <a:gd name="connsiteX24" fmla="*/ 105728 w 338137"/>
                <a:gd name="connsiteY24" fmla="*/ 0 h 254222"/>
                <a:gd name="connsiteX25" fmla="*/ 91440 w 338137"/>
                <a:gd name="connsiteY25" fmla="*/ 10477 h 254222"/>
                <a:gd name="connsiteX26" fmla="*/ 73343 w 338137"/>
                <a:gd name="connsiteY26" fmla="*/ 20860 h 254222"/>
                <a:gd name="connsiteX27" fmla="*/ 59055 w 338137"/>
                <a:gd name="connsiteY27" fmla="*/ 31433 h 254222"/>
                <a:gd name="connsiteX28" fmla="*/ 48578 w 338137"/>
                <a:gd name="connsiteY28" fmla="*/ 28575 h 254222"/>
                <a:gd name="connsiteX29" fmla="*/ 38100 w 338137"/>
                <a:gd name="connsiteY29" fmla="*/ 28575 h 254222"/>
                <a:gd name="connsiteX30" fmla="*/ 59055 w 338137"/>
                <a:gd name="connsiteY30" fmla="*/ 31433 h 254222"/>
                <a:gd name="connsiteX31" fmla="*/ 56198 w 338137"/>
                <a:gd name="connsiteY31" fmla="*/ 39052 h 254222"/>
                <a:gd name="connsiteX32" fmla="*/ 35243 w 338137"/>
                <a:gd name="connsiteY32" fmla="*/ 45720 h 254222"/>
                <a:gd name="connsiteX33" fmla="*/ 20955 w 338137"/>
                <a:gd name="connsiteY33" fmla="*/ 53340 h 254222"/>
                <a:gd name="connsiteX34" fmla="*/ 6668 w 338137"/>
                <a:gd name="connsiteY34" fmla="*/ 66675 h 254222"/>
                <a:gd name="connsiteX35" fmla="*/ 0 w 338137"/>
                <a:gd name="connsiteY35" fmla="*/ 74295 h 254222"/>
                <a:gd name="connsiteX36" fmla="*/ 17145 w 338137"/>
                <a:gd name="connsiteY36" fmla="*/ 80963 h 254222"/>
                <a:gd name="connsiteX37" fmla="*/ 41910 w 338137"/>
                <a:gd name="connsiteY37" fmla="*/ 80963 h 254222"/>
                <a:gd name="connsiteX38" fmla="*/ 62865 w 338137"/>
                <a:gd name="connsiteY38" fmla="*/ 80963 h 254222"/>
                <a:gd name="connsiteX39" fmla="*/ 73343 w 338137"/>
                <a:gd name="connsiteY39" fmla="*/ 74295 h 254222"/>
                <a:gd name="connsiteX40" fmla="*/ 80963 w 338137"/>
                <a:gd name="connsiteY40" fmla="*/ 66675 h 254222"/>
                <a:gd name="connsiteX41" fmla="*/ 94298 w 338137"/>
                <a:gd name="connsiteY41" fmla="*/ 56102 h 254222"/>
                <a:gd name="connsiteX42" fmla="*/ 101918 w 338137"/>
                <a:gd name="connsiteY42" fmla="*/ 66675 h 254222"/>
                <a:gd name="connsiteX43" fmla="*/ 119063 w 338137"/>
                <a:gd name="connsiteY43" fmla="*/ 77152 h 254222"/>
                <a:gd name="connsiteX44" fmla="*/ 137160 w 338137"/>
                <a:gd name="connsiteY44" fmla="*/ 84677 h 254222"/>
                <a:gd name="connsiteX45" fmla="*/ 154305 w 338137"/>
                <a:gd name="connsiteY45" fmla="*/ 80963 h 254222"/>
                <a:gd name="connsiteX46" fmla="*/ 168593 w 338137"/>
                <a:gd name="connsiteY46" fmla="*/ 80963 h 254222"/>
                <a:gd name="connsiteX47" fmla="*/ 186690 w 338137"/>
                <a:gd name="connsiteY47" fmla="*/ 77152 h 254222"/>
                <a:gd name="connsiteX48" fmla="*/ 197168 w 338137"/>
                <a:gd name="connsiteY48" fmla="*/ 84677 h 254222"/>
                <a:gd name="connsiteX49" fmla="*/ 210503 w 338137"/>
                <a:gd name="connsiteY49" fmla="*/ 95250 h 254222"/>
                <a:gd name="connsiteX50" fmla="*/ 210503 w 338137"/>
                <a:gd name="connsiteY50" fmla="*/ 101822 h 254222"/>
                <a:gd name="connsiteX51" fmla="*/ 197168 w 338137"/>
                <a:gd name="connsiteY51" fmla="*/ 95250 h 254222"/>
                <a:gd name="connsiteX52" fmla="*/ 179070 w 338137"/>
                <a:gd name="connsiteY52" fmla="*/ 95250 h 254222"/>
                <a:gd name="connsiteX53" fmla="*/ 164783 w 338137"/>
                <a:gd name="connsiteY53" fmla="*/ 105727 h 254222"/>
                <a:gd name="connsiteX54" fmla="*/ 154305 w 338137"/>
                <a:gd name="connsiteY54" fmla="*/ 109538 h 254222"/>
                <a:gd name="connsiteX55" fmla="*/ 147638 w 338137"/>
                <a:gd name="connsiteY55" fmla="*/ 101822 h 254222"/>
                <a:gd name="connsiteX56" fmla="*/ 140970 w 338137"/>
                <a:gd name="connsiteY56" fmla="*/ 109538 h 254222"/>
                <a:gd name="connsiteX57" fmla="*/ 126683 w 338137"/>
                <a:gd name="connsiteY57" fmla="*/ 123825 h 254222"/>
                <a:gd name="connsiteX58" fmla="*/ 108585 w 338137"/>
                <a:gd name="connsiteY58" fmla="*/ 137065 h 254222"/>
                <a:gd name="connsiteX59" fmla="*/ 112395 w 338137"/>
                <a:gd name="connsiteY59" fmla="*/ 151352 h 254222"/>
                <a:gd name="connsiteX60" fmla="*/ 126683 w 338137"/>
                <a:gd name="connsiteY60" fmla="*/ 147638 h 254222"/>
                <a:gd name="connsiteX61" fmla="*/ 133350 w 338137"/>
                <a:gd name="connsiteY61" fmla="*/ 134302 h 254222"/>
                <a:gd name="connsiteX62" fmla="*/ 119063 w 338137"/>
                <a:gd name="connsiteY62" fmla="*/ 165640 h 254222"/>
                <a:gd name="connsiteX63" fmla="*/ 112395 w 338137"/>
                <a:gd name="connsiteY63" fmla="*/ 207645 h 254222"/>
                <a:gd name="connsiteX64" fmla="*/ 112395 w 338137"/>
                <a:gd name="connsiteY64" fmla="*/ 229552 h 254222"/>
                <a:gd name="connsiteX65" fmla="*/ 119063 w 338137"/>
                <a:gd name="connsiteY65" fmla="*/ 254222 h 254222"/>
                <a:gd name="connsiteX66" fmla="*/ 137160 w 338137"/>
                <a:gd name="connsiteY66" fmla="*/ 250508 h 254222"/>
                <a:gd name="connsiteX67" fmla="*/ 154305 w 338137"/>
                <a:gd name="connsiteY67" fmla="*/ 236220 h 254222"/>
                <a:gd name="connsiteX68" fmla="*/ 161925 w 338137"/>
                <a:gd name="connsiteY68" fmla="*/ 219075 h 254222"/>
                <a:gd name="connsiteX69" fmla="*/ 161925 w 338137"/>
                <a:gd name="connsiteY69" fmla="*/ 197072 h 254222"/>
                <a:gd name="connsiteX70" fmla="*/ 161925 w 338137"/>
                <a:gd name="connsiteY70" fmla="*/ 179927 h 254222"/>
                <a:gd name="connsiteX71" fmla="*/ 161925 w 338137"/>
                <a:gd name="connsiteY71" fmla="*/ 158972 h 254222"/>
                <a:gd name="connsiteX72" fmla="*/ 161925 w 338137"/>
                <a:gd name="connsiteY72" fmla="*/ 144685 h 254222"/>
                <a:gd name="connsiteX73" fmla="*/ 164783 w 338137"/>
                <a:gd name="connsiteY73" fmla="*/ 137065 h 254222"/>
                <a:gd name="connsiteX74" fmla="*/ 176213 w 338137"/>
                <a:gd name="connsiteY74" fmla="*/ 137065 h 254222"/>
                <a:gd name="connsiteX75" fmla="*/ 182880 w 338137"/>
                <a:gd name="connsiteY75" fmla="*/ 130397 h 254222"/>
                <a:gd name="connsiteX76" fmla="*/ 189548 w 338137"/>
                <a:gd name="connsiteY76" fmla="*/ 120015 h 254222"/>
                <a:gd name="connsiteX77" fmla="*/ 203835 w 338137"/>
                <a:gd name="connsiteY77" fmla="*/ 116110 h 254222"/>
                <a:gd name="connsiteX78" fmla="*/ 218123 w 338137"/>
                <a:gd name="connsiteY78" fmla="*/ 123825 h 254222"/>
                <a:gd name="connsiteX79" fmla="*/ 235268 w 338137"/>
                <a:gd name="connsiteY79" fmla="*/ 126683 h 254222"/>
                <a:gd name="connsiteX80" fmla="*/ 242888 w 338137"/>
                <a:gd name="connsiteY80" fmla="*/ 140970 h 254222"/>
                <a:gd name="connsiteX81" fmla="*/ 239078 w 338137"/>
                <a:gd name="connsiteY81" fmla="*/ 158972 h 254222"/>
                <a:gd name="connsiteX82" fmla="*/ 232410 w 338137"/>
                <a:gd name="connsiteY82" fmla="*/ 172402 h 254222"/>
                <a:gd name="connsiteX83" fmla="*/ 224790 w 338137"/>
                <a:gd name="connsiteY83" fmla="*/ 179927 h 254222"/>
                <a:gd name="connsiteX84" fmla="*/ 228600 w 338137"/>
                <a:gd name="connsiteY84" fmla="*/ 186690 h 254222"/>
                <a:gd name="connsiteX85" fmla="*/ 239078 w 338137"/>
                <a:gd name="connsiteY85" fmla="*/ 179927 h 254222"/>
                <a:gd name="connsiteX86" fmla="*/ 249555 w 338137"/>
                <a:gd name="connsiteY86" fmla="*/ 172402 h 254222"/>
                <a:gd name="connsiteX87" fmla="*/ 260033 w 338137"/>
                <a:gd name="connsiteY87" fmla="*/ 176213 h 254222"/>
                <a:gd name="connsiteX88" fmla="*/ 260033 w 338137"/>
                <a:gd name="connsiteY88" fmla="*/ 194215 h 254222"/>
                <a:gd name="connsiteX89" fmla="*/ 257175 w 338137"/>
                <a:gd name="connsiteY89" fmla="*/ 204788 h 254222"/>
                <a:gd name="connsiteX90" fmla="*/ 267653 w 338137"/>
                <a:gd name="connsiteY90" fmla="*/ 200977 h 254222"/>
                <a:gd name="connsiteX91" fmla="*/ 280988 w 338137"/>
                <a:gd name="connsiteY91" fmla="*/ 197072 h 254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338137" h="254222">
                  <a:moveTo>
                    <a:pt x="280988" y="197072"/>
                  </a:moveTo>
                  <a:lnTo>
                    <a:pt x="284798" y="179927"/>
                  </a:lnTo>
                  <a:lnTo>
                    <a:pt x="288608" y="165640"/>
                  </a:lnTo>
                  <a:lnTo>
                    <a:pt x="299085" y="155258"/>
                  </a:lnTo>
                  <a:lnTo>
                    <a:pt x="302895" y="144685"/>
                  </a:lnTo>
                  <a:lnTo>
                    <a:pt x="309563" y="144685"/>
                  </a:lnTo>
                  <a:lnTo>
                    <a:pt x="320040" y="155258"/>
                  </a:lnTo>
                  <a:lnTo>
                    <a:pt x="334327" y="151352"/>
                  </a:lnTo>
                  <a:lnTo>
                    <a:pt x="338138" y="137065"/>
                  </a:lnTo>
                  <a:lnTo>
                    <a:pt x="326708" y="120015"/>
                  </a:lnTo>
                  <a:lnTo>
                    <a:pt x="313373" y="105727"/>
                  </a:lnTo>
                  <a:lnTo>
                    <a:pt x="292418" y="98965"/>
                  </a:lnTo>
                  <a:lnTo>
                    <a:pt x="270510" y="95250"/>
                  </a:lnTo>
                  <a:lnTo>
                    <a:pt x="242888" y="95250"/>
                  </a:lnTo>
                  <a:lnTo>
                    <a:pt x="221933" y="91440"/>
                  </a:lnTo>
                  <a:lnTo>
                    <a:pt x="210503" y="80963"/>
                  </a:lnTo>
                  <a:lnTo>
                    <a:pt x="203835" y="63722"/>
                  </a:lnTo>
                  <a:lnTo>
                    <a:pt x="197168" y="41815"/>
                  </a:lnTo>
                  <a:lnTo>
                    <a:pt x="193358" y="35147"/>
                  </a:lnTo>
                  <a:lnTo>
                    <a:pt x="172403" y="35147"/>
                  </a:lnTo>
                  <a:lnTo>
                    <a:pt x="164783" y="20860"/>
                  </a:lnTo>
                  <a:lnTo>
                    <a:pt x="154305" y="6572"/>
                  </a:lnTo>
                  <a:lnTo>
                    <a:pt x="137160" y="6572"/>
                  </a:lnTo>
                  <a:lnTo>
                    <a:pt x="119063" y="0"/>
                  </a:lnTo>
                  <a:lnTo>
                    <a:pt x="105728" y="0"/>
                  </a:lnTo>
                  <a:lnTo>
                    <a:pt x="91440" y="10477"/>
                  </a:lnTo>
                  <a:lnTo>
                    <a:pt x="73343" y="20860"/>
                  </a:lnTo>
                  <a:lnTo>
                    <a:pt x="59055" y="31433"/>
                  </a:lnTo>
                  <a:lnTo>
                    <a:pt x="48578" y="28575"/>
                  </a:lnTo>
                  <a:lnTo>
                    <a:pt x="38100" y="28575"/>
                  </a:lnTo>
                  <a:lnTo>
                    <a:pt x="59055" y="31433"/>
                  </a:lnTo>
                  <a:lnTo>
                    <a:pt x="56198" y="39052"/>
                  </a:lnTo>
                  <a:lnTo>
                    <a:pt x="35243" y="45720"/>
                  </a:lnTo>
                  <a:lnTo>
                    <a:pt x="20955" y="53340"/>
                  </a:lnTo>
                  <a:lnTo>
                    <a:pt x="6668" y="66675"/>
                  </a:lnTo>
                  <a:lnTo>
                    <a:pt x="0" y="74295"/>
                  </a:lnTo>
                  <a:lnTo>
                    <a:pt x="17145" y="80963"/>
                  </a:lnTo>
                  <a:lnTo>
                    <a:pt x="41910" y="80963"/>
                  </a:lnTo>
                  <a:lnTo>
                    <a:pt x="62865" y="80963"/>
                  </a:lnTo>
                  <a:lnTo>
                    <a:pt x="73343" y="74295"/>
                  </a:lnTo>
                  <a:lnTo>
                    <a:pt x="80963" y="66675"/>
                  </a:lnTo>
                  <a:lnTo>
                    <a:pt x="94298" y="56102"/>
                  </a:lnTo>
                  <a:lnTo>
                    <a:pt x="101918" y="66675"/>
                  </a:lnTo>
                  <a:lnTo>
                    <a:pt x="119063" y="77152"/>
                  </a:lnTo>
                  <a:lnTo>
                    <a:pt x="137160" y="84677"/>
                  </a:lnTo>
                  <a:lnTo>
                    <a:pt x="154305" y="80963"/>
                  </a:lnTo>
                  <a:lnTo>
                    <a:pt x="168593" y="80963"/>
                  </a:lnTo>
                  <a:lnTo>
                    <a:pt x="186690" y="77152"/>
                  </a:lnTo>
                  <a:lnTo>
                    <a:pt x="197168" y="84677"/>
                  </a:lnTo>
                  <a:lnTo>
                    <a:pt x="210503" y="95250"/>
                  </a:lnTo>
                  <a:lnTo>
                    <a:pt x="210503" y="101822"/>
                  </a:lnTo>
                  <a:lnTo>
                    <a:pt x="197168" y="95250"/>
                  </a:lnTo>
                  <a:lnTo>
                    <a:pt x="179070" y="95250"/>
                  </a:lnTo>
                  <a:lnTo>
                    <a:pt x="164783" y="105727"/>
                  </a:lnTo>
                  <a:lnTo>
                    <a:pt x="154305" y="109538"/>
                  </a:lnTo>
                  <a:lnTo>
                    <a:pt x="147638" y="101822"/>
                  </a:lnTo>
                  <a:lnTo>
                    <a:pt x="140970" y="109538"/>
                  </a:lnTo>
                  <a:lnTo>
                    <a:pt x="126683" y="123825"/>
                  </a:lnTo>
                  <a:lnTo>
                    <a:pt x="108585" y="137065"/>
                  </a:lnTo>
                  <a:lnTo>
                    <a:pt x="112395" y="151352"/>
                  </a:lnTo>
                  <a:lnTo>
                    <a:pt x="126683" y="147638"/>
                  </a:lnTo>
                  <a:lnTo>
                    <a:pt x="133350" y="134302"/>
                  </a:lnTo>
                  <a:lnTo>
                    <a:pt x="119063" y="165640"/>
                  </a:lnTo>
                  <a:lnTo>
                    <a:pt x="112395" y="207645"/>
                  </a:lnTo>
                  <a:lnTo>
                    <a:pt x="112395" y="229552"/>
                  </a:lnTo>
                  <a:lnTo>
                    <a:pt x="119063" y="254222"/>
                  </a:lnTo>
                  <a:lnTo>
                    <a:pt x="137160" y="250508"/>
                  </a:lnTo>
                  <a:lnTo>
                    <a:pt x="154305" y="236220"/>
                  </a:lnTo>
                  <a:lnTo>
                    <a:pt x="161925" y="219075"/>
                  </a:lnTo>
                  <a:lnTo>
                    <a:pt x="161925" y="197072"/>
                  </a:lnTo>
                  <a:lnTo>
                    <a:pt x="161925" y="179927"/>
                  </a:lnTo>
                  <a:lnTo>
                    <a:pt x="161925" y="158972"/>
                  </a:lnTo>
                  <a:lnTo>
                    <a:pt x="161925" y="144685"/>
                  </a:lnTo>
                  <a:lnTo>
                    <a:pt x="164783" y="137065"/>
                  </a:lnTo>
                  <a:lnTo>
                    <a:pt x="176213" y="137065"/>
                  </a:lnTo>
                  <a:lnTo>
                    <a:pt x="182880" y="130397"/>
                  </a:lnTo>
                  <a:lnTo>
                    <a:pt x="189548" y="120015"/>
                  </a:lnTo>
                  <a:lnTo>
                    <a:pt x="203835" y="116110"/>
                  </a:lnTo>
                  <a:lnTo>
                    <a:pt x="218123" y="123825"/>
                  </a:lnTo>
                  <a:lnTo>
                    <a:pt x="235268" y="126683"/>
                  </a:lnTo>
                  <a:lnTo>
                    <a:pt x="242888" y="140970"/>
                  </a:lnTo>
                  <a:lnTo>
                    <a:pt x="239078" y="158972"/>
                  </a:lnTo>
                  <a:lnTo>
                    <a:pt x="232410" y="172402"/>
                  </a:lnTo>
                  <a:lnTo>
                    <a:pt x="224790" y="179927"/>
                  </a:lnTo>
                  <a:lnTo>
                    <a:pt x="228600" y="186690"/>
                  </a:lnTo>
                  <a:lnTo>
                    <a:pt x="239078" y="179927"/>
                  </a:lnTo>
                  <a:lnTo>
                    <a:pt x="249555" y="172402"/>
                  </a:lnTo>
                  <a:lnTo>
                    <a:pt x="260033" y="176213"/>
                  </a:lnTo>
                  <a:lnTo>
                    <a:pt x="260033" y="194215"/>
                  </a:lnTo>
                  <a:lnTo>
                    <a:pt x="257175" y="204788"/>
                  </a:lnTo>
                  <a:lnTo>
                    <a:pt x="267653" y="200977"/>
                  </a:lnTo>
                  <a:lnTo>
                    <a:pt x="280988" y="19707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00" name="Freeform: Shape 3799">
              <a:extLst>
                <a:ext uri="{FF2B5EF4-FFF2-40B4-BE49-F238E27FC236}">
                  <a16:creationId xmlns:a16="http://schemas.microsoft.com/office/drawing/2014/main" id="{D78A910C-2A29-C1C0-C670-C6B1ED5EF64E}"/>
                </a:ext>
              </a:extLst>
            </p:cNvPr>
            <p:cNvSpPr/>
            <p:nvPr/>
          </p:nvSpPr>
          <p:spPr>
            <a:xfrm>
              <a:off x="7437390" y="3907867"/>
              <a:ext cx="76564" cy="14005"/>
            </a:xfrm>
            <a:custGeom>
              <a:avLst/>
              <a:gdLst>
                <a:gd name="connsiteX0" fmla="*/ 0 w 78104"/>
                <a:gd name="connsiteY0" fmla="*/ 0 h 14287"/>
                <a:gd name="connsiteX1" fmla="*/ 14288 w 78104"/>
                <a:gd name="connsiteY1" fmla="*/ 3810 h 14287"/>
                <a:gd name="connsiteX2" fmla="*/ 35242 w 78104"/>
                <a:gd name="connsiteY2" fmla="*/ 10382 h 14287"/>
                <a:gd name="connsiteX3" fmla="*/ 45720 w 78104"/>
                <a:gd name="connsiteY3" fmla="*/ 14288 h 14287"/>
                <a:gd name="connsiteX4" fmla="*/ 78105 w 78104"/>
                <a:gd name="connsiteY4" fmla="*/ 10382 h 14287"/>
                <a:gd name="connsiteX5" fmla="*/ 45720 w 78104"/>
                <a:gd name="connsiteY5" fmla="*/ 10382 h 14287"/>
                <a:gd name="connsiteX6" fmla="*/ 0 w 78104"/>
                <a:gd name="connsiteY6" fmla="*/ 0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8104" h="14287">
                  <a:moveTo>
                    <a:pt x="0" y="0"/>
                  </a:moveTo>
                  <a:lnTo>
                    <a:pt x="14288" y="3810"/>
                  </a:lnTo>
                  <a:lnTo>
                    <a:pt x="35242" y="10382"/>
                  </a:lnTo>
                  <a:lnTo>
                    <a:pt x="45720" y="14288"/>
                  </a:lnTo>
                  <a:lnTo>
                    <a:pt x="78105" y="10382"/>
                  </a:lnTo>
                  <a:lnTo>
                    <a:pt x="45720" y="103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01" name="Freeform: Shape 3800">
              <a:extLst>
                <a:ext uri="{FF2B5EF4-FFF2-40B4-BE49-F238E27FC236}">
                  <a16:creationId xmlns:a16="http://schemas.microsoft.com/office/drawing/2014/main" id="{435100BE-60F6-3722-D051-D950322C6B29}"/>
                </a:ext>
              </a:extLst>
            </p:cNvPr>
            <p:cNvSpPr/>
            <p:nvPr/>
          </p:nvSpPr>
          <p:spPr>
            <a:xfrm>
              <a:off x="6889294" y="3531479"/>
              <a:ext cx="51354" cy="27078"/>
            </a:xfrm>
            <a:custGeom>
              <a:avLst/>
              <a:gdLst>
                <a:gd name="connsiteX0" fmla="*/ 27622 w 52387"/>
                <a:gd name="connsiteY0" fmla="*/ 6763 h 27622"/>
                <a:gd name="connsiteX1" fmla="*/ 13335 w 52387"/>
                <a:gd name="connsiteY1" fmla="*/ 10573 h 27622"/>
                <a:gd name="connsiteX2" fmla="*/ 0 w 52387"/>
                <a:gd name="connsiteY2" fmla="*/ 10573 h 27622"/>
                <a:gd name="connsiteX3" fmla="*/ 0 w 52387"/>
                <a:gd name="connsiteY3" fmla="*/ 21050 h 27622"/>
                <a:gd name="connsiteX4" fmla="*/ 6668 w 52387"/>
                <a:gd name="connsiteY4" fmla="*/ 27622 h 27622"/>
                <a:gd name="connsiteX5" fmla="*/ 20955 w 52387"/>
                <a:gd name="connsiteY5" fmla="*/ 27622 h 27622"/>
                <a:gd name="connsiteX6" fmla="*/ 31432 w 52387"/>
                <a:gd name="connsiteY6" fmla="*/ 21050 h 27622"/>
                <a:gd name="connsiteX7" fmla="*/ 38100 w 52387"/>
                <a:gd name="connsiteY7" fmla="*/ 14288 h 27622"/>
                <a:gd name="connsiteX8" fmla="*/ 52388 w 52387"/>
                <a:gd name="connsiteY8" fmla="*/ 0 h 27622"/>
                <a:gd name="connsiteX9" fmla="*/ 41910 w 52387"/>
                <a:gd name="connsiteY9" fmla="*/ 6763 h 27622"/>
                <a:gd name="connsiteX10" fmla="*/ 27622 w 52387"/>
                <a:gd name="connsiteY10" fmla="*/ 6763 h 27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87" h="27622">
                  <a:moveTo>
                    <a:pt x="27622" y="6763"/>
                  </a:moveTo>
                  <a:lnTo>
                    <a:pt x="13335" y="10573"/>
                  </a:lnTo>
                  <a:lnTo>
                    <a:pt x="0" y="10573"/>
                  </a:lnTo>
                  <a:lnTo>
                    <a:pt x="0" y="21050"/>
                  </a:lnTo>
                  <a:lnTo>
                    <a:pt x="6668" y="27622"/>
                  </a:lnTo>
                  <a:lnTo>
                    <a:pt x="20955" y="27622"/>
                  </a:lnTo>
                  <a:lnTo>
                    <a:pt x="31432" y="21050"/>
                  </a:lnTo>
                  <a:lnTo>
                    <a:pt x="38100" y="14288"/>
                  </a:lnTo>
                  <a:lnTo>
                    <a:pt x="52388" y="0"/>
                  </a:lnTo>
                  <a:lnTo>
                    <a:pt x="41910" y="6763"/>
                  </a:lnTo>
                  <a:lnTo>
                    <a:pt x="27622" y="676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02" name="Freeform: Shape 3801">
              <a:extLst>
                <a:ext uri="{FF2B5EF4-FFF2-40B4-BE49-F238E27FC236}">
                  <a16:creationId xmlns:a16="http://schemas.microsoft.com/office/drawing/2014/main" id="{BB3308EF-6243-648C-2499-3BBFAFE1121B}"/>
                </a:ext>
              </a:extLst>
            </p:cNvPr>
            <p:cNvSpPr/>
            <p:nvPr/>
          </p:nvSpPr>
          <p:spPr>
            <a:xfrm>
              <a:off x="6161922" y="3127267"/>
              <a:ext cx="121384" cy="65361"/>
            </a:xfrm>
            <a:custGeom>
              <a:avLst/>
              <a:gdLst>
                <a:gd name="connsiteX0" fmla="*/ 101918 w 123825"/>
                <a:gd name="connsiteY0" fmla="*/ 2762 h 66675"/>
                <a:gd name="connsiteX1" fmla="*/ 88582 w 123825"/>
                <a:gd name="connsiteY1" fmla="*/ 0 h 66675"/>
                <a:gd name="connsiteX2" fmla="*/ 70485 w 123825"/>
                <a:gd name="connsiteY2" fmla="*/ 2762 h 66675"/>
                <a:gd name="connsiteX3" fmla="*/ 53340 w 123825"/>
                <a:gd name="connsiteY3" fmla="*/ 2762 h 66675"/>
                <a:gd name="connsiteX4" fmla="*/ 42863 w 123825"/>
                <a:gd name="connsiteY4" fmla="*/ 2762 h 66675"/>
                <a:gd name="connsiteX5" fmla="*/ 39053 w 123825"/>
                <a:gd name="connsiteY5" fmla="*/ 10382 h 66675"/>
                <a:gd name="connsiteX6" fmla="*/ 31432 w 123825"/>
                <a:gd name="connsiteY6" fmla="*/ 10382 h 66675"/>
                <a:gd name="connsiteX7" fmla="*/ 14288 w 123825"/>
                <a:gd name="connsiteY7" fmla="*/ 27623 h 66675"/>
                <a:gd name="connsiteX8" fmla="*/ 0 w 123825"/>
                <a:gd name="connsiteY8" fmla="*/ 49530 h 66675"/>
                <a:gd name="connsiteX9" fmla="*/ 28575 w 123825"/>
                <a:gd name="connsiteY9" fmla="*/ 49530 h 66675"/>
                <a:gd name="connsiteX10" fmla="*/ 28575 w 123825"/>
                <a:gd name="connsiteY10" fmla="*/ 66675 h 66675"/>
                <a:gd name="connsiteX11" fmla="*/ 53340 w 123825"/>
                <a:gd name="connsiteY11" fmla="*/ 62770 h 66675"/>
                <a:gd name="connsiteX12" fmla="*/ 53340 w 123825"/>
                <a:gd name="connsiteY12" fmla="*/ 56198 h 66675"/>
                <a:gd name="connsiteX13" fmla="*/ 60007 w 123825"/>
                <a:gd name="connsiteY13" fmla="*/ 52388 h 66675"/>
                <a:gd name="connsiteX14" fmla="*/ 70485 w 123825"/>
                <a:gd name="connsiteY14" fmla="*/ 59912 h 66675"/>
                <a:gd name="connsiteX15" fmla="*/ 80963 w 123825"/>
                <a:gd name="connsiteY15" fmla="*/ 62770 h 66675"/>
                <a:gd name="connsiteX16" fmla="*/ 88582 w 123825"/>
                <a:gd name="connsiteY16" fmla="*/ 59912 h 66675"/>
                <a:gd name="connsiteX17" fmla="*/ 88582 w 123825"/>
                <a:gd name="connsiteY17" fmla="*/ 41910 h 66675"/>
                <a:gd name="connsiteX18" fmla="*/ 99060 w 123825"/>
                <a:gd name="connsiteY18" fmla="*/ 52388 h 66675"/>
                <a:gd name="connsiteX19" fmla="*/ 116205 w 123825"/>
                <a:gd name="connsiteY19" fmla="*/ 49530 h 66675"/>
                <a:gd name="connsiteX20" fmla="*/ 123825 w 123825"/>
                <a:gd name="connsiteY20" fmla="*/ 35243 h 66675"/>
                <a:gd name="connsiteX21" fmla="*/ 120015 w 123825"/>
                <a:gd name="connsiteY21" fmla="*/ 27623 h 66675"/>
                <a:gd name="connsiteX22" fmla="*/ 113348 w 123825"/>
                <a:gd name="connsiteY22" fmla="*/ 27623 h 66675"/>
                <a:gd name="connsiteX23" fmla="*/ 99060 w 123825"/>
                <a:gd name="connsiteY23" fmla="*/ 24670 h 66675"/>
                <a:gd name="connsiteX24" fmla="*/ 101918 w 123825"/>
                <a:gd name="connsiteY24" fmla="*/ 14288 h 66675"/>
                <a:gd name="connsiteX25" fmla="*/ 105728 w 123825"/>
                <a:gd name="connsiteY25" fmla="*/ 6668 h 66675"/>
                <a:gd name="connsiteX26" fmla="*/ 101918 w 123825"/>
                <a:gd name="connsiteY26" fmla="*/ 2762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23825" h="66675">
                  <a:moveTo>
                    <a:pt x="101918" y="2762"/>
                  </a:moveTo>
                  <a:lnTo>
                    <a:pt x="88582" y="0"/>
                  </a:lnTo>
                  <a:lnTo>
                    <a:pt x="70485" y="2762"/>
                  </a:lnTo>
                  <a:lnTo>
                    <a:pt x="53340" y="2762"/>
                  </a:lnTo>
                  <a:lnTo>
                    <a:pt x="42863" y="2762"/>
                  </a:lnTo>
                  <a:lnTo>
                    <a:pt x="39053" y="10382"/>
                  </a:lnTo>
                  <a:lnTo>
                    <a:pt x="31432" y="10382"/>
                  </a:lnTo>
                  <a:lnTo>
                    <a:pt x="14288" y="27623"/>
                  </a:lnTo>
                  <a:lnTo>
                    <a:pt x="0" y="49530"/>
                  </a:lnTo>
                  <a:lnTo>
                    <a:pt x="28575" y="49530"/>
                  </a:lnTo>
                  <a:lnTo>
                    <a:pt x="28575" y="66675"/>
                  </a:lnTo>
                  <a:lnTo>
                    <a:pt x="53340" y="62770"/>
                  </a:lnTo>
                  <a:lnTo>
                    <a:pt x="53340" y="56198"/>
                  </a:lnTo>
                  <a:lnTo>
                    <a:pt x="60007" y="52388"/>
                  </a:lnTo>
                  <a:lnTo>
                    <a:pt x="70485" y="59912"/>
                  </a:lnTo>
                  <a:lnTo>
                    <a:pt x="80963" y="62770"/>
                  </a:lnTo>
                  <a:lnTo>
                    <a:pt x="88582" y="59912"/>
                  </a:lnTo>
                  <a:lnTo>
                    <a:pt x="88582" y="41910"/>
                  </a:lnTo>
                  <a:lnTo>
                    <a:pt x="99060" y="52388"/>
                  </a:lnTo>
                  <a:lnTo>
                    <a:pt x="116205" y="49530"/>
                  </a:lnTo>
                  <a:lnTo>
                    <a:pt x="123825" y="35243"/>
                  </a:lnTo>
                  <a:lnTo>
                    <a:pt x="120015" y="27623"/>
                  </a:lnTo>
                  <a:lnTo>
                    <a:pt x="113348" y="27623"/>
                  </a:lnTo>
                  <a:lnTo>
                    <a:pt x="99060" y="24670"/>
                  </a:lnTo>
                  <a:lnTo>
                    <a:pt x="101918" y="14288"/>
                  </a:lnTo>
                  <a:lnTo>
                    <a:pt x="105728" y="6668"/>
                  </a:lnTo>
                  <a:lnTo>
                    <a:pt x="101918" y="276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03" name="Freeform: Shape 3802">
              <a:extLst>
                <a:ext uri="{FF2B5EF4-FFF2-40B4-BE49-F238E27FC236}">
                  <a16:creationId xmlns:a16="http://schemas.microsoft.com/office/drawing/2014/main" id="{1F4FFA52-14CF-3AFE-4E15-A0DE07C8091C}"/>
                </a:ext>
              </a:extLst>
            </p:cNvPr>
            <p:cNvSpPr/>
            <p:nvPr/>
          </p:nvSpPr>
          <p:spPr>
            <a:xfrm>
              <a:off x="6751103" y="1809771"/>
              <a:ext cx="4452931" cy="1538790"/>
            </a:xfrm>
            <a:custGeom>
              <a:avLst/>
              <a:gdLst>
                <a:gd name="connsiteX0" fmla="*/ 4521518 w 4542472"/>
                <a:gd name="connsiteY0" fmla="*/ 585788 h 1569720"/>
                <a:gd name="connsiteX1" fmla="*/ 4490085 w 4542472"/>
                <a:gd name="connsiteY1" fmla="*/ 564832 h 1569720"/>
                <a:gd name="connsiteX2" fmla="*/ 4454843 w 4542472"/>
                <a:gd name="connsiteY2" fmla="*/ 557213 h 1569720"/>
                <a:gd name="connsiteX3" fmla="*/ 4426268 w 4542472"/>
                <a:gd name="connsiteY3" fmla="*/ 553307 h 1569720"/>
                <a:gd name="connsiteX4" fmla="*/ 4436745 w 4542472"/>
                <a:gd name="connsiteY4" fmla="*/ 585788 h 1569720"/>
                <a:gd name="connsiteX5" fmla="*/ 4423410 w 4542472"/>
                <a:gd name="connsiteY5" fmla="*/ 592360 h 1569720"/>
                <a:gd name="connsiteX6" fmla="*/ 4405312 w 4542472"/>
                <a:gd name="connsiteY6" fmla="*/ 564832 h 1569720"/>
                <a:gd name="connsiteX7" fmla="*/ 4394835 w 4542472"/>
                <a:gd name="connsiteY7" fmla="*/ 542925 h 1569720"/>
                <a:gd name="connsiteX8" fmla="*/ 4380547 w 4542472"/>
                <a:gd name="connsiteY8" fmla="*/ 521970 h 1569720"/>
                <a:gd name="connsiteX9" fmla="*/ 4299585 w 4542472"/>
                <a:gd name="connsiteY9" fmla="*/ 486632 h 1569720"/>
                <a:gd name="connsiteX10" fmla="*/ 4253865 w 4542472"/>
                <a:gd name="connsiteY10" fmla="*/ 461963 h 1569720"/>
                <a:gd name="connsiteX11" fmla="*/ 4176713 w 4542472"/>
                <a:gd name="connsiteY11" fmla="*/ 434245 h 1569720"/>
                <a:gd name="connsiteX12" fmla="*/ 4110038 w 4542472"/>
                <a:gd name="connsiteY12" fmla="*/ 422910 h 1569720"/>
                <a:gd name="connsiteX13" fmla="*/ 4052888 w 4542472"/>
                <a:gd name="connsiteY13" fmla="*/ 422910 h 1569720"/>
                <a:gd name="connsiteX14" fmla="*/ 4021455 w 4542472"/>
                <a:gd name="connsiteY14" fmla="*/ 409575 h 1569720"/>
                <a:gd name="connsiteX15" fmla="*/ 4000500 w 4542472"/>
                <a:gd name="connsiteY15" fmla="*/ 412432 h 1569720"/>
                <a:gd name="connsiteX16" fmla="*/ 4004310 w 4542472"/>
                <a:gd name="connsiteY16" fmla="*/ 444722 h 1569720"/>
                <a:gd name="connsiteX17" fmla="*/ 4014788 w 4542472"/>
                <a:gd name="connsiteY17" fmla="*/ 465773 h 1569720"/>
                <a:gd name="connsiteX18" fmla="*/ 4004310 w 4542472"/>
                <a:gd name="connsiteY18" fmla="*/ 480060 h 1569720"/>
                <a:gd name="connsiteX19" fmla="*/ 3969067 w 4542472"/>
                <a:gd name="connsiteY19" fmla="*/ 476250 h 1569720"/>
                <a:gd name="connsiteX20" fmla="*/ 3936683 w 4542472"/>
                <a:gd name="connsiteY20" fmla="*/ 451485 h 1569720"/>
                <a:gd name="connsiteX21" fmla="*/ 3936683 w 4542472"/>
                <a:gd name="connsiteY21" fmla="*/ 430435 h 1569720"/>
                <a:gd name="connsiteX22" fmla="*/ 3926205 w 4542472"/>
                <a:gd name="connsiteY22" fmla="*/ 426720 h 1569720"/>
                <a:gd name="connsiteX23" fmla="*/ 3898583 w 4542472"/>
                <a:gd name="connsiteY23" fmla="*/ 441007 h 1569720"/>
                <a:gd name="connsiteX24" fmla="*/ 3884295 w 4542472"/>
                <a:gd name="connsiteY24" fmla="*/ 441007 h 1569720"/>
                <a:gd name="connsiteX25" fmla="*/ 3768090 w 4542472"/>
                <a:gd name="connsiteY25" fmla="*/ 434245 h 1569720"/>
                <a:gd name="connsiteX26" fmla="*/ 3743325 w 4542472"/>
                <a:gd name="connsiteY26" fmla="*/ 444722 h 1569720"/>
                <a:gd name="connsiteX27" fmla="*/ 3711892 w 4542472"/>
                <a:gd name="connsiteY27" fmla="*/ 434245 h 1569720"/>
                <a:gd name="connsiteX28" fmla="*/ 3704272 w 4542472"/>
                <a:gd name="connsiteY28" fmla="*/ 419957 h 1569720"/>
                <a:gd name="connsiteX29" fmla="*/ 3708083 w 4542472"/>
                <a:gd name="connsiteY29" fmla="*/ 395288 h 1569720"/>
                <a:gd name="connsiteX30" fmla="*/ 3669030 w 4542472"/>
                <a:gd name="connsiteY30" fmla="*/ 374332 h 1569720"/>
                <a:gd name="connsiteX31" fmla="*/ 3574733 w 4542472"/>
                <a:gd name="connsiteY31" fmla="*/ 370523 h 1569720"/>
                <a:gd name="connsiteX32" fmla="*/ 3482340 w 4542472"/>
                <a:gd name="connsiteY32" fmla="*/ 366713 h 1569720"/>
                <a:gd name="connsiteX33" fmla="*/ 3429952 w 4542472"/>
                <a:gd name="connsiteY33" fmla="*/ 345757 h 1569720"/>
                <a:gd name="connsiteX34" fmla="*/ 3405188 w 4542472"/>
                <a:gd name="connsiteY34" fmla="*/ 335185 h 1569720"/>
                <a:gd name="connsiteX35" fmla="*/ 3419475 w 4542472"/>
                <a:gd name="connsiteY35" fmla="*/ 317182 h 1569720"/>
                <a:gd name="connsiteX36" fmla="*/ 3390900 w 4542472"/>
                <a:gd name="connsiteY36" fmla="*/ 303848 h 1569720"/>
                <a:gd name="connsiteX37" fmla="*/ 3328035 w 4542472"/>
                <a:gd name="connsiteY37" fmla="*/ 310420 h 1569720"/>
                <a:gd name="connsiteX38" fmla="*/ 3317558 w 4542472"/>
                <a:gd name="connsiteY38" fmla="*/ 303848 h 1569720"/>
                <a:gd name="connsiteX39" fmla="*/ 3295650 w 4542472"/>
                <a:gd name="connsiteY39" fmla="*/ 285750 h 1569720"/>
                <a:gd name="connsiteX40" fmla="*/ 3176588 w 4542472"/>
                <a:gd name="connsiteY40" fmla="*/ 279082 h 1569720"/>
                <a:gd name="connsiteX41" fmla="*/ 3137535 w 4542472"/>
                <a:gd name="connsiteY41" fmla="*/ 292322 h 1569720"/>
                <a:gd name="connsiteX42" fmla="*/ 3141345 w 4542472"/>
                <a:gd name="connsiteY42" fmla="*/ 324707 h 1569720"/>
                <a:gd name="connsiteX43" fmla="*/ 3112770 w 4542472"/>
                <a:gd name="connsiteY43" fmla="*/ 338995 h 1569720"/>
                <a:gd name="connsiteX44" fmla="*/ 3073717 w 4542472"/>
                <a:gd name="connsiteY44" fmla="*/ 352425 h 1569720"/>
                <a:gd name="connsiteX45" fmla="*/ 3027997 w 4542472"/>
                <a:gd name="connsiteY45" fmla="*/ 335185 h 1569720"/>
                <a:gd name="connsiteX46" fmla="*/ 2986088 w 4542472"/>
                <a:gd name="connsiteY46" fmla="*/ 349472 h 1569720"/>
                <a:gd name="connsiteX47" fmla="*/ 2940367 w 4542472"/>
                <a:gd name="connsiteY47" fmla="*/ 324707 h 1569720"/>
                <a:gd name="connsiteX48" fmla="*/ 2905125 w 4542472"/>
                <a:gd name="connsiteY48" fmla="*/ 377095 h 1569720"/>
                <a:gd name="connsiteX49" fmla="*/ 2866072 w 4542472"/>
                <a:gd name="connsiteY49" fmla="*/ 366713 h 1569720"/>
                <a:gd name="connsiteX50" fmla="*/ 2827972 w 4542472"/>
                <a:gd name="connsiteY50" fmla="*/ 320897 h 1569720"/>
                <a:gd name="connsiteX51" fmla="*/ 2848927 w 4542472"/>
                <a:gd name="connsiteY51" fmla="*/ 306610 h 1569720"/>
                <a:gd name="connsiteX52" fmla="*/ 2841308 w 4542472"/>
                <a:gd name="connsiteY52" fmla="*/ 275273 h 1569720"/>
                <a:gd name="connsiteX53" fmla="*/ 2809875 w 4542472"/>
                <a:gd name="connsiteY53" fmla="*/ 239935 h 1569720"/>
                <a:gd name="connsiteX54" fmla="*/ 2753677 w 4542472"/>
                <a:gd name="connsiteY54" fmla="*/ 243745 h 1569720"/>
                <a:gd name="connsiteX55" fmla="*/ 2718435 w 4542472"/>
                <a:gd name="connsiteY55" fmla="*/ 225647 h 1569720"/>
                <a:gd name="connsiteX56" fmla="*/ 2693670 w 4542472"/>
                <a:gd name="connsiteY56" fmla="*/ 221932 h 1569720"/>
                <a:gd name="connsiteX57" fmla="*/ 2679383 w 4542472"/>
                <a:gd name="connsiteY57" fmla="*/ 268510 h 1569720"/>
                <a:gd name="connsiteX58" fmla="*/ 2552700 w 4542472"/>
                <a:gd name="connsiteY58" fmla="*/ 254222 h 1569720"/>
                <a:gd name="connsiteX59" fmla="*/ 2552700 w 4542472"/>
                <a:gd name="connsiteY59" fmla="*/ 236220 h 1569720"/>
                <a:gd name="connsiteX60" fmla="*/ 2422208 w 4542472"/>
                <a:gd name="connsiteY60" fmla="*/ 233363 h 1569720"/>
                <a:gd name="connsiteX61" fmla="*/ 2405063 w 4542472"/>
                <a:gd name="connsiteY61" fmla="*/ 243745 h 1569720"/>
                <a:gd name="connsiteX62" fmla="*/ 2373630 w 4542472"/>
                <a:gd name="connsiteY62" fmla="*/ 221932 h 1569720"/>
                <a:gd name="connsiteX63" fmla="*/ 2352675 w 4542472"/>
                <a:gd name="connsiteY63" fmla="*/ 215170 h 1569720"/>
                <a:gd name="connsiteX64" fmla="*/ 2345055 w 4542472"/>
                <a:gd name="connsiteY64" fmla="*/ 198120 h 1569720"/>
                <a:gd name="connsiteX65" fmla="*/ 2317433 w 4542472"/>
                <a:gd name="connsiteY65" fmla="*/ 204788 h 1569720"/>
                <a:gd name="connsiteX66" fmla="*/ 2299335 w 4542472"/>
                <a:gd name="connsiteY66" fmla="*/ 221932 h 1569720"/>
                <a:gd name="connsiteX67" fmla="*/ 2303145 w 4542472"/>
                <a:gd name="connsiteY67" fmla="*/ 236220 h 1569720"/>
                <a:gd name="connsiteX68" fmla="*/ 2228850 w 4542472"/>
                <a:gd name="connsiteY68" fmla="*/ 257175 h 1569720"/>
                <a:gd name="connsiteX69" fmla="*/ 2189797 w 4542472"/>
                <a:gd name="connsiteY69" fmla="*/ 271463 h 1569720"/>
                <a:gd name="connsiteX70" fmla="*/ 2183130 w 4542472"/>
                <a:gd name="connsiteY70" fmla="*/ 264795 h 1569720"/>
                <a:gd name="connsiteX71" fmla="*/ 2270760 w 4542472"/>
                <a:gd name="connsiteY71" fmla="*/ 215170 h 1569720"/>
                <a:gd name="connsiteX72" fmla="*/ 2334577 w 4542472"/>
                <a:gd name="connsiteY72" fmla="*/ 180022 h 1569720"/>
                <a:gd name="connsiteX73" fmla="*/ 2394585 w 4542472"/>
                <a:gd name="connsiteY73" fmla="*/ 148495 h 1569720"/>
                <a:gd name="connsiteX74" fmla="*/ 2408872 w 4542472"/>
                <a:gd name="connsiteY74" fmla="*/ 113347 h 1569720"/>
                <a:gd name="connsiteX75" fmla="*/ 2401252 w 4542472"/>
                <a:gd name="connsiteY75" fmla="*/ 91345 h 1569720"/>
                <a:gd name="connsiteX76" fmla="*/ 2352675 w 4542472"/>
                <a:gd name="connsiteY76" fmla="*/ 60007 h 1569720"/>
                <a:gd name="connsiteX77" fmla="*/ 2218372 w 4542472"/>
                <a:gd name="connsiteY77" fmla="*/ 63722 h 1569720"/>
                <a:gd name="connsiteX78" fmla="*/ 2232660 w 4542472"/>
                <a:gd name="connsiteY78" fmla="*/ 38957 h 1569720"/>
                <a:gd name="connsiteX79" fmla="*/ 2158365 w 4542472"/>
                <a:gd name="connsiteY79" fmla="*/ 35147 h 1569720"/>
                <a:gd name="connsiteX80" fmla="*/ 2197417 w 4542472"/>
                <a:gd name="connsiteY80" fmla="*/ 14288 h 1569720"/>
                <a:gd name="connsiteX81" fmla="*/ 2165985 w 4542472"/>
                <a:gd name="connsiteY81" fmla="*/ 3810 h 1569720"/>
                <a:gd name="connsiteX82" fmla="*/ 2105977 w 4542472"/>
                <a:gd name="connsiteY82" fmla="*/ 0 h 1569720"/>
                <a:gd name="connsiteX83" fmla="*/ 2063115 w 4542472"/>
                <a:gd name="connsiteY83" fmla="*/ 35147 h 1569720"/>
                <a:gd name="connsiteX84" fmla="*/ 2070735 w 4542472"/>
                <a:gd name="connsiteY84" fmla="*/ 63722 h 1569720"/>
                <a:gd name="connsiteX85" fmla="*/ 1982152 w 4542472"/>
                <a:gd name="connsiteY85" fmla="*/ 91345 h 1569720"/>
                <a:gd name="connsiteX86" fmla="*/ 1922145 w 4542472"/>
                <a:gd name="connsiteY86" fmla="*/ 84772 h 1569720"/>
                <a:gd name="connsiteX87" fmla="*/ 1859280 w 4542472"/>
                <a:gd name="connsiteY87" fmla="*/ 91345 h 1569720"/>
                <a:gd name="connsiteX88" fmla="*/ 1711642 w 4542472"/>
                <a:gd name="connsiteY88" fmla="*/ 140970 h 1569720"/>
                <a:gd name="connsiteX89" fmla="*/ 1644015 w 4542472"/>
                <a:gd name="connsiteY89" fmla="*/ 173260 h 1569720"/>
                <a:gd name="connsiteX90" fmla="*/ 1665922 w 4542472"/>
                <a:gd name="connsiteY90" fmla="*/ 211360 h 1569720"/>
                <a:gd name="connsiteX91" fmla="*/ 1584007 w 4542472"/>
                <a:gd name="connsiteY91" fmla="*/ 225647 h 1569720"/>
                <a:gd name="connsiteX92" fmla="*/ 1503045 w 4542472"/>
                <a:gd name="connsiteY92" fmla="*/ 229457 h 1569720"/>
                <a:gd name="connsiteX93" fmla="*/ 1482090 w 4542472"/>
                <a:gd name="connsiteY93" fmla="*/ 243745 h 1569720"/>
                <a:gd name="connsiteX94" fmla="*/ 1492567 w 4542472"/>
                <a:gd name="connsiteY94" fmla="*/ 281845 h 1569720"/>
                <a:gd name="connsiteX95" fmla="*/ 1524952 w 4542472"/>
                <a:gd name="connsiteY95" fmla="*/ 306610 h 1569720"/>
                <a:gd name="connsiteX96" fmla="*/ 1548765 w 4542472"/>
                <a:gd name="connsiteY96" fmla="*/ 331470 h 1569720"/>
                <a:gd name="connsiteX97" fmla="*/ 1500188 w 4542472"/>
                <a:gd name="connsiteY97" fmla="*/ 331470 h 1569720"/>
                <a:gd name="connsiteX98" fmla="*/ 1464945 w 4542472"/>
                <a:gd name="connsiteY98" fmla="*/ 303848 h 1569720"/>
                <a:gd name="connsiteX99" fmla="*/ 1404938 w 4542472"/>
                <a:gd name="connsiteY99" fmla="*/ 285750 h 1569720"/>
                <a:gd name="connsiteX100" fmla="*/ 1394460 w 4542472"/>
                <a:gd name="connsiteY100" fmla="*/ 292322 h 1569720"/>
                <a:gd name="connsiteX101" fmla="*/ 1419225 w 4542472"/>
                <a:gd name="connsiteY101" fmla="*/ 320897 h 1569720"/>
                <a:gd name="connsiteX102" fmla="*/ 1383982 w 4542472"/>
                <a:gd name="connsiteY102" fmla="*/ 314325 h 1569720"/>
                <a:gd name="connsiteX103" fmla="*/ 1363027 w 4542472"/>
                <a:gd name="connsiteY103" fmla="*/ 320897 h 1569720"/>
                <a:gd name="connsiteX104" fmla="*/ 1376363 w 4542472"/>
                <a:gd name="connsiteY104" fmla="*/ 341948 h 1569720"/>
                <a:gd name="connsiteX105" fmla="*/ 1411605 w 4542472"/>
                <a:gd name="connsiteY105" fmla="*/ 352425 h 1569720"/>
                <a:gd name="connsiteX106" fmla="*/ 1436370 w 4542472"/>
                <a:gd name="connsiteY106" fmla="*/ 370523 h 1569720"/>
                <a:gd name="connsiteX107" fmla="*/ 1415415 w 4542472"/>
                <a:gd name="connsiteY107" fmla="*/ 370523 h 1569720"/>
                <a:gd name="connsiteX108" fmla="*/ 1373505 w 4542472"/>
                <a:gd name="connsiteY108" fmla="*/ 360045 h 1569720"/>
                <a:gd name="connsiteX109" fmla="*/ 1344930 w 4542472"/>
                <a:gd name="connsiteY109" fmla="*/ 352425 h 1569720"/>
                <a:gd name="connsiteX110" fmla="*/ 1338263 w 4542472"/>
                <a:gd name="connsiteY110" fmla="*/ 335185 h 1569720"/>
                <a:gd name="connsiteX111" fmla="*/ 1348740 w 4542472"/>
                <a:gd name="connsiteY111" fmla="*/ 310420 h 1569720"/>
                <a:gd name="connsiteX112" fmla="*/ 1344930 w 4542472"/>
                <a:gd name="connsiteY112" fmla="*/ 279082 h 1569720"/>
                <a:gd name="connsiteX113" fmla="*/ 1330642 w 4542472"/>
                <a:gd name="connsiteY113" fmla="*/ 279082 h 1569720"/>
                <a:gd name="connsiteX114" fmla="*/ 1327785 w 4542472"/>
                <a:gd name="connsiteY114" fmla="*/ 306610 h 1569720"/>
                <a:gd name="connsiteX115" fmla="*/ 1303020 w 4542472"/>
                <a:gd name="connsiteY115" fmla="*/ 317182 h 1569720"/>
                <a:gd name="connsiteX116" fmla="*/ 1281113 w 4542472"/>
                <a:gd name="connsiteY116" fmla="*/ 338995 h 1569720"/>
                <a:gd name="connsiteX117" fmla="*/ 1292542 w 4542472"/>
                <a:gd name="connsiteY117" fmla="*/ 360045 h 1569720"/>
                <a:gd name="connsiteX118" fmla="*/ 1309688 w 4542472"/>
                <a:gd name="connsiteY118" fmla="*/ 387572 h 1569720"/>
                <a:gd name="connsiteX119" fmla="*/ 1295400 w 4542472"/>
                <a:gd name="connsiteY119" fmla="*/ 422910 h 1569720"/>
                <a:gd name="connsiteX120" fmla="*/ 1295400 w 4542472"/>
                <a:gd name="connsiteY120" fmla="*/ 458057 h 1569720"/>
                <a:gd name="connsiteX121" fmla="*/ 1369695 w 4542472"/>
                <a:gd name="connsiteY121" fmla="*/ 461963 h 1569720"/>
                <a:gd name="connsiteX122" fmla="*/ 1404938 w 4542472"/>
                <a:gd name="connsiteY122" fmla="*/ 472345 h 1569720"/>
                <a:gd name="connsiteX123" fmla="*/ 1419225 w 4542472"/>
                <a:gd name="connsiteY123" fmla="*/ 500920 h 1569720"/>
                <a:gd name="connsiteX124" fmla="*/ 1394460 w 4542472"/>
                <a:gd name="connsiteY124" fmla="*/ 521970 h 1569720"/>
                <a:gd name="connsiteX125" fmla="*/ 1386840 w 4542472"/>
                <a:gd name="connsiteY125" fmla="*/ 493395 h 1569720"/>
                <a:gd name="connsiteX126" fmla="*/ 1369695 w 4542472"/>
                <a:gd name="connsiteY126" fmla="*/ 476250 h 1569720"/>
                <a:gd name="connsiteX127" fmla="*/ 1330642 w 4542472"/>
                <a:gd name="connsiteY127" fmla="*/ 469582 h 1569720"/>
                <a:gd name="connsiteX128" fmla="*/ 1313497 w 4542472"/>
                <a:gd name="connsiteY128" fmla="*/ 497110 h 1569720"/>
                <a:gd name="connsiteX129" fmla="*/ 1327785 w 4542472"/>
                <a:gd name="connsiteY129" fmla="*/ 525685 h 1569720"/>
                <a:gd name="connsiteX130" fmla="*/ 1278255 w 4542472"/>
                <a:gd name="connsiteY130" fmla="*/ 575215 h 1569720"/>
                <a:gd name="connsiteX131" fmla="*/ 1243013 w 4542472"/>
                <a:gd name="connsiteY131" fmla="*/ 602932 h 1569720"/>
                <a:gd name="connsiteX132" fmla="*/ 1211580 w 4542472"/>
                <a:gd name="connsiteY132" fmla="*/ 600075 h 1569720"/>
                <a:gd name="connsiteX133" fmla="*/ 1179195 w 4542472"/>
                <a:gd name="connsiteY133" fmla="*/ 592360 h 1569720"/>
                <a:gd name="connsiteX134" fmla="*/ 1158240 w 4542472"/>
                <a:gd name="connsiteY134" fmla="*/ 578072 h 1569720"/>
                <a:gd name="connsiteX135" fmla="*/ 1172527 w 4542472"/>
                <a:gd name="connsiteY135" fmla="*/ 571500 h 1569720"/>
                <a:gd name="connsiteX136" fmla="*/ 1200150 w 4542472"/>
                <a:gd name="connsiteY136" fmla="*/ 578072 h 1569720"/>
                <a:gd name="connsiteX137" fmla="*/ 1224915 w 4542472"/>
                <a:gd name="connsiteY137" fmla="*/ 567690 h 1569720"/>
                <a:gd name="connsiteX138" fmla="*/ 1274445 w 4542472"/>
                <a:gd name="connsiteY138" fmla="*/ 525685 h 1569720"/>
                <a:gd name="connsiteX139" fmla="*/ 1288732 w 4542472"/>
                <a:gd name="connsiteY139" fmla="*/ 493395 h 1569720"/>
                <a:gd name="connsiteX140" fmla="*/ 1260157 w 4542472"/>
                <a:gd name="connsiteY140" fmla="*/ 472345 h 1569720"/>
                <a:gd name="connsiteX141" fmla="*/ 1267777 w 4542472"/>
                <a:gd name="connsiteY141" fmla="*/ 395288 h 1569720"/>
                <a:gd name="connsiteX142" fmla="*/ 1260157 w 4542472"/>
                <a:gd name="connsiteY142" fmla="*/ 363760 h 1569720"/>
                <a:gd name="connsiteX143" fmla="*/ 1243013 w 4542472"/>
                <a:gd name="connsiteY143" fmla="*/ 349472 h 1569720"/>
                <a:gd name="connsiteX144" fmla="*/ 1260157 w 4542472"/>
                <a:gd name="connsiteY144" fmla="*/ 320897 h 1569720"/>
                <a:gd name="connsiteX145" fmla="*/ 1267777 w 4542472"/>
                <a:gd name="connsiteY145" fmla="*/ 289560 h 1569720"/>
                <a:gd name="connsiteX146" fmla="*/ 1260157 w 4542472"/>
                <a:gd name="connsiteY146" fmla="*/ 279082 h 1569720"/>
                <a:gd name="connsiteX147" fmla="*/ 1172527 w 4542472"/>
                <a:gd name="connsiteY147" fmla="*/ 271463 h 1569720"/>
                <a:gd name="connsiteX148" fmla="*/ 1143952 w 4542472"/>
                <a:gd name="connsiteY148" fmla="*/ 327660 h 1569720"/>
                <a:gd name="connsiteX149" fmla="*/ 1102042 w 4542472"/>
                <a:gd name="connsiteY149" fmla="*/ 360045 h 1569720"/>
                <a:gd name="connsiteX150" fmla="*/ 1098232 w 4542472"/>
                <a:gd name="connsiteY150" fmla="*/ 370523 h 1569720"/>
                <a:gd name="connsiteX151" fmla="*/ 1116330 w 4542472"/>
                <a:gd name="connsiteY151" fmla="*/ 381000 h 1569720"/>
                <a:gd name="connsiteX152" fmla="*/ 1102042 w 4542472"/>
                <a:gd name="connsiteY152" fmla="*/ 416147 h 1569720"/>
                <a:gd name="connsiteX153" fmla="*/ 1102042 w 4542472"/>
                <a:gd name="connsiteY153" fmla="*/ 434245 h 1569720"/>
                <a:gd name="connsiteX154" fmla="*/ 1133475 w 4542472"/>
                <a:gd name="connsiteY154" fmla="*/ 451485 h 1569720"/>
                <a:gd name="connsiteX155" fmla="*/ 1158240 w 4542472"/>
                <a:gd name="connsiteY155" fmla="*/ 476250 h 1569720"/>
                <a:gd name="connsiteX156" fmla="*/ 1143952 w 4542472"/>
                <a:gd name="connsiteY156" fmla="*/ 500920 h 1569720"/>
                <a:gd name="connsiteX157" fmla="*/ 1091565 w 4542472"/>
                <a:gd name="connsiteY157" fmla="*/ 472345 h 1569720"/>
                <a:gd name="connsiteX158" fmla="*/ 1042035 w 4542472"/>
                <a:gd name="connsiteY158" fmla="*/ 451485 h 1569720"/>
                <a:gd name="connsiteX159" fmla="*/ 982027 w 4542472"/>
                <a:gd name="connsiteY159" fmla="*/ 430435 h 1569720"/>
                <a:gd name="connsiteX160" fmla="*/ 925830 w 4542472"/>
                <a:gd name="connsiteY160" fmla="*/ 426720 h 1569720"/>
                <a:gd name="connsiteX161" fmla="*/ 890588 w 4542472"/>
                <a:gd name="connsiteY161" fmla="*/ 395288 h 1569720"/>
                <a:gd name="connsiteX162" fmla="*/ 876300 w 4542472"/>
                <a:gd name="connsiteY162" fmla="*/ 399098 h 1569720"/>
                <a:gd name="connsiteX163" fmla="*/ 876300 w 4542472"/>
                <a:gd name="connsiteY163" fmla="*/ 422910 h 1569720"/>
                <a:gd name="connsiteX164" fmla="*/ 915352 w 4542472"/>
                <a:gd name="connsiteY164" fmla="*/ 437198 h 1569720"/>
                <a:gd name="connsiteX165" fmla="*/ 936307 w 4542472"/>
                <a:gd name="connsiteY165" fmla="*/ 465773 h 1569720"/>
                <a:gd name="connsiteX166" fmla="*/ 908685 w 4542472"/>
                <a:gd name="connsiteY166" fmla="*/ 482822 h 1569720"/>
                <a:gd name="connsiteX167" fmla="*/ 901065 w 4542472"/>
                <a:gd name="connsiteY167" fmla="*/ 497110 h 1569720"/>
                <a:gd name="connsiteX168" fmla="*/ 883920 w 4542472"/>
                <a:gd name="connsiteY168" fmla="*/ 497110 h 1569720"/>
                <a:gd name="connsiteX169" fmla="*/ 886777 w 4542472"/>
                <a:gd name="connsiteY169" fmla="*/ 482822 h 1569720"/>
                <a:gd name="connsiteX170" fmla="*/ 880110 w 4542472"/>
                <a:gd name="connsiteY170" fmla="*/ 465773 h 1569720"/>
                <a:gd name="connsiteX171" fmla="*/ 838200 w 4542472"/>
                <a:gd name="connsiteY171" fmla="*/ 490538 h 1569720"/>
                <a:gd name="connsiteX172" fmla="*/ 774382 w 4542472"/>
                <a:gd name="connsiteY172" fmla="*/ 486632 h 1569720"/>
                <a:gd name="connsiteX173" fmla="*/ 767715 w 4542472"/>
                <a:gd name="connsiteY173" fmla="*/ 500920 h 1569720"/>
                <a:gd name="connsiteX174" fmla="*/ 732472 w 4542472"/>
                <a:gd name="connsiteY174" fmla="*/ 500920 h 1569720"/>
                <a:gd name="connsiteX175" fmla="*/ 739140 w 4542472"/>
                <a:gd name="connsiteY175" fmla="*/ 469582 h 1569720"/>
                <a:gd name="connsiteX176" fmla="*/ 718185 w 4542472"/>
                <a:gd name="connsiteY176" fmla="*/ 476250 h 1569720"/>
                <a:gd name="connsiteX177" fmla="*/ 697230 w 4542472"/>
                <a:gd name="connsiteY177" fmla="*/ 497110 h 1569720"/>
                <a:gd name="connsiteX178" fmla="*/ 679132 w 4542472"/>
                <a:gd name="connsiteY178" fmla="*/ 493395 h 1569720"/>
                <a:gd name="connsiteX179" fmla="*/ 577215 w 4542472"/>
                <a:gd name="connsiteY179" fmla="*/ 532448 h 1569720"/>
                <a:gd name="connsiteX180" fmla="*/ 560070 w 4542472"/>
                <a:gd name="connsiteY180" fmla="*/ 575215 h 1569720"/>
                <a:gd name="connsiteX181" fmla="*/ 517207 w 4542472"/>
                <a:gd name="connsiteY181" fmla="*/ 571500 h 1569720"/>
                <a:gd name="connsiteX182" fmla="*/ 489585 w 4542472"/>
                <a:gd name="connsiteY182" fmla="*/ 546735 h 1569720"/>
                <a:gd name="connsiteX183" fmla="*/ 506730 w 4542472"/>
                <a:gd name="connsiteY183" fmla="*/ 529495 h 1569720"/>
                <a:gd name="connsiteX184" fmla="*/ 535305 w 4542472"/>
                <a:gd name="connsiteY184" fmla="*/ 529495 h 1569720"/>
                <a:gd name="connsiteX185" fmla="*/ 535305 w 4542472"/>
                <a:gd name="connsiteY185" fmla="*/ 515207 h 1569720"/>
                <a:gd name="connsiteX186" fmla="*/ 513397 w 4542472"/>
                <a:gd name="connsiteY186" fmla="*/ 490538 h 1569720"/>
                <a:gd name="connsiteX187" fmla="*/ 454342 w 4542472"/>
                <a:gd name="connsiteY187" fmla="*/ 493395 h 1569720"/>
                <a:gd name="connsiteX188" fmla="*/ 467677 w 4542472"/>
                <a:gd name="connsiteY188" fmla="*/ 507682 h 1569720"/>
                <a:gd name="connsiteX189" fmla="*/ 461010 w 4542472"/>
                <a:gd name="connsiteY189" fmla="*/ 546735 h 1569720"/>
                <a:gd name="connsiteX190" fmla="*/ 475297 w 4542472"/>
                <a:gd name="connsiteY190" fmla="*/ 560927 h 1569720"/>
                <a:gd name="connsiteX191" fmla="*/ 464820 w 4542472"/>
                <a:gd name="connsiteY191" fmla="*/ 602932 h 1569720"/>
                <a:gd name="connsiteX192" fmla="*/ 415290 w 4542472"/>
                <a:gd name="connsiteY192" fmla="*/ 588645 h 1569720"/>
                <a:gd name="connsiteX193" fmla="*/ 397192 w 4542472"/>
                <a:gd name="connsiteY193" fmla="*/ 602932 h 1569720"/>
                <a:gd name="connsiteX194" fmla="*/ 365760 w 4542472"/>
                <a:gd name="connsiteY194" fmla="*/ 620935 h 1569720"/>
                <a:gd name="connsiteX195" fmla="*/ 344805 w 4542472"/>
                <a:gd name="connsiteY195" fmla="*/ 641890 h 1569720"/>
                <a:gd name="connsiteX196" fmla="*/ 361950 w 4542472"/>
                <a:gd name="connsiteY196" fmla="*/ 662940 h 1569720"/>
                <a:gd name="connsiteX197" fmla="*/ 361950 w 4542472"/>
                <a:gd name="connsiteY197" fmla="*/ 681038 h 1569720"/>
                <a:gd name="connsiteX198" fmla="*/ 316230 w 4542472"/>
                <a:gd name="connsiteY198" fmla="*/ 670465 h 1569720"/>
                <a:gd name="connsiteX199" fmla="*/ 295275 w 4542472"/>
                <a:gd name="connsiteY199" fmla="*/ 662940 h 1569720"/>
                <a:gd name="connsiteX200" fmla="*/ 274320 w 4542472"/>
                <a:gd name="connsiteY200" fmla="*/ 645795 h 1569720"/>
                <a:gd name="connsiteX201" fmla="*/ 260032 w 4542472"/>
                <a:gd name="connsiteY201" fmla="*/ 662940 h 1569720"/>
                <a:gd name="connsiteX202" fmla="*/ 278130 w 4542472"/>
                <a:gd name="connsiteY202" fmla="*/ 683895 h 1569720"/>
                <a:gd name="connsiteX203" fmla="*/ 299085 w 4542472"/>
                <a:gd name="connsiteY203" fmla="*/ 691515 h 1569720"/>
                <a:gd name="connsiteX204" fmla="*/ 295275 w 4542472"/>
                <a:gd name="connsiteY204" fmla="*/ 708565 h 1569720"/>
                <a:gd name="connsiteX205" fmla="*/ 260032 w 4542472"/>
                <a:gd name="connsiteY205" fmla="*/ 708565 h 1569720"/>
                <a:gd name="connsiteX206" fmla="*/ 232410 w 4542472"/>
                <a:gd name="connsiteY206" fmla="*/ 683895 h 1569720"/>
                <a:gd name="connsiteX207" fmla="*/ 214313 w 4542472"/>
                <a:gd name="connsiteY207" fmla="*/ 681038 h 1569720"/>
                <a:gd name="connsiteX208" fmla="*/ 203835 w 4542472"/>
                <a:gd name="connsiteY208" fmla="*/ 635222 h 1569720"/>
                <a:gd name="connsiteX209" fmla="*/ 200025 w 4542472"/>
                <a:gd name="connsiteY209" fmla="*/ 613315 h 1569720"/>
                <a:gd name="connsiteX210" fmla="*/ 186690 w 4542472"/>
                <a:gd name="connsiteY210" fmla="*/ 602932 h 1569720"/>
                <a:gd name="connsiteX211" fmla="*/ 158115 w 4542472"/>
                <a:gd name="connsiteY211" fmla="*/ 588645 h 1569720"/>
                <a:gd name="connsiteX212" fmla="*/ 133350 w 4542472"/>
                <a:gd name="connsiteY212" fmla="*/ 557213 h 1569720"/>
                <a:gd name="connsiteX213" fmla="*/ 164782 w 4542472"/>
                <a:gd name="connsiteY213" fmla="*/ 571500 h 1569720"/>
                <a:gd name="connsiteX214" fmla="*/ 203835 w 4542472"/>
                <a:gd name="connsiteY214" fmla="*/ 585788 h 1569720"/>
                <a:gd name="connsiteX215" fmla="*/ 257175 w 4542472"/>
                <a:gd name="connsiteY215" fmla="*/ 596265 h 1569720"/>
                <a:gd name="connsiteX216" fmla="*/ 302895 w 4542472"/>
                <a:gd name="connsiteY216" fmla="*/ 613315 h 1569720"/>
                <a:gd name="connsiteX217" fmla="*/ 355282 w 4542472"/>
                <a:gd name="connsiteY217" fmla="*/ 600075 h 1569720"/>
                <a:gd name="connsiteX218" fmla="*/ 386715 w 4542472"/>
                <a:gd name="connsiteY218" fmla="*/ 571500 h 1569720"/>
                <a:gd name="connsiteX219" fmla="*/ 383857 w 4542472"/>
                <a:gd name="connsiteY219" fmla="*/ 539972 h 1569720"/>
                <a:gd name="connsiteX220" fmla="*/ 330517 w 4542472"/>
                <a:gd name="connsiteY220" fmla="*/ 511397 h 1569720"/>
                <a:gd name="connsiteX221" fmla="*/ 284797 w 4542472"/>
                <a:gd name="connsiteY221" fmla="*/ 482822 h 1569720"/>
                <a:gd name="connsiteX222" fmla="*/ 235267 w 4542472"/>
                <a:gd name="connsiteY222" fmla="*/ 458057 h 1569720"/>
                <a:gd name="connsiteX223" fmla="*/ 168592 w 4542472"/>
                <a:gd name="connsiteY223" fmla="*/ 455295 h 1569720"/>
                <a:gd name="connsiteX224" fmla="*/ 151447 w 4542472"/>
                <a:gd name="connsiteY224" fmla="*/ 447675 h 1569720"/>
                <a:gd name="connsiteX225" fmla="*/ 140970 w 4542472"/>
                <a:gd name="connsiteY225" fmla="*/ 430435 h 1569720"/>
                <a:gd name="connsiteX226" fmla="*/ 108585 w 4542472"/>
                <a:gd name="connsiteY226" fmla="*/ 430435 h 1569720"/>
                <a:gd name="connsiteX227" fmla="*/ 70485 w 4542472"/>
                <a:gd name="connsiteY227" fmla="*/ 437198 h 1569720"/>
                <a:gd name="connsiteX228" fmla="*/ 70485 w 4542472"/>
                <a:gd name="connsiteY228" fmla="*/ 447675 h 1569720"/>
                <a:gd name="connsiteX229" fmla="*/ 52388 w 4542472"/>
                <a:gd name="connsiteY229" fmla="*/ 451485 h 1569720"/>
                <a:gd name="connsiteX230" fmla="*/ 35242 w 4542472"/>
                <a:gd name="connsiteY230" fmla="*/ 469582 h 1569720"/>
                <a:gd name="connsiteX231" fmla="*/ 27622 w 4542472"/>
                <a:gd name="connsiteY231" fmla="*/ 507682 h 1569720"/>
                <a:gd name="connsiteX232" fmla="*/ 70485 w 4542472"/>
                <a:gd name="connsiteY232" fmla="*/ 532448 h 1569720"/>
                <a:gd name="connsiteX233" fmla="*/ 41910 w 4542472"/>
                <a:gd name="connsiteY233" fmla="*/ 560927 h 1569720"/>
                <a:gd name="connsiteX234" fmla="*/ 59055 w 4542472"/>
                <a:gd name="connsiteY234" fmla="*/ 592360 h 1569720"/>
                <a:gd name="connsiteX235" fmla="*/ 70485 w 4542472"/>
                <a:gd name="connsiteY235" fmla="*/ 620935 h 1569720"/>
                <a:gd name="connsiteX236" fmla="*/ 70485 w 4542472"/>
                <a:gd name="connsiteY236" fmla="*/ 620935 h 1569720"/>
                <a:gd name="connsiteX237" fmla="*/ 70485 w 4542472"/>
                <a:gd name="connsiteY237" fmla="*/ 620935 h 1569720"/>
                <a:gd name="connsiteX238" fmla="*/ 56197 w 4542472"/>
                <a:gd name="connsiteY238" fmla="*/ 656177 h 1569720"/>
                <a:gd name="connsiteX239" fmla="*/ 73342 w 4542472"/>
                <a:gd name="connsiteY239" fmla="*/ 673322 h 1569720"/>
                <a:gd name="connsiteX240" fmla="*/ 87630 w 4542472"/>
                <a:gd name="connsiteY240" fmla="*/ 698182 h 1569720"/>
                <a:gd name="connsiteX241" fmla="*/ 70485 w 4542472"/>
                <a:gd name="connsiteY241" fmla="*/ 716185 h 1569720"/>
                <a:gd name="connsiteX242" fmla="*/ 112395 w 4542472"/>
                <a:gd name="connsiteY242" fmla="*/ 747713 h 1569720"/>
                <a:gd name="connsiteX243" fmla="*/ 98107 w 4542472"/>
                <a:gd name="connsiteY243" fmla="*/ 772478 h 1569720"/>
                <a:gd name="connsiteX244" fmla="*/ 52388 w 4542472"/>
                <a:gd name="connsiteY244" fmla="*/ 814388 h 1569720"/>
                <a:gd name="connsiteX245" fmla="*/ 21907 w 4542472"/>
                <a:gd name="connsiteY245" fmla="*/ 837152 h 1569720"/>
                <a:gd name="connsiteX246" fmla="*/ 38100 w 4542472"/>
                <a:gd name="connsiteY246" fmla="*/ 857250 h 1569720"/>
                <a:gd name="connsiteX247" fmla="*/ 70485 w 4542472"/>
                <a:gd name="connsiteY247" fmla="*/ 871538 h 1569720"/>
                <a:gd name="connsiteX248" fmla="*/ 45720 w 4542472"/>
                <a:gd name="connsiteY248" fmla="*/ 874395 h 1569720"/>
                <a:gd name="connsiteX249" fmla="*/ 13335 w 4542472"/>
                <a:gd name="connsiteY249" fmla="*/ 899065 h 1569720"/>
                <a:gd name="connsiteX250" fmla="*/ 2857 w 4542472"/>
                <a:gd name="connsiteY250" fmla="*/ 920115 h 1569720"/>
                <a:gd name="connsiteX251" fmla="*/ 2857 w 4542472"/>
                <a:gd name="connsiteY251" fmla="*/ 948690 h 1569720"/>
                <a:gd name="connsiteX252" fmla="*/ 0 w 4542472"/>
                <a:gd name="connsiteY252" fmla="*/ 969645 h 1569720"/>
                <a:gd name="connsiteX253" fmla="*/ 10477 w 4542472"/>
                <a:gd name="connsiteY253" fmla="*/ 990600 h 1569720"/>
                <a:gd name="connsiteX254" fmla="*/ 17145 w 4542472"/>
                <a:gd name="connsiteY254" fmla="*/ 1019175 h 1569720"/>
                <a:gd name="connsiteX255" fmla="*/ 24765 w 4542472"/>
                <a:gd name="connsiteY255" fmla="*/ 1029652 h 1569720"/>
                <a:gd name="connsiteX256" fmla="*/ 56197 w 4542472"/>
                <a:gd name="connsiteY256" fmla="*/ 1037177 h 1569720"/>
                <a:gd name="connsiteX257" fmla="*/ 56197 w 4542472"/>
                <a:gd name="connsiteY257" fmla="*/ 1047750 h 1569720"/>
                <a:gd name="connsiteX258" fmla="*/ 91440 w 4542472"/>
                <a:gd name="connsiteY258" fmla="*/ 1050608 h 1569720"/>
                <a:gd name="connsiteX259" fmla="*/ 98107 w 4542472"/>
                <a:gd name="connsiteY259" fmla="*/ 1089565 h 1569720"/>
                <a:gd name="connsiteX260" fmla="*/ 147638 w 4542472"/>
                <a:gd name="connsiteY260" fmla="*/ 1143000 h 1569720"/>
                <a:gd name="connsiteX261" fmla="*/ 143827 w 4542472"/>
                <a:gd name="connsiteY261" fmla="*/ 1145858 h 1569720"/>
                <a:gd name="connsiteX262" fmla="*/ 112395 w 4542472"/>
                <a:gd name="connsiteY262" fmla="*/ 1145858 h 1569720"/>
                <a:gd name="connsiteX263" fmla="*/ 112395 w 4542472"/>
                <a:gd name="connsiteY263" fmla="*/ 1181100 h 1569720"/>
                <a:gd name="connsiteX264" fmla="*/ 126682 w 4542472"/>
                <a:gd name="connsiteY264" fmla="*/ 1188720 h 1569720"/>
                <a:gd name="connsiteX265" fmla="*/ 137160 w 4542472"/>
                <a:gd name="connsiteY265" fmla="*/ 1184815 h 1569720"/>
                <a:gd name="connsiteX266" fmla="*/ 143827 w 4542472"/>
                <a:gd name="connsiteY266" fmla="*/ 1178147 h 1569720"/>
                <a:gd name="connsiteX267" fmla="*/ 186690 w 4542472"/>
                <a:gd name="connsiteY267" fmla="*/ 1178147 h 1569720"/>
                <a:gd name="connsiteX268" fmla="*/ 193357 w 4542472"/>
                <a:gd name="connsiteY268" fmla="*/ 1195388 h 1569720"/>
                <a:gd name="connsiteX269" fmla="*/ 189547 w 4542472"/>
                <a:gd name="connsiteY269" fmla="*/ 1216247 h 1569720"/>
                <a:gd name="connsiteX270" fmla="*/ 221932 w 4542472"/>
                <a:gd name="connsiteY270" fmla="*/ 1223963 h 1569720"/>
                <a:gd name="connsiteX271" fmla="*/ 228600 w 4542472"/>
                <a:gd name="connsiteY271" fmla="*/ 1248727 h 1569720"/>
                <a:gd name="connsiteX272" fmla="*/ 284797 w 4542472"/>
                <a:gd name="connsiteY272" fmla="*/ 1251490 h 1569720"/>
                <a:gd name="connsiteX273" fmla="*/ 288607 w 4542472"/>
                <a:gd name="connsiteY273" fmla="*/ 1263015 h 1569720"/>
                <a:gd name="connsiteX274" fmla="*/ 323850 w 4542472"/>
                <a:gd name="connsiteY274" fmla="*/ 1263015 h 1569720"/>
                <a:gd name="connsiteX275" fmla="*/ 351472 w 4542472"/>
                <a:gd name="connsiteY275" fmla="*/ 1280065 h 1569720"/>
                <a:gd name="connsiteX276" fmla="*/ 348615 w 4542472"/>
                <a:gd name="connsiteY276" fmla="*/ 1336358 h 1569720"/>
                <a:gd name="connsiteX277" fmla="*/ 320040 w 4542472"/>
                <a:gd name="connsiteY277" fmla="*/ 1343977 h 1569720"/>
                <a:gd name="connsiteX278" fmla="*/ 302895 w 4542472"/>
                <a:gd name="connsiteY278" fmla="*/ 1350645 h 1569720"/>
                <a:gd name="connsiteX279" fmla="*/ 299085 w 4542472"/>
                <a:gd name="connsiteY279" fmla="*/ 1364933 h 1569720"/>
                <a:gd name="connsiteX280" fmla="*/ 330517 w 4542472"/>
                <a:gd name="connsiteY280" fmla="*/ 1368647 h 1569720"/>
                <a:gd name="connsiteX281" fmla="*/ 302895 w 4542472"/>
                <a:gd name="connsiteY281" fmla="*/ 1385888 h 1569720"/>
                <a:gd name="connsiteX282" fmla="*/ 305752 w 4542472"/>
                <a:gd name="connsiteY282" fmla="*/ 1403890 h 1569720"/>
                <a:gd name="connsiteX283" fmla="*/ 284797 w 4542472"/>
                <a:gd name="connsiteY283" fmla="*/ 1424940 h 1569720"/>
                <a:gd name="connsiteX284" fmla="*/ 278130 w 4542472"/>
                <a:gd name="connsiteY284" fmla="*/ 1449610 h 1569720"/>
                <a:gd name="connsiteX285" fmla="*/ 302895 w 4542472"/>
                <a:gd name="connsiteY285" fmla="*/ 1460183 h 1569720"/>
                <a:gd name="connsiteX286" fmla="*/ 348615 w 4542472"/>
                <a:gd name="connsiteY286" fmla="*/ 1491615 h 1569720"/>
                <a:gd name="connsiteX287" fmla="*/ 369570 w 4542472"/>
                <a:gd name="connsiteY287" fmla="*/ 1487710 h 1569720"/>
                <a:gd name="connsiteX288" fmla="*/ 390525 w 4542472"/>
                <a:gd name="connsiteY288" fmla="*/ 1501997 h 1569720"/>
                <a:gd name="connsiteX289" fmla="*/ 408622 w 4542472"/>
                <a:gd name="connsiteY289" fmla="*/ 1499140 h 1569720"/>
                <a:gd name="connsiteX290" fmla="*/ 421957 w 4542472"/>
                <a:gd name="connsiteY290" fmla="*/ 1499140 h 1569720"/>
                <a:gd name="connsiteX291" fmla="*/ 446722 w 4542472"/>
                <a:gd name="connsiteY291" fmla="*/ 1512570 h 1569720"/>
                <a:gd name="connsiteX292" fmla="*/ 464820 w 4542472"/>
                <a:gd name="connsiteY292" fmla="*/ 1520190 h 1569720"/>
                <a:gd name="connsiteX293" fmla="*/ 475297 w 4542472"/>
                <a:gd name="connsiteY293" fmla="*/ 1520190 h 1569720"/>
                <a:gd name="connsiteX294" fmla="*/ 492442 w 4542472"/>
                <a:gd name="connsiteY294" fmla="*/ 1516285 h 1569720"/>
                <a:gd name="connsiteX295" fmla="*/ 510540 w 4542472"/>
                <a:gd name="connsiteY295" fmla="*/ 1526858 h 1569720"/>
                <a:gd name="connsiteX296" fmla="*/ 527685 w 4542472"/>
                <a:gd name="connsiteY296" fmla="*/ 1544860 h 1569720"/>
                <a:gd name="connsiteX297" fmla="*/ 538163 w 4542472"/>
                <a:gd name="connsiteY297" fmla="*/ 1547813 h 1569720"/>
                <a:gd name="connsiteX298" fmla="*/ 566738 w 4542472"/>
                <a:gd name="connsiteY298" fmla="*/ 1569720 h 1569720"/>
                <a:gd name="connsiteX299" fmla="*/ 573405 w 4542472"/>
                <a:gd name="connsiteY299" fmla="*/ 1565815 h 1569720"/>
                <a:gd name="connsiteX300" fmla="*/ 591502 w 4542472"/>
                <a:gd name="connsiteY300" fmla="*/ 1547813 h 1569720"/>
                <a:gd name="connsiteX301" fmla="*/ 566738 w 4542472"/>
                <a:gd name="connsiteY301" fmla="*/ 1520190 h 1569720"/>
                <a:gd name="connsiteX302" fmla="*/ 562927 w 4542472"/>
                <a:gd name="connsiteY302" fmla="*/ 1487710 h 1569720"/>
                <a:gd name="connsiteX303" fmla="*/ 552450 w 4542472"/>
                <a:gd name="connsiteY303" fmla="*/ 1470565 h 1569720"/>
                <a:gd name="connsiteX304" fmla="*/ 538163 w 4542472"/>
                <a:gd name="connsiteY304" fmla="*/ 1460183 h 1569720"/>
                <a:gd name="connsiteX305" fmla="*/ 552450 w 4542472"/>
                <a:gd name="connsiteY305" fmla="*/ 1441990 h 1569720"/>
                <a:gd name="connsiteX306" fmla="*/ 560070 w 4542472"/>
                <a:gd name="connsiteY306" fmla="*/ 1428750 h 1569720"/>
                <a:gd name="connsiteX307" fmla="*/ 577215 w 4542472"/>
                <a:gd name="connsiteY307" fmla="*/ 1417320 h 1569720"/>
                <a:gd name="connsiteX308" fmla="*/ 605790 w 4542472"/>
                <a:gd name="connsiteY308" fmla="*/ 1396365 h 1569720"/>
                <a:gd name="connsiteX309" fmla="*/ 598170 w 4542472"/>
                <a:gd name="connsiteY309" fmla="*/ 1371600 h 1569720"/>
                <a:gd name="connsiteX310" fmla="*/ 577215 w 4542472"/>
                <a:gd name="connsiteY310" fmla="*/ 1343977 h 1569720"/>
                <a:gd name="connsiteX311" fmla="*/ 552450 w 4542472"/>
                <a:gd name="connsiteY311" fmla="*/ 1336358 h 1569720"/>
                <a:gd name="connsiteX312" fmla="*/ 535305 w 4542472"/>
                <a:gd name="connsiteY312" fmla="*/ 1311497 h 1569720"/>
                <a:gd name="connsiteX313" fmla="*/ 545782 w 4542472"/>
                <a:gd name="connsiteY313" fmla="*/ 1269683 h 1569720"/>
                <a:gd name="connsiteX314" fmla="*/ 566738 w 4542472"/>
                <a:gd name="connsiteY314" fmla="*/ 1244822 h 1569720"/>
                <a:gd name="connsiteX315" fmla="*/ 581025 w 4542472"/>
                <a:gd name="connsiteY315" fmla="*/ 1273397 h 1569720"/>
                <a:gd name="connsiteX316" fmla="*/ 594360 w 4542472"/>
                <a:gd name="connsiteY316" fmla="*/ 1265777 h 1569720"/>
                <a:gd name="connsiteX317" fmla="*/ 598170 w 4542472"/>
                <a:gd name="connsiteY317" fmla="*/ 1244822 h 1569720"/>
                <a:gd name="connsiteX318" fmla="*/ 641032 w 4542472"/>
                <a:gd name="connsiteY318" fmla="*/ 1213390 h 1569720"/>
                <a:gd name="connsiteX319" fmla="*/ 668655 w 4542472"/>
                <a:gd name="connsiteY319" fmla="*/ 1203008 h 1569720"/>
                <a:gd name="connsiteX320" fmla="*/ 732472 w 4542472"/>
                <a:gd name="connsiteY320" fmla="*/ 1213390 h 1569720"/>
                <a:gd name="connsiteX321" fmla="*/ 770572 w 4542472"/>
                <a:gd name="connsiteY321" fmla="*/ 1238250 h 1569720"/>
                <a:gd name="connsiteX322" fmla="*/ 799147 w 4542472"/>
                <a:gd name="connsiteY322" fmla="*/ 1241108 h 1569720"/>
                <a:gd name="connsiteX323" fmla="*/ 838200 w 4542472"/>
                <a:gd name="connsiteY323" fmla="*/ 1223963 h 1569720"/>
                <a:gd name="connsiteX324" fmla="*/ 869632 w 4542472"/>
                <a:gd name="connsiteY324" fmla="*/ 1223963 h 1569720"/>
                <a:gd name="connsiteX325" fmla="*/ 886777 w 4542472"/>
                <a:gd name="connsiteY325" fmla="*/ 1241108 h 1569720"/>
                <a:gd name="connsiteX326" fmla="*/ 932497 w 4542472"/>
                <a:gd name="connsiteY326" fmla="*/ 1238250 h 1569720"/>
                <a:gd name="connsiteX327" fmla="*/ 950595 w 4542472"/>
                <a:gd name="connsiteY327" fmla="*/ 1220152 h 1569720"/>
                <a:gd name="connsiteX328" fmla="*/ 936307 w 4542472"/>
                <a:gd name="connsiteY328" fmla="*/ 1205865 h 1569720"/>
                <a:gd name="connsiteX329" fmla="*/ 911542 w 4542472"/>
                <a:gd name="connsiteY329" fmla="*/ 1199102 h 1569720"/>
                <a:gd name="connsiteX330" fmla="*/ 922020 w 4542472"/>
                <a:gd name="connsiteY330" fmla="*/ 1184815 h 1569720"/>
                <a:gd name="connsiteX331" fmla="*/ 932497 w 4542472"/>
                <a:gd name="connsiteY331" fmla="*/ 1174433 h 1569720"/>
                <a:gd name="connsiteX332" fmla="*/ 936307 w 4542472"/>
                <a:gd name="connsiteY332" fmla="*/ 1156240 h 1569720"/>
                <a:gd name="connsiteX333" fmla="*/ 957263 w 4542472"/>
                <a:gd name="connsiteY333" fmla="*/ 1149572 h 1569720"/>
                <a:gd name="connsiteX334" fmla="*/ 950595 w 4542472"/>
                <a:gd name="connsiteY334" fmla="*/ 1135285 h 1569720"/>
                <a:gd name="connsiteX335" fmla="*/ 943927 w 4542472"/>
                <a:gd name="connsiteY335" fmla="*/ 1118140 h 1569720"/>
                <a:gd name="connsiteX336" fmla="*/ 982027 w 4542472"/>
                <a:gd name="connsiteY336" fmla="*/ 1114425 h 1569720"/>
                <a:gd name="connsiteX337" fmla="*/ 1137285 w 4542472"/>
                <a:gd name="connsiteY337" fmla="*/ 1072515 h 1569720"/>
                <a:gd name="connsiteX338" fmla="*/ 1176338 w 4542472"/>
                <a:gd name="connsiteY338" fmla="*/ 1064895 h 1569720"/>
                <a:gd name="connsiteX339" fmla="*/ 1211580 w 4542472"/>
                <a:gd name="connsiteY339" fmla="*/ 1068610 h 1569720"/>
                <a:gd name="connsiteX340" fmla="*/ 1218247 w 4542472"/>
                <a:gd name="connsiteY340" fmla="*/ 1093470 h 1569720"/>
                <a:gd name="connsiteX341" fmla="*/ 1235392 w 4542472"/>
                <a:gd name="connsiteY341" fmla="*/ 1103852 h 1569720"/>
                <a:gd name="connsiteX342" fmla="*/ 1270635 w 4542472"/>
                <a:gd name="connsiteY342" fmla="*/ 1114425 h 1569720"/>
                <a:gd name="connsiteX343" fmla="*/ 1305877 w 4542472"/>
                <a:gd name="connsiteY343" fmla="*/ 1132427 h 1569720"/>
                <a:gd name="connsiteX344" fmla="*/ 1338263 w 4542472"/>
                <a:gd name="connsiteY344" fmla="*/ 1114425 h 1569720"/>
                <a:gd name="connsiteX345" fmla="*/ 1376363 w 4542472"/>
                <a:gd name="connsiteY345" fmla="*/ 1103852 h 1569720"/>
                <a:gd name="connsiteX346" fmla="*/ 1380172 w 4542472"/>
                <a:gd name="connsiteY346" fmla="*/ 1120997 h 1569720"/>
                <a:gd name="connsiteX347" fmla="*/ 1411605 w 4542472"/>
                <a:gd name="connsiteY347" fmla="*/ 1143000 h 1569720"/>
                <a:gd name="connsiteX348" fmla="*/ 1440180 w 4542472"/>
                <a:gd name="connsiteY348" fmla="*/ 1184815 h 1569720"/>
                <a:gd name="connsiteX349" fmla="*/ 1464945 w 4542472"/>
                <a:gd name="connsiteY349" fmla="*/ 1227677 h 1569720"/>
                <a:gd name="connsiteX350" fmla="*/ 1479232 w 4542472"/>
                <a:gd name="connsiteY350" fmla="*/ 1227677 h 1569720"/>
                <a:gd name="connsiteX351" fmla="*/ 1485900 w 4542472"/>
                <a:gd name="connsiteY351" fmla="*/ 1213390 h 1569720"/>
                <a:gd name="connsiteX352" fmla="*/ 1524952 w 4542472"/>
                <a:gd name="connsiteY352" fmla="*/ 1234440 h 1569720"/>
                <a:gd name="connsiteX353" fmla="*/ 1573530 w 4542472"/>
                <a:gd name="connsiteY353" fmla="*/ 1227677 h 1569720"/>
                <a:gd name="connsiteX354" fmla="*/ 1591627 w 4542472"/>
                <a:gd name="connsiteY354" fmla="*/ 1251490 h 1569720"/>
                <a:gd name="connsiteX355" fmla="*/ 1616392 w 4542472"/>
                <a:gd name="connsiteY355" fmla="*/ 1269683 h 1569720"/>
                <a:gd name="connsiteX356" fmla="*/ 1654492 w 4542472"/>
                <a:gd name="connsiteY356" fmla="*/ 1273397 h 1569720"/>
                <a:gd name="connsiteX357" fmla="*/ 1662113 w 4542472"/>
                <a:gd name="connsiteY357" fmla="*/ 1298258 h 1569720"/>
                <a:gd name="connsiteX358" fmla="*/ 1689735 w 4542472"/>
                <a:gd name="connsiteY358" fmla="*/ 1298258 h 1569720"/>
                <a:gd name="connsiteX359" fmla="*/ 1704022 w 4542472"/>
                <a:gd name="connsiteY359" fmla="*/ 1283970 h 1569720"/>
                <a:gd name="connsiteX360" fmla="*/ 1728788 w 4542472"/>
                <a:gd name="connsiteY360" fmla="*/ 1280065 h 1569720"/>
                <a:gd name="connsiteX361" fmla="*/ 1743075 w 4542472"/>
                <a:gd name="connsiteY361" fmla="*/ 1265777 h 1569720"/>
                <a:gd name="connsiteX362" fmla="*/ 1803082 w 4542472"/>
                <a:gd name="connsiteY362" fmla="*/ 1234440 h 1569720"/>
                <a:gd name="connsiteX363" fmla="*/ 1834515 w 4542472"/>
                <a:gd name="connsiteY363" fmla="*/ 1238250 h 1569720"/>
                <a:gd name="connsiteX364" fmla="*/ 1869757 w 4542472"/>
                <a:gd name="connsiteY364" fmla="*/ 1244822 h 1569720"/>
                <a:gd name="connsiteX365" fmla="*/ 1886902 w 4542472"/>
                <a:gd name="connsiteY365" fmla="*/ 1265777 h 1569720"/>
                <a:gd name="connsiteX366" fmla="*/ 1944052 w 4542472"/>
                <a:gd name="connsiteY366" fmla="*/ 1265777 h 1569720"/>
                <a:gd name="connsiteX367" fmla="*/ 1957388 w 4542472"/>
                <a:gd name="connsiteY367" fmla="*/ 1276350 h 1569720"/>
                <a:gd name="connsiteX368" fmla="*/ 1979295 w 4542472"/>
                <a:gd name="connsiteY368" fmla="*/ 1259110 h 1569720"/>
                <a:gd name="connsiteX369" fmla="*/ 1982152 w 4542472"/>
                <a:gd name="connsiteY369" fmla="*/ 1244822 h 1569720"/>
                <a:gd name="connsiteX370" fmla="*/ 1961197 w 4542472"/>
                <a:gd name="connsiteY370" fmla="*/ 1220152 h 1569720"/>
                <a:gd name="connsiteX371" fmla="*/ 1992630 w 4542472"/>
                <a:gd name="connsiteY371" fmla="*/ 1188720 h 1569720"/>
                <a:gd name="connsiteX372" fmla="*/ 2042160 w 4542472"/>
                <a:gd name="connsiteY372" fmla="*/ 1199102 h 1569720"/>
                <a:gd name="connsiteX373" fmla="*/ 2085022 w 4542472"/>
                <a:gd name="connsiteY373" fmla="*/ 1213390 h 1569720"/>
                <a:gd name="connsiteX374" fmla="*/ 2087880 w 4542472"/>
                <a:gd name="connsiteY374" fmla="*/ 1230535 h 1569720"/>
                <a:gd name="connsiteX375" fmla="*/ 2105977 w 4542472"/>
                <a:gd name="connsiteY375" fmla="*/ 1251490 h 1569720"/>
                <a:gd name="connsiteX376" fmla="*/ 2151697 w 4542472"/>
                <a:gd name="connsiteY376" fmla="*/ 1259110 h 1569720"/>
                <a:gd name="connsiteX377" fmla="*/ 2176463 w 4542472"/>
                <a:gd name="connsiteY377" fmla="*/ 1244822 h 1569720"/>
                <a:gd name="connsiteX378" fmla="*/ 2218372 w 4542472"/>
                <a:gd name="connsiteY378" fmla="*/ 1251490 h 1569720"/>
                <a:gd name="connsiteX379" fmla="*/ 2228850 w 4542472"/>
                <a:gd name="connsiteY379" fmla="*/ 1263015 h 1569720"/>
                <a:gd name="connsiteX380" fmla="*/ 2246947 w 4542472"/>
                <a:gd name="connsiteY380" fmla="*/ 1265777 h 1569720"/>
                <a:gd name="connsiteX381" fmla="*/ 2257425 w 4542472"/>
                <a:gd name="connsiteY381" fmla="*/ 1280065 h 1569720"/>
                <a:gd name="connsiteX382" fmla="*/ 2267902 w 4542472"/>
                <a:gd name="connsiteY382" fmla="*/ 1290638 h 1569720"/>
                <a:gd name="connsiteX383" fmla="*/ 2306002 w 4542472"/>
                <a:gd name="connsiteY383" fmla="*/ 1294352 h 1569720"/>
                <a:gd name="connsiteX384" fmla="*/ 2338388 w 4542472"/>
                <a:gd name="connsiteY384" fmla="*/ 1290638 h 1569720"/>
                <a:gd name="connsiteX385" fmla="*/ 2390775 w 4542472"/>
                <a:gd name="connsiteY385" fmla="*/ 1280065 h 1569720"/>
                <a:gd name="connsiteX386" fmla="*/ 2422208 w 4542472"/>
                <a:gd name="connsiteY386" fmla="*/ 1255395 h 1569720"/>
                <a:gd name="connsiteX387" fmla="*/ 2440305 w 4542472"/>
                <a:gd name="connsiteY387" fmla="*/ 1251490 h 1569720"/>
                <a:gd name="connsiteX388" fmla="*/ 2454592 w 4542472"/>
                <a:gd name="connsiteY388" fmla="*/ 1263015 h 1569720"/>
                <a:gd name="connsiteX389" fmla="*/ 2496502 w 4542472"/>
                <a:gd name="connsiteY389" fmla="*/ 1265777 h 1569720"/>
                <a:gd name="connsiteX390" fmla="*/ 2527935 w 4542472"/>
                <a:gd name="connsiteY390" fmla="*/ 1283970 h 1569720"/>
                <a:gd name="connsiteX391" fmla="*/ 2546033 w 4542472"/>
                <a:gd name="connsiteY391" fmla="*/ 1265777 h 1569720"/>
                <a:gd name="connsiteX392" fmla="*/ 2566988 w 4542472"/>
                <a:gd name="connsiteY392" fmla="*/ 1263015 h 1569720"/>
                <a:gd name="connsiteX393" fmla="*/ 2573655 w 4542472"/>
                <a:gd name="connsiteY393" fmla="*/ 1234440 h 1569720"/>
                <a:gd name="connsiteX394" fmla="*/ 2591752 w 4542472"/>
                <a:gd name="connsiteY394" fmla="*/ 1203008 h 1569720"/>
                <a:gd name="connsiteX395" fmla="*/ 2608897 w 4542472"/>
                <a:gd name="connsiteY395" fmla="*/ 1192435 h 1569720"/>
                <a:gd name="connsiteX396" fmla="*/ 2608897 w 4542472"/>
                <a:gd name="connsiteY396" fmla="*/ 1167765 h 1569720"/>
                <a:gd name="connsiteX397" fmla="*/ 2587942 w 4542472"/>
                <a:gd name="connsiteY397" fmla="*/ 1163860 h 1569720"/>
                <a:gd name="connsiteX398" fmla="*/ 2591752 w 4542472"/>
                <a:gd name="connsiteY398" fmla="*/ 1149572 h 1569720"/>
                <a:gd name="connsiteX399" fmla="*/ 2616517 w 4542472"/>
                <a:gd name="connsiteY399" fmla="*/ 1139190 h 1569720"/>
                <a:gd name="connsiteX400" fmla="*/ 2693670 w 4542472"/>
                <a:gd name="connsiteY400" fmla="*/ 1132427 h 1569720"/>
                <a:gd name="connsiteX401" fmla="*/ 2722245 w 4542472"/>
                <a:gd name="connsiteY401" fmla="*/ 1143000 h 1569720"/>
                <a:gd name="connsiteX402" fmla="*/ 2747010 w 4542472"/>
                <a:gd name="connsiteY402" fmla="*/ 1153477 h 1569720"/>
                <a:gd name="connsiteX403" fmla="*/ 2767965 w 4542472"/>
                <a:gd name="connsiteY403" fmla="*/ 1188720 h 1569720"/>
                <a:gd name="connsiteX404" fmla="*/ 2787015 w 4542472"/>
                <a:gd name="connsiteY404" fmla="*/ 1234440 h 1569720"/>
                <a:gd name="connsiteX405" fmla="*/ 2795588 w 4542472"/>
                <a:gd name="connsiteY405" fmla="*/ 1251490 h 1569720"/>
                <a:gd name="connsiteX406" fmla="*/ 2806065 w 4542472"/>
                <a:gd name="connsiteY406" fmla="*/ 1280065 h 1569720"/>
                <a:gd name="connsiteX407" fmla="*/ 2834640 w 4542472"/>
                <a:gd name="connsiteY407" fmla="*/ 1280065 h 1569720"/>
                <a:gd name="connsiteX408" fmla="*/ 2887980 w 4542472"/>
                <a:gd name="connsiteY408" fmla="*/ 1308640 h 1569720"/>
                <a:gd name="connsiteX409" fmla="*/ 2894647 w 4542472"/>
                <a:gd name="connsiteY409" fmla="*/ 1343977 h 1569720"/>
                <a:gd name="connsiteX410" fmla="*/ 2933700 w 4542472"/>
                <a:gd name="connsiteY410" fmla="*/ 1346740 h 1569720"/>
                <a:gd name="connsiteX411" fmla="*/ 2944177 w 4542472"/>
                <a:gd name="connsiteY411" fmla="*/ 1333500 h 1569720"/>
                <a:gd name="connsiteX412" fmla="*/ 2968942 w 4542472"/>
                <a:gd name="connsiteY412" fmla="*/ 1329690 h 1569720"/>
                <a:gd name="connsiteX413" fmla="*/ 2996565 w 4542472"/>
                <a:gd name="connsiteY413" fmla="*/ 1325785 h 1569720"/>
                <a:gd name="connsiteX414" fmla="*/ 3000375 w 4542472"/>
                <a:gd name="connsiteY414" fmla="*/ 1350645 h 1569720"/>
                <a:gd name="connsiteX415" fmla="*/ 2986088 w 4542472"/>
                <a:gd name="connsiteY415" fmla="*/ 1358265 h 1569720"/>
                <a:gd name="connsiteX416" fmla="*/ 2975610 w 4542472"/>
                <a:gd name="connsiteY416" fmla="*/ 1396365 h 1569720"/>
                <a:gd name="connsiteX417" fmla="*/ 2954655 w 4542472"/>
                <a:gd name="connsiteY417" fmla="*/ 1435322 h 1569720"/>
                <a:gd name="connsiteX418" fmla="*/ 2933700 w 4542472"/>
                <a:gd name="connsiteY418" fmla="*/ 1439227 h 1569720"/>
                <a:gd name="connsiteX419" fmla="*/ 2922270 w 4542472"/>
                <a:gd name="connsiteY419" fmla="*/ 1428750 h 1569720"/>
                <a:gd name="connsiteX420" fmla="*/ 2898458 w 4542472"/>
                <a:gd name="connsiteY420" fmla="*/ 1445895 h 1569720"/>
                <a:gd name="connsiteX421" fmla="*/ 2898458 w 4542472"/>
                <a:gd name="connsiteY421" fmla="*/ 1509713 h 1569720"/>
                <a:gd name="connsiteX422" fmla="*/ 2929890 w 4542472"/>
                <a:gd name="connsiteY422" fmla="*/ 1501997 h 1569720"/>
                <a:gd name="connsiteX423" fmla="*/ 2954655 w 4542472"/>
                <a:gd name="connsiteY423" fmla="*/ 1516285 h 1569720"/>
                <a:gd name="connsiteX424" fmla="*/ 2986088 w 4542472"/>
                <a:gd name="connsiteY424" fmla="*/ 1501997 h 1569720"/>
                <a:gd name="connsiteX425" fmla="*/ 3010852 w 4542472"/>
                <a:gd name="connsiteY425" fmla="*/ 1484852 h 1569720"/>
                <a:gd name="connsiteX426" fmla="*/ 3042285 w 4542472"/>
                <a:gd name="connsiteY426" fmla="*/ 1445895 h 1569720"/>
                <a:gd name="connsiteX427" fmla="*/ 3148013 w 4542472"/>
                <a:gd name="connsiteY427" fmla="*/ 1315402 h 1569720"/>
                <a:gd name="connsiteX428" fmla="*/ 3158490 w 4542472"/>
                <a:gd name="connsiteY428" fmla="*/ 1283970 h 1569720"/>
                <a:gd name="connsiteX429" fmla="*/ 3162300 w 4542472"/>
                <a:gd name="connsiteY429" fmla="*/ 1227677 h 1569720"/>
                <a:gd name="connsiteX430" fmla="*/ 3176588 w 4542472"/>
                <a:gd name="connsiteY430" fmla="*/ 1188720 h 1569720"/>
                <a:gd name="connsiteX431" fmla="*/ 3183255 w 4542472"/>
                <a:gd name="connsiteY431" fmla="*/ 1149572 h 1569720"/>
                <a:gd name="connsiteX432" fmla="*/ 3155633 w 4542472"/>
                <a:gd name="connsiteY432" fmla="*/ 1114425 h 1569720"/>
                <a:gd name="connsiteX433" fmla="*/ 3116580 w 4542472"/>
                <a:gd name="connsiteY433" fmla="*/ 1107758 h 1569720"/>
                <a:gd name="connsiteX434" fmla="*/ 3091815 w 4542472"/>
                <a:gd name="connsiteY434" fmla="*/ 1128713 h 1569720"/>
                <a:gd name="connsiteX435" fmla="*/ 3073717 w 4542472"/>
                <a:gd name="connsiteY435" fmla="*/ 1100138 h 1569720"/>
                <a:gd name="connsiteX436" fmla="*/ 3056572 w 4542472"/>
                <a:gd name="connsiteY436" fmla="*/ 1120997 h 1569720"/>
                <a:gd name="connsiteX437" fmla="*/ 3052763 w 4542472"/>
                <a:gd name="connsiteY437" fmla="*/ 1093470 h 1569720"/>
                <a:gd name="connsiteX438" fmla="*/ 3017520 w 4542472"/>
                <a:gd name="connsiteY438" fmla="*/ 1097185 h 1569720"/>
                <a:gd name="connsiteX439" fmla="*/ 3014663 w 4542472"/>
                <a:gd name="connsiteY439" fmla="*/ 1079183 h 1569720"/>
                <a:gd name="connsiteX440" fmla="*/ 3218497 w 4542472"/>
                <a:gd name="connsiteY440" fmla="*/ 902970 h 1569720"/>
                <a:gd name="connsiteX441" fmla="*/ 3309938 w 4542472"/>
                <a:gd name="connsiteY441" fmla="*/ 902970 h 1569720"/>
                <a:gd name="connsiteX442" fmla="*/ 3334702 w 4542472"/>
                <a:gd name="connsiteY442" fmla="*/ 899065 h 1569720"/>
                <a:gd name="connsiteX443" fmla="*/ 3388042 w 4542472"/>
                <a:gd name="connsiteY443" fmla="*/ 902970 h 1569720"/>
                <a:gd name="connsiteX444" fmla="*/ 3398520 w 4542472"/>
                <a:gd name="connsiteY444" fmla="*/ 888683 h 1569720"/>
                <a:gd name="connsiteX445" fmla="*/ 3423285 w 4542472"/>
                <a:gd name="connsiteY445" fmla="*/ 884777 h 1569720"/>
                <a:gd name="connsiteX446" fmla="*/ 3461385 w 4542472"/>
                <a:gd name="connsiteY446" fmla="*/ 888683 h 1569720"/>
                <a:gd name="connsiteX447" fmla="*/ 3471863 w 4542472"/>
                <a:gd name="connsiteY447" fmla="*/ 902970 h 1569720"/>
                <a:gd name="connsiteX448" fmla="*/ 3457575 w 4542472"/>
                <a:gd name="connsiteY448" fmla="*/ 917258 h 1569720"/>
                <a:gd name="connsiteX449" fmla="*/ 3510915 w 4542472"/>
                <a:gd name="connsiteY449" fmla="*/ 913352 h 1569720"/>
                <a:gd name="connsiteX450" fmla="*/ 3539490 w 4542472"/>
                <a:gd name="connsiteY450" fmla="*/ 909638 h 1569720"/>
                <a:gd name="connsiteX451" fmla="*/ 3567113 w 4542472"/>
                <a:gd name="connsiteY451" fmla="*/ 909638 h 1569720"/>
                <a:gd name="connsiteX452" fmla="*/ 3549967 w 4542472"/>
                <a:gd name="connsiteY452" fmla="*/ 892397 h 1569720"/>
                <a:gd name="connsiteX453" fmla="*/ 3542347 w 4542472"/>
                <a:gd name="connsiteY453" fmla="*/ 884777 h 1569720"/>
                <a:gd name="connsiteX454" fmla="*/ 3556635 w 4542472"/>
                <a:gd name="connsiteY454" fmla="*/ 857250 h 1569720"/>
                <a:gd name="connsiteX455" fmla="*/ 3623310 w 4542472"/>
                <a:gd name="connsiteY455" fmla="*/ 803815 h 1569720"/>
                <a:gd name="connsiteX456" fmla="*/ 3693795 w 4542472"/>
                <a:gd name="connsiteY456" fmla="*/ 803815 h 1569720"/>
                <a:gd name="connsiteX457" fmla="*/ 3711892 w 4542472"/>
                <a:gd name="connsiteY457" fmla="*/ 797147 h 1569720"/>
                <a:gd name="connsiteX458" fmla="*/ 3697605 w 4542472"/>
                <a:gd name="connsiteY458" fmla="*/ 824865 h 1569720"/>
                <a:gd name="connsiteX459" fmla="*/ 3711892 w 4542472"/>
                <a:gd name="connsiteY459" fmla="*/ 839152 h 1569720"/>
                <a:gd name="connsiteX460" fmla="*/ 3768090 w 4542472"/>
                <a:gd name="connsiteY460" fmla="*/ 803815 h 1569720"/>
                <a:gd name="connsiteX461" fmla="*/ 3792855 w 4542472"/>
                <a:gd name="connsiteY461" fmla="*/ 803815 h 1569720"/>
                <a:gd name="connsiteX462" fmla="*/ 3792855 w 4542472"/>
                <a:gd name="connsiteY462" fmla="*/ 772478 h 1569720"/>
                <a:gd name="connsiteX463" fmla="*/ 3803333 w 4542472"/>
                <a:gd name="connsiteY463" fmla="*/ 762000 h 1569720"/>
                <a:gd name="connsiteX464" fmla="*/ 3813810 w 4542472"/>
                <a:gd name="connsiteY464" fmla="*/ 758190 h 1569720"/>
                <a:gd name="connsiteX465" fmla="*/ 3841433 w 4542472"/>
                <a:gd name="connsiteY465" fmla="*/ 768572 h 1569720"/>
                <a:gd name="connsiteX466" fmla="*/ 3828097 w 4542472"/>
                <a:gd name="connsiteY466" fmla="*/ 776288 h 1569720"/>
                <a:gd name="connsiteX467" fmla="*/ 3799522 w 4542472"/>
                <a:gd name="connsiteY467" fmla="*/ 839152 h 1569720"/>
                <a:gd name="connsiteX468" fmla="*/ 3782377 w 4542472"/>
                <a:gd name="connsiteY468" fmla="*/ 846677 h 1569720"/>
                <a:gd name="connsiteX469" fmla="*/ 3725227 w 4542472"/>
                <a:gd name="connsiteY469" fmla="*/ 884777 h 1569720"/>
                <a:gd name="connsiteX470" fmla="*/ 3651885 w 4542472"/>
                <a:gd name="connsiteY470" fmla="*/ 955358 h 1569720"/>
                <a:gd name="connsiteX471" fmla="*/ 3623310 w 4542472"/>
                <a:gd name="connsiteY471" fmla="*/ 962977 h 1569720"/>
                <a:gd name="connsiteX472" fmla="*/ 3602355 w 4542472"/>
                <a:gd name="connsiteY472" fmla="*/ 1001935 h 1569720"/>
                <a:gd name="connsiteX473" fmla="*/ 3581400 w 4542472"/>
                <a:gd name="connsiteY473" fmla="*/ 1026795 h 1569720"/>
                <a:gd name="connsiteX474" fmla="*/ 3581400 w 4542472"/>
                <a:gd name="connsiteY474" fmla="*/ 1089565 h 1569720"/>
                <a:gd name="connsiteX475" fmla="*/ 3602355 w 4542472"/>
                <a:gd name="connsiteY475" fmla="*/ 1178147 h 1569720"/>
                <a:gd name="connsiteX476" fmla="*/ 3609022 w 4542472"/>
                <a:gd name="connsiteY476" fmla="*/ 1234440 h 1569720"/>
                <a:gd name="connsiteX477" fmla="*/ 3662363 w 4542472"/>
                <a:gd name="connsiteY477" fmla="*/ 1181100 h 1569720"/>
                <a:gd name="connsiteX478" fmla="*/ 3662363 w 4542472"/>
                <a:gd name="connsiteY478" fmla="*/ 1156240 h 1569720"/>
                <a:gd name="connsiteX479" fmla="*/ 3704272 w 4542472"/>
                <a:gd name="connsiteY479" fmla="*/ 1143000 h 1569720"/>
                <a:gd name="connsiteX480" fmla="*/ 3708083 w 4542472"/>
                <a:gd name="connsiteY480" fmla="*/ 1135285 h 1569720"/>
                <a:gd name="connsiteX481" fmla="*/ 3704272 w 4542472"/>
                <a:gd name="connsiteY481" fmla="*/ 1128713 h 1569720"/>
                <a:gd name="connsiteX482" fmla="*/ 3704272 w 4542472"/>
                <a:gd name="connsiteY482" fmla="*/ 1118140 h 1569720"/>
                <a:gd name="connsiteX483" fmla="*/ 3718560 w 4542472"/>
                <a:gd name="connsiteY483" fmla="*/ 1103852 h 1569720"/>
                <a:gd name="connsiteX484" fmla="*/ 3760470 w 4542472"/>
                <a:gd name="connsiteY484" fmla="*/ 1089565 h 1569720"/>
                <a:gd name="connsiteX485" fmla="*/ 3749992 w 4542472"/>
                <a:gd name="connsiteY485" fmla="*/ 1058227 h 1569720"/>
                <a:gd name="connsiteX486" fmla="*/ 3760470 w 4542472"/>
                <a:gd name="connsiteY486" fmla="*/ 1033463 h 1569720"/>
                <a:gd name="connsiteX487" fmla="*/ 3792855 w 4542472"/>
                <a:gd name="connsiteY487" fmla="*/ 1022890 h 1569720"/>
                <a:gd name="connsiteX488" fmla="*/ 3782377 w 4542472"/>
                <a:gd name="connsiteY488" fmla="*/ 994315 h 1569720"/>
                <a:gd name="connsiteX489" fmla="*/ 3789045 w 4542472"/>
                <a:gd name="connsiteY489" fmla="*/ 962977 h 1569720"/>
                <a:gd name="connsiteX490" fmla="*/ 3760470 w 4542472"/>
                <a:gd name="connsiteY490" fmla="*/ 962977 h 1569720"/>
                <a:gd name="connsiteX491" fmla="*/ 3760470 w 4542472"/>
                <a:gd name="connsiteY491" fmla="*/ 941927 h 1569720"/>
                <a:gd name="connsiteX492" fmla="*/ 3803333 w 4542472"/>
                <a:gd name="connsiteY492" fmla="*/ 874395 h 1569720"/>
                <a:gd name="connsiteX493" fmla="*/ 3852863 w 4542472"/>
                <a:gd name="connsiteY493" fmla="*/ 874395 h 1569720"/>
                <a:gd name="connsiteX494" fmla="*/ 3859530 w 4542472"/>
                <a:gd name="connsiteY494" fmla="*/ 853440 h 1569720"/>
                <a:gd name="connsiteX495" fmla="*/ 3876675 w 4542472"/>
                <a:gd name="connsiteY495" fmla="*/ 853440 h 1569720"/>
                <a:gd name="connsiteX496" fmla="*/ 3884295 w 4542472"/>
                <a:gd name="connsiteY496" fmla="*/ 882015 h 1569720"/>
                <a:gd name="connsiteX497" fmla="*/ 3911917 w 4542472"/>
                <a:gd name="connsiteY497" fmla="*/ 853440 h 1569720"/>
                <a:gd name="connsiteX498" fmla="*/ 3965258 w 4542472"/>
                <a:gd name="connsiteY498" fmla="*/ 853440 h 1569720"/>
                <a:gd name="connsiteX499" fmla="*/ 3990022 w 4542472"/>
                <a:gd name="connsiteY499" fmla="*/ 874395 h 1569720"/>
                <a:gd name="connsiteX500" fmla="*/ 4060508 w 4542472"/>
                <a:gd name="connsiteY500" fmla="*/ 818102 h 1569720"/>
                <a:gd name="connsiteX501" fmla="*/ 4095750 w 4542472"/>
                <a:gd name="connsiteY501" fmla="*/ 801053 h 1569720"/>
                <a:gd name="connsiteX502" fmla="*/ 4158615 w 4542472"/>
                <a:gd name="connsiteY502" fmla="*/ 772478 h 1569720"/>
                <a:gd name="connsiteX503" fmla="*/ 4179570 w 4542472"/>
                <a:gd name="connsiteY503" fmla="*/ 754285 h 1569720"/>
                <a:gd name="connsiteX504" fmla="*/ 4226242 w 4542472"/>
                <a:gd name="connsiteY504" fmla="*/ 772478 h 1569720"/>
                <a:gd name="connsiteX505" fmla="*/ 4250055 w 4542472"/>
                <a:gd name="connsiteY505" fmla="*/ 758190 h 1569720"/>
                <a:gd name="connsiteX506" fmla="*/ 4229100 w 4542472"/>
                <a:gd name="connsiteY506" fmla="*/ 726757 h 1569720"/>
                <a:gd name="connsiteX507" fmla="*/ 4218622 w 4542472"/>
                <a:gd name="connsiteY507" fmla="*/ 695325 h 1569720"/>
                <a:gd name="connsiteX508" fmla="*/ 4193858 w 4542472"/>
                <a:gd name="connsiteY508" fmla="*/ 681038 h 1569720"/>
                <a:gd name="connsiteX509" fmla="*/ 4169092 w 4542472"/>
                <a:gd name="connsiteY509" fmla="*/ 670465 h 1569720"/>
                <a:gd name="connsiteX510" fmla="*/ 4172902 w 4542472"/>
                <a:gd name="connsiteY510" fmla="*/ 656177 h 1569720"/>
                <a:gd name="connsiteX511" fmla="*/ 4187190 w 4542472"/>
                <a:gd name="connsiteY511" fmla="*/ 666750 h 1569720"/>
                <a:gd name="connsiteX512" fmla="*/ 4211955 w 4542472"/>
                <a:gd name="connsiteY512" fmla="*/ 670465 h 1569720"/>
                <a:gd name="connsiteX513" fmla="*/ 4247197 w 4542472"/>
                <a:gd name="connsiteY513" fmla="*/ 666750 h 1569720"/>
                <a:gd name="connsiteX514" fmla="*/ 4278630 w 4542472"/>
                <a:gd name="connsiteY514" fmla="*/ 638175 h 1569720"/>
                <a:gd name="connsiteX515" fmla="*/ 4268153 w 4542472"/>
                <a:gd name="connsiteY515" fmla="*/ 627602 h 1569720"/>
                <a:gd name="connsiteX516" fmla="*/ 4271963 w 4542472"/>
                <a:gd name="connsiteY516" fmla="*/ 602932 h 1569720"/>
                <a:gd name="connsiteX517" fmla="*/ 4295775 w 4542472"/>
                <a:gd name="connsiteY517" fmla="*/ 600075 h 1569720"/>
                <a:gd name="connsiteX518" fmla="*/ 4307205 w 4542472"/>
                <a:gd name="connsiteY518" fmla="*/ 635222 h 1569720"/>
                <a:gd name="connsiteX519" fmla="*/ 4380547 w 4542472"/>
                <a:gd name="connsiteY519" fmla="*/ 631507 h 1569720"/>
                <a:gd name="connsiteX520" fmla="*/ 4377691 w 4542472"/>
                <a:gd name="connsiteY520" fmla="*/ 659035 h 1569720"/>
                <a:gd name="connsiteX521" fmla="*/ 4405312 w 4542472"/>
                <a:gd name="connsiteY521" fmla="*/ 670465 h 1569720"/>
                <a:gd name="connsiteX522" fmla="*/ 4454843 w 4542472"/>
                <a:gd name="connsiteY522" fmla="*/ 695325 h 1569720"/>
                <a:gd name="connsiteX523" fmla="*/ 4469130 w 4542472"/>
                <a:gd name="connsiteY523" fmla="*/ 662940 h 1569720"/>
                <a:gd name="connsiteX524" fmla="*/ 4475797 w 4542472"/>
                <a:gd name="connsiteY524" fmla="*/ 638175 h 1569720"/>
                <a:gd name="connsiteX525" fmla="*/ 4521518 w 4542472"/>
                <a:gd name="connsiteY525" fmla="*/ 627602 h 1569720"/>
                <a:gd name="connsiteX526" fmla="*/ 4542472 w 4542472"/>
                <a:gd name="connsiteY526" fmla="*/ 606647 h 1569720"/>
                <a:gd name="connsiteX527" fmla="*/ 4521518 w 4542472"/>
                <a:gd name="connsiteY527" fmla="*/ 585788 h 1569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</a:cxnLst>
              <a:rect l="l" t="t" r="r" b="b"/>
              <a:pathLst>
                <a:path w="4542472" h="1569720">
                  <a:moveTo>
                    <a:pt x="4521518" y="585788"/>
                  </a:moveTo>
                  <a:lnTo>
                    <a:pt x="4490085" y="564832"/>
                  </a:lnTo>
                  <a:lnTo>
                    <a:pt x="4454843" y="557213"/>
                  </a:lnTo>
                  <a:lnTo>
                    <a:pt x="4426268" y="553307"/>
                  </a:lnTo>
                  <a:lnTo>
                    <a:pt x="4436745" y="585788"/>
                  </a:lnTo>
                  <a:lnTo>
                    <a:pt x="4423410" y="592360"/>
                  </a:lnTo>
                  <a:lnTo>
                    <a:pt x="4405312" y="564832"/>
                  </a:lnTo>
                  <a:lnTo>
                    <a:pt x="4394835" y="542925"/>
                  </a:lnTo>
                  <a:lnTo>
                    <a:pt x="4380547" y="521970"/>
                  </a:lnTo>
                  <a:lnTo>
                    <a:pt x="4299585" y="486632"/>
                  </a:lnTo>
                  <a:lnTo>
                    <a:pt x="4253865" y="461963"/>
                  </a:lnTo>
                  <a:lnTo>
                    <a:pt x="4176713" y="434245"/>
                  </a:lnTo>
                  <a:lnTo>
                    <a:pt x="4110038" y="422910"/>
                  </a:lnTo>
                  <a:lnTo>
                    <a:pt x="4052888" y="422910"/>
                  </a:lnTo>
                  <a:lnTo>
                    <a:pt x="4021455" y="409575"/>
                  </a:lnTo>
                  <a:lnTo>
                    <a:pt x="4000500" y="412432"/>
                  </a:lnTo>
                  <a:lnTo>
                    <a:pt x="4004310" y="444722"/>
                  </a:lnTo>
                  <a:lnTo>
                    <a:pt x="4014788" y="465773"/>
                  </a:lnTo>
                  <a:lnTo>
                    <a:pt x="4004310" y="480060"/>
                  </a:lnTo>
                  <a:lnTo>
                    <a:pt x="3969067" y="476250"/>
                  </a:lnTo>
                  <a:lnTo>
                    <a:pt x="3936683" y="451485"/>
                  </a:lnTo>
                  <a:lnTo>
                    <a:pt x="3936683" y="430435"/>
                  </a:lnTo>
                  <a:lnTo>
                    <a:pt x="3926205" y="426720"/>
                  </a:lnTo>
                  <a:lnTo>
                    <a:pt x="3898583" y="441007"/>
                  </a:lnTo>
                  <a:lnTo>
                    <a:pt x="3884295" y="441007"/>
                  </a:lnTo>
                  <a:lnTo>
                    <a:pt x="3768090" y="434245"/>
                  </a:lnTo>
                  <a:lnTo>
                    <a:pt x="3743325" y="444722"/>
                  </a:lnTo>
                  <a:lnTo>
                    <a:pt x="3711892" y="434245"/>
                  </a:lnTo>
                  <a:lnTo>
                    <a:pt x="3704272" y="419957"/>
                  </a:lnTo>
                  <a:lnTo>
                    <a:pt x="3708083" y="395288"/>
                  </a:lnTo>
                  <a:lnTo>
                    <a:pt x="3669030" y="374332"/>
                  </a:lnTo>
                  <a:lnTo>
                    <a:pt x="3574733" y="370523"/>
                  </a:lnTo>
                  <a:lnTo>
                    <a:pt x="3482340" y="366713"/>
                  </a:lnTo>
                  <a:lnTo>
                    <a:pt x="3429952" y="345757"/>
                  </a:lnTo>
                  <a:lnTo>
                    <a:pt x="3405188" y="335185"/>
                  </a:lnTo>
                  <a:lnTo>
                    <a:pt x="3419475" y="317182"/>
                  </a:lnTo>
                  <a:lnTo>
                    <a:pt x="3390900" y="303848"/>
                  </a:lnTo>
                  <a:lnTo>
                    <a:pt x="3328035" y="310420"/>
                  </a:lnTo>
                  <a:lnTo>
                    <a:pt x="3317558" y="303848"/>
                  </a:lnTo>
                  <a:lnTo>
                    <a:pt x="3295650" y="285750"/>
                  </a:lnTo>
                  <a:lnTo>
                    <a:pt x="3176588" y="279082"/>
                  </a:lnTo>
                  <a:lnTo>
                    <a:pt x="3137535" y="292322"/>
                  </a:lnTo>
                  <a:lnTo>
                    <a:pt x="3141345" y="324707"/>
                  </a:lnTo>
                  <a:lnTo>
                    <a:pt x="3112770" y="338995"/>
                  </a:lnTo>
                  <a:lnTo>
                    <a:pt x="3073717" y="352425"/>
                  </a:lnTo>
                  <a:lnTo>
                    <a:pt x="3027997" y="335185"/>
                  </a:lnTo>
                  <a:lnTo>
                    <a:pt x="2986088" y="349472"/>
                  </a:lnTo>
                  <a:lnTo>
                    <a:pt x="2940367" y="324707"/>
                  </a:lnTo>
                  <a:lnTo>
                    <a:pt x="2905125" y="377095"/>
                  </a:lnTo>
                  <a:lnTo>
                    <a:pt x="2866072" y="366713"/>
                  </a:lnTo>
                  <a:lnTo>
                    <a:pt x="2827972" y="320897"/>
                  </a:lnTo>
                  <a:lnTo>
                    <a:pt x="2848927" y="306610"/>
                  </a:lnTo>
                  <a:lnTo>
                    <a:pt x="2841308" y="275273"/>
                  </a:lnTo>
                  <a:lnTo>
                    <a:pt x="2809875" y="239935"/>
                  </a:lnTo>
                  <a:lnTo>
                    <a:pt x="2753677" y="243745"/>
                  </a:lnTo>
                  <a:lnTo>
                    <a:pt x="2718435" y="225647"/>
                  </a:lnTo>
                  <a:lnTo>
                    <a:pt x="2693670" y="221932"/>
                  </a:lnTo>
                  <a:lnTo>
                    <a:pt x="2679383" y="268510"/>
                  </a:lnTo>
                  <a:lnTo>
                    <a:pt x="2552700" y="254222"/>
                  </a:lnTo>
                  <a:lnTo>
                    <a:pt x="2552700" y="236220"/>
                  </a:lnTo>
                  <a:lnTo>
                    <a:pt x="2422208" y="233363"/>
                  </a:lnTo>
                  <a:lnTo>
                    <a:pt x="2405063" y="243745"/>
                  </a:lnTo>
                  <a:lnTo>
                    <a:pt x="2373630" y="221932"/>
                  </a:lnTo>
                  <a:lnTo>
                    <a:pt x="2352675" y="215170"/>
                  </a:lnTo>
                  <a:lnTo>
                    <a:pt x="2345055" y="198120"/>
                  </a:lnTo>
                  <a:lnTo>
                    <a:pt x="2317433" y="204788"/>
                  </a:lnTo>
                  <a:lnTo>
                    <a:pt x="2299335" y="221932"/>
                  </a:lnTo>
                  <a:lnTo>
                    <a:pt x="2303145" y="236220"/>
                  </a:lnTo>
                  <a:lnTo>
                    <a:pt x="2228850" y="257175"/>
                  </a:lnTo>
                  <a:lnTo>
                    <a:pt x="2189797" y="271463"/>
                  </a:lnTo>
                  <a:lnTo>
                    <a:pt x="2183130" y="264795"/>
                  </a:lnTo>
                  <a:lnTo>
                    <a:pt x="2270760" y="215170"/>
                  </a:lnTo>
                  <a:lnTo>
                    <a:pt x="2334577" y="180022"/>
                  </a:lnTo>
                  <a:lnTo>
                    <a:pt x="2394585" y="148495"/>
                  </a:lnTo>
                  <a:lnTo>
                    <a:pt x="2408872" y="113347"/>
                  </a:lnTo>
                  <a:lnTo>
                    <a:pt x="2401252" y="91345"/>
                  </a:lnTo>
                  <a:lnTo>
                    <a:pt x="2352675" y="60007"/>
                  </a:lnTo>
                  <a:lnTo>
                    <a:pt x="2218372" y="63722"/>
                  </a:lnTo>
                  <a:lnTo>
                    <a:pt x="2232660" y="38957"/>
                  </a:lnTo>
                  <a:lnTo>
                    <a:pt x="2158365" y="35147"/>
                  </a:lnTo>
                  <a:lnTo>
                    <a:pt x="2197417" y="14288"/>
                  </a:lnTo>
                  <a:lnTo>
                    <a:pt x="2165985" y="3810"/>
                  </a:lnTo>
                  <a:lnTo>
                    <a:pt x="2105977" y="0"/>
                  </a:lnTo>
                  <a:lnTo>
                    <a:pt x="2063115" y="35147"/>
                  </a:lnTo>
                  <a:lnTo>
                    <a:pt x="2070735" y="63722"/>
                  </a:lnTo>
                  <a:lnTo>
                    <a:pt x="1982152" y="91345"/>
                  </a:lnTo>
                  <a:lnTo>
                    <a:pt x="1922145" y="84772"/>
                  </a:lnTo>
                  <a:lnTo>
                    <a:pt x="1859280" y="91345"/>
                  </a:lnTo>
                  <a:lnTo>
                    <a:pt x="1711642" y="140970"/>
                  </a:lnTo>
                  <a:lnTo>
                    <a:pt x="1644015" y="173260"/>
                  </a:lnTo>
                  <a:lnTo>
                    <a:pt x="1665922" y="211360"/>
                  </a:lnTo>
                  <a:lnTo>
                    <a:pt x="1584007" y="225647"/>
                  </a:lnTo>
                  <a:lnTo>
                    <a:pt x="1503045" y="229457"/>
                  </a:lnTo>
                  <a:lnTo>
                    <a:pt x="1482090" y="243745"/>
                  </a:lnTo>
                  <a:lnTo>
                    <a:pt x="1492567" y="281845"/>
                  </a:lnTo>
                  <a:lnTo>
                    <a:pt x="1524952" y="306610"/>
                  </a:lnTo>
                  <a:lnTo>
                    <a:pt x="1548765" y="331470"/>
                  </a:lnTo>
                  <a:lnTo>
                    <a:pt x="1500188" y="331470"/>
                  </a:lnTo>
                  <a:lnTo>
                    <a:pt x="1464945" y="303848"/>
                  </a:lnTo>
                  <a:lnTo>
                    <a:pt x="1404938" y="285750"/>
                  </a:lnTo>
                  <a:lnTo>
                    <a:pt x="1394460" y="292322"/>
                  </a:lnTo>
                  <a:lnTo>
                    <a:pt x="1419225" y="320897"/>
                  </a:lnTo>
                  <a:lnTo>
                    <a:pt x="1383982" y="314325"/>
                  </a:lnTo>
                  <a:lnTo>
                    <a:pt x="1363027" y="320897"/>
                  </a:lnTo>
                  <a:lnTo>
                    <a:pt x="1376363" y="341948"/>
                  </a:lnTo>
                  <a:lnTo>
                    <a:pt x="1411605" y="352425"/>
                  </a:lnTo>
                  <a:lnTo>
                    <a:pt x="1436370" y="370523"/>
                  </a:lnTo>
                  <a:lnTo>
                    <a:pt x="1415415" y="370523"/>
                  </a:lnTo>
                  <a:lnTo>
                    <a:pt x="1373505" y="360045"/>
                  </a:lnTo>
                  <a:lnTo>
                    <a:pt x="1344930" y="352425"/>
                  </a:lnTo>
                  <a:lnTo>
                    <a:pt x="1338263" y="335185"/>
                  </a:lnTo>
                  <a:lnTo>
                    <a:pt x="1348740" y="310420"/>
                  </a:lnTo>
                  <a:lnTo>
                    <a:pt x="1344930" y="279082"/>
                  </a:lnTo>
                  <a:lnTo>
                    <a:pt x="1330642" y="279082"/>
                  </a:lnTo>
                  <a:lnTo>
                    <a:pt x="1327785" y="306610"/>
                  </a:lnTo>
                  <a:lnTo>
                    <a:pt x="1303020" y="317182"/>
                  </a:lnTo>
                  <a:lnTo>
                    <a:pt x="1281113" y="338995"/>
                  </a:lnTo>
                  <a:lnTo>
                    <a:pt x="1292542" y="360045"/>
                  </a:lnTo>
                  <a:lnTo>
                    <a:pt x="1309688" y="387572"/>
                  </a:lnTo>
                  <a:lnTo>
                    <a:pt x="1295400" y="422910"/>
                  </a:lnTo>
                  <a:lnTo>
                    <a:pt x="1295400" y="458057"/>
                  </a:lnTo>
                  <a:lnTo>
                    <a:pt x="1369695" y="461963"/>
                  </a:lnTo>
                  <a:lnTo>
                    <a:pt x="1404938" y="472345"/>
                  </a:lnTo>
                  <a:lnTo>
                    <a:pt x="1419225" y="500920"/>
                  </a:lnTo>
                  <a:lnTo>
                    <a:pt x="1394460" y="521970"/>
                  </a:lnTo>
                  <a:lnTo>
                    <a:pt x="1386840" y="493395"/>
                  </a:lnTo>
                  <a:lnTo>
                    <a:pt x="1369695" y="476250"/>
                  </a:lnTo>
                  <a:lnTo>
                    <a:pt x="1330642" y="469582"/>
                  </a:lnTo>
                  <a:lnTo>
                    <a:pt x="1313497" y="497110"/>
                  </a:lnTo>
                  <a:lnTo>
                    <a:pt x="1327785" y="525685"/>
                  </a:lnTo>
                  <a:lnTo>
                    <a:pt x="1278255" y="575215"/>
                  </a:lnTo>
                  <a:lnTo>
                    <a:pt x="1243013" y="602932"/>
                  </a:lnTo>
                  <a:lnTo>
                    <a:pt x="1211580" y="600075"/>
                  </a:lnTo>
                  <a:lnTo>
                    <a:pt x="1179195" y="592360"/>
                  </a:lnTo>
                  <a:lnTo>
                    <a:pt x="1158240" y="578072"/>
                  </a:lnTo>
                  <a:lnTo>
                    <a:pt x="1172527" y="571500"/>
                  </a:lnTo>
                  <a:lnTo>
                    <a:pt x="1200150" y="578072"/>
                  </a:lnTo>
                  <a:lnTo>
                    <a:pt x="1224915" y="567690"/>
                  </a:lnTo>
                  <a:lnTo>
                    <a:pt x="1274445" y="525685"/>
                  </a:lnTo>
                  <a:lnTo>
                    <a:pt x="1288732" y="493395"/>
                  </a:lnTo>
                  <a:lnTo>
                    <a:pt x="1260157" y="472345"/>
                  </a:lnTo>
                  <a:lnTo>
                    <a:pt x="1267777" y="395288"/>
                  </a:lnTo>
                  <a:lnTo>
                    <a:pt x="1260157" y="363760"/>
                  </a:lnTo>
                  <a:lnTo>
                    <a:pt x="1243013" y="349472"/>
                  </a:lnTo>
                  <a:lnTo>
                    <a:pt x="1260157" y="320897"/>
                  </a:lnTo>
                  <a:lnTo>
                    <a:pt x="1267777" y="289560"/>
                  </a:lnTo>
                  <a:lnTo>
                    <a:pt x="1260157" y="279082"/>
                  </a:lnTo>
                  <a:lnTo>
                    <a:pt x="1172527" y="271463"/>
                  </a:lnTo>
                  <a:lnTo>
                    <a:pt x="1143952" y="327660"/>
                  </a:lnTo>
                  <a:lnTo>
                    <a:pt x="1102042" y="360045"/>
                  </a:lnTo>
                  <a:lnTo>
                    <a:pt x="1098232" y="370523"/>
                  </a:lnTo>
                  <a:lnTo>
                    <a:pt x="1116330" y="381000"/>
                  </a:lnTo>
                  <a:lnTo>
                    <a:pt x="1102042" y="416147"/>
                  </a:lnTo>
                  <a:lnTo>
                    <a:pt x="1102042" y="434245"/>
                  </a:lnTo>
                  <a:lnTo>
                    <a:pt x="1133475" y="451485"/>
                  </a:lnTo>
                  <a:lnTo>
                    <a:pt x="1158240" y="476250"/>
                  </a:lnTo>
                  <a:lnTo>
                    <a:pt x="1143952" y="500920"/>
                  </a:lnTo>
                  <a:lnTo>
                    <a:pt x="1091565" y="472345"/>
                  </a:lnTo>
                  <a:lnTo>
                    <a:pt x="1042035" y="451485"/>
                  </a:lnTo>
                  <a:lnTo>
                    <a:pt x="982027" y="430435"/>
                  </a:lnTo>
                  <a:lnTo>
                    <a:pt x="925830" y="426720"/>
                  </a:lnTo>
                  <a:lnTo>
                    <a:pt x="890588" y="395288"/>
                  </a:lnTo>
                  <a:lnTo>
                    <a:pt x="876300" y="399098"/>
                  </a:lnTo>
                  <a:lnTo>
                    <a:pt x="876300" y="422910"/>
                  </a:lnTo>
                  <a:lnTo>
                    <a:pt x="915352" y="437198"/>
                  </a:lnTo>
                  <a:lnTo>
                    <a:pt x="936307" y="465773"/>
                  </a:lnTo>
                  <a:lnTo>
                    <a:pt x="908685" y="482822"/>
                  </a:lnTo>
                  <a:lnTo>
                    <a:pt x="901065" y="497110"/>
                  </a:lnTo>
                  <a:lnTo>
                    <a:pt x="883920" y="497110"/>
                  </a:lnTo>
                  <a:lnTo>
                    <a:pt x="886777" y="482822"/>
                  </a:lnTo>
                  <a:lnTo>
                    <a:pt x="880110" y="465773"/>
                  </a:lnTo>
                  <a:lnTo>
                    <a:pt x="838200" y="490538"/>
                  </a:lnTo>
                  <a:lnTo>
                    <a:pt x="774382" y="486632"/>
                  </a:lnTo>
                  <a:lnTo>
                    <a:pt x="767715" y="500920"/>
                  </a:lnTo>
                  <a:lnTo>
                    <a:pt x="732472" y="500920"/>
                  </a:lnTo>
                  <a:lnTo>
                    <a:pt x="739140" y="469582"/>
                  </a:lnTo>
                  <a:lnTo>
                    <a:pt x="718185" y="476250"/>
                  </a:lnTo>
                  <a:lnTo>
                    <a:pt x="697230" y="497110"/>
                  </a:lnTo>
                  <a:lnTo>
                    <a:pt x="679132" y="493395"/>
                  </a:lnTo>
                  <a:lnTo>
                    <a:pt x="577215" y="532448"/>
                  </a:lnTo>
                  <a:lnTo>
                    <a:pt x="560070" y="575215"/>
                  </a:lnTo>
                  <a:lnTo>
                    <a:pt x="517207" y="571500"/>
                  </a:lnTo>
                  <a:lnTo>
                    <a:pt x="489585" y="546735"/>
                  </a:lnTo>
                  <a:lnTo>
                    <a:pt x="506730" y="529495"/>
                  </a:lnTo>
                  <a:lnTo>
                    <a:pt x="535305" y="529495"/>
                  </a:lnTo>
                  <a:lnTo>
                    <a:pt x="535305" y="515207"/>
                  </a:lnTo>
                  <a:lnTo>
                    <a:pt x="513397" y="490538"/>
                  </a:lnTo>
                  <a:lnTo>
                    <a:pt x="454342" y="493395"/>
                  </a:lnTo>
                  <a:lnTo>
                    <a:pt x="467677" y="507682"/>
                  </a:lnTo>
                  <a:lnTo>
                    <a:pt x="461010" y="546735"/>
                  </a:lnTo>
                  <a:lnTo>
                    <a:pt x="475297" y="560927"/>
                  </a:lnTo>
                  <a:lnTo>
                    <a:pt x="464820" y="602932"/>
                  </a:lnTo>
                  <a:lnTo>
                    <a:pt x="415290" y="588645"/>
                  </a:lnTo>
                  <a:lnTo>
                    <a:pt x="397192" y="602932"/>
                  </a:lnTo>
                  <a:lnTo>
                    <a:pt x="365760" y="620935"/>
                  </a:lnTo>
                  <a:lnTo>
                    <a:pt x="344805" y="641890"/>
                  </a:lnTo>
                  <a:lnTo>
                    <a:pt x="361950" y="662940"/>
                  </a:lnTo>
                  <a:lnTo>
                    <a:pt x="361950" y="681038"/>
                  </a:lnTo>
                  <a:lnTo>
                    <a:pt x="316230" y="670465"/>
                  </a:lnTo>
                  <a:lnTo>
                    <a:pt x="295275" y="662940"/>
                  </a:lnTo>
                  <a:lnTo>
                    <a:pt x="274320" y="645795"/>
                  </a:lnTo>
                  <a:lnTo>
                    <a:pt x="260032" y="662940"/>
                  </a:lnTo>
                  <a:lnTo>
                    <a:pt x="278130" y="683895"/>
                  </a:lnTo>
                  <a:lnTo>
                    <a:pt x="299085" y="691515"/>
                  </a:lnTo>
                  <a:lnTo>
                    <a:pt x="295275" y="708565"/>
                  </a:lnTo>
                  <a:lnTo>
                    <a:pt x="260032" y="708565"/>
                  </a:lnTo>
                  <a:lnTo>
                    <a:pt x="232410" y="683895"/>
                  </a:lnTo>
                  <a:lnTo>
                    <a:pt x="214313" y="681038"/>
                  </a:lnTo>
                  <a:lnTo>
                    <a:pt x="203835" y="635222"/>
                  </a:lnTo>
                  <a:lnTo>
                    <a:pt x="200025" y="613315"/>
                  </a:lnTo>
                  <a:lnTo>
                    <a:pt x="186690" y="602932"/>
                  </a:lnTo>
                  <a:lnTo>
                    <a:pt x="158115" y="588645"/>
                  </a:lnTo>
                  <a:lnTo>
                    <a:pt x="133350" y="557213"/>
                  </a:lnTo>
                  <a:lnTo>
                    <a:pt x="164782" y="571500"/>
                  </a:lnTo>
                  <a:lnTo>
                    <a:pt x="203835" y="585788"/>
                  </a:lnTo>
                  <a:lnTo>
                    <a:pt x="257175" y="596265"/>
                  </a:lnTo>
                  <a:lnTo>
                    <a:pt x="302895" y="613315"/>
                  </a:lnTo>
                  <a:lnTo>
                    <a:pt x="355282" y="600075"/>
                  </a:lnTo>
                  <a:lnTo>
                    <a:pt x="386715" y="571500"/>
                  </a:lnTo>
                  <a:lnTo>
                    <a:pt x="383857" y="539972"/>
                  </a:lnTo>
                  <a:lnTo>
                    <a:pt x="330517" y="511397"/>
                  </a:lnTo>
                  <a:lnTo>
                    <a:pt x="284797" y="482822"/>
                  </a:lnTo>
                  <a:lnTo>
                    <a:pt x="235267" y="458057"/>
                  </a:lnTo>
                  <a:lnTo>
                    <a:pt x="168592" y="455295"/>
                  </a:lnTo>
                  <a:lnTo>
                    <a:pt x="151447" y="447675"/>
                  </a:lnTo>
                  <a:lnTo>
                    <a:pt x="140970" y="430435"/>
                  </a:lnTo>
                  <a:lnTo>
                    <a:pt x="108585" y="430435"/>
                  </a:lnTo>
                  <a:lnTo>
                    <a:pt x="70485" y="437198"/>
                  </a:lnTo>
                  <a:lnTo>
                    <a:pt x="70485" y="447675"/>
                  </a:lnTo>
                  <a:lnTo>
                    <a:pt x="52388" y="451485"/>
                  </a:lnTo>
                  <a:lnTo>
                    <a:pt x="35242" y="469582"/>
                  </a:lnTo>
                  <a:lnTo>
                    <a:pt x="27622" y="507682"/>
                  </a:lnTo>
                  <a:lnTo>
                    <a:pt x="70485" y="532448"/>
                  </a:lnTo>
                  <a:lnTo>
                    <a:pt x="41910" y="560927"/>
                  </a:lnTo>
                  <a:lnTo>
                    <a:pt x="59055" y="592360"/>
                  </a:lnTo>
                  <a:lnTo>
                    <a:pt x="70485" y="620935"/>
                  </a:lnTo>
                  <a:lnTo>
                    <a:pt x="70485" y="620935"/>
                  </a:lnTo>
                  <a:lnTo>
                    <a:pt x="70485" y="620935"/>
                  </a:lnTo>
                  <a:lnTo>
                    <a:pt x="56197" y="656177"/>
                  </a:lnTo>
                  <a:lnTo>
                    <a:pt x="73342" y="673322"/>
                  </a:lnTo>
                  <a:lnTo>
                    <a:pt x="87630" y="698182"/>
                  </a:lnTo>
                  <a:lnTo>
                    <a:pt x="70485" y="716185"/>
                  </a:lnTo>
                  <a:lnTo>
                    <a:pt x="112395" y="747713"/>
                  </a:lnTo>
                  <a:lnTo>
                    <a:pt x="98107" y="772478"/>
                  </a:lnTo>
                  <a:lnTo>
                    <a:pt x="52388" y="814388"/>
                  </a:lnTo>
                  <a:lnTo>
                    <a:pt x="21907" y="837152"/>
                  </a:lnTo>
                  <a:lnTo>
                    <a:pt x="38100" y="857250"/>
                  </a:lnTo>
                  <a:lnTo>
                    <a:pt x="70485" y="871538"/>
                  </a:lnTo>
                  <a:lnTo>
                    <a:pt x="45720" y="874395"/>
                  </a:lnTo>
                  <a:lnTo>
                    <a:pt x="13335" y="899065"/>
                  </a:lnTo>
                  <a:lnTo>
                    <a:pt x="2857" y="920115"/>
                  </a:lnTo>
                  <a:lnTo>
                    <a:pt x="2857" y="948690"/>
                  </a:lnTo>
                  <a:lnTo>
                    <a:pt x="0" y="969645"/>
                  </a:lnTo>
                  <a:lnTo>
                    <a:pt x="10477" y="990600"/>
                  </a:lnTo>
                  <a:lnTo>
                    <a:pt x="17145" y="1019175"/>
                  </a:lnTo>
                  <a:lnTo>
                    <a:pt x="24765" y="1029652"/>
                  </a:lnTo>
                  <a:lnTo>
                    <a:pt x="56197" y="1037177"/>
                  </a:lnTo>
                  <a:lnTo>
                    <a:pt x="56197" y="1047750"/>
                  </a:lnTo>
                  <a:lnTo>
                    <a:pt x="91440" y="1050608"/>
                  </a:lnTo>
                  <a:lnTo>
                    <a:pt x="98107" y="1089565"/>
                  </a:lnTo>
                  <a:lnTo>
                    <a:pt x="147638" y="1143000"/>
                  </a:lnTo>
                  <a:lnTo>
                    <a:pt x="143827" y="1145858"/>
                  </a:lnTo>
                  <a:lnTo>
                    <a:pt x="112395" y="1145858"/>
                  </a:lnTo>
                  <a:lnTo>
                    <a:pt x="112395" y="1181100"/>
                  </a:lnTo>
                  <a:lnTo>
                    <a:pt x="126682" y="1188720"/>
                  </a:lnTo>
                  <a:lnTo>
                    <a:pt x="137160" y="1184815"/>
                  </a:lnTo>
                  <a:lnTo>
                    <a:pt x="143827" y="1178147"/>
                  </a:lnTo>
                  <a:lnTo>
                    <a:pt x="186690" y="1178147"/>
                  </a:lnTo>
                  <a:lnTo>
                    <a:pt x="193357" y="1195388"/>
                  </a:lnTo>
                  <a:lnTo>
                    <a:pt x="189547" y="1216247"/>
                  </a:lnTo>
                  <a:lnTo>
                    <a:pt x="221932" y="1223963"/>
                  </a:lnTo>
                  <a:lnTo>
                    <a:pt x="228600" y="1248727"/>
                  </a:lnTo>
                  <a:lnTo>
                    <a:pt x="284797" y="1251490"/>
                  </a:lnTo>
                  <a:lnTo>
                    <a:pt x="288607" y="1263015"/>
                  </a:lnTo>
                  <a:lnTo>
                    <a:pt x="323850" y="1263015"/>
                  </a:lnTo>
                  <a:lnTo>
                    <a:pt x="351472" y="1280065"/>
                  </a:lnTo>
                  <a:lnTo>
                    <a:pt x="348615" y="1336358"/>
                  </a:lnTo>
                  <a:lnTo>
                    <a:pt x="320040" y="1343977"/>
                  </a:lnTo>
                  <a:lnTo>
                    <a:pt x="302895" y="1350645"/>
                  </a:lnTo>
                  <a:lnTo>
                    <a:pt x="299085" y="1364933"/>
                  </a:lnTo>
                  <a:lnTo>
                    <a:pt x="330517" y="1368647"/>
                  </a:lnTo>
                  <a:lnTo>
                    <a:pt x="302895" y="1385888"/>
                  </a:lnTo>
                  <a:lnTo>
                    <a:pt x="305752" y="1403890"/>
                  </a:lnTo>
                  <a:lnTo>
                    <a:pt x="284797" y="1424940"/>
                  </a:lnTo>
                  <a:lnTo>
                    <a:pt x="278130" y="1449610"/>
                  </a:lnTo>
                  <a:lnTo>
                    <a:pt x="302895" y="1460183"/>
                  </a:lnTo>
                  <a:lnTo>
                    <a:pt x="348615" y="1491615"/>
                  </a:lnTo>
                  <a:lnTo>
                    <a:pt x="369570" y="1487710"/>
                  </a:lnTo>
                  <a:lnTo>
                    <a:pt x="390525" y="1501997"/>
                  </a:lnTo>
                  <a:lnTo>
                    <a:pt x="408622" y="1499140"/>
                  </a:lnTo>
                  <a:lnTo>
                    <a:pt x="421957" y="1499140"/>
                  </a:lnTo>
                  <a:lnTo>
                    <a:pt x="446722" y="1512570"/>
                  </a:lnTo>
                  <a:lnTo>
                    <a:pt x="464820" y="1520190"/>
                  </a:lnTo>
                  <a:lnTo>
                    <a:pt x="475297" y="1520190"/>
                  </a:lnTo>
                  <a:lnTo>
                    <a:pt x="492442" y="1516285"/>
                  </a:lnTo>
                  <a:lnTo>
                    <a:pt x="510540" y="1526858"/>
                  </a:lnTo>
                  <a:lnTo>
                    <a:pt x="527685" y="1544860"/>
                  </a:lnTo>
                  <a:lnTo>
                    <a:pt x="538163" y="1547813"/>
                  </a:lnTo>
                  <a:lnTo>
                    <a:pt x="566738" y="1569720"/>
                  </a:lnTo>
                  <a:lnTo>
                    <a:pt x="573405" y="1565815"/>
                  </a:lnTo>
                  <a:lnTo>
                    <a:pt x="591502" y="1547813"/>
                  </a:lnTo>
                  <a:lnTo>
                    <a:pt x="566738" y="1520190"/>
                  </a:lnTo>
                  <a:lnTo>
                    <a:pt x="562927" y="1487710"/>
                  </a:lnTo>
                  <a:lnTo>
                    <a:pt x="552450" y="1470565"/>
                  </a:lnTo>
                  <a:lnTo>
                    <a:pt x="538163" y="1460183"/>
                  </a:lnTo>
                  <a:lnTo>
                    <a:pt x="552450" y="1441990"/>
                  </a:lnTo>
                  <a:lnTo>
                    <a:pt x="560070" y="1428750"/>
                  </a:lnTo>
                  <a:lnTo>
                    <a:pt x="577215" y="1417320"/>
                  </a:lnTo>
                  <a:lnTo>
                    <a:pt x="605790" y="1396365"/>
                  </a:lnTo>
                  <a:lnTo>
                    <a:pt x="598170" y="1371600"/>
                  </a:lnTo>
                  <a:lnTo>
                    <a:pt x="577215" y="1343977"/>
                  </a:lnTo>
                  <a:lnTo>
                    <a:pt x="552450" y="1336358"/>
                  </a:lnTo>
                  <a:lnTo>
                    <a:pt x="535305" y="1311497"/>
                  </a:lnTo>
                  <a:lnTo>
                    <a:pt x="545782" y="1269683"/>
                  </a:lnTo>
                  <a:lnTo>
                    <a:pt x="566738" y="1244822"/>
                  </a:lnTo>
                  <a:lnTo>
                    <a:pt x="581025" y="1273397"/>
                  </a:lnTo>
                  <a:lnTo>
                    <a:pt x="594360" y="1265777"/>
                  </a:lnTo>
                  <a:lnTo>
                    <a:pt x="598170" y="1244822"/>
                  </a:lnTo>
                  <a:lnTo>
                    <a:pt x="641032" y="1213390"/>
                  </a:lnTo>
                  <a:lnTo>
                    <a:pt x="668655" y="1203008"/>
                  </a:lnTo>
                  <a:lnTo>
                    <a:pt x="732472" y="1213390"/>
                  </a:lnTo>
                  <a:lnTo>
                    <a:pt x="770572" y="1238250"/>
                  </a:lnTo>
                  <a:lnTo>
                    <a:pt x="799147" y="1241108"/>
                  </a:lnTo>
                  <a:lnTo>
                    <a:pt x="838200" y="1223963"/>
                  </a:lnTo>
                  <a:lnTo>
                    <a:pt x="869632" y="1223963"/>
                  </a:lnTo>
                  <a:lnTo>
                    <a:pt x="886777" y="1241108"/>
                  </a:lnTo>
                  <a:lnTo>
                    <a:pt x="932497" y="1238250"/>
                  </a:lnTo>
                  <a:lnTo>
                    <a:pt x="950595" y="1220152"/>
                  </a:lnTo>
                  <a:lnTo>
                    <a:pt x="936307" y="1205865"/>
                  </a:lnTo>
                  <a:lnTo>
                    <a:pt x="911542" y="1199102"/>
                  </a:lnTo>
                  <a:lnTo>
                    <a:pt x="922020" y="1184815"/>
                  </a:lnTo>
                  <a:lnTo>
                    <a:pt x="932497" y="1174433"/>
                  </a:lnTo>
                  <a:lnTo>
                    <a:pt x="936307" y="1156240"/>
                  </a:lnTo>
                  <a:lnTo>
                    <a:pt x="957263" y="1149572"/>
                  </a:lnTo>
                  <a:lnTo>
                    <a:pt x="950595" y="1135285"/>
                  </a:lnTo>
                  <a:lnTo>
                    <a:pt x="943927" y="1118140"/>
                  </a:lnTo>
                  <a:lnTo>
                    <a:pt x="982027" y="1114425"/>
                  </a:lnTo>
                  <a:lnTo>
                    <a:pt x="1137285" y="1072515"/>
                  </a:lnTo>
                  <a:lnTo>
                    <a:pt x="1176338" y="1064895"/>
                  </a:lnTo>
                  <a:lnTo>
                    <a:pt x="1211580" y="1068610"/>
                  </a:lnTo>
                  <a:lnTo>
                    <a:pt x="1218247" y="1093470"/>
                  </a:lnTo>
                  <a:lnTo>
                    <a:pt x="1235392" y="1103852"/>
                  </a:lnTo>
                  <a:lnTo>
                    <a:pt x="1270635" y="1114425"/>
                  </a:lnTo>
                  <a:lnTo>
                    <a:pt x="1305877" y="1132427"/>
                  </a:lnTo>
                  <a:lnTo>
                    <a:pt x="1338263" y="1114425"/>
                  </a:lnTo>
                  <a:lnTo>
                    <a:pt x="1376363" y="1103852"/>
                  </a:lnTo>
                  <a:lnTo>
                    <a:pt x="1380172" y="1120997"/>
                  </a:lnTo>
                  <a:lnTo>
                    <a:pt x="1411605" y="1143000"/>
                  </a:lnTo>
                  <a:lnTo>
                    <a:pt x="1440180" y="1184815"/>
                  </a:lnTo>
                  <a:lnTo>
                    <a:pt x="1464945" y="1227677"/>
                  </a:lnTo>
                  <a:lnTo>
                    <a:pt x="1479232" y="1227677"/>
                  </a:lnTo>
                  <a:lnTo>
                    <a:pt x="1485900" y="1213390"/>
                  </a:lnTo>
                  <a:lnTo>
                    <a:pt x="1524952" y="1234440"/>
                  </a:lnTo>
                  <a:lnTo>
                    <a:pt x="1573530" y="1227677"/>
                  </a:lnTo>
                  <a:lnTo>
                    <a:pt x="1591627" y="1251490"/>
                  </a:lnTo>
                  <a:lnTo>
                    <a:pt x="1616392" y="1269683"/>
                  </a:lnTo>
                  <a:lnTo>
                    <a:pt x="1654492" y="1273397"/>
                  </a:lnTo>
                  <a:lnTo>
                    <a:pt x="1662113" y="1298258"/>
                  </a:lnTo>
                  <a:lnTo>
                    <a:pt x="1689735" y="1298258"/>
                  </a:lnTo>
                  <a:lnTo>
                    <a:pt x="1704022" y="1283970"/>
                  </a:lnTo>
                  <a:lnTo>
                    <a:pt x="1728788" y="1280065"/>
                  </a:lnTo>
                  <a:lnTo>
                    <a:pt x="1743075" y="1265777"/>
                  </a:lnTo>
                  <a:lnTo>
                    <a:pt x="1803082" y="1234440"/>
                  </a:lnTo>
                  <a:lnTo>
                    <a:pt x="1834515" y="1238250"/>
                  </a:lnTo>
                  <a:lnTo>
                    <a:pt x="1869757" y="1244822"/>
                  </a:lnTo>
                  <a:lnTo>
                    <a:pt x="1886902" y="1265777"/>
                  </a:lnTo>
                  <a:lnTo>
                    <a:pt x="1944052" y="1265777"/>
                  </a:lnTo>
                  <a:lnTo>
                    <a:pt x="1957388" y="1276350"/>
                  </a:lnTo>
                  <a:lnTo>
                    <a:pt x="1979295" y="1259110"/>
                  </a:lnTo>
                  <a:lnTo>
                    <a:pt x="1982152" y="1244822"/>
                  </a:lnTo>
                  <a:lnTo>
                    <a:pt x="1961197" y="1220152"/>
                  </a:lnTo>
                  <a:lnTo>
                    <a:pt x="1992630" y="1188720"/>
                  </a:lnTo>
                  <a:lnTo>
                    <a:pt x="2042160" y="1199102"/>
                  </a:lnTo>
                  <a:lnTo>
                    <a:pt x="2085022" y="1213390"/>
                  </a:lnTo>
                  <a:lnTo>
                    <a:pt x="2087880" y="1230535"/>
                  </a:lnTo>
                  <a:lnTo>
                    <a:pt x="2105977" y="1251490"/>
                  </a:lnTo>
                  <a:lnTo>
                    <a:pt x="2151697" y="1259110"/>
                  </a:lnTo>
                  <a:lnTo>
                    <a:pt x="2176463" y="1244822"/>
                  </a:lnTo>
                  <a:lnTo>
                    <a:pt x="2218372" y="1251490"/>
                  </a:lnTo>
                  <a:lnTo>
                    <a:pt x="2228850" y="1263015"/>
                  </a:lnTo>
                  <a:lnTo>
                    <a:pt x="2246947" y="1265777"/>
                  </a:lnTo>
                  <a:lnTo>
                    <a:pt x="2257425" y="1280065"/>
                  </a:lnTo>
                  <a:lnTo>
                    <a:pt x="2267902" y="1290638"/>
                  </a:lnTo>
                  <a:lnTo>
                    <a:pt x="2306002" y="1294352"/>
                  </a:lnTo>
                  <a:lnTo>
                    <a:pt x="2338388" y="1290638"/>
                  </a:lnTo>
                  <a:lnTo>
                    <a:pt x="2390775" y="1280065"/>
                  </a:lnTo>
                  <a:lnTo>
                    <a:pt x="2422208" y="1255395"/>
                  </a:lnTo>
                  <a:lnTo>
                    <a:pt x="2440305" y="1251490"/>
                  </a:lnTo>
                  <a:lnTo>
                    <a:pt x="2454592" y="1263015"/>
                  </a:lnTo>
                  <a:lnTo>
                    <a:pt x="2496502" y="1265777"/>
                  </a:lnTo>
                  <a:lnTo>
                    <a:pt x="2527935" y="1283970"/>
                  </a:lnTo>
                  <a:lnTo>
                    <a:pt x="2546033" y="1265777"/>
                  </a:lnTo>
                  <a:lnTo>
                    <a:pt x="2566988" y="1263015"/>
                  </a:lnTo>
                  <a:lnTo>
                    <a:pt x="2573655" y="1234440"/>
                  </a:lnTo>
                  <a:lnTo>
                    <a:pt x="2591752" y="1203008"/>
                  </a:lnTo>
                  <a:lnTo>
                    <a:pt x="2608897" y="1192435"/>
                  </a:lnTo>
                  <a:lnTo>
                    <a:pt x="2608897" y="1167765"/>
                  </a:lnTo>
                  <a:lnTo>
                    <a:pt x="2587942" y="1163860"/>
                  </a:lnTo>
                  <a:lnTo>
                    <a:pt x="2591752" y="1149572"/>
                  </a:lnTo>
                  <a:lnTo>
                    <a:pt x="2616517" y="1139190"/>
                  </a:lnTo>
                  <a:lnTo>
                    <a:pt x="2693670" y="1132427"/>
                  </a:lnTo>
                  <a:lnTo>
                    <a:pt x="2722245" y="1143000"/>
                  </a:lnTo>
                  <a:lnTo>
                    <a:pt x="2747010" y="1153477"/>
                  </a:lnTo>
                  <a:lnTo>
                    <a:pt x="2767965" y="1188720"/>
                  </a:lnTo>
                  <a:lnTo>
                    <a:pt x="2787015" y="1234440"/>
                  </a:lnTo>
                  <a:lnTo>
                    <a:pt x="2795588" y="1251490"/>
                  </a:lnTo>
                  <a:lnTo>
                    <a:pt x="2806065" y="1280065"/>
                  </a:lnTo>
                  <a:lnTo>
                    <a:pt x="2834640" y="1280065"/>
                  </a:lnTo>
                  <a:lnTo>
                    <a:pt x="2887980" y="1308640"/>
                  </a:lnTo>
                  <a:lnTo>
                    <a:pt x="2894647" y="1343977"/>
                  </a:lnTo>
                  <a:lnTo>
                    <a:pt x="2933700" y="1346740"/>
                  </a:lnTo>
                  <a:lnTo>
                    <a:pt x="2944177" y="1333500"/>
                  </a:lnTo>
                  <a:lnTo>
                    <a:pt x="2968942" y="1329690"/>
                  </a:lnTo>
                  <a:lnTo>
                    <a:pt x="2996565" y="1325785"/>
                  </a:lnTo>
                  <a:lnTo>
                    <a:pt x="3000375" y="1350645"/>
                  </a:lnTo>
                  <a:lnTo>
                    <a:pt x="2986088" y="1358265"/>
                  </a:lnTo>
                  <a:lnTo>
                    <a:pt x="2975610" y="1396365"/>
                  </a:lnTo>
                  <a:lnTo>
                    <a:pt x="2954655" y="1435322"/>
                  </a:lnTo>
                  <a:lnTo>
                    <a:pt x="2933700" y="1439227"/>
                  </a:lnTo>
                  <a:lnTo>
                    <a:pt x="2922270" y="1428750"/>
                  </a:lnTo>
                  <a:lnTo>
                    <a:pt x="2898458" y="1445895"/>
                  </a:lnTo>
                  <a:lnTo>
                    <a:pt x="2898458" y="1509713"/>
                  </a:lnTo>
                  <a:lnTo>
                    <a:pt x="2929890" y="1501997"/>
                  </a:lnTo>
                  <a:lnTo>
                    <a:pt x="2954655" y="1516285"/>
                  </a:lnTo>
                  <a:lnTo>
                    <a:pt x="2986088" y="1501997"/>
                  </a:lnTo>
                  <a:lnTo>
                    <a:pt x="3010852" y="1484852"/>
                  </a:lnTo>
                  <a:lnTo>
                    <a:pt x="3042285" y="1445895"/>
                  </a:lnTo>
                  <a:lnTo>
                    <a:pt x="3148013" y="1315402"/>
                  </a:lnTo>
                  <a:lnTo>
                    <a:pt x="3158490" y="1283970"/>
                  </a:lnTo>
                  <a:lnTo>
                    <a:pt x="3162300" y="1227677"/>
                  </a:lnTo>
                  <a:lnTo>
                    <a:pt x="3176588" y="1188720"/>
                  </a:lnTo>
                  <a:lnTo>
                    <a:pt x="3183255" y="1149572"/>
                  </a:lnTo>
                  <a:lnTo>
                    <a:pt x="3155633" y="1114425"/>
                  </a:lnTo>
                  <a:lnTo>
                    <a:pt x="3116580" y="1107758"/>
                  </a:lnTo>
                  <a:lnTo>
                    <a:pt x="3091815" y="1128713"/>
                  </a:lnTo>
                  <a:lnTo>
                    <a:pt x="3073717" y="1100138"/>
                  </a:lnTo>
                  <a:lnTo>
                    <a:pt x="3056572" y="1120997"/>
                  </a:lnTo>
                  <a:lnTo>
                    <a:pt x="3052763" y="1093470"/>
                  </a:lnTo>
                  <a:lnTo>
                    <a:pt x="3017520" y="1097185"/>
                  </a:lnTo>
                  <a:lnTo>
                    <a:pt x="3014663" y="1079183"/>
                  </a:lnTo>
                  <a:lnTo>
                    <a:pt x="3218497" y="902970"/>
                  </a:lnTo>
                  <a:lnTo>
                    <a:pt x="3309938" y="902970"/>
                  </a:lnTo>
                  <a:lnTo>
                    <a:pt x="3334702" y="899065"/>
                  </a:lnTo>
                  <a:lnTo>
                    <a:pt x="3388042" y="902970"/>
                  </a:lnTo>
                  <a:lnTo>
                    <a:pt x="3398520" y="888683"/>
                  </a:lnTo>
                  <a:lnTo>
                    <a:pt x="3423285" y="884777"/>
                  </a:lnTo>
                  <a:lnTo>
                    <a:pt x="3461385" y="888683"/>
                  </a:lnTo>
                  <a:lnTo>
                    <a:pt x="3471863" y="902970"/>
                  </a:lnTo>
                  <a:lnTo>
                    <a:pt x="3457575" y="917258"/>
                  </a:lnTo>
                  <a:lnTo>
                    <a:pt x="3510915" y="913352"/>
                  </a:lnTo>
                  <a:lnTo>
                    <a:pt x="3539490" y="909638"/>
                  </a:lnTo>
                  <a:lnTo>
                    <a:pt x="3567113" y="909638"/>
                  </a:lnTo>
                  <a:lnTo>
                    <a:pt x="3549967" y="892397"/>
                  </a:lnTo>
                  <a:lnTo>
                    <a:pt x="3542347" y="884777"/>
                  </a:lnTo>
                  <a:lnTo>
                    <a:pt x="3556635" y="857250"/>
                  </a:lnTo>
                  <a:lnTo>
                    <a:pt x="3623310" y="803815"/>
                  </a:lnTo>
                  <a:lnTo>
                    <a:pt x="3693795" y="803815"/>
                  </a:lnTo>
                  <a:lnTo>
                    <a:pt x="3711892" y="797147"/>
                  </a:lnTo>
                  <a:lnTo>
                    <a:pt x="3697605" y="824865"/>
                  </a:lnTo>
                  <a:lnTo>
                    <a:pt x="3711892" y="839152"/>
                  </a:lnTo>
                  <a:lnTo>
                    <a:pt x="3768090" y="803815"/>
                  </a:lnTo>
                  <a:lnTo>
                    <a:pt x="3792855" y="803815"/>
                  </a:lnTo>
                  <a:lnTo>
                    <a:pt x="3792855" y="772478"/>
                  </a:lnTo>
                  <a:lnTo>
                    <a:pt x="3803333" y="762000"/>
                  </a:lnTo>
                  <a:lnTo>
                    <a:pt x="3813810" y="758190"/>
                  </a:lnTo>
                  <a:lnTo>
                    <a:pt x="3841433" y="768572"/>
                  </a:lnTo>
                  <a:lnTo>
                    <a:pt x="3828097" y="776288"/>
                  </a:lnTo>
                  <a:lnTo>
                    <a:pt x="3799522" y="839152"/>
                  </a:lnTo>
                  <a:lnTo>
                    <a:pt x="3782377" y="846677"/>
                  </a:lnTo>
                  <a:lnTo>
                    <a:pt x="3725227" y="884777"/>
                  </a:lnTo>
                  <a:lnTo>
                    <a:pt x="3651885" y="955358"/>
                  </a:lnTo>
                  <a:lnTo>
                    <a:pt x="3623310" y="962977"/>
                  </a:lnTo>
                  <a:lnTo>
                    <a:pt x="3602355" y="1001935"/>
                  </a:lnTo>
                  <a:lnTo>
                    <a:pt x="3581400" y="1026795"/>
                  </a:lnTo>
                  <a:lnTo>
                    <a:pt x="3581400" y="1089565"/>
                  </a:lnTo>
                  <a:lnTo>
                    <a:pt x="3602355" y="1178147"/>
                  </a:lnTo>
                  <a:lnTo>
                    <a:pt x="3609022" y="1234440"/>
                  </a:lnTo>
                  <a:lnTo>
                    <a:pt x="3662363" y="1181100"/>
                  </a:lnTo>
                  <a:lnTo>
                    <a:pt x="3662363" y="1156240"/>
                  </a:lnTo>
                  <a:lnTo>
                    <a:pt x="3704272" y="1143000"/>
                  </a:lnTo>
                  <a:lnTo>
                    <a:pt x="3708083" y="1135285"/>
                  </a:lnTo>
                  <a:lnTo>
                    <a:pt x="3704272" y="1128713"/>
                  </a:lnTo>
                  <a:lnTo>
                    <a:pt x="3704272" y="1118140"/>
                  </a:lnTo>
                  <a:lnTo>
                    <a:pt x="3718560" y="1103852"/>
                  </a:lnTo>
                  <a:lnTo>
                    <a:pt x="3760470" y="1089565"/>
                  </a:lnTo>
                  <a:lnTo>
                    <a:pt x="3749992" y="1058227"/>
                  </a:lnTo>
                  <a:lnTo>
                    <a:pt x="3760470" y="1033463"/>
                  </a:lnTo>
                  <a:lnTo>
                    <a:pt x="3792855" y="1022890"/>
                  </a:lnTo>
                  <a:lnTo>
                    <a:pt x="3782377" y="994315"/>
                  </a:lnTo>
                  <a:lnTo>
                    <a:pt x="3789045" y="962977"/>
                  </a:lnTo>
                  <a:lnTo>
                    <a:pt x="3760470" y="962977"/>
                  </a:lnTo>
                  <a:lnTo>
                    <a:pt x="3760470" y="941927"/>
                  </a:lnTo>
                  <a:lnTo>
                    <a:pt x="3803333" y="874395"/>
                  </a:lnTo>
                  <a:lnTo>
                    <a:pt x="3852863" y="874395"/>
                  </a:lnTo>
                  <a:lnTo>
                    <a:pt x="3859530" y="853440"/>
                  </a:lnTo>
                  <a:lnTo>
                    <a:pt x="3876675" y="853440"/>
                  </a:lnTo>
                  <a:lnTo>
                    <a:pt x="3884295" y="882015"/>
                  </a:lnTo>
                  <a:lnTo>
                    <a:pt x="3911917" y="853440"/>
                  </a:lnTo>
                  <a:lnTo>
                    <a:pt x="3965258" y="853440"/>
                  </a:lnTo>
                  <a:lnTo>
                    <a:pt x="3990022" y="874395"/>
                  </a:lnTo>
                  <a:lnTo>
                    <a:pt x="4060508" y="818102"/>
                  </a:lnTo>
                  <a:lnTo>
                    <a:pt x="4095750" y="801053"/>
                  </a:lnTo>
                  <a:lnTo>
                    <a:pt x="4158615" y="772478"/>
                  </a:lnTo>
                  <a:lnTo>
                    <a:pt x="4179570" y="754285"/>
                  </a:lnTo>
                  <a:lnTo>
                    <a:pt x="4226242" y="772478"/>
                  </a:lnTo>
                  <a:lnTo>
                    <a:pt x="4250055" y="758190"/>
                  </a:lnTo>
                  <a:lnTo>
                    <a:pt x="4229100" y="726757"/>
                  </a:lnTo>
                  <a:lnTo>
                    <a:pt x="4218622" y="695325"/>
                  </a:lnTo>
                  <a:lnTo>
                    <a:pt x="4193858" y="681038"/>
                  </a:lnTo>
                  <a:lnTo>
                    <a:pt x="4169092" y="670465"/>
                  </a:lnTo>
                  <a:lnTo>
                    <a:pt x="4172902" y="656177"/>
                  </a:lnTo>
                  <a:lnTo>
                    <a:pt x="4187190" y="666750"/>
                  </a:lnTo>
                  <a:lnTo>
                    <a:pt x="4211955" y="670465"/>
                  </a:lnTo>
                  <a:lnTo>
                    <a:pt x="4247197" y="666750"/>
                  </a:lnTo>
                  <a:lnTo>
                    <a:pt x="4278630" y="638175"/>
                  </a:lnTo>
                  <a:lnTo>
                    <a:pt x="4268153" y="627602"/>
                  </a:lnTo>
                  <a:lnTo>
                    <a:pt x="4271963" y="602932"/>
                  </a:lnTo>
                  <a:lnTo>
                    <a:pt x="4295775" y="600075"/>
                  </a:lnTo>
                  <a:lnTo>
                    <a:pt x="4307205" y="635222"/>
                  </a:lnTo>
                  <a:lnTo>
                    <a:pt x="4380547" y="631507"/>
                  </a:lnTo>
                  <a:lnTo>
                    <a:pt x="4377691" y="659035"/>
                  </a:lnTo>
                  <a:lnTo>
                    <a:pt x="4405312" y="670465"/>
                  </a:lnTo>
                  <a:lnTo>
                    <a:pt x="4454843" y="695325"/>
                  </a:lnTo>
                  <a:lnTo>
                    <a:pt x="4469130" y="662940"/>
                  </a:lnTo>
                  <a:lnTo>
                    <a:pt x="4475797" y="638175"/>
                  </a:lnTo>
                  <a:lnTo>
                    <a:pt x="4521518" y="627602"/>
                  </a:lnTo>
                  <a:lnTo>
                    <a:pt x="4542472" y="606647"/>
                  </a:lnTo>
                  <a:lnTo>
                    <a:pt x="4521518" y="58578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04" name="Freeform: Shape 3803">
              <a:extLst>
                <a:ext uri="{FF2B5EF4-FFF2-40B4-BE49-F238E27FC236}">
                  <a16:creationId xmlns:a16="http://schemas.microsoft.com/office/drawing/2014/main" id="{3EDE1C13-BE88-8170-8A7B-FF6DC32D467F}"/>
                </a:ext>
              </a:extLst>
            </p:cNvPr>
            <p:cNvSpPr/>
            <p:nvPr/>
          </p:nvSpPr>
          <p:spPr>
            <a:xfrm>
              <a:off x="7410311" y="1847960"/>
              <a:ext cx="476199" cy="339037"/>
            </a:xfrm>
            <a:custGeom>
              <a:avLst/>
              <a:gdLst>
                <a:gd name="connsiteX0" fmla="*/ 35243 w 485775"/>
                <a:gd name="connsiteY0" fmla="*/ 321088 h 345852"/>
                <a:gd name="connsiteX1" fmla="*/ 52388 w 485775"/>
                <a:gd name="connsiteY1" fmla="*/ 310515 h 345852"/>
                <a:gd name="connsiteX2" fmla="*/ 62865 w 485775"/>
                <a:gd name="connsiteY2" fmla="*/ 321088 h 345852"/>
                <a:gd name="connsiteX3" fmla="*/ 62865 w 485775"/>
                <a:gd name="connsiteY3" fmla="*/ 342043 h 345852"/>
                <a:gd name="connsiteX4" fmla="*/ 155257 w 485775"/>
                <a:gd name="connsiteY4" fmla="*/ 345853 h 345852"/>
                <a:gd name="connsiteX5" fmla="*/ 130493 w 485775"/>
                <a:gd name="connsiteY5" fmla="*/ 324803 h 345852"/>
                <a:gd name="connsiteX6" fmla="*/ 126682 w 485775"/>
                <a:gd name="connsiteY6" fmla="*/ 306800 h 345852"/>
                <a:gd name="connsiteX7" fmla="*/ 108585 w 485775"/>
                <a:gd name="connsiteY7" fmla="*/ 292513 h 345852"/>
                <a:gd name="connsiteX8" fmla="*/ 112395 w 485775"/>
                <a:gd name="connsiteY8" fmla="*/ 246793 h 345852"/>
                <a:gd name="connsiteX9" fmla="*/ 151448 w 485775"/>
                <a:gd name="connsiteY9" fmla="*/ 204788 h 345852"/>
                <a:gd name="connsiteX10" fmla="*/ 168593 w 485775"/>
                <a:gd name="connsiteY10" fmla="*/ 180118 h 345852"/>
                <a:gd name="connsiteX11" fmla="*/ 193357 w 485775"/>
                <a:gd name="connsiteY11" fmla="*/ 165830 h 345852"/>
                <a:gd name="connsiteX12" fmla="*/ 193357 w 485775"/>
                <a:gd name="connsiteY12" fmla="*/ 144875 h 345852"/>
                <a:gd name="connsiteX13" fmla="*/ 214313 w 485775"/>
                <a:gd name="connsiteY13" fmla="*/ 141065 h 345852"/>
                <a:gd name="connsiteX14" fmla="*/ 239077 w 485775"/>
                <a:gd name="connsiteY14" fmla="*/ 130588 h 345852"/>
                <a:gd name="connsiteX15" fmla="*/ 292418 w 485775"/>
                <a:gd name="connsiteY15" fmla="*/ 87725 h 345852"/>
                <a:gd name="connsiteX16" fmla="*/ 390525 w 485775"/>
                <a:gd name="connsiteY16" fmla="*/ 70580 h 345852"/>
                <a:gd name="connsiteX17" fmla="*/ 446723 w 485775"/>
                <a:gd name="connsiteY17" fmla="*/ 52388 h 345852"/>
                <a:gd name="connsiteX18" fmla="*/ 479107 w 485775"/>
                <a:gd name="connsiteY18" fmla="*/ 31528 h 345852"/>
                <a:gd name="connsiteX19" fmla="*/ 485775 w 485775"/>
                <a:gd name="connsiteY19" fmla="*/ 10478 h 345852"/>
                <a:gd name="connsiteX20" fmla="*/ 468630 w 485775"/>
                <a:gd name="connsiteY20" fmla="*/ 0 h 345852"/>
                <a:gd name="connsiteX21" fmla="*/ 440055 w 485775"/>
                <a:gd name="connsiteY21" fmla="*/ 0 h 345852"/>
                <a:gd name="connsiteX22" fmla="*/ 404813 w 485775"/>
                <a:gd name="connsiteY22" fmla="*/ 14288 h 345852"/>
                <a:gd name="connsiteX23" fmla="*/ 369570 w 485775"/>
                <a:gd name="connsiteY23" fmla="*/ 35338 h 345852"/>
                <a:gd name="connsiteX24" fmla="*/ 309563 w 485775"/>
                <a:gd name="connsiteY24" fmla="*/ 42005 h 345852"/>
                <a:gd name="connsiteX25" fmla="*/ 246698 w 485775"/>
                <a:gd name="connsiteY25" fmla="*/ 49625 h 345852"/>
                <a:gd name="connsiteX26" fmla="*/ 232410 w 485775"/>
                <a:gd name="connsiteY26" fmla="*/ 63913 h 345852"/>
                <a:gd name="connsiteX27" fmla="*/ 193357 w 485775"/>
                <a:gd name="connsiteY27" fmla="*/ 70580 h 345852"/>
                <a:gd name="connsiteX28" fmla="*/ 133350 w 485775"/>
                <a:gd name="connsiteY28" fmla="*/ 116300 h 345852"/>
                <a:gd name="connsiteX29" fmla="*/ 112395 w 485775"/>
                <a:gd name="connsiteY29" fmla="*/ 147638 h 345852"/>
                <a:gd name="connsiteX30" fmla="*/ 66675 w 485775"/>
                <a:gd name="connsiteY30" fmla="*/ 186690 h 345852"/>
                <a:gd name="connsiteX31" fmla="*/ 84773 w 485775"/>
                <a:gd name="connsiteY31" fmla="*/ 190500 h 345852"/>
                <a:gd name="connsiteX32" fmla="*/ 77152 w 485775"/>
                <a:gd name="connsiteY32" fmla="*/ 204788 h 345852"/>
                <a:gd name="connsiteX33" fmla="*/ 60007 w 485775"/>
                <a:gd name="connsiteY33" fmla="*/ 207740 h 345852"/>
                <a:gd name="connsiteX34" fmla="*/ 35243 w 485775"/>
                <a:gd name="connsiteY34" fmla="*/ 232505 h 345852"/>
                <a:gd name="connsiteX35" fmla="*/ 35243 w 485775"/>
                <a:gd name="connsiteY35" fmla="*/ 250603 h 345852"/>
                <a:gd name="connsiteX36" fmla="*/ 20955 w 485775"/>
                <a:gd name="connsiteY36" fmla="*/ 264890 h 345852"/>
                <a:gd name="connsiteX37" fmla="*/ 0 w 485775"/>
                <a:gd name="connsiteY37" fmla="*/ 271463 h 345852"/>
                <a:gd name="connsiteX38" fmla="*/ 0 w 485775"/>
                <a:gd name="connsiteY38" fmla="*/ 292513 h 345852"/>
                <a:gd name="connsiteX39" fmla="*/ 17145 w 485775"/>
                <a:gd name="connsiteY39" fmla="*/ 310515 h 345852"/>
                <a:gd name="connsiteX40" fmla="*/ 35243 w 485775"/>
                <a:gd name="connsiteY40" fmla="*/ 321088 h 345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85775" h="345852">
                  <a:moveTo>
                    <a:pt x="35243" y="321088"/>
                  </a:moveTo>
                  <a:lnTo>
                    <a:pt x="52388" y="310515"/>
                  </a:lnTo>
                  <a:lnTo>
                    <a:pt x="62865" y="321088"/>
                  </a:lnTo>
                  <a:lnTo>
                    <a:pt x="62865" y="342043"/>
                  </a:lnTo>
                  <a:lnTo>
                    <a:pt x="155257" y="345853"/>
                  </a:lnTo>
                  <a:lnTo>
                    <a:pt x="130493" y="324803"/>
                  </a:lnTo>
                  <a:lnTo>
                    <a:pt x="126682" y="306800"/>
                  </a:lnTo>
                  <a:lnTo>
                    <a:pt x="108585" y="292513"/>
                  </a:lnTo>
                  <a:lnTo>
                    <a:pt x="112395" y="246793"/>
                  </a:lnTo>
                  <a:lnTo>
                    <a:pt x="151448" y="204788"/>
                  </a:lnTo>
                  <a:lnTo>
                    <a:pt x="168593" y="180118"/>
                  </a:lnTo>
                  <a:lnTo>
                    <a:pt x="193357" y="165830"/>
                  </a:lnTo>
                  <a:lnTo>
                    <a:pt x="193357" y="144875"/>
                  </a:lnTo>
                  <a:lnTo>
                    <a:pt x="214313" y="141065"/>
                  </a:lnTo>
                  <a:lnTo>
                    <a:pt x="239077" y="130588"/>
                  </a:lnTo>
                  <a:lnTo>
                    <a:pt x="292418" y="87725"/>
                  </a:lnTo>
                  <a:lnTo>
                    <a:pt x="390525" y="70580"/>
                  </a:lnTo>
                  <a:lnTo>
                    <a:pt x="446723" y="52388"/>
                  </a:lnTo>
                  <a:lnTo>
                    <a:pt x="479107" y="31528"/>
                  </a:lnTo>
                  <a:lnTo>
                    <a:pt x="485775" y="10478"/>
                  </a:lnTo>
                  <a:lnTo>
                    <a:pt x="468630" y="0"/>
                  </a:lnTo>
                  <a:lnTo>
                    <a:pt x="440055" y="0"/>
                  </a:lnTo>
                  <a:lnTo>
                    <a:pt x="404813" y="14288"/>
                  </a:lnTo>
                  <a:lnTo>
                    <a:pt x="369570" y="35338"/>
                  </a:lnTo>
                  <a:lnTo>
                    <a:pt x="309563" y="42005"/>
                  </a:lnTo>
                  <a:lnTo>
                    <a:pt x="246698" y="49625"/>
                  </a:lnTo>
                  <a:lnTo>
                    <a:pt x="232410" y="63913"/>
                  </a:lnTo>
                  <a:lnTo>
                    <a:pt x="193357" y="70580"/>
                  </a:lnTo>
                  <a:lnTo>
                    <a:pt x="133350" y="116300"/>
                  </a:lnTo>
                  <a:lnTo>
                    <a:pt x="112395" y="147638"/>
                  </a:lnTo>
                  <a:lnTo>
                    <a:pt x="66675" y="186690"/>
                  </a:lnTo>
                  <a:lnTo>
                    <a:pt x="84773" y="190500"/>
                  </a:lnTo>
                  <a:lnTo>
                    <a:pt x="77152" y="204788"/>
                  </a:lnTo>
                  <a:lnTo>
                    <a:pt x="60007" y="207740"/>
                  </a:lnTo>
                  <a:lnTo>
                    <a:pt x="35243" y="232505"/>
                  </a:lnTo>
                  <a:lnTo>
                    <a:pt x="35243" y="250603"/>
                  </a:lnTo>
                  <a:lnTo>
                    <a:pt x="20955" y="264890"/>
                  </a:lnTo>
                  <a:lnTo>
                    <a:pt x="0" y="271463"/>
                  </a:lnTo>
                  <a:lnTo>
                    <a:pt x="0" y="292513"/>
                  </a:lnTo>
                  <a:lnTo>
                    <a:pt x="17145" y="310515"/>
                  </a:lnTo>
                  <a:lnTo>
                    <a:pt x="35243" y="32108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05" name="Freeform: Shape 3804">
              <a:extLst>
                <a:ext uri="{FF2B5EF4-FFF2-40B4-BE49-F238E27FC236}">
                  <a16:creationId xmlns:a16="http://schemas.microsoft.com/office/drawing/2014/main" id="{1FEF4D9B-F381-C4DB-786A-5C6D221D54EF}"/>
                </a:ext>
              </a:extLst>
            </p:cNvPr>
            <p:cNvSpPr/>
            <p:nvPr/>
          </p:nvSpPr>
          <p:spPr>
            <a:xfrm>
              <a:off x="8718460" y="1706127"/>
              <a:ext cx="166203" cy="89638"/>
            </a:xfrm>
            <a:custGeom>
              <a:avLst/>
              <a:gdLst>
                <a:gd name="connsiteX0" fmla="*/ 14288 w 169545"/>
                <a:gd name="connsiteY0" fmla="*/ 91440 h 91440"/>
                <a:gd name="connsiteX1" fmla="*/ 35243 w 169545"/>
                <a:gd name="connsiteY1" fmla="*/ 84773 h 91440"/>
                <a:gd name="connsiteX2" fmla="*/ 45720 w 169545"/>
                <a:gd name="connsiteY2" fmla="*/ 74200 h 91440"/>
                <a:gd name="connsiteX3" fmla="*/ 101918 w 169545"/>
                <a:gd name="connsiteY3" fmla="*/ 70485 h 91440"/>
                <a:gd name="connsiteX4" fmla="*/ 151448 w 169545"/>
                <a:gd name="connsiteY4" fmla="*/ 70485 h 91440"/>
                <a:gd name="connsiteX5" fmla="*/ 165735 w 169545"/>
                <a:gd name="connsiteY5" fmla="*/ 56198 h 91440"/>
                <a:gd name="connsiteX6" fmla="*/ 169545 w 169545"/>
                <a:gd name="connsiteY6" fmla="*/ 39053 h 91440"/>
                <a:gd name="connsiteX7" fmla="*/ 144780 w 169545"/>
                <a:gd name="connsiteY7" fmla="*/ 28575 h 91440"/>
                <a:gd name="connsiteX8" fmla="*/ 123825 w 169545"/>
                <a:gd name="connsiteY8" fmla="*/ 10478 h 91440"/>
                <a:gd name="connsiteX9" fmla="*/ 95250 w 169545"/>
                <a:gd name="connsiteY9" fmla="*/ 24765 h 91440"/>
                <a:gd name="connsiteX10" fmla="*/ 101918 w 169545"/>
                <a:gd name="connsiteY10" fmla="*/ 0 h 91440"/>
                <a:gd name="connsiteX11" fmla="*/ 70485 w 169545"/>
                <a:gd name="connsiteY11" fmla="*/ 3715 h 91440"/>
                <a:gd name="connsiteX12" fmla="*/ 49530 w 169545"/>
                <a:gd name="connsiteY12" fmla="*/ 24765 h 91440"/>
                <a:gd name="connsiteX13" fmla="*/ 28575 w 169545"/>
                <a:gd name="connsiteY13" fmla="*/ 53340 h 91440"/>
                <a:gd name="connsiteX14" fmla="*/ 0 w 169545"/>
                <a:gd name="connsiteY14" fmla="*/ 84773 h 91440"/>
                <a:gd name="connsiteX15" fmla="*/ 14288 w 169545"/>
                <a:gd name="connsiteY15" fmla="*/ 91440 h 914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9545" h="91440">
                  <a:moveTo>
                    <a:pt x="14288" y="91440"/>
                  </a:moveTo>
                  <a:lnTo>
                    <a:pt x="35243" y="84773"/>
                  </a:lnTo>
                  <a:lnTo>
                    <a:pt x="45720" y="74200"/>
                  </a:lnTo>
                  <a:lnTo>
                    <a:pt x="101918" y="70485"/>
                  </a:lnTo>
                  <a:lnTo>
                    <a:pt x="151448" y="70485"/>
                  </a:lnTo>
                  <a:lnTo>
                    <a:pt x="165735" y="56198"/>
                  </a:lnTo>
                  <a:lnTo>
                    <a:pt x="169545" y="39053"/>
                  </a:lnTo>
                  <a:lnTo>
                    <a:pt x="144780" y="28575"/>
                  </a:lnTo>
                  <a:lnTo>
                    <a:pt x="123825" y="10478"/>
                  </a:lnTo>
                  <a:lnTo>
                    <a:pt x="95250" y="24765"/>
                  </a:lnTo>
                  <a:lnTo>
                    <a:pt x="101918" y="0"/>
                  </a:lnTo>
                  <a:lnTo>
                    <a:pt x="70485" y="3715"/>
                  </a:lnTo>
                  <a:lnTo>
                    <a:pt x="49530" y="24765"/>
                  </a:lnTo>
                  <a:lnTo>
                    <a:pt x="28575" y="53340"/>
                  </a:lnTo>
                  <a:lnTo>
                    <a:pt x="0" y="84773"/>
                  </a:lnTo>
                  <a:lnTo>
                    <a:pt x="14288" y="9144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06" name="Freeform: Shape 3805">
              <a:extLst>
                <a:ext uri="{FF2B5EF4-FFF2-40B4-BE49-F238E27FC236}">
                  <a16:creationId xmlns:a16="http://schemas.microsoft.com/office/drawing/2014/main" id="{63CF43D7-D3FF-C03D-621C-73D428B7FBF5}"/>
                </a:ext>
              </a:extLst>
            </p:cNvPr>
            <p:cNvSpPr/>
            <p:nvPr/>
          </p:nvSpPr>
          <p:spPr>
            <a:xfrm>
              <a:off x="8566262" y="1657573"/>
              <a:ext cx="166202" cy="79367"/>
            </a:xfrm>
            <a:custGeom>
              <a:avLst/>
              <a:gdLst>
                <a:gd name="connsiteX0" fmla="*/ 81915 w 169544"/>
                <a:gd name="connsiteY0" fmla="*/ 0 h 80962"/>
                <a:gd name="connsiteX1" fmla="*/ 28575 w 169544"/>
                <a:gd name="connsiteY1" fmla="*/ 10382 h 80962"/>
                <a:gd name="connsiteX2" fmla="*/ 0 w 169544"/>
                <a:gd name="connsiteY2" fmla="*/ 38957 h 80962"/>
                <a:gd name="connsiteX3" fmla="*/ 14288 w 169544"/>
                <a:gd name="connsiteY3" fmla="*/ 49530 h 80962"/>
                <a:gd name="connsiteX4" fmla="*/ 28575 w 169544"/>
                <a:gd name="connsiteY4" fmla="*/ 70390 h 80962"/>
                <a:gd name="connsiteX5" fmla="*/ 70485 w 169544"/>
                <a:gd name="connsiteY5" fmla="*/ 70390 h 80962"/>
                <a:gd name="connsiteX6" fmla="*/ 95250 w 169544"/>
                <a:gd name="connsiteY6" fmla="*/ 80962 h 80962"/>
                <a:gd name="connsiteX7" fmla="*/ 162878 w 169544"/>
                <a:gd name="connsiteY7" fmla="*/ 80962 h 80962"/>
                <a:gd name="connsiteX8" fmla="*/ 148590 w 169544"/>
                <a:gd name="connsiteY8" fmla="*/ 63817 h 80962"/>
                <a:gd name="connsiteX9" fmla="*/ 169545 w 169544"/>
                <a:gd name="connsiteY9" fmla="*/ 45720 h 80962"/>
                <a:gd name="connsiteX10" fmla="*/ 169545 w 169544"/>
                <a:gd name="connsiteY10" fmla="*/ 24670 h 80962"/>
                <a:gd name="connsiteX11" fmla="*/ 155257 w 169544"/>
                <a:gd name="connsiteY11" fmla="*/ 10382 h 80962"/>
                <a:gd name="connsiteX12" fmla="*/ 134303 w 169544"/>
                <a:gd name="connsiteY12" fmla="*/ 14288 h 80962"/>
                <a:gd name="connsiteX13" fmla="*/ 113348 w 169544"/>
                <a:gd name="connsiteY13" fmla="*/ 18002 h 80962"/>
                <a:gd name="connsiteX14" fmla="*/ 113348 w 169544"/>
                <a:gd name="connsiteY14" fmla="*/ 3715 h 80962"/>
                <a:gd name="connsiteX15" fmla="*/ 81915 w 169544"/>
                <a:gd name="connsiteY15" fmla="*/ 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9544" h="80962">
                  <a:moveTo>
                    <a:pt x="81915" y="0"/>
                  </a:moveTo>
                  <a:lnTo>
                    <a:pt x="28575" y="10382"/>
                  </a:lnTo>
                  <a:lnTo>
                    <a:pt x="0" y="38957"/>
                  </a:lnTo>
                  <a:lnTo>
                    <a:pt x="14288" y="49530"/>
                  </a:lnTo>
                  <a:lnTo>
                    <a:pt x="28575" y="70390"/>
                  </a:lnTo>
                  <a:lnTo>
                    <a:pt x="70485" y="70390"/>
                  </a:lnTo>
                  <a:lnTo>
                    <a:pt x="95250" y="80962"/>
                  </a:lnTo>
                  <a:lnTo>
                    <a:pt x="162878" y="80962"/>
                  </a:lnTo>
                  <a:lnTo>
                    <a:pt x="148590" y="63817"/>
                  </a:lnTo>
                  <a:lnTo>
                    <a:pt x="169545" y="45720"/>
                  </a:lnTo>
                  <a:lnTo>
                    <a:pt x="169545" y="24670"/>
                  </a:lnTo>
                  <a:lnTo>
                    <a:pt x="155257" y="10382"/>
                  </a:lnTo>
                  <a:lnTo>
                    <a:pt x="134303" y="14288"/>
                  </a:lnTo>
                  <a:lnTo>
                    <a:pt x="113348" y="18002"/>
                  </a:lnTo>
                  <a:lnTo>
                    <a:pt x="113348" y="3715"/>
                  </a:lnTo>
                  <a:lnTo>
                    <a:pt x="81915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07" name="Freeform: Shape 3806">
              <a:extLst>
                <a:ext uri="{FF2B5EF4-FFF2-40B4-BE49-F238E27FC236}">
                  <a16:creationId xmlns:a16="http://schemas.microsoft.com/office/drawing/2014/main" id="{1D593877-E8CF-37CB-A491-869C93045DE1}"/>
                </a:ext>
              </a:extLst>
            </p:cNvPr>
            <p:cNvSpPr/>
            <p:nvPr/>
          </p:nvSpPr>
          <p:spPr>
            <a:xfrm>
              <a:off x="8525179" y="1585675"/>
              <a:ext cx="144727" cy="75539"/>
            </a:xfrm>
            <a:custGeom>
              <a:avLst/>
              <a:gdLst>
                <a:gd name="connsiteX0" fmla="*/ 63817 w 147637"/>
                <a:gd name="connsiteY0" fmla="*/ 73343 h 77057"/>
                <a:gd name="connsiteX1" fmla="*/ 99060 w 147637"/>
                <a:gd name="connsiteY1" fmla="*/ 66675 h 77057"/>
                <a:gd name="connsiteX2" fmla="*/ 130492 w 147637"/>
                <a:gd name="connsiteY2" fmla="*/ 62770 h 77057"/>
                <a:gd name="connsiteX3" fmla="*/ 134302 w 147637"/>
                <a:gd name="connsiteY3" fmla="*/ 48482 h 77057"/>
                <a:gd name="connsiteX4" fmla="*/ 147638 w 147637"/>
                <a:gd name="connsiteY4" fmla="*/ 38100 h 77057"/>
                <a:gd name="connsiteX5" fmla="*/ 126682 w 147637"/>
                <a:gd name="connsiteY5" fmla="*/ 23813 h 77057"/>
                <a:gd name="connsiteX6" fmla="*/ 105727 w 147637"/>
                <a:gd name="connsiteY6" fmla="*/ 2762 h 77057"/>
                <a:gd name="connsiteX7" fmla="*/ 77152 w 147637"/>
                <a:gd name="connsiteY7" fmla="*/ 0 h 77057"/>
                <a:gd name="connsiteX8" fmla="*/ 70485 w 147637"/>
                <a:gd name="connsiteY8" fmla="*/ 17050 h 77057"/>
                <a:gd name="connsiteX9" fmla="*/ 28575 w 147637"/>
                <a:gd name="connsiteY9" fmla="*/ 20955 h 77057"/>
                <a:gd name="connsiteX10" fmla="*/ 20955 w 147637"/>
                <a:gd name="connsiteY10" fmla="*/ 31337 h 77057"/>
                <a:gd name="connsiteX11" fmla="*/ 18097 w 147637"/>
                <a:gd name="connsiteY11" fmla="*/ 48482 h 77057"/>
                <a:gd name="connsiteX12" fmla="*/ 0 w 147637"/>
                <a:gd name="connsiteY12" fmla="*/ 59055 h 77057"/>
                <a:gd name="connsiteX13" fmla="*/ 39052 w 147637"/>
                <a:gd name="connsiteY13" fmla="*/ 77057 h 77057"/>
                <a:gd name="connsiteX14" fmla="*/ 63817 w 147637"/>
                <a:gd name="connsiteY14" fmla="*/ 73343 h 77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47637" h="77057">
                  <a:moveTo>
                    <a:pt x="63817" y="73343"/>
                  </a:moveTo>
                  <a:lnTo>
                    <a:pt x="99060" y="66675"/>
                  </a:lnTo>
                  <a:lnTo>
                    <a:pt x="130492" y="62770"/>
                  </a:lnTo>
                  <a:lnTo>
                    <a:pt x="134302" y="48482"/>
                  </a:lnTo>
                  <a:lnTo>
                    <a:pt x="147638" y="38100"/>
                  </a:lnTo>
                  <a:lnTo>
                    <a:pt x="126682" y="23813"/>
                  </a:lnTo>
                  <a:lnTo>
                    <a:pt x="105727" y="2762"/>
                  </a:lnTo>
                  <a:lnTo>
                    <a:pt x="77152" y="0"/>
                  </a:lnTo>
                  <a:lnTo>
                    <a:pt x="70485" y="17050"/>
                  </a:lnTo>
                  <a:lnTo>
                    <a:pt x="28575" y="20955"/>
                  </a:lnTo>
                  <a:lnTo>
                    <a:pt x="20955" y="31337"/>
                  </a:lnTo>
                  <a:lnTo>
                    <a:pt x="18097" y="48482"/>
                  </a:lnTo>
                  <a:lnTo>
                    <a:pt x="0" y="59055"/>
                  </a:lnTo>
                  <a:lnTo>
                    <a:pt x="39052" y="77057"/>
                  </a:lnTo>
                  <a:lnTo>
                    <a:pt x="63817" y="7334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08" name="Freeform: Shape 3807">
              <a:extLst>
                <a:ext uri="{FF2B5EF4-FFF2-40B4-BE49-F238E27FC236}">
                  <a16:creationId xmlns:a16="http://schemas.microsoft.com/office/drawing/2014/main" id="{980112EB-492F-2215-E8F4-D5F55A6A279C}"/>
                </a:ext>
              </a:extLst>
            </p:cNvPr>
            <p:cNvSpPr/>
            <p:nvPr/>
          </p:nvSpPr>
          <p:spPr>
            <a:xfrm>
              <a:off x="9753960" y="1899316"/>
              <a:ext cx="221292" cy="76659"/>
            </a:xfrm>
            <a:custGeom>
              <a:avLst/>
              <a:gdLst>
                <a:gd name="connsiteX0" fmla="*/ 45720 w 225742"/>
                <a:gd name="connsiteY0" fmla="*/ 78200 h 78200"/>
                <a:gd name="connsiteX1" fmla="*/ 67627 w 225742"/>
                <a:gd name="connsiteY1" fmla="*/ 74390 h 78200"/>
                <a:gd name="connsiteX2" fmla="*/ 67627 w 225742"/>
                <a:gd name="connsiteY2" fmla="*/ 60103 h 78200"/>
                <a:gd name="connsiteX3" fmla="*/ 84773 w 225742"/>
                <a:gd name="connsiteY3" fmla="*/ 63913 h 78200"/>
                <a:gd name="connsiteX4" fmla="*/ 109538 w 225742"/>
                <a:gd name="connsiteY4" fmla="*/ 63913 h 78200"/>
                <a:gd name="connsiteX5" fmla="*/ 138113 w 225742"/>
                <a:gd name="connsiteY5" fmla="*/ 67628 h 78200"/>
                <a:gd name="connsiteX6" fmla="*/ 155257 w 225742"/>
                <a:gd name="connsiteY6" fmla="*/ 67628 h 78200"/>
                <a:gd name="connsiteX7" fmla="*/ 148590 w 225742"/>
                <a:gd name="connsiteY7" fmla="*/ 53340 h 78200"/>
                <a:gd name="connsiteX8" fmla="*/ 140970 w 225742"/>
                <a:gd name="connsiteY8" fmla="*/ 42863 h 78200"/>
                <a:gd name="connsiteX9" fmla="*/ 138113 w 225742"/>
                <a:gd name="connsiteY9" fmla="*/ 28575 h 78200"/>
                <a:gd name="connsiteX10" fmla="*/ 159068 w 225742"/>
                <a:gd name="connsiteY10" fmla="*/ 24765 h 78200"/>
                <a:gd name="connsiteX11" fmla="*/ 151448 w 225742"/>
                <a:gd name="connsiteY11" fmla="*/ 42863 h 78200"/>
                <a:gd name="connsiteX12" fmla="*/ 161925 w 225742"/>
                <a:gd name="connsiteY12" fmla="*/ 57150 h 78200"/>
                <a:gd name="connsiteX13" fmla="*/ 183832 w 225742"/>
                <a:gd name="connsiteY13" fmla="*/ 63913 h 78200"/>
                <a:gd name="connsiteX14" fmla="*/ 211455 w 225742"/>
                <a:gd name="connsiteY14" fmla="*/ 57150 h 78200"/>
                <a:gd name="connsiteX15" fmla="*/ 225743 w 225742"/>
                <a:gd name="connsiteY15" fmla="*/ 35338 h 78200"/>
                <a:gd name="connsiteX16" fmla="*/ 211455 w 225742"/>
                <a:gd name="connsiteY16" fmla="*/ 24765 h 78200"/>
                <a:gd name="connsiteX17" fmla="*/ 176213 w 225742"/>
                <a:gd name="connsiteY17" fmla="*/ 14288 h 78200"/>
                <a:gd name="connsiteX18" fmla="*/ 151448 w 225742"/>
                <a:gd name="connsiteY18" fmla="*/ 18193 h 78200"/>
                <a:gd name="connsiteX19" fmla="*/ 134302 w 225742"/>
                <a:gd name="connsiteY19" fmla="*/ 7715 h 78200"/>
                <a:gd name="connsiteX20" fmla="*/ 113348 w 225742"/>
                <a:gd name="connsiteY20" fmla="*/ 7715 h 78200"/>
                <a:gd name="connsiteX21" fmla="*/ 102870 w 225742"/>
                <a:gd name="connsiteY21" fmla="*/ 28575 h 78200"/>
                <a:gd name="connsiteX22" fmla="*/ 80963 w 225742"/>
                <a:gd name="connsiteY22" fmla="*/ 14288 h 78200"/>
                <a:gd name="connsiteX23" fmla="*/ 53340 w 225742"/>
                <a:gd name="connsiteY23" fmla="*/ 0 h 78200"/>
                <a:gd name="connsiteX24" fmla="*/ 32385 w 225742"/>
                <a:gd name="connsiteY24" fmla="*/ 0 h 78200"/>
                <a:gd name="connsiteX25" fmla="*/ 10477 w 225742"/>
                <a:gd name="connsiteY25" fmla="*/ 11525 h 78200"/>
                <a:gd name="connsiteX26" fmla="*/ 0 w 225742"/>
                <a:gd name="connsiteY26" fmla="*/ 35338 h 78200"/>
                <a:gd name="connsiteX27" fmla="*/ 3810 w 225742"/>
                <a:gd name="connsiteY27" fmla="*/ 57150 h 78200"/>
                <a:gd name="connsiteX28" fmla="*/ 45720 w 225742"/>
                <a:gd name="connsiteY28" fmla="*/ 78200 h 7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25742" h="78200">
                  <a:moveTo>
                    <a:pt x="45720" y="78200"/>
                  </a:moveTo>
                  <a:lnTo>
                    <a:pt x="67627" y="74390"/>
                  </a:lnTo>
                  <a:lnTo>
                    <a:pt x="67627" y="60103"/>
                  </a:lnTo>
                  <a:lnTo>
                    <a:pt x="84773" y="63913"/>
                  </a:lnTo>
                  <a:lnTo>
                    <a:pt x="109538" y="63913"/>
                  </a:lnTo>
                  <a:lnTo>
                    <a:pt x="138113" y="67628"/>
                  </a:lnTo>
                  <a:lnTo>
                    <a:pt x="155257" y="67628"/>
                  </a:lnTo>
                  <a:lnTo>
                    <a:pt x="148590" y="53340"/>
                  </a:lnTo>
                  <a:lnTo>
                    <a:pt x="140970" y="42863"/>
                  </a:lnTo>
                  <a:lnTo>
                    <a:pt x="138113" y="28575"/>
                  </a:lnTo>
                  <a:lnTo>
                    <a:pt x="159068" y="24765"/>
                  </a:lnTo>
                  <a:lnTo>
                    <a:pt x="151448" y="42863"/>
                  </a:lnTo>
                  <a:lnTo>
                    <a:pt x="161925" y="57150"/>
                  </a:lnTo>
                  <a:lnTo>
                    <a:pt x="183832" y="63913"/>
                  </a:lnTo>
                  <a:lnTo>
                    <a:pt x="211455" y="57150"/>
                  </a:lnTo>
                  <a:lnTo>
                    <a:pt x="225743" y="35338"/>
                  </a:lnTo>
                  <a:lnTo>
                    <a:pt x="211455" y="24765"/>
                  </a:lnTo>
                  <a:lnTo>
                    <a:pt x="176213" y="14288"/>
                  </a:lnTo>
                  <a:lnTo>
                    <a:pt x="151448" y="18193"/>
                  </a:lnTo>
                  <a:lnTo>
                    <a:pt x="134302" y="7715"/>
                  </a:lnTo>
                  <a:lnTo>
                    <a:pt x="113348" y="7715"/>
                  </a:lnTo>
                  <a:lnTo>
                    <a:pt x="102870" y="28575"/>
                  </a:lnTo>
                  <a:lnTo>
                    <a:pt x="80963" y="14288"/>
                  </a:lnTo>
                  <a:lnTo>
                    <a:pt x="53340" y="0"/>
                  </a:lnTo>
                  <a:lnTo>
                    <a:pt x="32385" y="0"/>
                  </a:lnTo>
                  <a:lnTo>
                    <a:pt x="10477" y="11525"/>
                  </a:lnTo>
                  <a:lnTo>
                    <a:pt x="0" y="35338"/>
                  </a:lnTo>
                  <a:lnTo>
                    <a:pt x="3810" y="57150"/>
                  </a:lnTo>
                  <a:lnTo>
                    <a:pt x="45720" y="7820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09" name="Freeform: Shape 3808">
              <a:extLst>
                <a:ext uri="{FF2B5EF4-FFF2-40B4-BE49-F238E27FC236}">
                  <a16:creationId xmlns:a16="http://schemas.microsoft.com/office/drawing/2014/main" id="{34AFE0B0-D1CB-D7C5-265E-625BA6F12586}"/>
                </a:ext>
              </a:extLst>
            </p:cNvPr>
            <p:cNvSpPr/>
            <p:nvPr/>
          </p:nvSpPr>
          <p:spPr>
            <a:xfrm>
              <a:off x="10003264" y="1933957"/>
              <a:ext cx="126986" cy="42017"/>
            </a:xfrm>
            <a:custGeom>
              <a:avLst/>
              <a:gdLst>
                <a:gd name="connsiteX0" fmla="*/ 35243 w 129539"/>
                <a:gd name="connsiteY0" fmla="*/ 35243 h 42862"/>
                <a:gd name="connsiteX1" fmla="*/ 62865 w 129539"/>
                <a:gd name="connsiteY1" fmla="*/ 42863 h 42862"/>
                <a:gd name="connsiteX2" fmla="*/ 83820 w 129539"/>
                <a:gd name="connsiteY2" fmla="*/ 42863 h 42862"/>
                <a:gd name="connsiteX3" fmla="*/ 105727 w 129539"/>
                <a:gd name="connsiteY3" fmla="*/ 35243 h 42862"/>
                <a:gd name="connsiteX4" fmla="*/ 129540 w 129539"/>
                <a:gd name="connsiteY4" fmla="*/ 24765 h 42862"/>
                <a:gd name="connsiteX5" fmla="*/ 119063 w 129539"/>
                <a:gd name="connsiteY5" fmla="*/ 18002 h 42862"/>
                <a:gd name="connsiteX6" fmla="*/ 87630 w 129539"/>
                <a:gd name="connsiteY6" fmla="*/ 14288 h 42862"/>
                <a:gd name="connsiteX7" fmla="*/ 62865 w 129539"/>
                <a:gd name="connsiteY7" fmla="*/ 7525 h 42862"/>
                <a:gd name="connsiteX8" fmla="*/ 27622 w 129539"/>
                <a:gd name="connsiteY8" fmla="*/ 7525 h 42862"/>
                <a:gd name="connsiteX9" fmla="*/ 10477 w 129539"/>
                <a:gd name="connsiteY9" fmla="*/ 0 h 42862"/>
                <a:gd name="connsiteX10" fmla="*/ 0 w 129539"/>
                <a:gd name="connsiteY10" fmla="*/ 14288 h 42862"/>
                <a:gd name="connsiteX11" fmla="*/ 6668 w 129539"/>
                <a:gd name="connsiteY11" fmla="*/ 28575 h 42862"/>
                <a:gd name="connsiteX12" fmla="*/ 35243 w 129539"/>
                <a:gd name="connsiteY12" fmla="*/ 35243 h 4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9539" h="42862">
                  <a:moveTo>
                    <a:pt x="35243" y="35243"/>
                  </a:moveTo>
                  <a:lnTo>
                    <a:pt x="62865" y="42863"/>
                  </a:lnTo>
                  <a:lnTo>
                    <a:pt x="83820" y="42863"/>
                  </a:lnTo>
                  <a:lnTo>
                    <a:pt x="105727" y="35243"/>
                  </a:lnTo>
                  <a:lnTo>
                    <a:pt x="129540" y="24765"/>
                  </a:lnTo>
                  <a:lnTo>
                    <a:pt x="119063" y="18002"/>
                  </a:lnTo>
                  <a:lnTo>
                    <a:pt x="87630" y="14288"/>
                  </a:lnTo>
                  <a:lnTo>
                    <a:pt x="62865" y="7525"/>
                  </a:lnTo>
                  <a:lnTo>
                    <a:pt x="27622" y="7525"/>
                  </a:lnTo>
                  <a:lnTo>
                    <a:pt x="10477" y="0"/>
                  </a:lnTo>
                  <a:lnTo>
                    <a:pt x="0" y="14288"/>
                  </a:lnTo>
                  <a:lnTo>
                    <a:pt x="6668" y="28575"/>
                  </a:lnTo>
                  <a:lnTo>
                    <a:pt x="35243" y="3524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10" name="Freeform: Shape 3809">
              <a:extLst>
                <a:ext uri="{FF2B5EF4-FFF2-40B4-BE49-F238E27FC236}">
                  <a16:creationId xmlns:a16="http://schemas.microsoft.com/office/drawing/2014/main" id="{01071E5B-0031-DFE0-2783-6EC41F5327AF}"/>
                </a:ext>
              </a:extLst>
            </p:cNvPr>
            <p:cNvSpPr/>
            <p:nvPr/>
          </p:nvSpPr>
          <p:spPr>
            <a:xfrm>
              <a:off x="10894038" y="2134709"/>
              <a:ext cx="99908" cy="42017"/>
            </a:xfrm>
            <a:custGeom>
              <a:avLst/>
              <a:gdLst>
                <a:gd name="connsiteX0" fmla="*/ 17145 w 101917"/>
                <a:gd name="connsiteY0" fmla="*/ 42863 h 42862"/>
                <a:gd name="connsiteX1" fmla="*/ 41910 w 101917"/>
                <a:gd name="connsiteY1" fmla="*/ 42863 h 42862"/>
                <a:gd name="connsiteX2" fmla="*/ 80963 w 101917"/>
                <a:gd name="connsiteY2" fmla="*/ 35243 h 42862"/>
                <a:gd name="connsiteX3" fmla="*/ 101918 w 101917"/>
                <a:gd name="connsiteY3" fmla="*/ 32290 h 42862"/>
                <a:gd name="connsiteX4" fmla="*/ 101918 w 101917"/>
                <a:gd name="connsiteY4" fmla="*/ 14288 h 42862"/>
                <a:gd name="connsiteX5" fmla="*/ 83820 w 101917"/>
                <a:gd name="connsiteY5" fmla="*/ 7525 h 42862"/>
                <a:gd name="connsiteX6" fmla="*/ 62865 w 101917"/>
                <a:gd name="connsiteY6" fmla="*/ 0 h 42862"/>
                <a:gd name="connsiteX7" fmla="*/ 38100 w 101917"/>
                <a:gd name="connsiteY7" fmla="*/ 3715 h 42862"/>
                <a:gd name="connsiteX8" fmla="*/ 23813 w 101917"/>
                <a:gd name="connsiteY8" fmla="*/ 14288 h 42862"/>
                <a:gd name="connsiteX9" fmla="*/ 0 w 101917"/>
                <a:gd name="connsiteY9" fmla="*/ 28575 h 42862"/>
                <a:gd name="connsiteX10" fmla="*/ 2858 w 101917"/>
                <a:gd name="connsiteY10" fmla="*/ 42863 h 42862"/>
                <a:gd name="connsiteX11" fmla="*/ 17145 w 101917"/>
                <a:gd name="connsiteY11" fmla="*/ 42863 h 4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917" h="42862">
                  <a:moveTo>
                    <a:pt x="17145" y="42863"/>
                  </a:moveTo>
                  <a:lnTo>
                    <a:pt x="41910" y="42863"/>
                  </a:lnTo>
                  <a:lnTo>
                    <a:pt x="80963" y="35243"/>
                  </a:lnTo>
                  <a:lnTo>
                    <a:pt x="101918" y="32290"/>
                  </a:lnTo>
                  <a:lnTo>
                    <a:pt x="101918" y="14288"/>
                  </a:lnTo>
                  <a:lnTo>
                    <a:pt x="83820" y="7525"/>
                  </a:lnTo>
                  <a:lnTo>
                    <a:pt x="62865" y="0"/>
                  </a:lnTo>
                  <a:lnTo>
                    <a:pt x="38100" y="3715"/>
                  </a:lnTo>
                  <a:lnTo>
                    <a:pt x="23813" y="14288"/>
                  </a:lnTo>
                  <a:lnTo>
                    <a:pt x="0" y="28575"/>
                  </a:lnTo>
                  <a:lnTo>
                    <a:pt x="2858" y="42863"/>
                  </a:lnTo>
                  <a:lnTo>
                    <a:pt x="17145" y="4286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11" name="Freeform: Shape 3810">
              <a:extLst>
                <a:ext uri="{FF2B5EF4-FFF2-40B4-BE49-F238E27FC236}">
                  <a16:creationId xmlns:a16="http://schemas.microsoft.com/office/drawing/2014/main" id="{51B003D3-8342-956C-691F-1C95D151A5A0}"/>
                </a:ext>
              </a:extLst>
            </p:cNvPr>
            <p:cNvSpPr/>
            <p:nvPr/>
          </p:nvSpPr>
          <p:spPr>
            <a:xfrm>
              <a:off x="6296379" y="1667750"/>
              <a:ext cx="288520" cy="208222"/>
            </a:xfrm>
            <a:custGeom>
              <a:avLst/>
              <a:gdLst>
                <a:gd name="connsiteX0" fmla="*/ 20002 w 294322"/>
                <a:gd name="connsiteY0" fmla="*/ 42863 h 212407"/>
                <a:gd name="connsiteX1" fmla="*/ 34290 w 294322"/>
                <a:gd name="connsiteY1" fmla="*/ 42863 h 212407"/>
                <a:gd name="connsiteX2" fmla="*/ 34290 w 294322"/>
                <a:gd name="connsiteY2" fmla="*/ 49625 h 212407"/>
                <a:gd name="connsiteX3" fmla="*/ 12382 w 294322"/>
                <a:gd name="connsiteY3" fmla="*/ 63913 h 212407"/>
                <a:gd name="connsiteX4" fmla="*/ 20002 w 294322"/>
                <a:gd name="connsiteY4" fmla="*/ 82010 h 212407"/>
                <a:gd name="connsiteX5" fmla="*/ 47625 w 294322"/>
                <a:gd name="connsiteY5" fmla="*/ 102870 h 212407"/>
                <a:gd name="connsiteX6" fmla="*/ 65722 w 294322"/>
                <a:gd name="connsiteY6" fmla="*/ 113348 h 212407"/>
                <a:gd name="connsiteX7" fmla="*/ 90488 w 294322"/>
                <a:gd name="connsiteY7" fmla="*/ 99060 h 212407"/>
                <a:gd name="connsiteX8" fmla="*/ 97155 w 294322"/>
                <a:gd name="connsiteY8" fmla="*/ 84868 h 212407"/>
                <a:gd name="connsiteX9" fmla="*/ 107632 w 294322"/>
                <a:gd name="connsiteY9" fmla="*/ 84868 h 212407"/>
                <a:gd name="connsiteX10" fmla="*/ 115252 w 294322"/>
                <a:gd name="connsiteY10" fmla="*/ 74295 h 212407"/>
                <a:gd name="connsiteX11" fmla="*/ 125730 w 294322"/>
                <a:gd name="connsiteY11" fmla="*/ 78200 h 212407"/>
                <a:gd name="connsiteX12" fmla="*/ 125730 w 294322"/>
                <a:gd name="connsiteY12" fmla="*/ 92488 h 212407"/>
                <a:gd name="connsiteX13" fmla="*/ 146685 w 294322"/>
                <a:gd name="connsiteY13" fmla="*/ 92488 h 212407"/>
                <a:gd name="connsiteX14" fmla="*/ 157163 w 294322"/>
                <a:gd name="connsiteY14" fmla="*/ 84868 h 212407"/>
                <a:gd name="connsiteX15" fmla="*/ 171450 w 294322"/>
                <a:gd name="connsiteY15" fmla="*/ 99060 h 212407"/>
                <a:gd name="connsiteX16" fmla="*/ 150495 w 294322"/>
                <a:gd name="connsiteY16" fmla="*/ 105823 h 212407"/>
                <a:gd name="connsiteX17" fmla="*/ 121920 w 294322"/>
                <a:gd name="connsiteY17" fmla="*/ 105823 h 212407"/>
                <a:gd name="connsiteX18" fmla="*/ 97155 w 294322"/>
                <a:gd name="connsiteY18" fmla="*/ 113348 h 212407"/>
                <a:gd name="connsiteX19" fmla="*/ 76200 w 294322"/>
                <a:gd name="connsiteY19" fmla="*/ 120110 h 212407"/>
                <a:gd name="connsiteX20" fmla="*/ 76200 w 294322"/>
                <a:gd name="connsiteY20" fmla="*/ 138208 h 212407"/>
                <a:gd name="connsiteX21" fmla="*/ 103822 w 294322"/>
                <a:gd name="connsiteY21" fmla="*/ 134398 h 212407"/>
                <a:gd name="connsiteX22" fmla="*/ 125730 w 294322"/>
                <a:gd name="connsiteY22" fmla="*/ 140970 h 212407"/>
                <a:gd name="connsiteX23" fmla="*/ 146685 w 294322"/>
                <a:gd name="connsiteY23" fmla="*/ 155257 h 212407"/>
                <a:gd name="connsiteX24" fmla="*/ 97155 w 294322"/>
                <a:gd name="connsiteY24" fmla="*/ 148685 h 212407"/>
                <a:gd name="connsiteX25" fmla="*/ 80010 w 294322"/>
                <a:gd name="connsiteY25" fmla="*/ 162973 h 212407"/>
                <a:gd name="connsiteX26" fmla="*/ 103822 w 294322"/>
                <a:gd name="connsiteY26" fmla="*/ 173450 h 212407"/>
                <a:gd name="connsiteX27" fmla="*/ 118110 w 294322"/>
                <a:gd name="connsiteY27" fmla="*/ 183832 h 212407"/>
                <a:gd name="connsiteX28" fmla="*/ 142875 w 294322"/>
                <a:gd name="connsiteY28" fmla="*/ 180023 h 212407"/>
                <a:gd name="connsiteX29" fmla="*/ 142875 w 294322"/>
                <a:gd name="connsiteY29" fmla="*/ 201073 h 212407"/>
                <a:gd name="connsiteX30" fmla="*/ 163830 w 294322"/>
                <a:gd name="connsiteY30" fmla="*/ 212407 h 212407"/>
                <a:gd name="connsiteX31" fmla="*/ 178118 w 294322"/>
                <a:gd name="connsiteY31" fmla="*/ 180023 h 212407"/>
                <a:gd name="connsiteX32" fmla="*/ 188595 w 294322"/>
                <a:gd name="connsiteY32" fmla="*/ 155257 h 212407"/>
                <a:gd name="connsiteX33" fmla="*/ 206693 w 294322"/>
                <a:gd name="connsiteY33" fmla="*/ 148685 h 212407"/>
                <a:gd name="connsiteX34" fmla="*/ 209550 w 294322"/>
                <a:gd name="connsiteY34" fmla="*/ 120110 h 212407"/>
                <a:gd name="connsiteX35" fmla="*/ 217170 w 294322"/>
                <a:gd name="connsiteY35" fmla="*/ 105823 h 212407"/>
                <a:gd name="connsiteX36" fmla="*/ 241935 w 294322"/>
                <a:gd name="connsiteY36" fmla="*/ 92488 h 212407"/>
                <a:gd name="connsiteX37" fmla="*/ 280035 w 294322"/>
                <a:gd name="connsiteY37" fmla="*/ 84868 h 212407"/>
                <a:gd name="connsiteX38" fmla="*/ 294322 w 294322"/>
                <a:gd name="connsiteY38" fmla="*/ 78200 h 212407"/>
                <a:gd name="connsiteX39" fmla="*/ 266700 w 294322"/>
                <a:gd name="connsiteY39" fmla="*/ 63913 h 212407"/>
                <a:gd name="connsiteX40" fmla="*/ 223838 w 294322"/>
                <a:gd name="connsiteY40" fmla="*/ 53435 h 212407"/>
                <a:gd name="connsiteX41" fmla="*/ 223838 w 294322"/>
                <a:gd name="connsiteY41" fmla="*/ 39148 h 212407"/>
                <a:gd name="connsiteX42" fmla="*/ 202882 w 294322"/>
                <a:gd name="connsiteY42" fmla="*/ 28575 h 212407"/>
                <a:gd name="connsiteX43" fmla="*/ 196215 w 294322"/>
                <a:gd name="connsiteY43" fmla="*/ 39148 h 212407"/>
                <a:gd name="connsiteX44" fmla="*/ 181927 w 294322"/>
                <a:gd name="connsiteY44" fmla="*/ 35338 h 212407"/>
                <a:gd name="connsiteX45" fmla="*/ 188595 w 294322"/>
                <a:gd name="connsiteY45" fmla="*/ 14288 h 212407"/>
                <a:gd name="connsiteX46" fmla="*/ 167640 w 294322"/>
                <a:gd name="connsiteY46" fmla="*/ 7620 h 212407"/>
                <a:gd name="connsiteX47" fmla="*/ 150495 w 294322"/>
                <a:gd name="connsiteY47" fmla="*/ 0 h 212407"/>
                <a:gd name="connsiteX48" fmla="*/ 142875 w 294322"/>
                <a:gd name="connsiteY48" fmla="*/ 7620 h 212407"/>
                <a:gd name="connsiteX49" fmla="*/ 146685 w 294322"/>
                <a:gd name="connsiteY49" fmla="*/ 21907 h 212407"/>
                <a:gd name="connsiteX50" fmla="*/ 153352 w 294322"/>
                <a:gd name="connsiteY50" fmla="*/ 42863 h 212407"/>
                <a:gd name="connsiteX51" fmla="*/ 157163 w 294322"/>
                <a:gd name="connsiteY51" fmla="*/ 67723 h 212407"/>
                <a:gd name="connsiteX52" fmla="*/ 146685 w 294322"/>
                <a:gd name="connsiteY52" fmla="*/ 63913 h 212407"/>
                <a:gd name="connsiteX53" fmla="*/ 136207 w 294322"/>
                <a:gd name="connsiteY53" fmla="*/ 49625 h 212407"/>
                <a:gd name="connsiteX54" fmla="*/ 132397 w 294322"/>
                <a:gd name="connsiteY54" fmla="*/ 39148 h 212407"/>
                <a:gd name="connsiteX55" fmla="*/ 128588 w 294322"/>
                <a:gd name="connsiteY55" fmla="*/ 24860 h 212407"/>
                <a:gd name="connsiteX56" fmla="*/ 111443 w 294322"/>
                <a:gd name="connsiteY56" fmla="*/ 18193 h 212407"/>
                <a:gd name="connsiteX57" fmla="*/ 97155 w 294322"/>
                <a:gd name="connsiteY57" fmla="*/ 21907 h 212407"/>
                <a:gd name="connsiteX58" fmla="*/ 90488 w 294322"/>
                <a:gd name="connsiteY58" fmla="*/ 46768 h 212407"/>
                <a:gd name="connsiteX59" fmla="*/ 82868 w 294322"/>
                <a:gd name="connsiteY59" fmla="*/ 18193 h 212407"/>
                <a:gd name="connsiteX60" fmla="*/ 58102 w 294322"/>
                <a:gd name="connsiteY60" fmla="*/ 14288 h 212407"/>
                <a:gd name="connsiteX61" fmla="*/ 34290 w 294322"/>
                <a:gd name="connsiteY61" fmla="*/ 14288 h 212407"/>
                <a:gd name="connsiteX62" fmla="*/ 7620 w 294322"/>
                <a:gd name="connsiteY62" fmla="*/ 21907 h 212407"/>
                <a:gd name="connsiteX63" fmla="*/ 0 w 294322"/>
                <a:gd name="connsiteY63" fmla="*/ 35338 h 212407"/>
                <a:gd name="connsiteX64" fmla="*/ 3810 w 294322"/>
                <a:gd name="connsiteY64" fmla="*/ 53435 h 212407"/>
                <a:gd name="connsiteX65" fmla="*/ 20002 w 294322"/>
                <a:gd name="connsiteY65" fmla="*/ 42863 h 2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294322" h="212407">
                  <a:moveTo>
                    <a:pt x="20002" y="42863"/>
                  </a:moveTo>
                  <a:lnTo>
                    <a:pt x="34290" y="42863"/>
                  </a:lnTo>
                  <a:lnTo>
                    <a:pt x="34290" y="49625"/>
                  </a:lnTo>
                  <a:lnTo>
                    <a:pt x="12382" y="63913"/>
                  </a:lnTo>
                  <a:lnTo>
                    <a:pt x="20002" y="82010"/>
                  </a:lnTo>
                  <a:lnTo>
                    <a:pt x="47625" y="102870"/>
                  </a:lnTo>
                  <a:lnTo>
                    <a:pt x="65722" y="113348"/>
                  </a:lnTo>
                  <a:lnTo>
                    <a:pt x="90488" y="99060"/>
                  </a:lnTo>
                  <a:lnTo>
                    <a:pt x="97155" y="84868"/>
                  </a:lnTo>
                  <a:lnTo>
                    <a:pt x="107632" y="84868"/>
                  </a:lnTo>
                  <a:lnTo>
                    <a:pt x="115252" y="74295"/>
                  </a:lnTo>
                  <a:lnTo>
                    <a:pt x="125730" y="78200"/>
                  </a:lnTo>
                  <a:lnTo>
                    <a:pt x="125730" y="92488"/>
                  </a:lnTo>
                  <a:lnTo>
                    <a:pt x="146685" y="92488"/>
                  </a:lnTo>
                  <a:lnTo>
                    <a:pt x="157163" y="84868"/>
                  </a:lnTo>
                  <a:lnTo>
                    <a:pt x="171450" y="99060"/>
                  </a:lnTo>
                  <a:lnTo>
                    <a:pt x="150495" y="105823"/>
                  </a:lnTo>
                  <a:lnTo>
                    <a:pt x="121920" y="105823"/>
                  </a:lnTo>
                  <a:lnTo>
                    <a:pt x="97155" y="113348"/>
                  </a:lnTo>
                  <a:lnTo>
                    <a:pt x="76200" y="120110"/>
                  </a:lnTo>
                  <a:lnTo>
                    <a:pt x="76200" y="138208"/>
                  </a:lnTo>
                  <a:lnTo>
                    <a:pt x="103822" y="134398"/>
                  </a:lnTo>
                  <a:lnTo>
                    <a:pt x="125730" y="140970"/>
                  </a:lnTo>
                  <a:lnTo>
                    <a:pt x="146685" y="155257"/>
                  </a:lnTo>
                  <a:lnTo>
                    <a:pt x="97155" y="148685"/>
                  </a:lnTo>
                  <a:lnTo>
                    <a:pt x="80010" y="162973"/>
                  </a:lnTo>
                  <a:lnTo>
                    <a:pt x="103822" y="173450"/>
                  </a:lnTo>
                  <a:lnTo>
                    <a:pt x="118110" y="183832"/>
                  </a:lnTo>
                  <a:lnTo>
                    <a:pt x="142875" y="180023"/>
                  </a:lnTo>
                  <a:lnTo>
                    <a:pt x="142875" y="201073"/>
                  </a:lnTo>
                  <a:lnTo>
                    <a:pt x="163830" y="212407"/>
                  </a:lnTo>
                  <a:lnTo>
                    <a:pt x="178118" y="180023"/>
                  </a:lnTo>
                  <a:lnTo>
                    <a:pt x="188595" y="155257"/>
                  </a:lnTo>
                  <a:lnTo>
                    <a:pt x="206693" y="148685"/>
                  </a:lnTo>
                  <a:lnTo>
                    <a:pt x="209550" y="120110"/>
                  </a:lnTo>
                  <a:lnTo>
                    <a:pt x="217170" y="105823"/>
                  </a:lnTo>
                  <a:lnTo>
                    <a:pt x="241935" y="92488"/>
                  </a:lnTo>
                  <a:lnTo>
                    <a:pt x="280035" y="84868"/>
                  </a:lnTo>
                  <a:lnTo>
                    <a:pt x="294322" y="78200"/>
                  </a:lnTo>
                  <a:lnTo>
                    <a:pt x="266700" y="63913"/>
                  </a:lnTo>
                  <a:lnTo>
                    <a:pt x="223838" y="53435"/>
                  </a:lnTo>
                  <a:lnTo>
                    <a:pt x="223838" y="39148"/>
                  </a:lnTo>
                  <a:lnTo>
                    <a:pt x="202882" y="28575"/>
                  </a:lnTo>
                  <a:lnTo>
                    <a:pt x="196215" y="39148"/>
                  </a:lnTo>
                  <a:lnTo>
                    <a:pt x="181927" y="35338"/>
                  </a:lnTo>
                  <a:lnTo>
                    <a:pt x="188595" y="14288"/>
                  </a:lnTo>
                  <a:lnTo>
                    <a:pt x="167640" y="7620"/>
                  </a:lnTo>
                  <a:lnTo>
                    <a:pt x="150495" y="0"/>
                  </a:lnTo>
                  <a:lnTo>
                    <a:pt x="142875" y="7620"/>
                  </a:lnTo>
                  <a:lnTo>
                    <a:pt x="146685" y="21907"/>
                  </a:lnTo>
                  <a:lnTo>
                    <a:pt x="153352" y="42863"/>
                  </a:lnTo>
                  <a:lnTo>
                    <a:pt x="157163" y="67723"/>
                  </a:lnTo>
                  <a:lnTo>
                    <a:pt x="146685" y="63913"/>
                  </a:lnTo>
                  <a:lnTo>
                    <a:pt x="136207" y="49625"/>
                  </a:lnTo>
                  <a:lnTo>
                    <a:pt x="132397" y="39148"/>
                  </a:lnTo>
                  <a:lnTo>
                    <a:pt x="128588" y="24860"/>
                  </a:lnTo>
                  <a:lnTo>
                    <a:pt x="111443" y="18193"/>
                  </a:lnTo>
                  <a:lnTo>
                    <a:pt x="97155" y="21907"/>
                  </a:lnTo>
                  <a:lnTo>
                    <a:pt x="90488" y="46768"/>
                  </a:lnTo>
                  <a:lnTo>
                    <a:pt x="82868" y="18193"/>
                  </a:lnTo>
                  <a:lnTo>
                    <a:pt x="58102" y="14288"/>
                  </a:lnTo>
                  <a:lnTo>
                    <a:pt x="34290" y="14288"/>
                  </a:lnTo>
                  <a:lnTo>
                    <a:pt x="7620" y="21907"/>
                  </a:lnTo>
                  <a:lnTo>
                    <a:pt x="0" y="35338"/>
                  </a:lnTo>
                  <a:lnTo>
                    <a:pt x="3810" y="53435"/>
                  </a:lnTo>
                  <a:lnTo>
                    <a:pt x="20002" y="4286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12" name="Freeform: Shape 3811">
              <a:extLst>
                <a:ext uri="{FF2B5EF4-FFF2-40B4-BE49-F238E27FC236}">
                  <a16:creationId xmlns:a16="http://schemas.microsoft.com/office/drawing/2014/main" id="{A7961F6C-4248-8412-7D97-002C9A190439}"/>
                </a:ext>
              </a:extLst>
            </p:cNvPr>
            <p:cNvSpPr/>
            <p:nvPr/>
          </p:nvSpPr>
          <p:spPr>
            <a:xfrm>
              <a:off x="6498997" y="1637031"/>
              <a:ext cx="248370" cy="86743"/>
            </a:xfrm>
            <a:custGeom>
              <a:avLst/>
              <a:gdLst>
                <a:gd name="connsiteX0" fmla="*/ 31432 w 253364"/>
                <a:gd name="connsiteY0" fmla="*/ 45625 h 88487"/>
                <a:gd name="connsiteX1" fmla="*/ 60007 w 253364"/>
                <a:gd name="connsiteY1" fmla="*/ 38957 h 88487"/>
                <a:gd name="connsiteX2" fmla="*/ 87630 w 253364"/>
                <a:gd name="connsiteY2" fmla="*/ 38957 h 88487"/>
                <a:gd name="connsiteX3" fmla="*/ 105727 w 253364"/>
                <a:gd name="connsiteY3" fmla="*/ 42863 h 88487"/>
                <a:gd name="connsiteX4" fmla="*/ 95250 w 253364"/>
                <a:gd name="connsiteY4" fmla="*/ 49530 h 88487"/>
                <a:gd name="connsiteX5" fmla="*/ 62865 w 253364"/>
                <a:gd name="connsiteY5" fmla="*/ 53245 h 88487"/>
                <a:gd name="connsiteX6" fmla="*/ 60007 w 253364"/>
                <a:gd name="connsiteY6" fmla="*/ 66675 h 88487"/>
                <a:gd name="connsiteX7" fmla="*/ 91440 w 253364"/>
                <a:gd name="connsiteY7" fmla="*/ 66675 h 88487"/>
                <a:gd name="connsiteX8" fmla="*/ 108585 w 253364"/>
                <a:gd name="connsiteY8" fmla="*/ 66675 h 88487"/>
                <a:gd name="connsiteX9" fmla="*/ 119063 w 253364"/>
                <a:gd name="connsiteY9" fmla="*/ 66675 h 88487"/>
                <a:gd name="connsiteX10" fmla="*/ 130492 w 253364"/>
                <a:gd name="connsiteY10" fmla="*/ 80963 h 88487"/>
                <a:gd name="connsiteX11" fmla="*/ 161925 w 253364"/>
                <a:gd name="connsiteY11" fmla="*/ 88487 h 88487"/>
                <a:gd name="connsiteX12" fmla="*/ 176213 w 253364"/>
                <a:gd name="connsiteY12" fmla="*/ 66675 h 88487"/>
                <a:gd name="connsiteX13" fmla="*/ 200025 w 253364"/>
                <a:gd name="connsiteY13" fmla="*/ 66675 h 88487"/>
                <a:gd name="connsiteX14" fmla="*/ 214313 w 253364"/>
                <a:gd name="connsiteY14" fmla="*/ 53245 h 88487"/>
                <a:gd name="connsiteX15" fmla="*/ 242888 w 253364"/>
                <a:gd name="connsiteY15" fmla="*/ 38957 h 88487"/>
                <a:gd name="connsiteX16" fmla="*/ 253365 w 253364"/>
                <a:gd name="connsiteY16" fmla="*/ 28575 h 88487"/>
                <a:gd name="connsiteX17" fmla="*/ 232410 w 253364"/>
                <a:gd name="connsiteY17" fmla="*/ 24670 h 88487"/>
                <a:gd name="connsiteX18" fmla="*/ 200025 w 253364"/>
                <a:gd name="connsiteY18" fmla="*/ 18097 h 88487"/>
                <a:gd name="connsiteX19" fmla="*/ 168592 w 253364"/>
                <a:gd name="connsiteY19" fmla="*/ 14288 h 88487"/>
                <a:gd name="connsiteX20" fmla="*/ 143827 w 253364"/>
                <a:gd name="connsiteY20" fmla="*/ 24670 h 88487"/>
                <a:gd name="connsiteX21" fmla="*/ 130492 w 253364"/>
                <a:gd name="connsiteY21" fmla="*/ 0 h 88487"/>
                <a:gd name="connsiteX22" fmla="*/ 116205 w 253364"/>
                <a:gd name="connsiteY22" fmla="*/ 20955 h 88487"/>
                <a:gd name="connsiteX23" fmla="*/ 98107 w 253364"/>
                <a:gd name="connsiteY23" fmla="*/ 18097 h 88487"/>
                <a:gd name="connsiteX24" fmla="*/ 80963 w 253364"/>
                <a:gd name="connsiteY24" fmla="*/ 18097 h 88487"/>
                <a:gd name="connsiteX25" fmla="*/ 52388 w 253364"/>
                <a:gd name="connsiteY25" fmla="*/ 10382 h 88487"/>
                <a:gd name="connsiteX26" fmla="*/ 38100 w 253364"/>
                <a:gd name="connsiteY26" fmla="*/ 10382 h 88487"/>
                <a:gd name="connsiteX27" fmla="*/ 17145 w 253364"/>
                <a:gd name="connsiteY27" fmla="*/ 24670 h 88487"/>
                <a:gd name="connsiteX28" fmla="*/ 0 w 253364"/>
                <a:gd name="connsiteY28" fmla="*/ 31337 h 88487"/>
                <a:gd name="connsiteX29" fmla="*/ 2857 w 253364"/>
                <a:gd name="connsiteY29" fmla="*/ 42863 h 88487"/>
                <a:gd name="connsiteX30" fmla="*/ 31432 w 253364"/>
                <a:gd name="connsiteY30" fmla="*/ 45625 h 8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53364" h="88487">
                  <a:moveTo>
                    <a:pt x="31432" y="45625"/>
                  </a:moveTo>
                  <a:lnTo>
                    <a:pt x="60007" y="38957"/>
                  </a:lnTo>
                  <a:lnTo>
                    <a:pt x="87630" y="38957"/>
                  </a:lnTo>
                  <a:lnTo>
                    <a:pt x="105727" y="42863"/>
                  </a:lnTo>
                  <a:lnTo>
                    <a:pt x="95250" y="49530"/>
                  </a:lnTo>
                  <a:lnTo>
                    <a:pt x="62865" y="53245"/>
                  </a:lnTo>
                  <a:lnTo>
                    <a:pt x="60007" y="66675"/>
                  </a:lnTo>
                  <a:lnTo>
                    <a:pt x="91440" y="66675"/>
                  </a:lnTo>
                  <a:lnTo>
                    <a:pt x="108585" y="66675"/>
                  </a:lnTo>
                  <a:lnTo>
                    <a:pt x="119063" y="66675"/>
                  </a:lnTo>
                  <a:lnTo>
                    <a:pt x="130492" y="80963"/>
                  </a:lnTo>
                  <a:lnTo>
                    <a:pt x="161925" y="88487"/>
                  </a:lnTo>
                  <a:lnTo>
                    <a:pt x="176213" y="66675"/>
                  </a:lnTo>
                  <a:lnTo>
                    <a:pt x="200025" y="66675"/>
                  </a:lnTo>
                  <a:lnTo>
                    <a:pt x="214313" y="53245"/>
                  </a:lnTo>
                  <a:lnTo>
                    <a:pt x="242888" y="38957"/>
                  </a:lnTo>
                  <a:lnTo>
                    <a:pt x="253365" y="28575"/>
                  </a:lnTo>
                  <a:lnTo>
                    <a:pt x="232410" y="24670"/>
                  </a:lnTo>
                  <a:lnTo>
                    <a:pt x="200025" y="18097"/>
                  </a:lnTo>
                  <a:lnTo>
                    <a:pt x="168592" y="14288"/>
                  </a:lnTo>
                  <a:lnTo>
                    <a:pt x="143827" y="24670"/>
                  </a:lnTo>
                  <a:lnTo>
                    <a:pt x="130492" y="0"/>
                  </a:lnTo>
                  <a:lnTo>
                    <a:pt x="116205" y="20955"/>
                  </a:lnTo>
                  <a:lnTo>
                    <a:pt x="98107" y="18097"/>
                  </a:lnTo>
                  <a:lnTo>
                    <a:pt x="80963" y="18097"/>
                  </a:lnTo>
                  <a:lnTo>
                    <a:pt x="52388" y="10382"/>
                  </a:lnTo>
                  <a:lnTo>
                    <a:pt x="38100" y="10382"/>
                  </a:lnTo>
                  <a:lnTo>
                    <a:pt x="17145" y="24670"/>
                  </a:lnTo>
                  <a:lnTo>
                    <a:pt x="0" y="31337"/>
                  </a:lnTo>
                  <a:lnTo>
                    <a:pt x="2857" y="42863"/>
                  </a:lnTo>
                  <a:lnTo>
                    <a:pt x="31432" y="4562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13" name="Freeform: Shape 3812">
              <a:extLst>
                <a:ext uri="{FF2B5EF4-FFF2-40B4-BE49-F238E27FC236}">
                  <a16:creationId xmlns:a16="http://schemas.microsoft.com/office/drawing/2014/main" id="{12F252C7-3600-5B24-20ED-F8A5BA31A9C6}"/>
                </a:ext>
              </a:extLst>
            </p:cNvPr>
            <p:cNvSpPr/>
            <p:nvPr/>
          </p:nvSpPr>
          <p:spPr>
            <a:xfrm>
              <a:off x="6568092" y="1778865"/>
              <a:ext cx="99908" cy="55090"/>
            </a:xfrm>
            <a:custGeom>
              <a:avLst/>
              <a:gdLst>
                <a:gd name="connsiteX0" fmla="*/ 66675 w 101917"/>
                <a:gd name="connsiteY0" fmla="*/ 49625 h 56197"/>
                <a:gd name="connsiteX1" fmla="*/ 91440 w 101917"/>
                <a:gd name="connsiteY1" fmla="*/ 35338 h 56197"/>
                <a:gd name="connsiteX2" fmla="*/ 101918 w 101917"/>
                <a:gd name="connsiteY2" fmla="*/ 21050 h 56197"/>
                <a:gd name="connsiteX3" fmla="*/ 83820 w 101917"/>
                <a:gd name="connsiteY3" fmla="*/ 21050 h 56197"/>
                <a:gd name="connsiteX4" fmla="*/ 73343 w 101917"/>
                <a:gd name="connsiteY4" fmla="*/ 14288 h 56197"/>
                <a:gd name="connsiteX5" fmla="*/ 66675 w 101917"/>
                <a:gd name="connsiteY5" fmla="*/ 0 h 56197"/>
                <a:gd name="connsiteX6" fmla="*/ 52388 w 101917"/>
                <a:gd name="connsiteY6" fmla="*/ 0 h 56197"/>
                <a:gd name="connsiteX7" fmla="*/ 24765 w 101917"/>
                <a:gd name="connsiteY7" fmla="*/ 6763 h 56197"/>
                <a:gd name="connsiteX8" fmla="*/ 17145 w 101917"/>
                <a:gd name="connsiteY8" fmla="*/ 14288 h 56197"/>
                <a:gd name="connsiteX9" fmla="*/ 10478 w 101917"/>
                <a:gd name="connsiteY9" fmla="*/ 24860 h 56197"/>
                <a:gd name="connsiteX10" fmla="*/ 0 w 101917"/>
                <a:gd name="connsiteY10" fmla="*/ 35338 h 56197"/>
                <a:gd name="connsiteX11" fmla="*/ 6668 w 101917"/>
                <a:gd name="connsiteY11" fmla="*/ 49625 h 56197"/>
                <a:gd name="connsiteX12" fmla="*/ 17145 w 101917"/>
                <a:gd name="connsiteY12" fmla="*/ 39148 h 56197"/>
                <a:gd name="connsiteX13" fmla="*/ 31432 w 101917"/>
                <a:gd name="connsiteY13" fmla="*/ 35338 h 56197"/>
                <a:gd name="connsiteX14" fmla="*/ 45720 w 101917"/>
                <a:gd name="connsiteY14" fmla="*/ 35338 h 56197"/>
                <a:gd name="connsiteX15" fmla="*/ 45720 w 101917"/>
                <a:gd name="connsiteY15" fmla="*/ 56197 h 56197"/>
                <a:gd name="connsiteX16" fmla="*/ 66675 w 101917"/>
                <a:gd name="connsiteY16" fmla="*/ 49625 h 56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1917" h="56197">
                  <a:moveTo>
                    <a:pt x="66675" y="49625"/>
                  </a:moveTo>
                  <a:lnTo>
                    <a:pt x="91440" y="35338"/>
                  </a:lnTo>
                  <a:lnTo>
                    <a:pt x="101918" y="21050"/>
                  </a:lnTo>
                  <a:lnTo>
                    <a:pt x="83820" y="21050"/>
                  </a:lnTo>
                  <a:lnTo>
                    <a:pt x="73343" y="14288"/>
                  </a:lnTo>
                  <a:lnTo>
                    <a:pt x="66675" y="0"/>
                  </a:lnTo>
                  <a:lnTo>
                    <a:pt x="52388" y="0"/>
                  </a:lnTo>
                  <a:lnTo>
                    <a:pt x="24765" y="6763"/>
                  </a:lnTo>
                  <a:lnTo>
                    <a:pt x="17145" y="14288"/>
                  </a:lnTo>
                  <a:lnTo>
                    <a:pt x="10478" y="24860"/>
                  </a:lnTo>
                  <a:lnTo>
                    <a:pt x="0" y="35338"/>
                  </a:lnTo>
                  <a:lnTo>
                    <a:pt x="6668" y="49625"/>
                  </a:lnTo>
                  <a:lnTo>
                    <a:pt x="17145" y="39148"/>
                  </a:lnTo>
                  <a:lnTo>
                    <a:pt x="31432" y="35338"/>
                  </a:lnTo>
                  <a:lnTo>
                    <a:pt x="45720" y="35338"/>
                  </a:lnTo>
                  <a:lnTo>
                    <a:pt x="45720" y="56197"/>
                  </a:lnTo>
                  <a:lnTo>
                    <a:pt x="66675" y="4962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14" name="Freeform: Shape 3813">
              <a:extLst>
                <a:ext uri="{FF2B5EF4-FFF2-40B4-BE49-F238E27FC236}">
                  <a16:creationId xmlns:a16="http://schemas.microsoft.com/office/drawing/2014/main" id="{9D9D9538-6E1B-61BF-F295-FCAC673E93A3}"/>
                </a:ext>
              </a:extLst>
            </p:cNvPr>
            <p:cNvSpPr/>
            <p:nvPr/>
          </p:nvSpPr>
          <p:spPr>
            <a:xfrm>
              <a:off x="8604545" y="4398916"/>
              <a:ext cx="296923" cy="304397"/>
            </a:xfrm>
            <a:custGeom>
              <a:avLst/>
              <a:gdLst>
                <a:gd name="connsiteX0" fmla="*/ 302895 w 302894"/>
                <a:gd name="connsiteY0" fmla="*/ 275368 h 310515"/>
                <a:gd name="connsiteX1" fmla="*/ 302895 w 302894"/>
                <a:gd name="connsiteY1" fmla="*/ 229553 h 310515"/>
                <a:gd name="connsiteX2" fmla="*/ 281940 w 302894"/>
                <a:gd name="connsiteY2" fmla="*/ 219075 h 310515"/>
                <a:gd name="connsiteX3" fmla="*/ 263842 w 302894"/>
                <a:gd name="connsiteY3" fmla="*/ 229553 h 310515"/>
                <a:gd name="connsiteX4" fmla="*/ 267652 w 302894"/>
                <a:gd name="connsiteY4" fmla="*/ 219075 h 310515"/>
                <a:gd name="connsiteX5" fmla="*/ 267652 w 302894"/>
                <a:gd name="connsiteY5" fmla="*/ 204788 h 310515"/>
                <a:gd name="connsiteX6" fmla="*/ 253365 w 302894"/>
                <a:gd name="connsiteY6" fmla="*/ 183928 h 310515"/>
                <a:gd name="connsiteX7" fmla="*/ 240030 w 302894"/>
                <a:gd name="connsiteY7" fmla="*/ 180118 h 310515"/>
                <a:gd name="connsiteX8" fmla="*/ 236220 w 302894"/>
                <a:gd name="connsiteY8" fmla="*/ 169640 h 310515"/>
                <a:gd name="connsiteX9" fmla="*/ 236220 w 302894"/>
                <a:gd name="connsiteY9" fmla="*/ 148590 h 310515"/>
                <a:gd name="connsiteX10" fmla="*/ 215265 w 302894"/>
                <a:gd name="connsiteY10" fmla="*/ 137255 h 310515"/>
                <a:gd name="connsiteX11" fmla="*/ 190500 w 302894"/>
                <a:gd name="connsiteY11" fmla="*/ 113443 h 310515"/>
                <a:gd name="connsiteX12" fmla="*/ 169545 w 302894"/>
                <a:gd name="connsiteY12" fmla="*/ 95250 h 310515"/>
                <a:gd name="connsiteX13" fmla="*/ 147638 w 302894"/>
                <a:gd name="connsiteY13" fmla="*/ 88678 h 310515"/>
                <a:gd name="connsiteX14" fmla="*/ 126682 w 302894"/>
                <a:gd name="connsiteY14" fmla="*/ 63913 h 310515"/>
                <a:gd name="connsiteX15" fmla="*/ 105727 w 302894"/>
                <a:gd name="connsiteY15" fmla="*/ 49625 h 310515"/>
                <a:gd name="connsiteX16" fmla="*/ 84772 w 302894"/>
                <a:gd name="connsiteY16" fmla="*/ 31528 h 310515"/>
                <a:gd name="connsiteX17" fmla="*/ 66675 w 302894"/>
                <a:gd name="connsiteY17" fmla="*/ 7715 h 310515"/>
                <a:gd name="connsiteX18" fmla="*/ 35242 w 302894"/>
                <a:gd name="connsiteY18" fmla="*/ 3905 h 310515"/>
                <a:gd name="connsiteX19" fmla="*/ 0 w 302894"/>
                <a:gd name="connsiteY19" fmla="*/ 0 h 310515"/>
                <a:gd name="connsiteX20" fmla="*/ 7620 w 302894"/>
                <a:gd name="connsiteY20" fmla="*/ 18193 h 310515"/>
                <a:gd name="connsiteX21" fmla="*/ 35242 w 302894"/>
                <a:gd name="connsiteY21" fmla="*/ 39053 h 310515"/>
                <a:gd name="connsiteX22" fmla="*/ 66675 w 302894"/>
                <a:gd name="connsiteY22" fmla="*/ 74390 h 310515"/>
                <a:gd name="connsiteX23" fmla="*/ 66675 w 302894"/>
                <a:gd name="connsiteY23" fmla="*/ 88678 h 310515"/>
                <a:gd name="connsiteX24" fmla="*/ 80963 w 302894"/>
                <a:gd name="connsiteY24" fmla="*/ 88678 h 310515"/>
                <a:gd name="connsiteX25" fmla="*/ 105727 w 302894"/>
                <a:gd name="connsiteY25" fmla="*/ 109538 h 310515"/>
                <a:gd name="connsiteX26" fmla="*/ 105727 w 302894"/>
                <a:gd name="connsiteY26" fmla="*/ 123825 h 310515"/>
                <a:gd name="connsiteX27" fmla="*/ 112395 w 302894"/>
                <a:gd name="connsiteY27" fmla="*/ 141065 h 310515"/>
                <a:gd name="connsiteX28" fmla="*/ 151447 w 302894"/>
                <a:gd name="connsiteY28" fmla="*/ 186690 h 310515"/>
                <a:gd name="connsiteX29" fmla="*/ 159067 w 302894"/>
                <a:gd name="connsiteY29" fmla="*/ 211550 h 310515"/>
                <a:gd name="connsiteX30" fmla="*/ 169545 w 302894"/>
                <a:gd name="connsiteY30" fmla="*/ 225838 h 310515"/>
                <a:gd name="connsiteX31" fmla="*/ 250507 w 302894"/>
                <a:gd name="connsiteY31" fmla="*/ 306800 h 310515"/>
                <a:gd name="connsiteX32" fmla="*/ 267652 w 302894"/>
                <a:gd name="connsiteY32" fmla="*/ 310515 h 310515"/>
                <a:gd name="connsiteX33" fmla="*/ 281940 w 302894"/>
                <a:gd name="connsiteY33" fmla="*/ 306800 h 310515"/>
                <a:gd name="connsiteX34" fmla="*/ 299085 w 302894"/>
                <a:gd name="connsiteY34" fmla="*/ 310515 h 310515"/>
                <a:gd name="connsiteX35" fmla="*/ 302895 w 302894"/>
                <a:gd name="connsiteY35" fmla="*/ 275368 h 310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302894" h="310515">
                  <a:moveTo>
                    <a:pt x="302895" y="275368"/>
                  </a:moveTo>
                  <a:lnTo>
                    <a:pt x="302895" y="229553"/>
                  </a:lnTo>
                  <a:lnTo>
                    <a:pt x="281940" y="219075"/>
                  </a:lnTo>
                  <a:lnTo>
                    <a:pt x="263842" y="229553"/>
                  </a:lnTo>
                  <a:lnTo>
                    <a:pt x="267652" y="219075"/>
                  </a:lnTo>
                  <a:lnTo>
                    <a:pt x="267652" y="204788"/>
                  </a:lnTo>
                  <a:lnTo>
                    <a:pt x="253365" y="183928"/>
                  </a:lnTo>
                  <a:lnTo>
                    <a:pt x="240030" y="180118"/>
                  </a:lnTo>
                  <a:lnTo>
                    <a:pt x="236220" y="169640"/>
                  </a:lnTo>
                  <a:lnTo>
                    <a:pt x="236220" y="148590"/>
                  </a:lnTo>
                  <a:lnTo>
                    <a:pt x="215265" y="137255"/>
                  </a:lnTo>
                  <a:lnTo>
                    <a:pt x="190500" y="113443"/>
                  </a:lnTo>
                  <a:lnTo>
                    <a:pt x="169545" y="95250"/>
                  </a:lnTo>
                  <a:lnTo>
                    <a:pt x="147638" y="88678"/>
                  </a:lnTo>
                  <a:lnTo>
                    <a:pt x="126682" y="63913"/>
                  </a:lnTo>
                  <a:lnTo>
                    <a:pt x="105727" y="49625"/>
                  </a:lnTo>
                  <a:lnTo>
                    <a:pt x="84772" y="31528"/>
                  </a:lnTo>
                  <a:lnTo>
                    <a:pt x="66675" y="7715"/>
                  </a:lnTo>
                  <a:lnTo>
                    <a:pt x="35242" y="3905"/>
                  </a:lnTo>
                  <a:lnTo>
                    <a:pt x="0" y="0"/>
                  </a:lnTo>
                  <a:lnTo>
                    <a:pt x="7620" y="18193"/>
                  </a:lnTo>
                  <a:lnTo>
                    <a:pt x="35242" y="39053"/>
                  </a:lnTo>
                  <a:lnTo>
                    <a:pt x="66675" y="74390"/>
                  </a:lnTo>
                  <a:lnTo>
                    <a:pt x="66675" y="88678"/>
                  </a:lnTo>
                  <a:lnTo>
                    <a:pt x="80963" y="88678"/>
                  </a:lnTo>
                  <a:lnTo>
                    <a:pt x="105727" y="109538"/>
                  </a:lnTo>
                  <a:lnTo>
                    <a:pt x="105727" y="123825"/>
                  </a:lnTo>
                  <a:lnTo>
                    <a:pt x="112395" y="141065"/>
                  </a:lnTo>
                  <a:lnTo>
                    <a:pt x="151447" y="186690"/>
                  </a:lnTo>
                  <a:lnTo>
                    <a:pt x="159067" y="211550"/>
                  </a:lnTo>
                  <a:lnTo>
                    <a:pt x="169545" y="225838"/>
                  </a:lnTo>
                  <a:lnTo>
                    <a:pt x="250507" y="306800"/>
                  </a:lnTo>
                  <a:lnTo>
                    <a:pt x="267652" y="310515"/>
                  </a:lnTo>
                  <a:lnTo>
                    <a:pt x="281940" y="306800"/>
                  </a:lnTo>
                  <a:lnTo>
                    <a:pt x="299085" y="310515"/>
                  </a:lnTo>
                  <a:lnTo>
                    <a:pt x="302895" y="27536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15" name="Freeform: Shape 3814">
              <a:extLst>
                <a:ext uri="{FF2B5EF4-FFF2-40B4-BE49-F238E27FC236}">
                  <a16:creationId xmlns:a16="http://schemas.microsoft.com/office/drawing/2014/main" id="{8B9D0CCC-D580-9091-4DEC-535C1C6B62EF}"/>
                </a:ext>
              </a:extLst>
            </p:cNvPr>
            <p:cNvSpPr/>
            <p:nvPr/>
          </p:nvSpPr>
          <p:spPr>
            <a:xfrm>
              <a:off x="8891198" y="4713677"/>
              <a:ext cx="272648" cy="75632"/>
            </a:xfrm>
            <a:custGeom>
              <a:avLst/>
              <a:gdLst>
                <a:gd name="connsiteX0" fmla="*/ 253365 w 278130"/>
                <a:gd name="connsiteY0" fmla="*/ 77153 h 77152"/>
                <a:gd name="connsiteX1" fmla="*/ 278130 w 278130"/>
                <a:gd name="connsiteY1" fmla="*/ 74200 h 77152"/>
                <a:gd name="connsiteX2" fmla="*/ 271463 w 278130"/>
                <a:gd name="connsiteY2" fmla="*/ 63818 h 77152"/>
                <a:gd name="connsiteX3" fmla="*/ 253365 w 278130"/>
                <a:gd name="connsiteY3" fmla="*/ 56102 h 77152"/>
                <a:gd name="connsiteX4" fmla="*/ 250508 w 278130"/>
                <a:gd name="connsiteY4" fmla="*/ 45625 h 77152"/>
                <a:gd name="connsiteX5" fmla="*/ 236220 w 278130"/>
                <a:gd name="connsiteY5" fmla="*/ 45625 h 77152"/>
                <a:gd name="connsiteX6" fmla="*/ 200978 w 278130"/>
                <a:gd name="connsiteY6" fmla="*/ 41815 h 77152"/>
                <a:gd name="connsiteX7" fmla="*/ 197168 w 278130"/>
                <a:gd name="connsiteY7" fmla="*/ 31337 h 77152"/>
                <a:gd name="connsiteX8" fmla="*/ 176213 w 278130"/>
                <a:gd name="connsiteY8" fmla="*/ 17050 h 77152"/>
                <a:gd name="connsiteX9" fmla="*/ 147638 w 278130"/>
                <a:gd name="connsiteY9" fmla="*/ 17050 h 77152"/>
                <a:gd name="connsiteX10" fmla="*/ 130493 w 278130"/>
                <a:gd name="connsiteY10" fmla="*/ 24765 h 77152"/>
                <a:gd name="connsiteX11" fmla="*/ 99060 w 278130"/>
                <a:gd name="connsiteY11" fmla="*/ 24765 h 77152"/>
                <a:gd name="connsiteX12" fmla="*/ 80963 w 278130"/>
                <a:gd name="connsiteY12" fmla="*/ 17050 h 77152"/>
                <a:gd name="connsiteX13" fmla="*/ 49530 w 278130"/>
                <a:gd name="connsiteY13" fmla="*/ 0 h 77152"/>
                <a:gd name="connsiteX14" fmla="*/ 14288 w 278130"/>
                <a:gd name="connsiteY14" fmla="*/ 3715 h 77152"/>
                <a:gd name="connsiteX15" fmla="*/ 0 w 278130"/>
                <a:gd name="connsiteY15" fmla="*/ 17050 h 77152"/>
                <a:gd name="connsiteX16" fmla="*/ 18098 w 278130"/>
                <a:gd name="connsiteY16" fmla="*/ 28575 h 77152"/>
                <a:gd name="connsiteX17" fmla="*/ 24765 w 278130"/>
                <a:gd name="connsiteY17" fmla="*/ 35243 h 77152"/>
                <a:gd name="connsiteX18" fmla="*/ 45720 w 278130"/>
                <a:gd name="connsiteY18" fmla="*/ 41815 h 77152"/>
                <a:gd name="connsiteX19" fmla="*/ 63818 w 278130"/>
                <a:gd name="connsiteY19" fmla="*/ 49530 h 77152"/>
                <a:gd name="connsiteX20" fmla="*/ 120015 w 278130"/>
                <a:gd name="connsiteY20" fmla="*/ 49530 h 77152"/>
                <a:gd name="connsiteX21" fmla="*/ 137160 w 278130"/>
                <a:gd name="connsiteY21" fmla="*/ 63818 h 77152"/>
                <a:gd name="connsiteX22" fmla="*/ 190500 w 278130"/>
                <a:gd name="connsiteY22" fmla="*/ 66675 h 77152"/>
                <a:gd name="connsiteX23" fmla="*/ 203835 w 278130"/>
                <a:gd name="connsiteY23" fmla="*/ 66675 h 77152"/>
                <a:gd name="connsiteX24" fmla="*/ 221933 w 278130"/>
                <a:gd name="connsiteY24" fmla="*/ 70390 h 77152"/>
                <a:gd name="connsiteX25" fmla="*/ 253365 w 278130"/>
                <a:gd name="connsiteY25" fmla="*/ 77153 h 77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78130" h="77152">
                  <a:moveTo>
                    <a:pt x="253365" y="77153"/>
                  </a:moveTo>
                  <a:lnTo>
                    <a:pt x="278130" y="74200"/>
                  </a:lnTo>
                  <a:lnTo>
                    <a:pt x="271463" y="63818"/>
                  </a:lnTo>
                  <a:lnTo>
                    <a:pt x="253365" y="56102"/>
                  </a:lnTo>
                  <a:lnTo>
                    <a:pt x="250508" y="45625"/>
                  </a:lnTo>
                  <a:lnTo>
                    <a:pt x="236220" y="45625"/>
                  </a:lnTo>
                  <a:lnTo>
                    <a:pt x="200978" y="41815"/>
                  </a:lnTo>
                  <a:lnTo>
                    <a:pt x="197168" y="31337"/>
                  </a:lnTo>
                  <a:lnTo>
                    <a:pt x="176213" y="17050"/>
                  </a:lnTo>
                  <a:lnTo>
                    <a:pt x="147638" y="17050"/>
                  </a:lnTo>
                  <a:lnTo>
                    <a:pt x="130493" y="24765"/>
                  </a:lnTo>
                  <a:lnTo>
                    <a:pt x="99060" y="24765"/>
                  </a:lnTo>
                  <a:lnTo>
                    <a:pt x="80963" y="17050"/>
                  </a:lnTo>
                  <a:lnTo>
                    <a:pt x="49530" y="0"/>
                  </a:lnTo>
                  <a:lnTo>
                    <a:pt x="14288" y="3715"/>
                  </a:lnTo>
                  <a:lnTo>
                    <a:pt x="0" y="17050"/>
                  </a:lnTo>
                  <a:lnTo>
                    <a:pt x="18098" y="28575"/>
                  </a:lnTo>
                  <a:lnTo>
                    <a:pt x="24765" y="35243"/>
                  </a:lnTo>
                  <a:lnTo>
                    <a:pt x="45720" y="41815"/>
                  </a:lnTo>
                  <a:lnTo>
                    <a:pt x="63818" y="49530"/>
                  </a:lnTo>
                  <a:lnTo>
                    <a:pt x="120015" y="49530"/>
                  </a:lnTo>
                  <a:lnTo>
                    <a:pt x="137160" y="63818"/>
                  </a:lnTo>
                  <a:lnTo>
                    <a:pt x="190500" y="66675"/>
                  </a:lnTo>
                  <a:lnTo>
                    <a:pt x="203835" y="66675"/>
                  </a:lnTo>
                  <a:lnTo>
                    <a:pt x="221933" y="70390"/>
                  </a:lnTo>
                  <a:lnTo>
                    <a:pt x="253365" y="77153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16" name="Freeform: Shape 3815">
              <a:extLst>
                <a:ext uri="{FF2B5EF4-FFF2-40B4-BE49-F238E27FC236}">
                  <a16:creationId xmlns:a16="http://schemas.microsoft.com/office/drawing/2014/main" id="{77709EE2-798F-57FF-E909-8E406ADC0E9D}"/>
                </a:ext>
              </a:extLst>
            </p:cNvPr>
            <p:cNvSpPr/>
            <p:nvPr/>
          </p:nvSpPr>
          <p:spPr>
            <a:xfrm>
              <a:off x="9387940" y="4772408"/>
              <a:ext cx="97107" cy="62653"/>
            </a:xfrm>
            <a:custGeom>
              <a:avLst/>
              <a:gdLst>
                <a:gd name="connsiteX0" fmla="*/ 53340 w 99060"/>
                <a:gd name="connsiteY0" fmla="*/ 31528 h 63912"/>
                <a:gd name="connsiteX1" fmla="*/ 95250 w 99060"/>
                <a:gd name="connsiteY1" fmla="*/ 14288 h 63912"/>
                <a:gd name="connsiteX2" fmla="*/ 99060 w 99060"/>
                <a:gd name="connsiteY2" fmla="*/ 3905 h 63912"/>
                <a:gd name="connsiteX3" fmla="*/ 67628 w 99060"/>
                <a:gd name="connsiteY3" fmla="*/ 0 h 63912"/>
                <a:gd name="connsiteX4" fmla="*/ 42863 w 99060"/>
                <a:gd name="connsiteY4" fmla="*/ 14288 h 63912"/>
                <a:gd name="connsiteX5" fmla="*/ 24765 w 99060"/>
                <a:gd name="connsiteY5" fmla="*/ 28575 h 63912"/>
                <a:gd name="connsiteX6" fmla="*/ 14288 w 99060"/>
                <a:gd name="connsiteY6" fmla="*/ 31528 h 63912"/>
                <a:gd name="connsiteX7" fmla="*/ 3810 w 99060"/>
                <a:gd name="connsiteY7" fmla="*/ 39053 h 63912"/>
                <a:gd name="connsiteX8" fmla="*/ 0 w 99060"/>
                <a:gd name="connsiteY8" fmla="*/ 63913 h 63912"/>
                <a:gd name="connsiteX9" fmla="*/ 32385 w 99060"/>
                <a:gd name="connsiteY9" fmla="*/ 49625 h 63912"/>
                <a:gd name="connsiteX10" fmla="*/ 53340 w 99060"/>
                <a:gd name="connsiteY10" fmla="*/ 31528 h 63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9060" h="63912">
                  <a:moveTo>
                    <a:pt x="53340" y="31528"/>
                  </a:moveTo>
                  <a:lnTo>
                    <a:pt x="95250" y="14288"/>
                  </a:lnTo>
                  <a:lnTo>
                    <a:pt x="99060" y="3905"/>
                  </a:lnTo>
                  <a:lnTo>
                    <a:pt x="67628" y="0"/>
                  </a:lnTo>
                  <a:lnTo>
                    <a:pt x="42863" y="14288"/>
                  </a:lnTo>
                  <a:lnTo>
                    <a:pt x="24765" y="28575"/>
                  </a:lnTo>
                  <a:lnTo>
                    <a:pt x="14288" y="31528"/>
                  </a:lnTo>
                  <a:lnTo>
                    <a:pt x="3810" y="39053"/>
                  </a:lnTo>
                  <a:lnTo>
                    <a:pt x="0" y="63913"/>
                  </a:lnTo>
                  <a:lnTo>
                    <a:pt x="32385" y="49625"/>
                  </a:lnTo>
                  <a:lnTo>
                    <a:pt x="53340" y="3152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17" name="Freeform: Shape 3816">
              <a:extLst>
                <a:ext uri="{FF2B5EF4-FFF2-40B4-BE49-F238E27FC236}">
                  <a16:creationId xmlns:a16="http://schemas.microsoft.com/office/drawing/2014/main" id="{93CFA73E-98E2-45A3-A3C0-E9C5A9F96008}"/>
                </a:ext>
              </a:extLst>
            </p:cNvPr>
            <p:cNvSpPr/>
            <p:nvPr/>
          </p:nvSpPr>
          <p:spPr>
            <a:xfrm>
              <a:off x="9260954" y="4803315"/>
              <a:ext cx="51354" cy="28012"/>
            </a:xfrm>
            <a:custGeom>
              <a:avLst/>
              <a:gdLst>
                <a:gd name="connsiteX0" fmla="*/ 2857 w 52387"/>
                <a:gd name="connsiteY0" fmla="*/ 0 h 28575"/>
                <a:gd name="connsiteX1" fmla="*/ 0 w 52387"/>
                <a:gd name="connsiteY1" fmla="*/ 7525 h 28575"/>
                <a:gd name="connsiteX2" fmla="*/ 6668 w 52387"/>
                <a:gd name="connsiteY2" fmla="*/ 14288 h 28575"/>
                <a:gd name="connsiteX3" fmla="*/ 24765 w 52387"/>
                <a:gd name="connsiteY3" fmla="*/ 24765 h 28575"/>
                <a:gd name="connsiteX4" fmla="*/ 45720 w 52387"/>
                <a:gd name="connsiteY4" fmla="*/ 28575 h 28575"/>
                <a:gd name="connsiteX5" fmla="*/ 52388 w 52387"/>
                <a:gd name="connsiteY5" fmla="*/ 20860 h 28575"/>
                <a:gd name="connsiteX6" fmla="*/ 41910 w 52387"/>
                <a:gd name="connsiteY6" fmla="*/ 10478 h 28575"/>
                <a:gd name="connsiteX7" fmla="*/ 24765 w 52387"/>
                <a:gd name="connsiteY7" fmla="*/ 0 h 28575"/>
                <a:gd name="connsiteX8" fmla="*/ 2857 w 52387"/>
                <a:gd name="connsiteY8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2387" h="28575">
                  <a:moveTo>
                    <a:pt x="2857" y="0"/>
                  </a:moveTo>
                  <a:lnTo>
                    <a:pt x="0" y="7525"/>
                  </a:lnTo>
                  <a:lnTo>
                    <a:pt x="6668" y="14288"/>
                  </a:lnTo>
                  <a:lnTo>
                    <a:pt x="24765" y="24765"/>
                  </a:lnTo>
                  <a:lnTo>
                    <a:pt x="45720" y="28575"/>
                  </a:lnTo>
                  <a:lnTo>
                    <a:pt x="52388" y="20860"/>
                  </a:lnTo>
                  <a:lnTo>
                    <a:pt x="41910" y="10478"/>
                  </a:lnTo>
                  <a:lnTo>
                    <a:pt x="24765" y="0"/>
                  </a:lnTo>
                  <a:lnTo>
                    <a:pt x="2857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18" name="Freeform: Shape 3817">
              <a:extLst>
                <a:ext uri="{FF2B5EF4-FFF2-40B4-BE49-F238E27FC236}">
                  <a16:creationId xmlns:a16="http://schemas.microsoft.com/office/drawing/2014/main" id="{0C27D76E-08FB-F99D-ACBC-B48FBD3EF8A1}"/>
                </a:ext>
              </a:extLst>
            </p:cNvPr>
            <p:cNvSpPr/>
            <p:nvPr/>
          </p:nvSpPr>
          <p:spPr>
            <a:xfrm>
              <a:off x="9285230" y="4772408"/>
              <a:ext cx="65361" cy="16900"/>
            </a:xfrm>
            <a:custGeom>
              <a:avLst/>
              <a:gdLst>
                <a:gd name="connsiteX0" fmla="*/ 66675 w 66675"/>
                <a:gd name="connsiteY0" fmla="*/ 17240 h 17240"/>
                <a:gd name="connsiteX1" fmla="*/ 66675 w 66675"/>
                <a:gd name="connsiteY1" fmla="*/ 6763 h 17240"/>
                <a:gd name="connsiteX2" fmla="*/ 41910 w 66675"/>
                <a:gd name="connsiteY2" fmla="*/ 6763 h 17240"/>
                <a:gd name="connsiteX3" fmla="*/ 31432 w 66675"/>
                <a:gd name="connsiteY3" fmla="*/ 3905 h 17240"/>
                <a:gd name="connsiteX4" fmla="*/ 13335 w 66675"/>
                <a:gd name="connsiteY4" fmla="*/ 0 h 17240"/>
                <a:gd name="connsiteX5" fmla="*/ 6668 w 66675"/>
                <a:gd name="connsiteY5" fmla="*/ 3905 h 17240"/>
                <a:gd name="connsiteX6" fmla="*/ 0 w 66675"/>
                <a:gd name="connsiteY6" fmla="*/ 17240 h 17240"/>
                <a:gd name="connsiteX7" fmla="*/ 31432 w 66675"/>
                <a:gd name="connsiteY7" fmla="*/ 17240 h 17240"/>
                <a:gd name="connsiteX8" fmla="*/ 66675 w 66675"/>
                <a:gd name="connsiteY8" fmla="*/ 17240 h 1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675" h="17240">
                  <a:moveTo>
                    <a:pt x="66675" y="17240"/>
                  </a:moveTo>
                  <a:lnTo>
                    <a:pt x="66675" y="6763"/>
                  </a:lnTo>
                  <a:lnTo>
                    <a:pt x="41910" y="6763"/>
                  </a:lnTo>
                  <a:lnTo>
                    <a:pt x="31432" y="3905"/>
                  </a:lnTo>
                  <a:lnTo>
                    <a:pt x="13335" y="0"/>
                  </a:lnTo>
                  <a:lnTo>
                    <a:pt x="6668" y="3905"/>
                  </a:lnTo>
                  <a:lnTo>
                    <a:pt x="0" y="17240"/>
                  </a:lnTo>
                  <a:lnTo>
                    <a:pt x="31432" y="17240"/>
                  </a:lnTo>
                  <a:lnTo>
                    <a:pt x="66675" y="1724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19" name="Freeform: Shape 3818">
              <a:extLst>
                <a:ext uri="{FF2B5EF4-FFF2-40B4-BE49-F238E27FC236}">
                  <a16:creationId xmlns:a16="http://schemas.microsoft.com/office/drawing/2014/main" id="{E6A1BC42-41E3-0A3D-BDF0-BF35EDD6BD3E}"/>
                </a:ext>
              </a:extLst>
            </p:cNvPr>
            <p:cNvSpPr/>
            <p:nvPr/>
          </p:nvSpPr>
          <p:spPr>
            <a:xfrm>
              <a:off x="9232942" y="4772408"/>
              <a:ext cx="34547" cy="16900"/>
            </a:xfrm>
            <a:custGeom>
              <a:avLst/>
              <a:gdLst>
                <a:gd name="connsiteX0" fmla="*/ 31432 w 35242"/>
                <a:gd name="connsiteY0" fmla="*/ 3905 h 17240"/>
                <a:gd name="connsiteX1" fmla="*/ 14288 w 35242"/>
                <a:gd name="connsiteY1" fmla="*/ 0 h 17240"/>
                <a:gd name="connsiteX2" fmla="*/ 0 w 35242"/>
                <a:gd name="connsiteY2" fmla="*/ 3905 h 17240"/>
                <a:gd name="connsiteX3" fmla="*/ 0 w 35242"/>
                <a:gd name="connsiteY3" fmla="*/ 17240 h 17240"/>
                <a:gd name="connsiteX4" fmla="*/ 35243 w 35242"/>
                <a:gd name="connsiteY4" fmla="*/ 17240 h 17240"/>
                <a:gd name="connsiteX5" fmla="*/ 31432 w 35242"/>
                <a:gd name="connsiteY5" fmla="*/ 3905 h 1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242" h="17240">
                  <a:moveTo>
                    <a:pt x="31432" y="3905"/>
                  </a:moveTo>
                  <a:lnTo>
                    <a:pt x="14288" y="0"/>
                  </a:lnTo>
                  <a:lnTo>
                    <a:pt x="0" y="3905"/>
                  </a:lnTo>
                  <a:lnTo>
                    <a:pt x="0" y="17240"/>
                  </a:lnTo>
                  <a:lnTo>
                    <a:pt x="35243" y="17240"/>
                  </a:lnTo>
                  <a:lnTo>
                    <a:pt x="31432" y="390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20" name="Freeform: Shape 3819">
              <a:extLst>
                <a:ext uri="{FF2B5EF4-FFF2-40B4-BE49-F238E27FC236}">
                  <a16:creationId xmlns:a16="http://schemas.microsoft.com/office/drawing/2014/main" id="{C6EC2AD7-9DA7-5A07-2057-EB57F8CD1B17}"/>
                </a:ext>
              </a:extLst>
            </p:cNvPr>
            <p:cNvSpPr/>
            <p:nvPr/>
          </p:nvSpPr>
          <p:spPr>
            <a:xfrm>
              <a:off x="9177852" y="4772408"/>
              <a:ext cx="44818" cy="30906"/>
            </a:xfrm>
            <a:custGeom>
              <a:avLst/>
              <a:gdLst>
                <a:gd name="connsiteX0" fmla="*/ 3810 w 45719"/>
                <a:gd name="connsiteY0" fmla="*/ 0 h 31527"/>
                <a:gd name="connsiteX1" fmla="*/ 0 w 45719"/>
                <a:gd name="connsiteY1" fmla="*/ 17240 h 31527"/>
                <a:gd name="connsiteX2" fmla="*/ 20955 w 45719"/>
                <a:gd name="connsiteY2" fmla="*/ 24765 h 31527"/>
                <a:gd name="connsiteX3" fmla="*/ 41910 w 45719"/>
                <a:gd name="connsiteY3" fmla="*/ 31528 h 31527"/>
                <a:gd name="connsiteX4" fmla="*/ 45720 w 45719"/>
                <a:gd name="connsiteY4" fmla="*/ 17240 h 31527"/>
                <a:gd name="connsiteX5" fmla="*/ 45720 w 45719"/>
                <a:gd name="connsiteY5" fmla="*/ 6763 h 31527"/>
                <a:gd name="connsiteX6" fmla="*/ 24765 w 45719"/>
                <a:gd name="connsiteY6" fmla="*/ 3905 h 31527"/>
                <a:gd name="connsiteX7" fmla="*/ 3810 w 45719"/>
                <a:gd name="connsiteY7" fmla="*/ 0 h 31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5719" h="31527">
                  <a:moveTo>
                    <a:pt x="3810" y="0"/>
                  </a:moveTo>
                  <a:lnTo>
                    <a:pt x="0" y="17240"/>
                  </a:lnTo>
                  <a:lnTo>
                    <a:pt x="20955" y="24765"/>
                  </a:lnTo>
                  <a:lnTo>
                    <a:pt x="41910" y="31528"/>
                  </a:lnTo>
                  <a:lnTo>
                    <a:pt x="45720" y="17240"/>
                  </a:lnTo>
                  <a:lnTo>
                    <a:pt x="45720" y="6763"/>
                  </a:lnTo>
                  <a:lnTo>
                    <a:pt x="24765" y="3905"/>
                  </a:lnTo>
                  <a:lnTo>
                    <a:pt x="3810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21" name="Freeform: Shape 3820">
              <a:extLst>
                <a:ext uri="{FF2B5EF4-FFF2-40B4-BE49-F238E27FC236}">
                  <a16:creationId xmlns:a16="http://schemas.microsoft.com/office/drawing/2014/main" id="{F644CEE6-63E1-8539-BF02-2CE50806DFB0}"/>
                </a:ext>
              </a:extLst>
            </p:cNvPr>
            <p:cNvSpPr/>
            <p:nvPr/>
          </p:nvSpPr>
          <p:spPr>
            <a:xfrm>
              <a:off x="9198394" y="3050608"/>
              <a:ext cx="48554" cy="17834"/>
            </a:xfrm>
            <a:custGeom>
              <a:avLst/>
              <a:gdLst>
                <a:gd name="connsiteX0" fmla="*/ 49530 w 49530"/>
                <a:gd name="connsiteY0" fmla="*/ 0 h 18192"/>
                <a:gd name="connsiteX1" fmla="*/ 31432 w 49530"/>
                <a:gd name="connsiteY1" fmla="*/ 18193 h 18192"/>
                <a:gd name="connsiteX2" fmla="*/ 0 w 49530"/>
                <a:gd name="connsiteY2" fmla="*/ 0 h 18192"/>
                <a:gd name="connsiteX3" fmla="*/ 31432 w 49530"/>
                <a:gd name="connsiteY3" fmla="*/ 18193 h 18192"/>
                <a:gd name="connsiteX4" fmla="*/ 49530 w 49530"/>
                <a:gd name="connsiteY4" fmla="*/ 0 h 18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530" h="18192">
                  <a:moveTo>
                    <a:pt x="49530" y="0"/>
                  </a:moveTo>
                  <a:lnTo>
                    <a:pt x="31432" y="18193"/>
                  </a:lnTo>
                  <a:lnTo>
                    <a:pt x="0" y="0"/>
                  </a:lnTo>
                  <a:lnTo>
                    <a:pt x="31432" y="18193"/>
                  </a:lnTo>
                  <a:lnTo>
                    <a:pt x="4953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22" name="Freeform: Shape 3821">
              <a:extLst>
                <a:ext uri="{FF2B5EF4-FFF2-40B4-BE49-F238E27FC236}">
                  <a16:creationId xmlns:a16="http://schemas.microsoft.com/office/drawing/2014/main" id="{A22878EE-2472-390C-806E-57CF27F88CE7}"/>
                </a:ext>
              </a:extLst>
            </p:cNvPr>
            <p:cNvSpPr/>
            <p:nvPr/>
          </p:nvSpPr>
          <p:spPr>
            <a:xfrm>
              <a:off x="9483179" y="3019887"/>
              <a:ext cx="18674" cy="44725"/>
            </a:xfrm>
            <a:custGeom>
              <a:avLst/>
              <a:gdLst>
                <a:gd name="connsiteX0" fmla="*/ 8573 w 19050"/>
                <a:gd name="connsiteY0" fmla="*/ 17050 h 45624"/>
                <a:gd name="connsiteX1" fmla="*/ 0 w 19050"/>
                <a:gd name="connsiteY1" fmla="*/ 0 h 45624"/>
                <a:gd name="connsiteX2" fmla="*/ 19050 w 19050"/>
                <a:gd name="connsiteY2" fmla="*/ 45625 h 45624"/>
                <a:gd name="connsiteX3" fmla="*/ 8573 w 19050"/>
                <a:gd name="connsiteY3" fmla="*/ 17050 h 4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45624">
                  <a:moveTo>
                    <a:pt x="8573" y="17050"/>
                  </a:moveTo>
                  <a:lnTo>
                    <a:pt x="0" y="0"/>
                  </a:lnTo>
                  <a:lnTo>
                    <a:pt x="19050" y="45625"/>
                  </a:lnTo>
                  <a:lnTo>
                    <a:pt x="8573" y="1705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23" name="Freeform: Shape 3822">
              <a:extLst>
                <a:ext uri="{FF2B5EF4-FFF2-40B4-BE49-F238E27FC236}">
                  <a16:creationId xmlns:a16="http://schemas.microsoft.com/office/drawing/2014/main" id="{C1450FEE-9230-C94C-358D-9FC863142C3D}"/>
                </a:ext>
              </a:extLst>
            </p:cNvPr>
            <p:cNvSpPr/>
            <p:nvPr/>
          </p:nvSpPr>
          <p:spPr>
            <a:xfrm>
              <a:off x="9391675" y="2919885"/>
              <a:ext cx="52288" cy="20635"/>
            </a:xfrm>
            <a:custGeom>
              <a:avLst/>
              <a:gdLst>
                <a:gd name="connsiteX0" fmla="*/ 28575 w 53339"/>
                <a:gd name="connsiteY0" fmla="*/ 10573 h 21050"/>
                <a:gd name="connsiteX1" fmla="*/ 0 w 53339"/>
                <a:gd name="connsiteY1" fmla="*/ 0 h 21050"/>
                <a:gd name="connsiteX2" fmla="*/ 53340 w 53339"/>
                <a:gd name="connsiteY2" fmla="*/ 21050 h 21050"/>
                <a:gd name="connsiteX3" fmla="*/ 28575 w 53339"/>
                <a:gd name="connsiteY3" fmla="*/ 10573 h 21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339" h="21050">
                  <a:moveTo>
                    <a:pt x="28575" y="10573"/>
                  </a:moveTo>
                  <a:lnTo>
                    <a:pt x="0" y="0"/>
                  </a:lnTo>
                  <a:lnTo>
                    <a:pt x="53340" y="21050"/>
                  </a:lnTo>
                  <a:lnTo>
                    <a:pt x="28575" y="1057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24" name="Freeform: Shape 3823">
              <a:extLst>
                <a:ext uri="{FF2B5EF4-FFF2-40B4-BE49-F238E27FC236}">
                  <a16:creationId xmlns:a16="http://schemas.microsoft.com/office/drawing/2014/main" id="{ADCBE947-6E91-A453-0CC6-1EC6ACEE3FA7}"/>
                </a:ext>
              </a:extLst>
            </p:cNvPr>
            <p:cNvSpPr/>
            <p:nvPr/>
          </p:nvSpPr>
          <p:spPr>
            <a:xfrm>
              <a:off x="6165657" y="2867689"/>
              <a:ext cx="246502" cy="273583"/>
            </a:xfrm>
            <a:custGeom>
              <a:avLst/>
              <a:gdLst>
                <a:gd name="connsiteX0" fmla="*/ 20955 w 251459"/>
                <a:gd name="connsiteY0" fmla="*/ 88582 h 279082"/>
                <a:gd name="connsiteX1" fmla="*/ 20955 w 251459"/>
                <a:gd name="connsiteY1" fmla="*/ 105632 h 279082"/>
                <a:gd name="connsiteX2" fmla="*/ 20955 w 251459"/>
                <a:gd name="connsiteY2" fmla="*/ 105632 h 279082"/>
                <a:gd name="connsiteX3" fmla="*/ 10477 w 251459"/>
                <a:gd name="connsiteY3" fmla="*/ 113252 h 279082"/>
                <a:gd name="connsiteX4" fmla="*/ 0 w 251459"/>
                <a:gd name="connsiteY4" fmla="*/ 119920 h 279082"/>
                <a:gd name="connsiteX5" fmla="*/ 0 w 251459"/>
                <a:gd name="connsiteY5" fmla="*/ 134207 h 279082"/>
                <a:gd name="connsiteX6" fmla="*/ 0 w 251459"/>
                <a:gd name="connsiteY6" fmla="*/ 151352 h 279082"/>
                <a:gd name="connsiteX7" fmla="*/ 6667 w 251459"/>
                <a:gd name="connsiteY7" fmla="*/ 169545 h 279082"/>
                <a:gd name="connsiteX8" fmla="*/ 3810 w 251459"/>
                <a:gd name="connsiteY8" fmla="*/ 179927 h 279082"/>
                <a:gd name="connsiteX9" fmla="*/ 6667 w 251459"/>
                <a:gd name="connsiteY9" fmla="*/ 186595 h 279082"/>
                <a:gd name="connsiteX10" fmla="*/ 3810 w 251459"/>
                <a:gd name="connsiteY10" fmla="*/ 200882 h 279082"/>
                <a:gd name="connsiteX11" fmla="*/ 14288 w 251459"/>
                <a:gd name="connsiteY11" fmla="*/ 207645 h 279082"/>
                <a:gd name="connsiteX12" fmla="*/ 20955 w 251459"/>
                <a:gd name="connsiteY12" fmla="*/ 215170 h 279082"/>
                <a:gd name="connsiteX13" fmla="*/ 52388 w 251459"/>
                <a:gd name="connsiteY13" fmla="*/ 215170 h 279082"/>
                <a:gd name="connsiteX14" fmla="*/ 56197 w 251459"/>
                <a:gd name="connsiteY14" fmla="*/ 221932 h 279082"/>
                <a:gd name="connsiteX15" fmla="*/ 39052 w 251459"/>
                <a:gd name="connsiteY15" fmla="*/ 257175 h 279082"/>
                <a:gd name="connsiteX16" fmla="*/ 39052 w 251459"/>
                <a:gd name="connsiteY16" fmla="*/ 267557 h 279082"/>
                <a:gd name="connsiteX17" fmla="*/ 49530 w 251459"/>
                <a:gd name="connsiteY17" fmla="*/ 267557 h 279082"/>
                <a:gd name="connsiteX18" fmla="*/ 66675 w 251459"/>
                <a:gd name="connsiteY18" fmla="*/ 267557 h 279082"/>
                <a:gd name="connsiteX19" fmla="*/ 84772 w 251459"/>
                <a:gd name="connsiteY19" fmla="*/ 264795 h 279082"/>
                <a:gd name="connsiteX20" fmla="*/ 98107 w 251459"/>
                <a:gd name="connsiteY20" fmla="*/ 267557 h 279082"/>
                <a:gd name="connsiteX21" fmla="*/ 101918 w 251459"/>
                <a:gd name="connsiteY21" fmla="*/ 271463 h 279082"/>
                <a:gd name="connsiteX22" fmla="*/ 98107 w 251459"/>
                <a:gd name="connsiteY22" fmla="*/ 279082 h 279082"/>
                <a:gd name="connsiteX23" fmla="*/ 149543 w 251459"/>
                <a:gd name="connsiteY23" fmla="*/ 275177 h 279082"/>
                <a:gd name="connsiteX24" fmla="*/ 167640 w 251459"/>
                <a:gd name="connsiteY24" fmla="*/ 264795 h 279082"/>
                <a:gd name="connsiteX25" fmla="*/ 188595 w 251459"/>
                <a:gd name="connsiteY25" fmla="*/ 264795 h 279082"/>
                <a:gd name="connsiteX26" fmla="*/ 188595 w 251459"/>
                <a:gd name="connsiteY26" fmla="*/ 250507 h 279082"/>
                <a:gd name="connsiteX27" fmla="*/ 202882 w 251459"/>
                <a:gd name="connsiteY27" fmla="*/ 242888 h 279082"/>
                <a:gd name="connsiteX28" fmla="*/ 216218 w 251459"/>
                <a:gd name="connsiteY28" fmla="*/ 236220 h 279082"/>
                <a:gd name="connsiteX29" fmla="*/ 216218 w 251459"/>
                <a:gd name="connsiteY29" fmla="*/ 225742 h 279082"/>
                <a:gd name="connsiteX30" fmla="*/ 195263 w 251459"/>
                <a:gd name="connsiteY30" fmla="*/ 211455 h 279082"/>
                <a:gd name="connsiteX31" fmla="*/ 180975 w 251459"/>
                <a:gd name="connsiteY31" fmla="*/ 194215 h 279082"/>
                <a:gd name="connsiteX32" fmla="*/ 167640 w 251459"/>
                <a:gd name="connsiteY32" fmla="*/ 176213 h 279082"/>
                <a:gd name="connsiteX33" fmla="*/ 188595 w 251459"/>
                <a:gd name="connsiteY33" fmla="*/ 165640 h 279082"/>
                <a:gd name="connsiteX34" fmla="*/ 209550 w 251459"/>
                <a:gd name="connsiteY34" fmla="*/ 159067 h 279082"/>
                <a:gd name="connsiteX35" fmla="*/ 226695 w 251459"/>
                <a:gd name="connsiteY35" fmla="*/ 151352 h 279082"/>
                <a:gd name="connsiteX36" fmla="*/ 240982 w 251459"/>
                <a:gd name="connsiteY36" fmla="*/ 148495 h 279082"/>
                <a:gd name="connsiteX37" fmla="*/ 251460 w 251459"/>
                <a:gd name="connsiteY37" fmla="*/ 144780 h 279082"/>
                <a:gd name="connsiteX38" fmla="*/ 244793 w 251459"/>
                <a:gd name="connsiteY38" fmla="*/ 130492 h 279082"/>
                <a:gd name="connsiteX39" fmla="*/ 240982 w 251459"/>
                <a:gd name="connsiteY39" fmla="*/ 105632 h 279082"/>
                <a:gd name="connsiteX40" fmla="*/ 244793 w 251459"/>
                <a:gd name="connsiteY40" fmla="*/ 88582 h 279082"/>
                <a:gd name="connsiteX41" fmla="*/ 230505 w 251459"/>
                <a:gd name="connsiteY41" fmla="*/ 80963 h 279082"/>
                <a:gd name="connsiteX42" fmla="*/ 237172 w 251459"/>
                <a:gd name="connsiteY42" fmla="*/ 60007 h 279082"/>
                <a:gd name="connsiteX43" fmla="*/ 230505 w 251459"/>
                <a:gd name="connsiteY43" fmla="*/ 41815 h 279082"/>
                <a:gd name="connsiteX44" fmla="*/ 209550 w 251459"/>
                <a:gd name="connsiteY44" fmla="*/ 28575 h 279082"/>
                <a:gd name="connsiteX45" fmla="*/ 205740 w 251459"/>
                <a:gd name="connsiteY45" fmla="*/ 18002 h 279082"/>
                <a:gd name="connsiteX46" fmla="*/ 191452 w 251459"/>
                <a:gd name="connsiteY46" fmla="*/ 20955 h 279082"/>
                <a:gd name="connsiteX47" fmla="*/ 167640 w 251459"/>
                <a:gd name="connsiteY47" fmla="*/ 28575 h 279082"/>
                <a:gd name="connsiteX48" fmla="*/ 156210 w 251459"/>
                <a:gd name="connsiteY48" fmla="*/ 38957 h 279082"/>
                <a:gd name="connsiteX49" fmla="*/ 140970 w 251459"/>
                <a:gd name="connsiteY49" fmla="*/ 35242 h 279082"/>
                <a:gd name="connsiteX50" fmla="*/ 130493 w 251459"/>
                <a:gd name="connsiteY50" fmla="*/ 28575 h 279082"/>
                <a:gd name="connsiteX51" fmla="*/ 112395 w 251459"/>
                <a:gd name="connsiteY51" fmla="*/ 20955 h 279082"/>
                <a:gd name="connsiteX52" fmla="*/ 109538 w 251459"/>
                <a:gd name="connsiteY52" fmla="*/ 10382 h 279082"/>
                <a:gd name="connsiteX53" fmla="*/ 98107 w 251459"/>
                <a:gd name="connsiteY53" fmla="*/ 0 h 279082"/>
                <a:gd name="connsiteX54" fmla="*/ 80963 w 251459"/>
                <a:gd name="connsiteY54" fmla="*/ 3715 h 279082"/>
                <a:gd name="connsiteX55" fmla="*/ 77152 w 251459"/>
                <a:gd name="connsiteY55" fmla="*/ 14288 h 279082"/>
                <a:gd name="connsiteX56" fmla="*/ 80963 w 251459"/>
                <a:gd name="connsiteY56" fmla="*/ 28575 h 279082"/>
                <a:gd name="connsiteX57" fmla="*/ 84772 w 251459"/>
                <a:gd name="connsiteY57" fmla="*/ 38957 h 279082"/>
                <a:gd name="connsiteX58" fmla="*/ 70485 w 251459"/>
                <a:gd name="connsiteY58" fmla="*/ 45720 h 279082"/>
                <a:gd name="connsiteX59" fmla="*/ 62865 w 251459"/>
                <a:gd name="connsiteY59" fmla="*/ 56102 h 279082"/>
                <a:gd name="connsiteX60" fmla="*/ 45720 w 251459"/>
                <a:gd name="connsiteY60" fmla="*/ 49530 h 279082"/>
                <a:gd name="connsiteX61" fmla="*/ 31432 w 251459"/>
                <a:gd name="connsiteY61" fmla="*/ 49530 h 279082"/>
                <a:gd name="connsiteX62" fmla="*/ 17145 w 251459"/>
                <a:gd name="connsiteY62" fmla="*/ 53245 h 279082"/>
                <a:gd name="connsiteX63" fmla="*/ 27622 w 251459"/>
                <a:gd name="connsiteY63" fmla="*/ 77057 h 279082"/>
                <a:gd name="connsiteX64" fmla="*/ 20955 w 251459"/>
                <a:gd name="connsiteY64" fmla="*/ 88582 h 279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251459" h="279082">
                  <a:moveTo>
                    <a:pt x="20955" y="88582"/>
                  </a:moveTo>
                  <a:lnTo>
                    <a:pt x="20955" y="105632"/>
                  </a:lnTo>
                  <a:lnTo>
                    <a:pt x="20955" y="105632"/>
                  </a:lnTo>
                  <a:lnTo>
                    <a:pt x="10477" y="113252"/>
                  </a:lnTo>
                  <a:lnTo>
                    <a:pt x="0" y="119920"/>
                  </a:lnTo>
                  <a:lnTo>
                    <a:pt x="0" y="134207"/>
                  </a:lnTo>
                  <a:lnTo>
                    <a:pt x="0" y="151352"/>
                  </a:lnTo>
                  <a:lnTo>
                    <a:pt x="6667" y="169545"/>
                  </a:lnTo>
                  <a:lnTo>
                    <a:pt x="3810" y="179927"/>
                  </a:lnTo>
                  <a:lnTo>
                    <a:pt x="6667" y="186595"/>
                  </a:lnTo>
                  <a:lnTo>
                    <a:pt x="3810" y="200882"/>
                  </a:lnTo>
                  <a:lnTo>
                    <a:pt x="14288" y="207645"/>
                  </a:lnTo>
                  <a:lnTo>
                    <a:pt x="20955" y="215170"/>
                  </a:lnTo>
                  <a:lnTo>
                    <a:pt x="52388" y="215170"/>
                  </a:lnTo>
                  <a:lnTo>
                    <a:pt x="56197" y="221932"/>
                  </a:lnTo>
                  <a:lnTo>
                    <a:pt x="39052" y="257175"/>
                  </a:lnTo>
                  <a:lnTo>
                    <a:pt x="39052" y="267557"/>
                  </a:lnTo>
                  <a:lnTo>
                    <a:pt x="49530" y="267557"/>
                  </a:lnTo>
                  <a:lnTo>
                    <a:pt x="66675" y="267557"/>
                  </a:lnTo>
                  <a:lnTo>
                    <a:pt x="84772" y="264795"/>
                  </a:lnTo>
                  <a:lnTo>
                    <a:pt x="98107" y="267557"/>
                  </a:lnTo>
                  <a:lnTo>
                    <a:pt x="101918" y="271463"/>
                  </a:lnTo>
                  <a:lnTo>
                    <a:pt x="98107" y="279082"/>
                  </a:lnTo>
                  <a:lnTo>
                    <a:pt x="149543" y="275177"/>
                  </a:lnTo>
                  <a:lnTo>
                    <a:pt x="167640" y="264795"/>
                  </a:lnTo>
                  <a:lnTo>
                    <a:pt x="188595" y="264795"/>
                  </a:lnTo>
                  <a:lnTo>
                    <a:pt x="188595" y="250507"/>
                  </a:lnTo>
                  <a:lnTo>
                    <a:pt x="202882" y="242888"/>
                  </a:lnTo>
                  <a:lnTo>
                    <a:pt x="216218" y="236220"/>
                  </a:lnTo>
                  <a:lnTo>
                    <a:pt x="216218" y="225742"/>
                  </a:lnTo>
                  <a:lnTo>
                    <a:pt x="195263" y="211455"/>
                  </a:lnTo>
                  <a:lnTo>
                    <a:pt x="180975" y="194215"/>
                  </a:lnTo>
                  <a:lnTo>
                    <a:pt x="167640" y="176213"/>
                  </a:lnTo>
                  <a:lnTo>
                    <a:pt x="188595" y="165640"/>
                  </a:lnTo>
                  <a:lnTo>
                    <a:pt x="209550" y="159067"/>
                  </a:lnTo>
                  <a:lnTo>
                    <a:pt x="226695" y="151352"/>
                  </a:lnTo>
                  <a:lnTo>
                    <a:pt x="240982" y="148495"/>
                  </a:lnTo>
                  <a:lnTo>
                    <a:pt x="251460" y="144780"/>
                  </a:lnTo>
                  <a:lnTo>
                    <a:pt x="244793" y="130492"/>
                  </a:lnTo>
                  <a:lnTo>
                    <a:pt x="240982" y="105632"/>
                  </a:lnTo>
                  <a:lnTo>
                    <a:pt x="244793" y="88582"/>
                  </a:lnTo>
                  <a:lnTo>
                    <a:pt x="230505" y="80963"/>
                  </a:lnTo>
                  <a:lnTo>
                    <a:pt x="237172" y="60007"/>
                  </a:lnTo>
                  <a:lnTo>
                    <a:pt x="230505" y="41815"/>
                  </a:lnTo>
                  <a:lnTo>
                    <a:pt x="209550" y="28575"/>
                  </a:lnTo>
                  <a:lnTo>
                    <a:pt x="205740" y="18002"/>
                  </a:lnTo>
                  <a:lnTo>
                    <a:pt x="191452" y="20955"/>
                  </a:lnTo>
                  <a:lnTo>
                    <a:pt x="167640" y="28575"/>
                  </a:lnTo>
                  <a:lnTo>
                    <a:pt x="156210" y="38957"/>
                  </a:lnTo>
                  <a:lnTo>
                    <a:pt x="140970" y="35242"/>
                  </a:lnTo>
                  <a:lnTo>
                    <a:pt x="130493" y="28575"/>
                  </a:lnTo>
                  <a:lnTo>
                    <a:pt x="112395" y="20955"/>
                  </a:lnTo>
                  <a:lnTo>
                    <a:pt x="109538" y="10382"/>
                  </a:lnTo>
                  <a:lnTo>
                    <a:pt x="98107" y="0"/>
                  </a:lnTo>
                  <a:lnTo>
                    <a:pt x="80963" y="3715"/>
                  </a:lnTo>
                  <a:lnTo>
                    <a:pt x="77152" y="14288"/>
                  </a:lnTo>
                  <a:lnTo>
                    <a:pt x="80963" y="28575"/>
                  </a:lnTo>
                  <a:lnTo>
                    <a:pt x="84772" y="38957"/>
                  </a:lnTo>
                  <a:lnTo>
                    <a:pt x="70485" y="45720"/>
                  </a:lnTo>
                  <a:lnTo>
                    <a:pt x="62865" y="56102"/>
                  </a:lnTo>
                  <a:lnTo>
                    <a:pt x="45720" y="49530"/>
                  </a:lnTo>
                  <a:lnTo>
                    <a:pt x="31432" y="49530"/>
                  </a:lnTo>
                  <a:lnTo>
                    <a:pt x="17145" y="53245"/>
                  </a:lnTo>
                  <a:lnTo>
                    <a:pt x="27622" y="77057"/>
                  </a:lnTo>
                  <a:lnTo>
                    <a:pt x="20955" y="8858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25" name="Freeform: Shape 3824">
              <a:extLst>
                <a:ext uri="{FF2B5EF4-FFF2-40B4-BE49-F238E27FC236}">
                  <a16:creationId xmlns:a16="http://schemas.microsoft.com/office/drawing/2014/main" id="{62ED4EFC-0430-F5F9-7638-4F4052AECB1A}"/>
                </a:ext>
              </a:extLst>
            </p:cNvPr>
            <p:cNvSpPr/>
            <p:nvPr/>
          </p:nvSpPr>
          <p:spPr>
            <a:xfrm>
              <a:off x="6391619" y="2874225"/>
              <a:ext cx="266111" cy="208222"/>
            </a:xfrm>
            <a:custGeom>
              <a:avLst/>
              <a:gdLst>
                <a:gd name="connsiteX0" fmla="*/ 0 w 271462"/>
                <a:gd name="connsiteY0" fmla="*/ 74295 h 212407"/>
                <a:gd name="connsiteX1" fmla="*/ 14288 w 271462"/>
                <a:gd name="connsiteY1" fmla="*/ 81915 h 212407"/>
                <a:gd name="connsiteX2" fmla="*/ 14288 w 271462"/>
                <a:gd name="connsiteY2" fmla="*/ 123825 h 212407"/>
                <a:gd name="connsiteX3" fmla="*/ 20955 w 271462"/>
                <a:gd name="connsiteY3" fmla="*/ 138113 h 212407"/>
                <a:gd name="connsiteX4" fmla="*/ 41910 w 271462"/>
                <a:gd name="connsiteY4" fmla="*/ 148590 h 212407"/>
                <a:gd name="connsiteX5" fmla="*/ 56197 w 271462"/>
                <a:gd name="connsiteY5" fmla="*/ 152400 h 212407"/>
                <a:gd name="connsiteX6" fmla="*/ 60007 w 271462"/>
                <a:gd name="connsiteY6" fmla="*/ 165640 h 212407"/>
                <a:gd name="connsiteX7" fmla="*/ 74295 w 271462"/>
                <a:gd name="connsiteY7" fmla="*/ 169545 h 212407"/>
                <a:gd name="connsiteX8" fmla="*/ 77152 w 271462"/>
                <a:gd name="connsiteY8" fmla="*/ 162877 h 212407"/>
                <a:gd name="connsiteX9" fmla="*/ 91440 w 271462"/>
                <a:gd name="connsiteY9" fmla="*/ 165640 h 212407"/>
                <a:gd name="connsiteX10" fmla="*/ 101917 w 271462"/>
                <a:gd name="connsiteY10" fmla="*/ 173260 h 212407"/>
                <a:gd name="connsiteX11" fmla="*/ 116205 w 271462"/>
                <a:gd name="connsiteY11" fmla="*/ 179927 h 212407"/>
                <a:gd name="connsiteX12" fmla="*/ 130492 w 271462"/>
                <a:gd name="connsiteY12" fmla="*/ 190500 h 212407"/>
                <a:gd name="connsiteX13" fmla="*/ 147638 w 271462"/>
                <a:gd name="connsiteY13" fmla="*/ 194215 h 212407"/>
                <a:gd name="connsiteX14" fmla="*/ 155257 w 271462"/>
                <a:gd name="connsiteY14" fmla="*/ 208502 h 212407"/>
                <a:gd name="connsiteX15" fmla="*/ 172402 w 271462"/>
                <a:gd name="connsiteY15" fmla="*/ 204788 h 212407"/>
                <a:gd name="connsiteX16" fmla="*/ 190500 w 271462"/>
                <a:gd name="connsiteY16" fmla="*/ 198120 h 212407"/>
                <a:gd name="connsiteX17" fmla="*/ 204788 w 271462"/>
                <a:gd name="connsiteY17" fmla="*/ 198120 h 212407"/>
                <a:gd name="connsiteX18" fmla="*/ 221932 w 271462"/>
                <a:gd name="connsiteY18" fmla="*/ 204788 h 212407"/>
                <a:gd name="connsiteX19" fmla="*/ 228600 w 271462"/>
                <a:gd name="connsiteY19" fmla="*/ 212408 h 212407"/>
                <a:gd name="connsiteX20" fmla="*/ 232410 w 271462"/>
                <a:gd name="connsiteY20" fmla="*/ 194215 h 212407"/>
                <a:gd name="connsiteX21" fmla="*/ 240030 w 271462"/>
                <a:gd name="connsiteY21" fmla="*/ 179927 h 212407"/>
                <a:gd name="connsiteX22" fmla="*/ 253365 w 271462"/>
                <a:gd name="connsiteY22" fmla="*/ 165640 h 212407"/>
                <a:gd name="connsiteX23" fmla="*/ 271463 w 271462"/>
                <a:gd name="connsiteY23" fmla="*/ 155258 h 212407"/>
                <a:gd name="connsiteX24" fmla="*/ 267652 w 271462"/>
                <a:gd name="connsiteY24" fmla="*/ 148590 h 212407"/>
                <a:gd name="connsiteX25" fmla="*/ 263842 w 271462"/>
                <a:gd name="connsiteY25" fmla="*/ 134302 h 212407"/>
                <a:gd name="connsiteX26" fmla="*/ 260985 w 271462"/>
                <a:gd name="connsiteY26" fmla="*/ 123825 h 212407"/>
                <a:gd name="connsiteX27" fmla="*/ 260985 w 271462"/>
                <a:gd name="connsiteY27" fmla="*/ 98965 h 212407"/>
                <a:gd name="connsiteX28" fmla="*/ 250507 w 271462"/>
                <a:gd name="connsiteY28" fmla="*/ 92297 h 212407"/>
                <a:gd name="connsiteX29" fmla="*/ 253365 w 271462"/>
                <a:gd name="connsiteY29" fmla="*/ 81915 h 212407"/>
                <a:gd name="connsiteX30" fmla="*/ 267652 w 271462"/>
                <a:gd name="connsiteY30" fmla="*/ 81915 h 212407"/>
                <a:gd name="connsiteX31" fmla="*/ 267652 w 271462"/>
                <a:gd name="connsiteY31" fmla="*/ 57150 h 212407"/>
                <a:gd name="connsiteX32" fmla="*/ 260985 w 271462"/>
                <a:gd name="connsiteY32" fmla="*/ 49435 h 212407"/>
                <a:gd name="connsiteX33" fmla="*/ 253365 w 271462"/>
                <a:gd name="connsiteY33" fmla="*/ 28575 h 212407"/>
                <a:gd name="connsiteX34" fmla="*/ 246697 w 271462"/>
                <a:gd name="connsiteY34" fmla="*/ 21908 h 212407"/>
                <a:gd name="connsiteX35" fmla="*/ 236220 w 271462"/>
                <a:gd name="connsiteY35" fmla="*/ 11335 h 212407"/>
                <a:gd name="connsiteX36" fmla="*/ 190500 w 271462"/>
                <a:gd name="connsiteY36" fmla="*/ 14288 h 212407"/>
                <a:gd name="connsiteX37" fmla="*/ 155257 w 271462"/>
                <a:gd name="connsiteY37" fmla="*/ 14288 h 212407"/>
                <a:gd name="connsiteX38" fmla="*/ 123825 w 271462"/>
                <a:gd name="connsiteY38" fmla="*/ 14288 h 212407"/>
                <a:gd name="connsiteX39" fmla="*/ 116205 w 271462"/>
                <a:gd name="connsiteY39" fmla="*/ 0 h 212407"/>
                <a:gd name="connsiteX40" fmla="*/ 84772 w 271462"/>
                <a:gd name="connsiteY40" fmla="*/ 0 h 212407"/>
                <a:gd name="connsiteX41" fmla="*/ 56197 w 271462"/>
                <a:gd name="connsiteY41" fmla="*/ 18002 h 212407"/>
                <a:gd name="connsiteX42" fmla="*/ 28575 w 271462"/>
                <a:gd name="connsiteY42" fmla="*/ 28575 h 212407"/>
                <a:gd name="connsiteX43" fmla="*/ 0 w 271462"/>
                <a:gd name="connsiteY43" fmla="*/ 35147 h 212407"/>
                <a:gd name="connsiteX44" fmla="*/ 6667 w 271462"/>
                <a:gd name="connsiteY44" fmla="*/ 53340 h 212407"/>
                <a:gd name="connsiteX45" fmla="*/ 0 w 271462"/>
                <a:gd name="connsiteY45" fmla="*/ 74295 h 2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71462" h="212407">
                  <a:moveTo>
                    <a:pt x="0" y="74295"/>
                  </a:moveTo>
                  <a:lnTo>
                    <a:pt x="14288" y="81915"/>
                  </a:lnTo>
                  <a:lnTo>
                    <a:pt x="14288" y="123825"/>
                  </a:lnTo>
                  <a:lnTo>
                    <a:pt x="20955" y="138113"/>
                  </a:lnTo>
                  <a:lnTo>
                    <a:pt x="41910" y="148590"/>
                  </a:lnTo>
                  <a:lnTo>
                    <a:pt x="56197" y="152400"/>
                  </a:lnTo>
                  <a:lnTo>
                    <a:pt x="60007" y="165640"/>
                  </a:lnTo>
                  <a:lnTo>
                    <a:pt x="74295" y="169545"/>
                  </a:lnTo>
                  <a:lnTo>
                    <a:pt x="77152" y="162877"/>
                  </a:lnTo>
                  <a:lnTo>
                    <a:pt x="91440" y="165640"/>
                  </a:lnTo>
                  <a:lnTo>
                    <a:pt x="101917" y="173260"/>
                  </a:lnTo>
                  <a:lnTo>
                    <a:pt x="116205" y="179927"/>
                  </a:lnTo>
                  <a:lnTo>
                    <a:pt x="130492" y="190500"/>
                  </a:lnTo>
                  <a:lnTo>
                    <a:pt x="147638" y="194215"/>
                  </a:lnTo>
                  <a:lnTo>
                    <a:pt x="155257" y="208502"/>
                  </a:lnTo>
                  <a:lnTo>
                    <a:pt x="172402" y="204788"/>
                  </a:lnTo>
                  <a:lnTo>
                    <a:pt x="190500" y="198120"/>
                  </a:lnTo>
                  <a:lnTo>
                    <a:pt x="204788" y="198120"/>
                  </a:lnTo>
                  <a:lnTo>
                    <a:pt x="221932" y="204788"/>
                  </a:lnTo>
                  <a:lnTo>
                    <a:pt x="228600" y="212408"/>
                  </a:lnTo>
                  <a:lnTo>
                    <a:pt x="232410" y="194215"/>
                  </a:lnTo>
                  <a:lnTo>
                    <a:pt x="240030" y="179927"/>
                  </a:lnTo>
                  <a:lnTo>
                    <a:pt x="253365" y="165640"/>
                  </a:lnTo>
                  <a:lnTo>
                    <a:pt x="271463" y="155258"/>
                  </a:lnTo>
                  <a:lnTo>
                    <a:pt x="267652" y="148590"/>
                  </a:lnTo>
                  <a:lnTo>
                    <a:pt x="263842" y="134302"/>
                  </a:lnTo>
                  <a:lnTo>
                    <a:pt x="260985" y="123825"/>
                  </a:lnTo>
                  <a:lnTo>
                    <a:pt x="260985" y="98965"/>
                  </a:lnTo>
                  <a:lnTo>
                    <a:pt x="250507" y="92297"/>
                  </a:lnTo>
                  <a:lnTo>
                    <a:pt x="253365" y="81915"/>
                  </a:lnTo>
                  <a:lnTo>
                    <a:pt x="267652" y="81915"/>
                  </a:lnTo>
                  <a:lnTo>
                    <a:pt x="267652" y="57150"/>
                  </a:lnTo>
                  <a:lnTo>
                    <a:pt x="260985" y="49435"/>
                  </a:lnTo>
                  <a:lnTo>
                    <a:pt x="253365" y="28575"/>
                  </a:lnTo>
                  <a:lnTo>
                    <a:pt x="246697" y="21908"/>
                  </a:lnTo>
                  <a:lnTo>
                    <a:pt x="236220" y="11335"/>
                  </a:lnTo>
                  <a:lnTo>
                    <a:pt x="190500" y="14288"/>
                  </a:lnTo>
                  <a:lnTo>
                    <a:pt x="155257" y="14288"/>
                  </a:lnTo>
                  <a:lnTo>
                    <a:pt x="123825" y="14288"/>
                  </a:lnTo>
                  <a:lnTo>
                    <a:pt x="116205" y="0"/>
                  </a:lnTo>
                  <a:lnTo>
                    <a:pt x="84772" y="0"/>
                  </a:lnTo>
                  <a:lnTo>
                    <a:pt x="56197" y="18002"/>
                  </a:lnTo>
                  <a:lnTo>
                    <a:pt x="28575" y="28575"/>
                  </a:lnTo>
                  <a:lnTo>
                    <a:pt x="0" y="35147"/>
                  </a:lnTo>
                  <a:lnTo>
                    <a:pt x="6667" y="53340"/>
                  </a:lnTo>
                  <a:lnTo>
                    <a:pt x="0" y="7429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26" name="Freeform: Shape 3825">
              <a:extLst>
                <a:ext uri="{FF2B5EF4-FFF2-40B4-BE49-F238E27FC236}">
                  <a16:creationId xmlns:a16="http://schemas.microsoft.com/office/drawing/2014/main" id="{39302F5D-B617-D316-4125-1A0694D68A73}"/>
                </a:ext>
              </a:extLst>
            </p:cNvPr>
            <p:cNvSpPr/>
            <p:nvPr/>
          </p:nvSpPr>
          <p:spPr>
            <a:xfrm>
              <a:off x="4004086" y="1429648"/>
              <a:ext cx="1661095" cy="1237287"/>
            </a:xfrm>
            <a:custGeom>
              <a:avLst/>
              <a:gdLst>
                <a:gd name="connsiteX0" fmla="*/ 1609725 w 1694497"/>
                <a:gd name="connsiteY0" fmla="*/ 116300 h 1262157"/>
                <a:gd name="connsiteX1" fmla="*/ 1557338 w 1694497"/>
                <a:gd name="connsiteY1" fmla="*/ 120110 h 1262157"/>
                <a:gd name="connsiteX2" fmla="*/ 1528763 w 1694497"/>
                <a:gd name="connsiteY2" fmla="*/ 147638 h 1262157"/>
                <a:gd name="connsiteX3" fmla="*/ 1472565 w 1694497"/>
                <a:gd name="connsiteY3" fmla="*/ 130588 h 1262157"/>
                <a:gd name="connsiteX4" fmla="*/ 1443990 w 1694497"/>
                <a:gd name="connsiteY4" fmla="*/ 151543 h 1262157"/>
                <a:gd name="connsiteX5" fmla="*/ 1395413 w 1694497"/>
                <a:gd name="connsiteY5" fmla="*/ 180118 h 1262157"/>
                <a:gd name="connsiteX6" fmla="*/ 1356360 w 1694497"/>
                <a:gd name="connsiteY6" fmla="*/ 201073 h 1262157"/>
                <a:gd name="connsiteX7" fmla="*/ 1363027 w 1694497"/>
                <a:gd name="connsiteY7" fmla="*/ 182975 h 1262157"/>
                <a:gd name="connsiteX8" fmla="*/ 1419225 w 1694497"/>
                <a:gd name="connsiteY8" fmla="*/ 144875 h 1262157"/>
                <a:gd name="connsiteX9" fmla="*/ 1419225 w 1694497"/>
                <a:gd name="connsiteY9" fmla="*/ 116300 h 1262157"/>
                <a:gd name="connsiteX10" fmla="*/ 1408748 w 1694497"/>
                <a:gd name="connsiteY10" fmla="*/ 102013 h 1262157"/>
                <a:gd name="connsiteX11" fmla="*/ 1377315 w 1694497"/>
                <a:gd name="connsiteY11" fmla="*/ 102013 h 1262157"/>
                <a:gd name="connsiteX12" fmla="*/ 1363027 w 1694497"/>
                <a:gd name="connsiteY12" fmla="*/ 120110 h 1262157"/>
                <a:gd name="connsiteX13" fmla="*/ 1338263 w 1694497"/>
                <a:gd name="connsiteY13" fmla="*/ 134398 h 1262157"/>
                <a:gd name="connsiteX14" fmla="*/ 1292542 w 1694497"/>
                <a:gd name="connsiteY14" fmla="*/ 144875 h 1262157"/>
                <a:gd name="connsiteX15" fmla="*/ 1278255 w 1694497"/>
                <a:gd name="connsiteY15" fmla="*/ 140970 h 1262157"/>
                <a:gd name="connsiteX16" fmla="*/ 1303020 w 1694497"/>
                <a:gd name="connsiteY16" fmla="*/ 134398 h 1262157"/>
                <a:gd name="connsiteX17" fmla="*/ 1327785 w 1694497"/>
                <a:gd name="connsiteY17" fmla="*/ 116300 h 1262157"/>
                <a:gd name="connsiteX18" fmla="*/ 1222057 w 1694497"/>
                <a:gd name="connsiteY18" fmla="*/ 112395 h 1262157"/>
                <a:gd name="connsiteX19" fmla="*/ 1176338 w 1694497"/>
                <a:gd name="connsiteY19" fmla="*/ 123825 h 1262157"/>
                <a:gd name="connsiteX20" fmla="*/ 1190625 w 1694497"/>
                <a:gd name="connsiteY20" fmla="*/ 102013 h 1262157"/>
                <a:gd name="connsiteX21" fmla="*/ 1300163 w 1694497"/>
                <a:gd name="connsiteY21" fmla="*/ 99155 h 1262157"/>
                <a:gd name="connsiteX22" fmla="*/ 1408748 w 1694497"/>
                <a:gd name="connsiteY22" fmla="*/ 84868 h 1262157"/>
                <a:gd name="connsiteX23" fmla="*/ 1433513 w 1694497"/>
                <a:gd name="connsiteY23" fmla="*/ 66675 h 1262157"/>
                <a:gd name="connsiteX24" fmla="*/ 1338263 w 1694497"/>
                <a:gd name="connsiteY24" fmla="*/ 42005 h 1262157"/>
                <a:gd name="connsiteX25" fmla="*/ 1331595 w 1694497"/>
                <a:gd name="connsiteY25" fmla="*/ 31433 h 1262157"/>
                <a:gd name="connsiteX26" fmla="*/ 1313498 w 1694497"/>
                <a:gd name="connsiteY26" fmla="*/ 21050 h 1262157"/>
                <a:gd name="connsiteX27" fmla="*/ 1261110 w 1694497"/>
                <a:gd name="connsiteY27" fmla="*/ 6763 h 1262157"/>
                <a:gd name="connsiteX28" fmla="*/ 1197292 w 1694497"/>
                <a:gd name="connsiteY28" fmla="*/ 0 h 1262157"/>
                <a:gd name="connsiteX29" fmla="*/ 1088707 w 1694497"/>
                <a:gd name="connsiteY29" fmla="*/ 0 h 1262157"/>
                <a:gd name="connsiteX30" fmla="*/ 989647 w 1694497"/>
                <a:gd name="connsiteY30" fmla="*/ 6763 h 1262157"/>
                <a:gd name="connsiteX31" fmla="*/ 941070 w 1694497"/>
                <a:gd name="connsiteY31" fmla="*/ 28575 h 1262157"/>
                <a:gd name="connsiteX32" fmla="*/ 898207 w 1694497"/>
                <a:gd name="connsiteY32" fmla="*/ 31433 h 1262157"/>
                <a:gd name="connsiteX33" fmla="*/ 842010 w 1694497"/>
                <a:gd name="connsiteY33" fmla="*/ 24860 h 1262157"/>
                <a:gd name="connsiteX34" fmla="*/ 792480 w 1694497"/>
                <a:gd name="connsiteY34" fmla="*/ 28575 h 1262157"/>
                <a:gd name="connsiteX35" fmla="*/ 746760 w 1694497"/>
                <a:gd name="connsiteY35" fmla="*/ 42005 h 1262157"/>
                <a:gd name="connsiteX36" fmla="*/ 742950 w 1694497"/>
                <a:gd name="connsiteY36" fmla="*/ 60008 h 1262157"/>
                <a:gd name="connsiteX37" fmla="*/ 704850 w 1694497"/>
                <a:gd name="connsiteY37" fmla="*/ 70580 h 1262157"/>
                <a:gd name="connsiteX38" fmla="*/ 792480 w 1694497"/>
                <a:gd name="connsiteY38" fmla="*/ 120110 h 1262157"/>
                <a:gd name="connsiteX39" fmla="*/ 778192 w 1694497"/>
                <a:gd name="connsiteY39" fmla="*/ 130588 h 1262157"/>
                <a:gd name="connsiteX40" fmla="*/ 711517 w 1694497"/>
                <a:gd name="connsiteY40" fmla="*/ 99155 h 1262157"/>
                <a:gd name="connsiteX41" fmla="*/ 659130 w 1694497"/>
                <a:gd name="connsiteY41" fmla="*/ 77248 h 1262157"/>
                <a:gd name="connsiteX42" fmla="*/ 630555 w 1694497"/>
                <a:gd name="connsiteY42" fmla="*/ 77248 h 1262157"/>
                <a:gd name="connsiteX43" fmla="*/ 616267 w 1694497"/>
                <a:gd name="connsiteY43" fmla="*/ 99155 h 1262157"/>
                <a:gd name="connsiteX44" fmla="*/ 644842 w 1694497"/>
                <a:gd name="connsiteY44" fmla="*/ 116300 h 1262157"/>
                <a:gd name="connsiteX45" fmla="*/ 605790 w 1694497"/>
                <a:gd name="connsiteY45" fmla="*/ 116300 h 1262157"/>
                <a:gd name="connsiteX46" fmla="*/ 549592 w 1694497"/>
                <a:gd name="connsiteY46" fmla="*/ 84868 h 1262157"/>
                <a:gd name="connsiteX47" fmla="*/ 557213 w 1694497"/>
                <a:gd name="connsiteY47" fmla="*/ 116300 h 1262157"/>
                <a:gd name="connsiteX48" fmla="*/ 535305 w 1694497"/>
                <a:gd name="connsiteY48" fmla="*/ 123825 h 1262157"/>
                <a:gd name="connsiteX49" fmla="*/ 521970 w 1694497"/>
                <a:gd name="connsiteY49" fmla="*/ 88583 h 1262157"/>
                <a:gd name="connsiteX50" fmla="*/ 394335 w 1694497"/>
                <a:gd name="connsiteY50" fmla="*/ 102013 h 1262157"/>
                <a:gd name="connsiteX51" fmla="*/ 394335 w 1694497"/>
                <a:gd name="connsiteY51" fmla="*/ 105823 h 1262157"/>
                <a:gd name="connsiteX52" fmla="*/ 398145 w 1694497"/>
                <a:gd name="connsiteY52" fmla="*/ 109538 h 1262157"/>
                <a:gd name="connsiteX53" fmla="*/ 405765 w 1694497"/>
                <a:gd name="connsiteY53" fmla="*/ 120110 h 1262157"/>
                <a:gd name="connsiteX54" fmla="*/ 419100 w 1694497"/>
                <a:gd name="connsiteY54" fmla="*/ 140970 h 1262157"/>
                <a:gd name="connsiteX55" fmla="*/ 391477 w 1694497"/>
                <a:gd name="connsiteY55" fmla="*/ 134398 h 1262157"/>
                <a:gd name="connsiteX56" fmla="*/ 373380 w 1694497"/>
                <a:gd name="connsiteY56" fmla="*/ 116300 h 1262157"/>
                <a:gd name="connsiteX57" fmla="*/ 320992 w 1694497"/>
                <a:gd name="connsiteY57" fmla="*/ 123825 h 1262157"/>
                <a:gd name="connsiteX58" fmla="*/ 335280 w 1694497"/>
                <a:gd name="connsiteY58" fmla="*/ 140970 h 1262157"/>
                <a:gd name="connsiteX59" fmla="*/ 324802 w 1694497"/>
                <a:gd name="connsiteY59" fmla="*/ 176213 h 1262157"/>
                <a:gd name="connsiteX60" fmla="*/ 281940 w 1694497"/>
                <a:gd name="connsiteY60" fmla="*/ 161925 h 1262157"/>
                <a:gd name="connsiteX61" fmla="*/ 225742 w 1694497"/>
                <a:gd name="connsiteY61" fmla="*/ 180118 h 1262157"/>
                <a:gd name="connsiteX62" fmla="*/ 180022 w 1694497"/>
                <a:gd name="connsiteY62" fmla="*/ 201073 h 1262157"/>
                <a:gd name="connsiteX63" fmla="*/ 144780 w 1694497"/>
                <a:gd name="connsiteY63" fmla="*/ 225838 h 1262157"/>
                <a:gd name="connsiteX64" fmla="*/ 197167 w 1694497"/>
                <a:gd name="connsiteY64" fmla="*/ 246793 h 1262157"/>
                <a:gd name="connsiteX65" fmla="*/ 219075 w 1694497"/>
                <a:gd name="connsiteY65" fmla="*/ 236220 h 1262157"/>
                <a:gd name="connsiteX66" fmla="*/ 215265 w 1694497"/>
                <a:gd name="connsiteY66" fmla="*/ 275368 h 1262157"/>
                <a:gd name="connsiteX67" fmla="*/ 186690 w 1694497"/>
                <a:gd name="connsiteY67" fmla="*/ 300038 h 1262157"/>
                <a:gd name="connsiteX68" fmla="*/ 134302 w 1694497"/>
                <a:gd name="connsiteY68" fmla="*/ 300038 h 1262157"/>
                <a:gd name="connsiteX69" fmla="*/ 102870 w 1694497"/>
                <a:gd name="connsiteY69" fmla="*/ 317182 h 1262157"/>
                <a:gd name="connsiteX70" fmla="*/ 56197 w 1694497"/>
                <a:gd name="connsiteY70" fmla="*/ 324898 h 1262157"/>
                <a:gd name="connsiteX71" fmla="*/ 14288 w 1694497"/>
                <a:gd name="connsiteY71" fmla="*/ 331470 h 1262157"/>
                <a:gd name="connsiteX72" fmla="*/ 0 w 1694497"/>
                <a:gd name="connsiteY72" fmla="*/ 345757 h 1262157"/>
                <a:gd name="connsiteX73" fmla="*/ 14288 w 1694497"/>
                <a:gd name="connsiteY73" fmla="*/ 362998 h 1262157"/>
                <a:gd name="connsiteX74" fmla="*/ 70485 w 1694497"/>
                <a:gd name="connsiteY74" fmla="*/ 387763 h 1262157"/>
                <a:gd name="connsiteX75" fmla="*/ 109538 w 1694497"/>
                <a:gd name="connsiteY75" fmla="*/ 395383 h 1262157"/>
                <a:gd name="connsiteX76" fmla="*/ 148590 w 1694497"/>
                <a:gd name="connsiteY76" fmla="*/ 391573 h 1262157"/>
                <a:gd name="connsiteX77" fmla="*/ 180022 w 1694497"/>
                <a:gd name="connsiteY77" fmla="*/ 391573 h 1262157"/>
                <a:gd name="connsiteX78" fmla="*/ 176213 w 1694497"/>
                <a:gd name="connsiteY78" fmla="*/ 405860 h 1262157"/>
                <a:gd name="connsiteX79" fmla="*/ 105727 w 1694497"/>
                <a:gd name="connsiteY79" fmla="*/ 412432 h 1262157"/>
                <a:gd name="connsiteX80" fmla="*/ 53340 w 1694497"/>
                <a:gd name="connsiteY80" fmla="*/ 412432 h 1262157"/>
                <a:gd name="connsiteX81" fmla="*/ 42863 w 1694497"/>
                <a:gd name="connsiteY81" fmla="*/ 422910 h 1262157"/>
                <a:gd name="connsiteX82" fmla="*/ 74295 w 1694497"/>
                <a:gd name="connsiteY82" fmla="*/ 441007 h 1262157"/>
                <a:gd name="connsiteX83" fmla="*/ 109538 w 1694497"/>
                <a:gd name="connsiteY83" fmla="*/ 441007 h 1262157"/>
                <a:gd name="connsiteX84" fmla="*/ 134302 w 1694497"/>
                <a:gd name="connsiteY84" fmla="*/ 443960 h 1262157"/>
                <a:gd name="connsiteX85" fmla="*/ 120015 w 1694497"/>
                <a:gd name="connsiteY85" fmla="*/ 451485 h 1262157"/>
                <a:gd name="connsiteX86" fmla="*/ 91440 w 1694497"/>
                <a:gd name="connsiteY86" fmla="*/ 462058 h 1262157"/>
                <a:gd name="connsiteX87" fmla="*/ 134302 w 1694497"/>
                <a:gd name="connsiteY87" fmla="*/ 479107 h 1262157"/>
                <a:gd name="connsiteX88" fmla="*/ 165735 w 1694497"/>
                <a:gd name="connsiteY88" fmla="*/ 486823 h 1262157"/>
                <a:gd name="connsiteX89" fmla="*/ 176213 w 1694497"/>
                <a:gd name="connsiteY89" fmla="*/ 479107 h 1262157"/>
                <a:gd name="connsiteX90" fmla="*/ 186690 w 1694497"/>
                <a:gd name="connsiteY90" fmla="*/ 465773 h 1262157"/>
                <a:gd name="connsiteX91" fmla="*/ 207645 w 1694497"/>
                <a:gd name="connsiteY91" fmla="*/ 483013 h 1262157"/>
                <a:gd name="connsiteX92" fmla="*/ 242888 w 1694497"/>
                <a:gd name="connsiteY92" fmla="*/ 468725 h 1262157"/>
                <a:gd name="connsiteX93" fmla="*/ 260985 w 1694497"/>
                <a:gd name="connsiteY93" fmla="*/ 462058 h 1262157"/>
                <a:gd name="connsiteX94" fmla="*/ 345757 w 1694497"/>
                <a:gd name="connsiteY94" fmla="*/ 483013 h 1262157"/>
                <a:gd name="connsiteX95" fmla="*/ 398145 w 1694497"/>
                <a:gd name="connsiteY95" fmla="*/ 501110 h 1262157"/>
                <a:gd name="connsiteX96" fmla="*/ 401955 w 1694497"/>
                <a:gd name="connsiteY96" fmla="*/ 518160 h 1262157"/>
                <a:gd name="connsiteX97" fmla="*/ 419100 w 1694497"/>
                <a:gd name="connsiteY97" fmla="*/ 539210 h 1262157"/>
                <a:gd name="connsiteX98" fmla="*/ 464820 w 1694497"/>
                <a:gd name="connsiteY98" fmla="*/ 585883 h 1262157"/>
                <a:gd name="connsiteX99" fmla="*/ 507682 w 1694497"/>
                <a:gd name="connsiteY99" fmla="*/ 666845 h 1262157"/>
                <a:gd name="connsiteX100" fmla="*/ 482917 w 1694497"/>
                <a:gd name="connsiteY100" fmla="*/ 702088 h 1262157"/>
                <a:gd name="connsiteX101" fmla="*/ 482917 w 1694497"/>
                <a:gd name="connsiteY101" fmla="*/ 729710 h 1262157"/>
                <a:gd name="connsiteX102" fmla="*/ 521970 w 1694497"/>
                <a:gd name="connsiteY102" fmla="*/ 726758 h 1262157"/>
                <a:gd name="connsiteX103" fmla="*/ 535305 w 1694497"/>
                <a:gd name="connsiteY103" fmla="*/ 704945 h 1262157"/>
                <a:gd name="connsiteX104" fmla="*/ 563880 w 1694497"/>
                <a:gd name="connsiteY104" fmla="*/ 722947 h 1262157"/>
                <a:gd name="connsiteX105" fmla="*/ 581025 w 1694497"/>
                <a:gd name="connsiteY105" fmla="*/ 729710 h 1262157"/>
                <a:gd name="connsiteX106" fmla="*/ 605790 w 1694497"/>
                <a:gd name="connsiteY106" fmla="*/ 758285 h 1262157"/>
                <a:gd name="connsiteX107" fmla="*/ 602932 w 1694497"/>
                <a:gd name="connsiteY107" fmla="*/ 779145 h 1262157"/>
                <a:gd name="connsiteX108" fmla="*/ 560070 w 1694497"/>
                <a:gd name="connsiteY108" fmla="*/ 764858 h 1262157"/>
                <a:gd name="connsiteX109" fmla="*/ 521970 w 1694497"/>
                <a:gd name="connsiteY109" fmla="*/ 768763 h 1262157"/>
                <a:gd name="connsiteX110" fmla="*/ 545782 w 1694497"/>
                <a:gd name="connsiteY110" fmla="*/ 783050 h 1262157"/>
                <a:gd name="connsiteX111" fmla="*/ 581025 w 1694497"/>
                <a:gd name="connsiteY111" fmla="*/ 803910 h 1262157"/>
                <a:gd name="connsiteX112" fmla="*/ 620077 w 1694497"/>
                <a:gd name="connsiteY112" fmla="*/ 803910 h 1262157"/>
                <a:gd name="connsiteX113" fmla="*/ 626745 w 1694497"/>
                <a:gd name="connsiteY113" fmla="*/ 822008 h 1262157"/>
                <a:gd name="connsiteX114" fmla="*/ 605790 w 1694497"/>
                <a:gd name="connsiteY114" fmla="*/ 843058 h 1262157"/>
                <a:gd name="connsiteX115" fmla="*/ 605790 w 1694497"/>
                <a:gd name="connsiteY115" fmla="*/ 881158 h 1262157"/>
                <a:gd name="connsiteX116" fmla="*/ 613410 w 1694497"/>
                <a:gd name="connsiteY116" fmla="*/ 917258 h 1262157"/>
                <a:gd name="connsiteX117" fmla="*/ 609600 w 1694497"/>
                <a:gd name="connsiteY117" fmla="*/ 920210 h 1262157"/>
                <a:gd name="connsiteX118" fmla="*/ 602932 w 1694497"/>
                <a:gd name="connsiteY118" fmla="*/ 920210 h 1262157"/>
                <a:gd name="connsiteX119" fmla="*/ 591502 w 1694497"/>
                <a:gd name="connsiteY119" fmla="*/ 917258 h 1262157"/>
                <a:gd name="connsiteX120" fmla="*/ 560070 w 1694497"/>
                <a:gd name="connsiteY120" fmla="*/ 909733 h 1262157"/>
                <a:gd name="connsiteX121" fmla="*/ 549592 w 1694497"/>
                <a:gd name="connsiteY121" fmla="*/ 909733 h 1262157"/>
                <a:gd name="connsiteX122" fmla="*/ 532447 w 1694497"/>
                <a:gd name="connsiteY122" fmla="*/ 930688 h 1262157"/>
                <a:gd name="connsiteX123" fmla="*/ 535305 w 1694497"/>
                <a:gd name="connsiteY123" fmla="*/ 952595 h 1262157"/>
                <a:gd name="connsiteX124" fmla="*/ 557213 w 1694497"/>
                <a:gd name="connsiteY124" fmla="*/ 952595 h 1262157"/>
                <a:gd name="connsiteX125" fmla="*/ 549592 w 1694497"/>
                <a:gd name="connsiteY125" fmla="*/ 962978 h 1262157"/>
                <a:gd name="connsiteX126" fmla="*/ 535305 w 1694497"/>
                <a:gd name="connsiteY126" fmla="*/ 987838 h 1262157"/>
                <a:gd name="connsiteX127" fmla="*/ 549592 w 1694497"/>
                <a:gd name="connsiteY127" fmla="*/ 1008697 h 1262157"/>
                <a:gd name="connsiteX128" fmla="*/ 570547 w 1694497"/>
                <a:gd name="connsiteY128" fmla="*/ 1036415 h 1262157"/>
                <a:gd name="connsiteX129" fmla="*/ 599122 w 1694497"/>
                <a:gd name="connsiteY129" fmla="*/ 1058228 h 1262157"/>
                <a:gd name="connsiteX130" fmla="*/ 623888 w 1694497"/>
                <a:gd name="connsiteY130" fmla="*/ 1046797 h 1262157"/>
                <a:gd name="connsiteX131" fmla="*/ 634365 w 1694497"/>
                <a:gd name="connsiteY131" fmla="*/ 1064990 h 1262157"/>
                <a:gd name="connsiteX132" fmla="*/ 613410 w 1694497"/>
                <a:gd name="connsiteY132" fmla="*/ 1089660 h 1262157"/>
                <a:gd name="connsiteX133" fmla="*/ 613410 w 1694497"/>
                <a:gd name="connsiteY133" fmla="*/ 1118235 h 1262157"/>
                <a:gd name="connsiteX134" fmla="*/ 638175 w 1694497"/>
                <a:gd name="connsiteY134" fmla="*/ 1135475 h 1262157"/>
                <a:gd name="connsiteX135" fmla="*/ 626745 w 1694497"/>
                <a:gd name="connsiteY135" fmla="*/ 1153478 h 1262157"/>
                <a:gd name="connsiteX136" fmla="*/ 659130 w 1694497"/>
                <a:gd name="connsiteY136" fmla="*/ 1184910 h 1262157"/>
                <a:gd name="connsiteX137" fmla="*/ 686752 w 1694497"/>
                <a:gd name="connsiteY137" fmla="*/ 1234440 h 1262157"/>
                <a:gd name="connsiteX138" fmla="*/ 715327 w 1694497"/>
                <a:gd name="connsiteY138" fmla="*/ 1224058 h 1262157"/>
                <a:gd name="connsiteX139" fmla="*/ 732472 w 1694497"/>
                <a:gd name="connsiteY139" fmla="*/ 1224058 h 1262157"/>
                <a:gd name="connsiteX140" fmla="*/ 750570 w 1694497"/>
                <a:gd name="connsiteY140" fmla="*/ 1216438 h 1262157"/>
                <a:gd name="connsiteX141" fmla="*/ 754380 w 1694497"/>
                <a:gd name="connsiteY141" fmla="*/ 1237298 h 1262157"/>
                <a:gd name="connsiteX142" fmla="*/ 782002 w 1694497"/>
                <a:gd name="connsiteY142" fmla="*/ 1259300 h 1262157"/>
                <a:gd name="connsiteX143" fmla="*/ 813435 w 1694497"/>
                <a:gd name="connsiteY143" fmla="*/ 1262158 h 1262157"/>
                <a:gd name="connsiteX144" fmla="*/ 838200 w 1694497"/>
                <a:gd name="connsiteY144" fmla="*/ 1209770 h 1262157"/>
                <a:gd name="connsiteX145" fmla="*/ 848677 w 1694497"/>
                <a:gd name="connsiteY145" fmla="*/ 1170623 h 1262157"/>
                <a:gd name="connsiteX146" fmla="*/ 845820 w 1694497"/>
                <a:gd name="connsiteY146" fmla="*/ 1160240 h 1262157"/>
                <a:gd name="connsiteX147" fmla="*/ 835342 w 1694497"/>
                <a:gd name="connsiteY147" fmla="*/ 1145953 h 1262157"/>
                <a:gd name="connsiteX148" fmla="*/ 856297 w 1694497"/>
                <a:gd name="connsiteY148" fmla="*/ 1142048 h 1262157"/>
                <a:gd name="connsiteX149" fmla="*/ 883920 w 1694497"/>
                <a:gd name="connsiteY149" fmla="*/ 1121188 h 1262157"/>
                <a:gd name="connsiteX150" fmla="*/ 894397 w 1694497"/>
                <a:gd name="connsiteY150" fmla="*/ 1093565 h 1262157"/>
                <a:gd name="connsiteX151" fmla="*/ 887730 w 1694497"/>
                <a:gd name="connsiteY151" fmla="*/ 1079278 h 1262157"/>
                <a:gd name="connsiteX152" fmla="*/ 902017 w 1694497"/>
                <a:gd name="connsiteY152" fmla="*/ 1068800 h 1262157"/>
                <a:gd name="connsiteX153" fmla="*/ 898207 w 1694497"/>
                <a:gd name="connsiteY153" fmla="*/ 1043940 h 1262157"/>
                <a:gd name="connsiteX154" fmla="*/ 912495 w 1694497"/>
                <a:gd name="connsiteY154" fmla="*/ 1036415 h 1262157"/>
                <a:gd name="connsiteX155" fmla="*/ 912495 w 1694497"/>
                <a:gd name="connsiteY155" fmla="*/ 1025938 h 1262157"/>
                <a:gd name="connsiteX156" fmla="*/ 922972 w 1694497"/>
                <a:gd name="connsiteY156" fmla="*/ 1015365 h 1262157"/>
                <a:gd name="connsiteX157" fmla="*/ 962025 w 1694497"/>
                <a:gd name="connsiteY157" fmla="*/ 1008697 h 1262157"/>
                <a:gd name="connsiteX158" fmla="*/ 986790 w 1694497"/>
                <a:gd name="connsiteY158" fmla="*/ 1008697 h 1262157"/>
                <a:gd name="connsiteX159" fmla="*/ 1024890 w 1694497"/>
                <a:gd name="connsiteY159" fmla="*/ 994410 h 1262157"/>
                <a:gd name="connsiteX160" fmla="*/ 1070610 w 1694497"/>
                <a:gd name="connsiteY160" fmla="*/ 973550 h 1262157"/>
                <a:gd name="connsiteX161" fmla="*/ 1105852 w 1694497"/>
                <a:gd name="connsiteY161" fmla="*/ 927735 h 1262157"/>
                <a:gd name="connsiteX162" fmla="*/ 1130617 w 1694497"/>
                <a:gd name="connsiteY162" fmla="*/ 905923 h 1262157"/>
                <a:gd name="connsiteX163" fmla="*/ 1138238 w 1694497"/>
                <a:gd name="connsiteY163" fmla="*/ 892588 h 1262157"/>
                <a:gd name="connsiteX164" fmla="*/ 1159192 w 1694497"/>
                <a:gd name="connsiteY164" fmla="*/ 902970 h 1262157"/>
                <a:gd name="connsiteX165" fmla="*/ 1190625 w 1694497"/>
                <a:gd name="connsiteY165" fmla="*/ 895445 h 1262157"/>
                <a:gd name="connsiteX166" fmla="*/ 1296352 w 1694497"/>
                <a:gd name="connsiteY166" fmla="*/ 874395 h 1262157"/>
                <a:gd name="connsiteX167" fmla="*/ 1324927 w 1694497"/>
                <a:gd name="connsiteY167" fmla="*/ 853535 h 1262157"/>
                <a:gd name="connsiteX168" fmla="*/ 1391602 w 1694497"/>
                <a:gd name="connsiteY168" fmla="*/ 814483 h 1262157"/>
                <a:gd name="connsiteX169" fmla="*/ 1416367 w 1694497"/>
                <a:gd name="connsiteY169" fmla="*/ 800195 h 1262157"/>
                <a:gd name="connsiteX170" fmla="*/ 1370648 w 1694497"/>
                <a:gd name="connsiteY170" fmla="*/ 797338 h 1262157"/>
                <a:gd name="connsiteX171" fmla="*/ 1331595 w 1694497"/>
                <a:gd name="connsiteY171" fmla="*/ 786860 h 1262157"/>
                <a:gd name="connsiteX172" fmla="*/ 1321117 w 1694497"/>
                <a:gd name="connsiteY172" fmla="*/ 762095 h 1262157"/>
                <a:gd name="connsiteX173" fmla="*/ 1321117 w 1694497"/>
                <a:gd name="connsiteY173" fmla="*/ 729710 h 1262157"/>
                <a:gd name="connsiteX174" fmla="*/ 1331595 w 1694497"/>
                <a:gd name="connsiteY174" fmla="*/ 733520 h 1262157"/>
                <a:gd name="connsiteX175" fmla="*/ 1356360 w 1694497"/>
                <a:gd name="connsiteY175" fmla="*/ 758285 h 1262157"/>
                <a:gd name="connsiteX176" fmla="*/ 1391602 w 1694497"/>
                <a:gd name="connsiteY176" fmla="*/ 783050 h 1262157"/>
                <a:gd name="connsiteX177" fmla="*/ 1426845 w 1694497"/>
                <a:gd name="connsiteY177" fmla="*/ 786860 h 1262157"/>
                <a:gd name="connsiteX178" fmla="*/ 1416367 w 1694497"/>
                <a:gd name="connsiteY178" fmla="*/ 722947 h 1262157"/>
                <a:gd name="connsiteX179" fmla="*/ 1366838 w 1694497"/>
                <a:gd name="connsiteY179" fmla="*/ 691610 h 1262157"/>
                <a:gd name="connsiteX180" fmla="*/ 1363027 w 1694497"/>
                <a:gd name="connsiteY180" fmla="*/ 680085 h 1262157"/>
                <a:gd name="connsiteX181" fmla="*/ 1377315 w 1694497"/>
                <a:gd name="connsiteY181" fmla="*/ 680085 h 1262157"/>
                <a:gd name="connsiteX182" fmla="*/ 1408748 w 1694497"/>
                <a:gd name="connsiteY182" fmla="*/ 704945 h 1262157"/>
                <a:gd name="connsiteX183" fmla="*/ 1416367 w 1694497"/>
                <a:gd name="connsiteY183" fmla="*/ 673513 h 1262157"/>
                <a:gd name="connsiteX184" fmla="*/ 1408748 w 1694497"/>
                <a:gd name="connsiteY184" fmla="*/ 656272 h 1262157"/>
                <a:gd name="connsiteX185" fmla="*/ 1352550 w 1694497"/>
                <a:gd name="connsiteY185" fmla="*/ 656272 h 1262157"/>
                <a:gd name="connsiteX186" fmla="*/ 1331595 w 1694497"/>
                <a:gd name="connsiteY186" fmla="*/ 634460 h 1262157"/>
                <a:gd name="connsiteX187" fmla="*/ 1352550 w 1694497"/>
                <a:gd name="connsiteY187" fmla="*/ 623983 h 1262157"/>
                <a:gd name="connsiteX188" fmla="*/ 1391602 w 1694497"/>
                <a:gd name="connsiteY188" fmla="*/ 627697 h 1262157"/>
                <a:gd name="connsiteX189" fmla="*/ 1429702 w 1694497"/>
                <a:gd name="connsiteY189" fmla="*/ 627697 h 1262157"/>
                <a:gd name="connsiteX190" fmla="*/ 1462088 w 1694497"/>
                <a:gd name="connsiteY190" fmla="*/ 617220 h 1262157"/>
                <a:gd name="connsiteX191" fmla="*/ 1454467 w 1694497"/>
                <a:gd name="connsiteY191" fmla="*/ 592550 h 1262157"/>
                <a:gd name="connsiteX192" fmla="*/ 1476375 w 1694497"/>
                <a:gd name="connsiteY192" fmla="*/ 588645 h 1262157"/>
                <a:gd name="connsiteX193" fmla="*/ 1497330 w 1694497"/>
                <a:gd name="connsiteY193" fmla="*/ 578263 h 1262157"/>
                <a:gd name="connsiteX194" fmla="*/ 1497330 w 1694497"/>
                <a:gd name="connsiteY194" fmla="*/ 571595 h 1262157"/>
                <a:gd name="connsiteX195" fmla="*/ 1489710 w 1694497"/>
                <a:gd name="connsiteY195" fmla="*/ 563975 h 1262157"/>
                <a:gd name="connsiteX196" fmla="*/ 1479232 w 1694497"/>
                <a:gd name="connsiteY196" fmla="*/ 549688 h 1262157"/>
                <a:gd name="connsiteX197" fmla="*/ 1458277 w 1694497"/>
                <a:gd name="connsiteY197" fmla="*/ 525875 h 1262157"/>
                <a:gd name="connsiteX198" fmla="*/ 1493520 w 1694497"/>
                <a:gd name="connsiteY198" fmla="*/ 521970 h 1262157"/>
                <a:gd name="connsiteX199" fmla="*/ 1497330 w 1694497"/>
                <a:gd name="connsiteY199" fmla="*/ 493395 h 1262157"/>
                <a:gd name="connsiteX200" fmla="*/ 1468755 w 1694497"/>
                <a:gd name="connsiteY200" fmla="*/ 472535 h 1262157"/>
                <a:gd name="connsiteX201" fmla="*/ 1433513 w 1694497"/>
                <a:gd name="connsiteY201" fmla="*/ 462058 h 1262157"/>
                <a:gd name="connsiteX202" fmla="*/ 1433513 w 1694497"/>
                <a:gd name="connsiteY202" fmla="*/ 437198 h 1262157"/>
                <a:gd name="connsiteX203" fmla="*/ 1472565 w 1694497"/>
                <a:gd name="connsiteY203" fmla="*/ 430625 h 1262157"/>
                <a:gd name="connsiteX204" fmla="*/ 1489710 w 1694497"/>
                <a:gd name="connsiteY204" fmla="*/ 443960 h 1262157"/>
                <a:gd name="connsiteX205" fmla="*/ 1511617 w 1694497"/>
                <a:gd name="connsiteY205" fmla="*/ 458248 h 1262157"/>
                <a:gd name="connsiteX206" fmla="*/ 1514475 w 1694497"/>
                <a:gd name="connsiteY206" fmla="*/ 455295 h 1262157"/>
                <a:gd name="connsiteX207" fmla="*/ 1522095 w 1694497"/>
                <a:gd name="connsiteY207" fmla="*/ 441007 h 1262157"/>
                <a:gd name="connsiteX208" fmla="*/ 1528763 w 1694497"/>
                <a:gd name="connsiteY208" fmla="*/ 420148 h 1262157"/>
                <a:gd name="connsiteX209" fmla="*/ 1503998 w 1694497"/>
                <a:gd name="connsiteY209" fmla="*/ 412432 h 1262157"/>
                <a:gd name="connsiteX210" fmla="*/ 1479232 w 1694497"/>
                <a:gd name="connsiteY210" fmla="*/ 402050 h 1262157"/>
                <a:gd name="connsiteX211" fmla="*/ 1476375 w 1694497"/>
                <a:gd name="connsiteY211" fmla="*/ 398145 h 1262157"/>
                <a:gd name="connsiteX212" fmla="*/ 1472565 w 1694497"/>
                <a:gd name="connsiteY212" fmla="*/ 395383 h 1262157"/>
                <a:gd name="connsiteX213" fmla="*/ 1472565 w 1694497"/>
                <a:gd name="connsiteY213" fmla="*/ 387763 h 1262157"/>
                <a:gd name="connsiteX214" fmla="*/ 1493520 w 1694497"/>
                <a:gd name="connsiteY214" fmla="*/ 373475 h 1262157"/>
                <a:gd name="connsiteX215" fmla="*/ 1447800 w 1694497"/>
                <a:gd name="connsiteY215" fmla="*/ 370523 h 1262157"/>
                <a:gd name="connsiteX216" fmla="*/ 1429702 w 1694497"/>
                <a:gd name="connsiteY216" fmla="*/ 366808 h 1262157"/>
                <a:gd name="connsiteX217" fmla="*/ 1447800 w 1694497"/>
                <a:gd name="connsiteY217" fmla="*/ 317182 h 1262157"/>
                <a:gd name="connsiteX218" fmla="*/ 1483042 w 1694497"/>
                <a:gd name="connsiteY218" fmla="*/ 300038 h 1262157"/>
                <a:gd name="connsiteX219" fmla="*/ 1486852 w 1694497"/>
                <a:gd name="connsiteY219" fmla="*/ 267748 h 1262157"/>
                <a:gd name="connsiteX220" fmla="*/ 1528763 w 1694497"/>
                <a:gd name="connsiteY220" fmla="*/ 257175 h 1262157"/>
                <a:gd name="connsiteX221" fmla="*/ 1543050 w 1694497"/>
                <a:gd name="connsiteY221" fmla="*/ 242888 h 1262157"/>
                <a:gd name="connsiteX222" fmla="*/ 1524952 w 1694497"/>
                <a:gd name="connsiteY222" fmla="*/ 242888 h 1262157"/>
                <a:gd name="connsiteX223" fmla="*/ 1479232 w 1694497"/>
                <a:gd name="connsiteY223" fmla="*/ 246793 h 1262157"/>
                <a:gd name="connsiteX224" fmla="*/ 1464945 w 1694497"/>
                <a:gd name="connsiteY224" fmla="*/ 232505 h 1262157"/>
                <a:gd name="connsiteX225" fmla="*/ 1497330 w 1694497"/>
                <a:gd name="connsiteY225" fmla="*/ 225838 h 1262157"/>
                <a:gd name="connsiteX226" fmla="*/ 1564005 w 1694497"/>
                <a:gd name="connsiteY226" fmla="*/ 229648 h 1262157"/>
                <a:gd name="connsiteX227" fmla="*/ 1578292 w 1694497"/>
                <a:gd name="connsiteY227" fmla="*/ 215360 h 1262157"/>
                <a:gd name="connsiteX228" fmla="*/ 1532573 w 1694497"/>
                <a:gd name="connsiteY228" fmla="*/ 211550 h 1262157"/>
                <a:gd name="connsiteX229" fmla="*/ 1500188 w 1694497"/>
                <a:gd name="connsiteY229" fmla="*/ 204788 h 1262157"/>
                <a:gd name="connsiteX230" fmla="*/ 1535430 w 1694497"/>
                <a:gd name="connsiteY230" fmla="*/ 194405 h 1262157"/>
                <a:gd name="connsiteX231" fmla="*/ 1595438 w 1694497"/>
                <a:gd name="connsiteY231" fmla="*/ 194405 h 1262157"/>
                <a:gd name="connsiteX232" fmla="*/ 1613535 w 1694497"/>
                <a:gd name="connsiteY232" fmla="*/ 186785 h 1262157"/>
                <a:gd name="connsiteX233" fmla="*/ 1624013 w 1694497"/>
                <a:gd name="connsiteY233" fmla="*/ 172498 h 1262157"/>
                <a:gd name="connsiteX234" fmla="*/ 1669732 w 1694497"/>
                <a:gd name="connsiteY234" fmla="*/ 159163 h 1262157"/>
                <a:gd name="connsiteX235" fmla="*/ 1694498 w 1694497"/>
                <a:gd name="connsiteY235" fmla="*/ 140970 h 1262157"/>
                <a:gd name="connsiteX236" fmla="*/ 1665923 w 1694497"/>
                <a:gd name="connsiteY236" fmla="*/ 123825 h 1262157"/>
                <a:gd name="connsiteX237" fmla="*/ 1609725 w 1694497"/>
                <a:gd name="connsiteY237" fmla="*/ 116300 h 1262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</a:cxnLst>
              <a:rect l="l" t="t" r="r" b="b"/>
              <a:pathLst>
                <a:path w="1694497" h="1262157">
                  <a:moveTo>
                    <a:pt x="1609725" y="116300"/>
                  </a:moveTo>
                  <a:lnTo>
                    <a:pt x="1557338" y="120110"/>
                  </a:lnTo>
                  <a:lnTo>
                    <a:pt x="1528763" y="147638"/>
                  </a:lnTo>
                  <a:lnTo>
                    <a:pt x="1472565" y="130588"/>
                  </a:lnTo>
                  <a:lnTo>
                    <a:pt x="1443990" y="151543"/>
                  </a:lnTo>
                  <a:lnTo>
                    <a:pt x="1395413" y="180118"/>
                  </a:lnTo>
                  <a:lnTo>
                    <a:pt x="1356360" y="201073"/>
                  </a:lnTo>
                  <a:lnTo>
                    <a:pt x="1363027" y="182975"/>
                  </a:lnTo>
                  <a:lnTo>
                    <a:pt x="1419225" y="144875"/>
                  </a:lnTo>
                  <a:lnTo>
                    <a:pt x="1419225" y="116300"/>
                  </a:lnTo>
                  <a:lnTo>
                    <a:pt x="1408748" y="102013"/>
                  </a:lnTo>
                  <a:lnTo>
                    <a:pt x="1377315" y="102013"/>
                  </a:lnTo>
                  <a:lnTo>
                    <a:pt x="1363027" y="120110"/>
                  </a:lnTo>
                  <a:lnTo>
                    <a:pt x="1338263" y="134398"/>
                  </a:lnTo>
                  <a:lnTo>
                    <a:pt x="1292542" y="144875"/>
                  </a:lnTo>
                  <a:lnTo>
                    <a:pt x="1278255" y="140970"/>
                  </a:lnTo>
                  <a:lnTo>
                    <a:pt x="1303020" y="134398"/>
                  </a:lnTo>
                  <a:lnTo>
                    <a:pt x="1327785" y="116300"/>
                  </a:lnTo>
                  <a:lnTo>
                    <a:pt x="1222057" y="112395"/>
                  </a:lnTo>
                  <a:lnTo>
                    <a:pt x="1176338" y="123825"/>
                  </a:lnTo>
                  <a:lnTo>
                    <a:pt x="1190625" y="102013"/>
                  </a:lnTo>
                  <a:lnTo>
                    <a:pt x="1300163" y="99155"/>
                  </a:lnTo>
                  <a:lnTo>
                    <a:pt x="1408748" y="84868"/>
                  </a:lnTo>
                  <a:lnTo>
                    <a:pt x="1433513" y="66675"/>
                  </a:lnTo>
                  <a:lnTo>
                    <a:pt x="1338263" y="42005"/>
                  </a:lnTo>
                  <a:lnTo>
                    <a:pt x="1331595" y="31433"/>
                  </a:lnTo>
                  <a:lnTo>
                    <a:pt x="1313498" y="21050"/>
                  </a:lnTo>
                  <a:lnTo>
                    <a:pt x="1261110" y="6763"/>
                  </a:lnTo>
                  <a:lnTo>
                    <a:pt x="1197292" y="0"/>
                  </a:lnTo>
                  <a:lnTo>
                    <a:pt x="1088707" y="0"/>
                  </a:lnTo>
                  <a:lnTo>
                    <a:pt x="989647" y="6763"/>
                  </a:lnTo>
                  <a:lnTo>
                    <a:pt x="941070" y="28575"/>
                  </a:lnTo>
                  <a:lnTo>
                    <a:pt x="898207" y="31433"/>
                  </a:lnTo>
                  <a:lnTo>
                    <a:pt x="842010" y="24860"/>
                  </a:lnTo>
                  <a:lnTo>
                    <a:pt x="792480" y="28575"/>
                  </a:lnTo>
                  <a:lnTo>
                    <a:pt x="746760" y="42005"/>
                  </a:lnTo>
                  <a:lnTo>
                    <a:pt x="742950" y="60008"/>
                  </a:lnTo>
                  <a:lnTo>
                    <a:pt x="704850" y="70580"/>
                  </a:lnTo>
                  <a:lnTo>
                    <a:pt x="792480" y="120110"/>
                  </a:lnTo>
                  <a:lnTo>
                    <a:pt x="778192" y="130588"/>
                  </a:lnTo>
                  <a:lnTo>
                    <a:pt x="711517" y="99155"/>
                  </a:lnTo>
                  <a:lnTo>
                    <a:pt x="659130" y="77248"/>
                  </a:lnTo>
                  <a:lnTo>
                    <a:pt x="630555" y="77248"/>
                  </a:lnTo>
                  <a:lnTo>
                    <a:pt x="616267" y="99155"/>
                  </a:lnTo>
                  <a:lnTo>
                    <a:pt x="644842" y="116300"/>
                  </a:lnTo>
                  <a:lnTo>
                    <a:pt x="605790" y="116300"/>
                  </a:lnTo>
                  <a:lnTo>
                    <a:pt x="549592" y="84868"/>
                  </a:lnTo>
                  <a:lnTo>
                    <a:pt x="557213" y="116300"/>
                  </a:lnTo>
                  <a:lnTo>
                    <a:pt x="535305" y="123825"/>
                  </a:lnTo>
                  <a:lnTo>
                    <a:pt x="521970" y="88583"/>
                  </a:lnTo>
                  <a:lnTo>
                    <a:pt x="394335" y="102013"/>
                  </a:lnTo>
                  <a:lnTo>
                    <a:pt x="394335" y="105823"/>
                  </a:lnTo>
                  <a:lnTo>
                    <a:pt x="398145" y="109538"/>
                  </a:lnTo>
                  <a:lnTo>
                    <a:pt x="405765" y="120110"/>
                  </a:lnTo>
                  <a:lnTo>
                    <a:pt x="419100" y="140970"/>
                  </a:lnTo>
                  <a:lnTo>
                    <a:pt x="391477" y="134398"/>
                  </a:lnTo>
                  <a:lnTo>
                    <a:pt x="373380" y="116300"/>
                  </a:lnTo>
                  <a:lnTo>
                    <a:pt x="320992" y="123825"/>
                  </a:lnTo>
                  <a:lnTo>
                    <a:pt x="335280" y="140970"/>
                  </a:lnTo>
                  <a:lnTo>
                    <a:pt x="324802" y="176213"/>
                  </a:lnTo>
                  <a:lnTo>
                    <a:pt x="281940" y="161925"/>
                  </a:lnTo>
                  <a:lnTo>
                    <a:pt x="225742" y="180118"/>
                  </a:lnTo>
                  <a:lnTo>
                    <a:pt x="180022" y="201073"/>
                  </a:lnTo>
                  <a:lnTo>
                    <a:pt x="144780" y="225838"/>
                  </a:lnTo>
                  <a:lnTo>
                    <a:pt x="197167" y="246793"/>
                  </a:lnTo>
                  <a:lnTo>
                    <a:pt x="219075" y="236220"/>
                  </a:lnTo>
                  <a:lnTo>
                    <a:pt x="215265" y="275368"/>
                  </a:lnTo>
                  <a:lnTo>
                    <a:pt x="186690" y="300038"/>
                  </a:lnTo>
                  <a:lnTo>
                    <a:pt x="134302" y="300038"/>
                  </a:lnTo>
                  <a:lnTo>
                    <a:pt x="102870" y="317182"/>
                  </a:lnTo>
                  <a:lnTo>
                    <a:pt x="56197" y="324898"/>
                  </a:lnTo>
                  <a:lnTo>
                    <a:pt x="14288" y="331470"/>
                  </a:lnTo>
                  <a:lnTo>
                    <a:pt x="0" y="345757"/>
                  </a:lnTo>
                  <a:lnTo>
                    <a:pt x="14288" y="362998"/>
                  </a:lnTo>
                  <a:lnTo>
                    <a:pt x="70485" y="387763"/>
                  </a:lnTo>
                  <a:lnTo>
                    <a:pt x="109538" y="395383"/>
                  </a:lnTo>
                  <a:lnTo>
                    <a:pt x="148590" y="391573"/>
                  </a:lnTo>
                  <a:lnTo>
                    <a:pt x="180022" y="391573"/>
                  </a:lnTo>
                  <a:lnTo>
                    <a:pt x="176213" y="405860"/>
                  </a:lnTo>
                  <a:lnTo>
                    <a:pt x="105727" y="412432"/>
                  </a:lnTo>
                  <a:lnTo>
                    <a:pt x="53340" y="412432"/>
                  </a:lnTo>
                  <a:lnTo>
                    <a:pt x="42863" y="422910"/>
                  </a:lnTo>
                  <a:lnTo>
                    <a:pt x="74295" y="441007"/>
                  </a:lnTo>
                  <a:lnTo>
                    <a:pt x="109538" y="441007"/>
                  </a:lnTo>
                  <a:lnTo>
                    <a:pt x="134302" y="443960"/>
                  </a:lnTo>
                  <a:lnTo>
                    <a:pt x="120015" y="451485"/>
                  </a:lnTo>
                  <a:lnTo>
                    <a:pt x="91440" y="462058"/>
                  </a:lnTo>
                  <a:lnTo>
                    <a:pt x="134302" y="479107"/>
                  </a:lnTo>
                  <a:lnTo>
                    <a:pt x="165735" y="486823"/>
                  </a:lnTo>
                  <a:lnTo>
                    <a:pt x="176213" y="479107"/>
                  </a:lnTo>
                  <a:lnTo>
                    <a:pt x="186690" y="465773"/>
                  </a:lnTo>
                  <a:lnTo>
                    <a:pt x="207645" y="483013"/>
                  </a:lnTo>
                  <a:lnTo>
                    <a:pt x="242888" y="468725"/>
                  </a:lnTo>
                  <a:lnTo>
                    <a:pt x="260985" y="462058"/>
                  </a:lnTo>
                  <a:lnTo>
                    <a:pt x="345757" y="483013"/>
                  </a:lnTo>
                  <a:lnTo>
                    <a:pt x="398145" y="501110"/>
                  </a:lnTo>
                  <a:lnTo>
                    <a:pt x="401955" y="518160"/>
                  </a:lnTo>
                  <a:lnTo>
                    <a:pt x="419100" y="539210"/>
                  </a:lnTo>
                  <a:lnTo>
                    <a:pt x="464820" y="585883"/>
                  </a:lnTo>
                  <a:lnTo>
                    <a:pt x="507682" y="666845"/>
                  </a:lnTo>
                  <a:lnTo>
                    <a:pt x="482917" y="702088"/>
                  </a:lnTo>
                  <a:lnTo>
                    <a:pt x="482917" y="729710"/>
                  </a:lnTo>
                  <a:lnTo>
                    <a:pt x="521970" y="726758"/>
                  </a:lnTo>
                  <a:lnTo>
                    <a:pt x="535305" y="704945"/>
                  </a:lnTo>
                  <a:lnTo>
                    <a:pt x="563880" y="722947"/>
                  </a:lnTo>
                  <a:lnTo>
                    <a:pt x="581025" y="729710"/>
                  </a:lnTo>
                  <a:lnTo>
                    <a:pt x="605790" y="758285"/>
                  </a:lnTo>
                  <a:lnTo>
                    <a:pt x="602932" y="779145"/>
                  </a:lnTo>
                  <a:lnTo>
                    <a:pt x="560070" y="764858"/>
                  </a:lnTo>
                  <a:lnTo>
                    <a:pt x="521970" y="768763"/>
                  </a:lnTo>
                  <a:lnTo>
                    <a:pt x="545782" y="783050"/>
                  </a:lnTo>
                  <a:lnTo>
                    <a:pt x="581025" y="803910"/>
                  </a:lnTo>
                  <a:lnTo>
                    <a:pt x="620077" y="803910"/>
                  </a:lnTo>
                  <a:lnTo>
                    <a:pt x="626745" y="822008"/>
                  </a:lnTo>
                  <a:lnTo>
                    <a:pt x="605790" y="843058"/>
                  </a:lnTo>
                  <a:lnTo>
                    <a:pt x="605790" y="881158"/>
                  </a:lnTo>
                  <a:lnTo>
                    <a:pt x="613410" y="917258"/>
                  </a:lnTo>
                  <a:lnTo>
                    <a:pt x="609600" y="920210"/>
                  </a:lnTo>
                  <a:lnTo>
                    <a:pt x="602932" y="920210"/>
                  </a:lnTo>
                  <a:lnTo>
                    <a:pt x="591502" y="917258"/>
                  </a:lnTo>
                  <a:lnTo>
                    <a:pt x="560070" y="909733"/>
                  </a:lnTo>
                  <a:lnTo>
                    <a:pt x="549592" y="909733"/>
                  </a:lnTo>
                  <a:lnTo>
                    <a:pt x="532447" y="930688"/>
                  </a:lnTo>
                  <a:lnTo>
                    <a:pt x="535305" y="952595"/>
                  </a:lnTo>
                  <a:lnTo>
                    <a:pt x="557213" y="952595"/>
                  </a:lnTo>
                  <a:lnTo>
                    <a:pt x="549592" y="962978"/>
                  </a:lnTo>
                  <a:lnTo>
                    <a:pt x="535305" y="987838"/>
                  </a:lnTo>
                  <a:lnTo>
                    <a:pt x="549592" y="1008697"/>
                  </a:lnTo>
                  <a:lnTo>
                    <a:pt x="570547" y="1036415"/>
                  </a:lnTo>
                  <a:lnTo>
                    <a:pt x="599122" y="1058228"/>
                  </a:lnTo>
                  <a:lnTo>
                    <a:pt x="623888" y="1046797"/>
                  </a:lnTo>
                  <a:lnTo>
                    <a:pt x="634365" y="1064990"/>
                  </a:lnTo>
                  <a:lnTo>
                    <a:pt x="613410" y="1089660"/>
                  </a:lnTo>
                  <a:lnTo>
                    <a:pt x="613410" y="1118235"/>
                  </a:lnTo>
                  <a:lnTo>
                    <a:pt x="638175" y="1135475"/>
                  </a:lnTo>
                  <a:lnTo>
                    <a:pt x="626745" y="1153478"/>
                  </a:lnTo>
                  <a:lnTo>
                    <a:pt x="659130" y="1184910"/>
                  </a:lnTo>
                  <a:lnTo>
                    <a:pt x="686752" y="1234440"/>
                  </a:lnTo>
                  <a:lnTo>
                    <a:pt x="715327" y="1224058"/>
                  </a:lnTo>
                  <a:lnTo>
                    <a:pt x="732472" y="1224058"/>
                  </a:lnTo>
                  <a:lnTo>
                    <a:pt x="750570" y="1216438"/>
                  </a:lnTo>
                  <a:lnTo>
                    <a:pt x="754380" y="1237298"/>
                  </a:lnTo>
                  <a:lnTo>
                    <a:pt x="782002" y="1259300"/>
                  </a:lnTo>
                  <a:lnTo>
                    <a:pt x="813435" y="1262158"/>
                  </a:lnTo>
                  <a:lnTo>
                    <a:pt x="838200" y="1209770"/>
                  </a:lnTo>
                  <a:lnTo>
                    <a:pt x="848677" y="1170623"/>
                  </a:lnTo>
                  <a:lnTo>
                    <a:pt x="845820" y="1160240"/>
                  </a:lnTo>
                  <a:lnTo>
                    <a:pt x="835342" y="1145953"/>
                  </a:lnTo>
                  <a:lnTo>
                    <a:pt x="856297" y="1142048"/>
                  </a:lnTo>
                  <a:lnTo>
                    <a:pt x="883920" y="1121188"/>
                  </a:lnTo>
                  <a:lnTo>
                    <a:pt x="894397" y="1093565"/>
                  </a:lnTo>
                  <a:lnTo>
                    <a:pt x="887730" y="1079278"/>
                  </a:lnTo>
                  <a:lnTo>
                    <a:pt x="902017" y="1068800"/>
                  </a:lnTo>
                  <a:lnTo>
                    <a:pt x="898207" y="1043940"/>
                  </a:lnTo>
                  <a:lnTo>
                    <a:pt x="912495" y="1036415"/>
                  </a:lnTo>
                  <a:lnTo>
                    <a:pt x="912495" y="1025938"/>
                  </a:lnTo>
                  <a:lnTo>
                    <a:pt x="922972" y="1015365"/>
                  </a:lnTo>
                  <a:lnTo>
                    <a:pt x="962025" y="1008697"/>
                  </a:lnTo>
                  <a:lnTo>
                    <a:pt x="986790" y="1008697"/>
                  </a:lnTo>
                  <a:lnTo>
                    <a:pt x="1024890" y="994410"/>
                  </a:lnTo>
                  <a:lnTo>
                    <a:pt x="1070610" y="973550"/>
                  </a:lnTo>
                  <a:lnTo>
                    <a:pt x="1105852" y="927735"/>
                  </a:lnTo>
                  <a:lnTo>
                    <a:pt x="1130617" y="905923"/>
                  </a:lnTo>
                  <a:lnTo>
                    <a:pt x="1138238" y="892588"/>
                  </a:lnTo>
                  <a:lnTo>
                    <a:pt x="1159192" y="902970"/>
                  </a:lnTo>
                  <a:lnTo>
                    <a:pt x="1190625" y="895445"/>
                  </a:lnTo>
                  <a:lnTo>
                    <a:pt x="1296352" y="874395"/>
                  </a:lnTo>
                  <a:lnTo>
                    <a:pt x="1324927" y="853535"/>
                  </a:lnTo>
                  <a:lnTo>
                    <a:pt x="1391602" y="814483"/>
                  </a:lnTo>
                  <a:lnTo>
                    <a:pt x="1416367" y="800195"/>
                  </a:lnTo>
                  <a:lnTo>
                    <a:pt x="1370648" y="797338"/>
                  </a:lnTo>
                  <a:lnTo>
                    <a:pt x="1331595" y="786860"/>
                  </a:lnTo>
                  <a:lnTo>
                    <a:pt x="1321117" y="762095"/>
                  </a:lnTo>
                  <a:lnTo>
                    <a:pt x="1321117" y="729710"/>
                  </a:lnTo>
                  <a:lnTo>
                    <a:pt x="1331595" y="733520"/>
                  </a:lnTo>
                  <a:lnTo>
                    <a:pt x="1356360" y="758285"/>
                  </a:lnTo>
                  <a:lnTo>
                    <a:pt x="1391602" y="783050"/>
                  </a:lnTo>
                  <a:lnTo>
                    <a:pt x="1426845" y="786860"/>
                  </a:lnTo>
                  <a:lnTo>
                    <a:pt x="1416367" y="722947"/>
                  </a:lnTo>
                  <a:lnTo>
                    <a:pt x="1366838" y="691610"/>
                  </a:lnTo>
                  <a:lnTo>
                    <a:pt x="1363027" y="680085"/>
                  </a:lnTo>
                  <a:lnTo>
                    <a:pt x="1377315" y="680085"/>
                  </a:lnTo>
                  <a:lnTo>
                    <a:pt x="1408748" y="704945"/>
                  </a:lnTo>
                  <a:lnTo>
                    <a:pt x="1416367" y="673513"/>
                  </a:lnTo>
                  <a:lnTo>
                    <a:pt x="1408748" y="656272"/>
                  </a:lnTo>
                  <a:lnTo>
                    <a:pt x="1352550" y="656272"/>
                  </a:lnTo>
                  <a:lnTo>
                    <a:pt x="1331595" y="634460"/>
                  </a:lnTo>
                  <a:lnTo>
                    <a:pt x="1352550" y="623983"/>
                  </a:lnTo>
                  <a:lnTo>
                    <a:pt x="1391602" y="627697"/>
                  </a:lnTo>
                  <a:lnTo>
                    <a:pt x="1429702" y="627697"/>
                  </a:lnTo>
                  <a:lnTo>
                    <a:pt x="1462088" y="617220"/>
                  </a:lnTo>
                  <a:lnTo>
                    <a:pt x="1454467" y="592550"/>
                  </a:lnTo>
                  <a:lnTo>
                    <a:pt x="1476375" y="588645"/>
                  </a:lnTo>
                  <a:lnTo>
                    <a:pt x="1497330" y="578263"/>
                  </a:lnTo>
                  <a:lnTo>
                    <a:pt x="1497330" y="571595"/>
                  </a:lnTo>
                  <a:lnTo>
                    <a:pt x="1489710" y="563975"/>
                  </a:lnTo>
                  <a:lnTo>
                    <a:pt x="1479232" y="549688"/>
                  </a:lnTo>
                  <a:lnTo>
                    <a:pt x="1458277" y="525875"/>
                  </a:lnTo>
                  <a:lnTo>
                    <a:pt x="1493520" y="521970"/>
                  </a:lnTo>
                  <a:lnTo>
                    <a:pt x="1497330" y="493395"/>
                  </a:lnTo>
                  <a:lnTo>
                    <a:pt x="1468755" y="472535"/>
                  </a:lnTo>
                  <a:lnTo>
                    <a:pt x="1433513" y="462058"/>
                  </a:lnTo>
                  <a:lnTo>
                    <a:pt x="1433513" y="437198"/>
                  </a:lnTo>
                  <a:lnTo>
                    <a:pt x="1472565" y="430625"/>
                  </a:lnTo>
                  <a:lnTo>
                    <a:pt x="1489710" y="443960"/>
                  </a:lnTo>
                  <a:lnTo>
                    <a:pt x="1511617" y="458248"/>
                  </a:lnTo>
                  <a:lnTo>
                    <a:pt x="1514475" y="455295"/>
                  </a:lnTo>
                  <a:lnTo>
                    <a:pt x="1522095" y="441007"/>
                  </a:lnTo>
                  <a:lnTo>
                    <a:pt x="1528763" y="420148"/>
                  </a:lnTo>
                  <a:lnTo>
                    <a:pt x="1503998" y="412432"/>
                  </a:lnTo>
                  <a:lnTo>
                    <a:pt x="1479232" y="402050"/>
                  </a:lnTo>
                  <a:lnTo>
                    <a:pt x="1476375" y="398145"/>
                  </a:lnTo>
                  <a:lnTo>
                    <a:pt x="1472565" y="395383"/>
                  </a:lnTo>
                  <a:lnTo>
                    <a:pt x="1472565" y="387763"/>
                  </a:lnTo>
                  <a:lnTo>
                    <a:pt x="1493520" y="373475"/>
                  </a:lnTo>
                  <a:lnTo>
                    <a:pt x="1447800" y="370523"/>
                  </a:lnTo>
                  <a:lnTo>
                    <a:pt x="1429702" y="366808"/>
                  </a:lnTo>
                  <a:lnTo>
                    <a:pt x="1447800" y="317182"/>
                  </a:lnTo>
                  <a:lnTo>
                    <a:pt x="1483042" y="300038"/>
                  </a:lnTo>
                  <a:lnTo>
                    <a:pt x="1486852" y="267748"/>
                  </a:lnTo>
                  <a:lnTo>
                    <a:pt x="1528763" y="257175"/>
                  </a:lnTo>
                  <a:lnTo>
                    <a:pt x="1543050" y="242888"/>
                  </a:lnTo>
                  <a:lnTo>
                    <a:pt x="1524952" y="242888"/>
                  </a:lnTo>
                  <a:lnTo>
                    <a:pt x="1479232" y="246793"/>
                  </a:lnTo>
                  <a:lnTo>
                    <a:pt x="1464945" y="232505"/>
                  </a:lnTo>
                  <a:lnTo>
                    <a:pt x="1497330" y="225838"/>
                  </a:lnTo>
                  <a:lnTo>
                    <a:pt x="1564005" y="229648"/>
                  </a:lnTo>
                  <a:lnTo>
                    <a:pt x="1578292" y="215360"/>
                  </a:lnTo>
                  <a:lnTo>
                    <a:pt x="1532573" y="211550"/>
                  </a:lnTo>
                  <a:lnTo>
                    <a:pt x="1500188" y="204788"/>
                  </a:lnTo>
                  <a:lnTo>
                    <a:pt x="1535430" y="194405"/>
                  </a:lnTo>
                  <a:lnTo>
                    <a:pt x="1595438" y="194405"/>
                  </a:lnTo>
                  <a:lnTo>
                    <a:pt x="1613535" y="186785"/>
                  </a:lnTo>
                  <a:lnTo>
                    <a:pt x="1624013" y="172498"/>
                  </a:lnTo>
                  <a:lnTo>
                    <a:pt x="1669732" y="159163"/>
                  </a:lnTo>
                  <a:lnTo>
                    <a:pt x="1694498" y="140970"/>
                  </a:lnTo>
                  <a:lnTo>
                    <a:pt x="1665923" y="123825"/>
                  </a:lnTo>
                  <a:lnTo>
                    <a:pt x="1609725" y="11630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27" name="Freeform: Shape 3826">
              <a:extLst>
                <a:ext uri="{FF2B5EF4-FFF2-40B4-BE49-F238E27FC236}">
                  <a16:creationId xmlns:a16="http://schemas.microsoft.com/office/drawing/2014/main" id="{CA13E528-637A-6A84-5CFD-F595A6D94E84}"/>
                </a:ext>
              </a:extLst>
            </p:cNvPr>
            <p:cNvSpPr/>
            <p:nvPr/>
          </p:nvSpPr>
          <p:spPr>
            <a:xfrm>
              <a:off x="6568092" y="2214077"/>
              <a:ext cx="293189" cy="452860"/>
            </a:xfrm>
            <a:custGeom>
              <a:avLst/>
              <a:gdLst>
                <a:gd name="connsiteX0" fmla="*/ 284798 w 299085"/>
                <a:gd name="connsiteY0" fmla="*/ 360045 h 461962"/>
                <a:gd name="connsiteX1" fmla="*/ 299085 w 299085"/>
                <a:gd name="connsiteY1" fmla="*/ 335280 h 461962"/>
                <a:gd name="connsiteX2" fmla="*/ 257175 w 299085"/>
                <a:gd name="connsiteY2" fmla="*/ 303752 h 461962"/>
                <a:gd name="connsiteX3" fmla="*/ 274320 w 299085"/>
                <a:gd name="connsiteY3" fmla="*/ 285750 h 461962"/>
                <a:gd name="connsiteX4" fmla="*/ 260032 w 299085"/>
                <a:gd name="connsiteY4" fmla="*/ 260890 h 461962"/>
                <a:gd name="connsiteX5" fmla="*/ 242888 w 299085"/>
                <a:gd name="connsiteY5" fmla="*/ 243745 h 461962"/>
                <a:gd name="connsiteX6" fmla="*/ 257175 w 299085"/>
                <a:gd name="connsiteY6" fmla="*/ 208502 h 461962"/>
                <a:gd name="connsiteX7" fmla="*/ 245745 w 299085"/>
                <a:gd name="connsiteY7" fmla="*/ 179927 h 461962"/>
                <a:gd name="connsiteX8" fmla="*/ 228600 w 299085"/>
                <a:gd name="connsiteY8" fmla="*/ 148495 h 461962"/>
                <a:gd name="connsiteX9" fmla="*/ 257175 w 299085"/>
                <a:gd name="connsiteY9" fmla="*/ 120015 h 461962"/>
                <a:gd name="connsiteX10" fmla="*/ 214313 w 299085"/>
                <a:gd name="connsiteY10" fmla="*/ 95250 h 461962"/>
                <a:gd name="connsiteX11" fmla="*/ 221932 w 299085"/>
                <a:gd name="connsiteY11" fmla="*/ 57150 h 461962"/>
                <a:gd name="connsiteX12" fmla="*/ 239078 w 299085"/>
                <a:gd name="connsiteY12" fmla="*/ 39053 h 461962"/>
                <a:gd name="connsiteX13" fmla="*/ 221932 w 299085"/>
                <a:gd name="connsiteY13" fmla="*/ 14288 h 461962"/>
                <a:gd name="connsiteX14" fmla="*/ 182880 w 299085"/>
                <a:gd name="connsiteY14" fmla="*/ 0 h 461962"/>
                <a:gd name="connsiteX15" fmla="*/ 147638 w 299085"/>
                <a:gd name="connsiteY15" fmla="*/ 21812 h 461962"/>
                <a:gd name="connsiteX16" fmla="*/ 140970 w 299085"/>
                <a:gd name="connsiteY16" fmla="*/ 39053 h 461962"/>
                <a:gd name="connsiteX17" fmla="*/ 137160 w 299085"/>
                <a:gd name="connsiteY17" fmla="*/ 53340 h 461962"/>
                <a:gd name="connsiteX18" fmla="*/ 116205 w 299085"/>
                <a:gd name="connsiteY18" fmla="*/ 74200 h 461962"/>
                <a:gd name="connsiteX19" fmla="*/ 41910 w 299085"/>
                <a:gd name="connsiteY19" fmla="*/ 67628 h 461962"/>
                <a:gd name="connsiteX20" fmla="*/ 17145 w 299085"/>
                <a:gd name="connsiteY20" fmla="*/ 39053 h 461962"/>
                <a:gd name="connsiteX21" fmla="*/ 17145 w 299085"/>
                <a:gd name="connsiteY21" fmla="*/ 39053 h 461962"/>
                <a:gd name="connsiteX22" fmla="*/ 6668 w 299085"/>
                <a:gd name="connsiteY22" fmla="*/ 47625 h 461962"/>
                <a:gd name="connsiteX23" fmla="*/ 0 w 299085"/>
                <a:gd name="connsiteY23" fmla="*/ 53340 h 461962"/>
                <a:gd name="connsiteX24" fmla="*/ 20955 w 299085"/>
                <a:gd name="connsiteY24" fmla="*/ 70390 h 461962"/>
                <a:gd name="connsiteX25" fmla="*/ 35243 w 299085"/>
                <a:gd name="connsiteY25" fmla="*/ 84677 h 461962"/>
                <a:gd name="connsiteX26" fmla="*/ 60007 w 299085"/>
                <a:gd name="connsiteY26" fmla="*/ 84677 h 461962"/>
                <a:gd name="connsiteX27" fmla="*/ 77153 w 299085"/>
                <a:gd name="connsiteY27" fmla="*/ 109538 h 461962"/>
                <a:gd name="connsiteX28" fmla="*/ 77153 w 299085"/>
                <a:gd name="connsiteY28" fmla="*/ 109538 h 461962"/>
                <a:gd name="connsiteX29" fmla="*/ 77153 w 299085"/>
                <a:gd name="connsiteY29" fmla="*/ 123825 h 461962"/>
                <a:gd name="connsiteX30" fmla="*/ 73343 w 299085"/>
                <a:gd name="connsiteY30" fmla="*/ 144780 h 461962"/>
                <a:gd name="connsiteX31" fmla="*/ 87630 w 299085"/>
                <a:gd name="connsiteY31" fmla="*/ 152400 h 461962"/>
                <a:gd name="connsiteX32" fmla="*/ 77153 w 299085"/>
                <a:gd name="connsiteY32" fmla="*/ 179927 h 461962"/>
                <a:gd name="connsiteX33" fmla="*/ 94298 w 299085"/>
                <a:gd name="connsiteY33" fmla="*/ 204788 h 461962"/>
                <a:gd name="connsiteX34" fmla="*/ 122873 w 299085"/>
                <a:gd name="connsiteY34" fmla="*/ 219075 h 461962"/>
                <a:gd name="connsiteX35" fmla="*/ 126682 w 299085"/>
                <a:gd name="connsiteY35" fmla="*/ 246602 h 461962"/>
                <a:gd name="connsiteX36" fmla="*/ 112395 w 299085"/>
                <a:gd name="connsiteY36" fmla="*/ 250508 h 461962"/>
                <a:gd name="connsiteX37" fmla="*/ 48578 w 299085"/>
                <a:gd name="connsiteY37" fmla="*/ 300038 h 461962"/>
                <a:gd name="connsiteX38" fmla="*/ 38100 w 299085"/>
                <a:gd name="connsiteY38" fmla="*/ 320993 h 461962"/>
                <a:gd name="connsiteX39" fmla="*/ 17145 w 299085"/>
                <a:gd name="connsiteY39" fmla="*/ 331470 h 461962"/>
                <a:gd name="connsiteX40" fmla="*/ 10478 w 299085"/>
                <a:gd name="connsiteY40" fmla="*/ 360045 h 461962"/>
                <a:gd name="connsiteX41" fmla="*/ 20955 w 299085"/>
                <a:gd name="connsiteY41" fmla="*/ 399002 h 461962"/>
                <a:gd name="connsiteX42" fmla="*/ 17145 w 299085"/>
                <a:gd name="connsiteY42" fmla="*/ 434245 h 461962"/>
                <a:gd name="connsiteX43" fmla="*/ 70485 w 299085"/>
                <a:gd name="connsiteY43" fmla="*/ 461963 h 461962"/>
                <a:gd name="connsiteX44" fmla="*/ 112395 w 299085"/>
                <a:gd name="connsiteY44" fmla="*/ 455295 h 461962"/>
                <a:gd name="connsiteX45" fmla="*/ 154305 w 299085"/>
                <a:gd name="connsiteY45" fmla="*/ 441007 h 461962"/>
                <a:gd name="connsiteX46" fmla="*/ 186690 w 299085"/>
                <a:gd name="connsiteY46" fmla="*/ 441007 h 461962"/>
                <a:gd name="connsiteX47" fmla="*/ 208598 w 299085"/>
                <a:gd name="connsiteY47" fmla="*/ 424720 h 461962"/>
                <a:gd name="connsiteX48" fmla="*/ 207645 w 299085"/>
                <a:gd name="connsiteY48" fmla="*/ 423863 h 461962"/>
                <a:gd name="connsiteX49" fmla="*/ 284798 w 299085"/>
                <a:gd name="connsiteY49" fmla="*/ 360045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99085" h="461962">
                  <a:moveTo>
                    <a:pt x="284798" y="360045"/>
                  </a:moveTo>
                  <a:lnTo>
                    <a:pt x="299085" y="335280"/>
                  </a:lnTo>
                  <a:lnTo>
                    <a:pt x="257175" y="303752"/>
                  </a:lnTo>
                  <a:lnTo>
                    <a:pt x="274320" y="285750"/>
                  </a:lnTo>
                  <a:lnTo>
                    <a:pt x="260032" y="260890"/>
                  </a:lnTo>
                  <a:lnTo>
                    <a:pt x="242888" y="243745"/>
                  </a:lnTo>
                  <a:lnTo>
                    <a:pt x="257175" y="208502"/>
                  </a:lnTo>
                  <a:lnTo>
                    <a:pt x="245745" y="179927"/>
                  </a:lnTo>
                  <a:lnTo>
                    <a:pt x="228600" y="148495"/>
                  </a:lnTo>
                  <a:lnTo>
                    <a:pt x="257175" y="120015"/>
                  </a:lnTo>
                  <a:lnTo>
                    <a:pt x="214313" y="95250"/>
                  </a:lnTo>
                  <a:lnTo>
                    <a:pt x="221932" y="57150"/>
                  </a:lnTo>
                  <a:lnTo>
                    <a:pt x="239078" y="39053"/>
                  </a:lnTo>
                  <a:lnTo>
                    <a:pt x="221932" y="14288"/>
                  </a:lnTo>
                  <a:lnTo>
                    <a:pt x="182880" y="0"/>
                  </a:lnTo>
                  <a:lnTo>
                    <a:pt x="147638" y="21812"/>
                  </a:lnTo>
                  <a:lnTo>
                    <a:pt x="140970" y="39053"/>
                  </a:lnTo>
                  <a:lnTo>
                    <a:pt x="137160" y="53340"/>
                  </a:lnTo>
                  <a:lnTo>
                    <a:pt x="116205" y="74200"/>
                  </a:lnTo>
                  <a:lnTo>
                    <a:pt x="41910" y="67628"/>
                  </a:lnTo>
                  <a:lnTo>
                    <a:pt x="17145" y="39053"/>
                  </a:lnTo>
                  <a:lnTo>
                    <a:pt x="17145" y="39053"/>
                  </a:lnTo>
                  <a:lnTo>
                    <a:pt x="6668" y="47625"/>
                  </a:lnTo>
                  <a:lnTo>
                    <a:pt x="0" y="53340"/>
                  </a:lnTo>
                  <a:lnTo>
                    <a:pt x="20955" y="70390"/>
                  </a:lnTo>
                  <a:lnTo>
                    <a:pt x="35243" y="84677"/>
                  </a:lnTo>
                  <a:lnTo>
                    <a:pt x="60007" y="84677"/>
                  </a:lnTo>
                  <a:lnTo>
                    <a:pt x="77153" y="109538"/>
                  </a:lnTo>
                  <a:lnTo>
                    <a:pt x="77153" y="109538"/>
                  </a:lnTo>
                  <a:lnTo>
                    <a:pt x="77153" y="123825"/>
                  </a:lnTo>
                  <a:lnTo>
                    <a:pt x="73343" y="144780"/>
                  </a:lnTo>
                  <a:lnTo>
                    <a:pt x="87630" y="152400"/>
                  </a:lnTo>
                  <a:lnTo>
                    <a:pt x="77153" y="179927"/>
                  </a:lnTo>
                  <a:lnTo>
                    <a:pt x="94298" y="204788"/>
                  </a:lnTo>
                  <a:lnTo>
                    <a:pt x="122873" y="219075"/>
                  </a:lnTo>
                  <a:lnTo>
                    <a:pt x="126682" y="246602"/>
                  </a:lnTo>
                  <a:lnTo>
                    <a:pt x="112395" y="250508"/>
                  </a:lnTo>
                  <a:lnTo>
                    <a:pt x="48578" y="300038"/>
                  </a:lnTo>
                  <a:lnTo>
                    <a:pt x="38100" y="320993"/>
                  </a:lnTo>
                  <a:lnTo>
                    <a:pt x="17145" y="331470"/>
                  </a:lnTo>
                  <a:lnTo>
                    <a:pt x="10478" y="360045"/>
                  </a:lnTo>
                  <a:lnTo>
                    <a:pt x="20955" y="399002"/>
                  </a:lnTo>
                  <a:lnTo>
                    <a:pt x="17145" y="434245"/>
                  </a:lnTo>
                  <a:lnTo>
                    <a:pt x="70485" y="461963"/>
                  </a:lnTo>
                  <a:lnTo>
                    <a:pt x="112395" y="455295"/>
                  </a:lnTo>
                  <a:lnTo>
                    <a:pt x="154305" y="441007"/>
                  </a:lnTo>
                  <a:lnTo>
                    <a:pt x="186690" y="441007"/>
                  </a:lnTo>
                  <a:lnTo>
                    <a:pt x="208598" y="424720"/>
                  </a:lnTo>
                  <a:lnTo>
                    <a:pt x="207645" y="423863"/>
                  </a:lnTo>
                  <a:lnTo>
                    <a:pt x="284798" y="36004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28" name="Freeform: Shape 3827">
              <a:extLst>
                <a:ext uri="{FF2B5EF4-FFF2-40B4-BE49-F238E27FC236}">
                  <a16:creationId xmlns:a16="http://schemas.microsoft.com/office/drawing/2014/main" id="{370C1FED-231C-37F7-8266-92C6CBD38A1C}"/>
                </a:ext>
              </a:extLst>
            </p:cNvPr>
            <p:cNvSpPr/>
            <p:nvPr/>
          </p:nvSpPr>
          <p:spPr>
            <a:xfrm>
              <a:off x="6771644" y="2567028"/>
              <a:ext cx="75631" cy="63400"/>
            </a:xfrm>
            <a:custGeom>
              <a:avLst/>
              <a:gdLst>
                <a:gd name="connsiteX0" fmla="*/ 77153 w 77152"/>
                <a:gd name="connsiteY0" fmla="*/ 0 h 64674"/>
                <a:gd name="connsiteX1" fmla="*/ 0 w 77152"/>
                <a:gd name="connsiteY1" fmla="*/ 63818 h 64674"/>
                <a:gd name="connsiteX2" fmla="*/ 953 w 77152"/>
                <a:gd name="connsiteY2" fmla="*/ 64675 h 64674"/>
                <a:gd name="connsiteX3" fmla="*/ 31433 w 77152"/>
                <a:gd name="connsiteY3" fmla="*/ 41910 h 64674"/>
                <a:gd name="connsiteX4" fmla="*/ 77153 w 77152"/>
                <a:gd name="connsiteY4" fmla="*/ 0 h 64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7152" h="64674">
                  <a:moveTo>
                    <a:pt x="77153" y="0"/>
                  </a:moveTo>
                  <a:lnTo>
                    <a:pt x="0" y="63818"/>
                  </a:lnTo>
                  <a:lnTo>
                    <a:pt x="953" y="64675"/>
                  </a:lnTo>
                  <a:lnTo>
                    <a:pt x="31433" y="41910"/>
                  </a:lnTo>
                  <a:lnTo>
                    <a:pt x="77153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29" name="Freeform: Shape 3828">
              <a:extLst>
                <a:ext uri="{FF2B5EF4-FFF2-40B4-BE49-F238E27FC236}">
                  <a16:creationId xmlns:a16="http://schemas.microsoft.com/office/drawing/2014/main" id="{E29C4A69-0265-D63C-F3D3-913CE75DB65C}"/>
                </a:ext>
              </a:extLst>
            </p:cNvPr>
            <p:cNvSpPr/>
            <p:nvPr/>
          </p:nvSpPr>
          <p:spPr>
            <a:xfrm>
              <a:off x="6808993" y="2390459"/>
              <a:ext cx="11205" cy="28012"/>
            </a:xfrm>
            <a:custGeom>
              <a:avLst/>
              <a:gdLst>
                <a:gd name="connsiteX0" fmla="*/ 11430 w 11430"/>
                <a:gd name="connsiteY0" fmla="*/ 28575 h 28575"/>
                <a:gd name="connsiteX1" fmla="*/ 0 w 11430"/>
                <a:gd name="connsiteY1" fmla="*/ 0 h 28575"/>
                <a:gd name="connsiteX2" fmla="*/ 11430 w 11430"/>
                <a:gd name="connsiteY2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430" h="28575">
                  <a:moveTo>
                    <a:pt x="11430" y="28575"/>
                  </a:moveTo>
                  <a:lnTo>
                    <a:pt x="0" y="0"/>
                  </a:lnTo>
                  <a:lnTo>
                    <a:pt x="11430" y="2857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30" name="Freeform: Shape 3829">
              <a:extLst>
                <a:ext uri="{FF2B5EF4-FFF2-40B4-BE49-F238E27FC236}">
                  <a16:creationId xmlns:a16="http://schemas.microsoft.com/office/drawing/2014/main" id="{AC046529-A710-F2C5-4B34-C03042C56C81}"/>
                </a:ext>
              </a:extLst>
            </p:cNvPr>
            <p:cNvSpPr/>
            <p:nvPr/>
          </p:nvSpPr>
          <p:spPr>
            <a:xfrm>
              <a:off x="6300114" y="2266366"/>
              <a:ext cx="360418" cy="584515"/>
            </a:xfrm>
            <a:custGeom>
              <a:avLst/>
              <a:gdLst>
                <a:gd name="connsiteX0" fmla="*/ 360998 w 367665"/>
                <a:gd name="connsiteY0" fmla="*/ 99060 h 596264"/>
                <a:gd name="connsiteX1" fmla="*/ 346710 w 367665"/>
                <a:gd name="connsiteY1" fmla="*/ 91440 h 596264"/>
                <a:gd name="connsiteX2" fmla="*/ 350520 w 367665"/>
                <a:gd name="connsiteY2" fmla="*/ 56197 h 596264"/>
                <a:gd name="connsiteX3" fmla="*/ 350520 w 367665"/>
                <a:gd name="connsiteY3" fmla="*/ 56197 h 596264"/>
                <a:gd name="connsiteX4" fmla="*/ 333375 w 367665"/>
                <a:gd name="connsiteY4" fmla="*/ 31337 h 596264"/>
                <a:gd name="connsiteX5" fmla="*/ 308610 w 367665"/>
                <a:gd name="connsiteY5" fmla="*/ 31337 h 596264"/>
                <a:gd name="connsiteX6" fmla="*/ 273368 w 367665"/>
                <a:gd name="connsiteY6" fmla="*/ 0 h 596264"/>
                <a:gd name="connsiteX7" fmla="*/ 273368 w 367665"/>
                <a:gd name="connsiteY7" fmla="*/ 0 h 596264"/>
                <a:gd name="connsiteX8" fmla="*/ 255270 w 367665"/>
                <a:gd name="connsiteY8" fmla="*/ 3810 h 596264"/>
                <a:gd name="connsiteX9" fmla="*/ 255270 w 367665"/>
                <a:gd name="connsiteY9" fmla="*/ 31337 h 596264"/>
                <a:gd name="connsiteX10" fmla="*/ 230505 w 367665"/>
                <a:gd name="connsiteY10" fmla="*/ 31337 h 596264"/>
                <a:gd name="connsiteX11" fmla="*/ 230505 w 367665"/>
                <a:gd name="connsiteY11" fmla="*/ 17050 h 596264"/>
                <a:gd name="connsiteX12" fmla="*/ 205740 w 367665"/>
                <a:gd name="connsiteY12" fmla="*/ 20860 h 596264"/>
                <a:gd name="connsiteX13" fmla="*/ 205740 w 367665"/>
                <a:gd name="connsiteY13" fmla="*/ 41910 h 596264"/>
                <a:gd name="connsiteX14" fmla="*/ 174308 w 367665"/>
                <a:gd name="connsiteY14" fmla="*/ 45625 h 596264"/>
                <a:gd name="connsiteX15" fmla="*/ 153353 w 367665"/>
                <a:gd name="connsiteY15" fmla="*/ 74200 h 596264"/>
                <a:gd name="connsiteX16" fmla="*/ 153353 w 367665"/>
                <a:gd name="connsiteY16" fmla="*/ 95155 h 596264"/>
                <a:gd name="connsiteX17" fmla="*/ 132398 w 367665"/>
                <a:gd name="connsiteY17" fmla="*/ 112300 h 596264"/>
                <a:gd name="connsiteX18" fmla="*/ 128588 w 367665"/>
                <a:gd name="connsiteY18" fmla="*/ 134302 h 596264"/>
                <a:gd name="connsiteX19" fmla="*/ 103823 w 367665"/>
                <a:gd name="connsiteY19" fmla="*/ 140875 h 596264"/>
                <a:gd name="connsiteX20" fmla="*/ 100013 w 367665"/>
                <a:gd name="connsiteY20" fmla="*/ 165735 h 596264"/>
                <a:gd name="connsiteX21" fmla="*/ 82868 w 367665"/>
                <a:gd name="connsiteY21" fmla="*/ 193262 h 596264"/>
                <a:gd name="connsiteX22" fmla="*/ 93345 w 367665"/>
                <a:gd name="connsiteY22" fmla="*/ 218122 h 596264"/>
                <a:gd name="connsiteX23" fmla="*/ 86678 w 367665"/>
                <a:gd name="connsiteY23" fmla="*/ 225742 h 596264"/>
                <a:gd name="connsiteX24" fmla="*/ 58103 w 367665"/>
                <a:gd name="connsiteY24" fmla="*/ 236125 h 596264"/>
                <a:gd name="connsiteX25" fmla="*/ 30480 w 367665"/>
                <a:gd name="connsiteY25" fmla="*/ 242792 h 596264"/>
                <a:gd name="connsiteX26" fmla="*/ 30480 w 367665"/>
                <a:gd name="connsiteY26" fmla="*/ 296228 h 596264"/>
                <a:gd name="connsiteX27" fmla="*/ 30480 w 367665"/>
                <a:gd name="connsiteY27" fmla="*/ 331375 h 596264"/>
                <a:gd name="connsiteX28" fmla="*/ 51435 w 367665"/>
                <a:gd name="connsiteY28" fmla="*/ 341947 h 596264"/>
                <a:gd name="connsiteX29" fmla="*/ 54293 w 367665"/>
                <a:gd name="connsiteY29" fmla="*/ 362903 h 596264"/>
                <a:gd name="connsiteX30" fmla="*/ 30480 w 367665"/>
                <a:gd name="connsiteY30" fmla="*/ 366617 h 596264"/>
                <a:gd name="connsiteX31" fmla="*/ 51435 w 367665"/>
                <a:gd name="connsiteY31" fmla="*/ 380905 h 596264"/>
                <a:gd name="connsiteX32" fmla="*/ 43815 w 367665"/>
                <a:gd name="connsiteY32" fmla="*/ 401955 h 596264"/>
                <a:gd name="connsiteX33" fmla="*/ 30480 w 367665"/>
                <a:gd name="connsiteY33" fmla="*/ 416242 h 596264"/>
                <a:gd name="connsiteX34" fmla="*/ 30480 w 367665"/>
                <a:gd name="connsiteY34" fmla="*/ 443865 h 596264"/>
                <a:gd name="connsiteX35" fmla="*/ 0 w 367665"/>
                <a:gd name="connsiteY35" fmla="*/ 447580 h 596264"/>
                <a:gd name="connsiteX36" fmla="*/ 19050 w 367665"/>
                <a:gd name="connsiteY36" fmla="*/ 482917 h 596264"/>
                <a:gd name="connsiteX37" fmla="*/ 30480 w 367665"/>
                <a:gd name="connsiteY37" fmla="*/ 511492 h 596264"/>
                <a:gd name="connsiteX38" fmla="*/ 51435 w 367665"/>
                <a:gd name="connsiteY38" fmla="*/ 542830 h 596264"/>
                <a:gd name="connsiteX39" fmla="*/ 51435 w 367665"/>
                <a:gd name="connsiteY39" fmla="*/ 557117 h 596264"/>
                <a:gd name="connsiteX40" fmla="*/ 58103 w 367665"/>
                <a:gd name="connsiteY40" fmla="*/ 571405 h 596264"/>
                <a:gd name="connsiteX41" fmla="*/ 65723 w 367665"/>
                <a:gd name="connsiteY41" fmla="*/ 596265 h 596264"/>
                <a:gd name="connsiteX42" fmla="*/ 89535 w 367665"/>
                <a:gd name="connsiteY42" fmla="*/ 592455 h 596264"/>
                <a:gd name="connsiteX43" fmla="*/ 97155 w 367665"/>
                <a:gd name="connsiteY43" fmla="*/ 571405 h 596264"/>
                <a:gd name="connsiteX44" fmla="*/ 121920 w 367665"/>
                <a:gd name="connsiteY44" fmla="*/ 567690 h 596264"/>
                <a:gd name="connsiteX45" fmla="*/ 142875 w 367665"/>
                <a:gd name="connsiteY45" fmla="*/ 557117 h 596264"/>
                <a:gd name="connsiteX46" fmla="*/ 153353 w 367665"/>
                <a:gd name="connsiteY46" fmla="*/ 536162 h 596264"/>
                <a:gd name="connsiteX47" fmla="*/ 160020 w 367665"/>
                <a:gd name="connsiteY47" fmla="*/ 514255 h 596264"/>
                <a:gd name="connsiteX48" fmla="*/ 160020 w 367665"/>
                <a:gd name="connsiteY48" fmla="*/ 489585 h 596264"/>
                <a:gd name="connsiteX49" fmla="*/ 163830 w 367665"/>
                <a:gd name="connsiteY49" fmla="*/ 468630 h 596264"/>
                <a:gd name="connsiteX50" fmla="*/ 195263 w 367665"/>
                <a:gd name="connsiteY50" fmla="*/ 451485 h 596264"/>
                <a:gd name="connsiteX51" fmla="*/ 217170 w 367665"/>
                <a:gd name="connsiteY51" fmla="*/ 437198 h 596264"/>
                <a:gd name="connsiteX52" fmla="*/ 220028 w 367665"/>
                <a:gd name="connsiteY52" fmla="*/ 416242 h 596264"/>
                <a:gd name="connsiteX53" fmla="*/ 202883 w 367665"/>
                <a:gd name="connsiteY53" fmla="*/ 391478 h 596264"/>
                <a:gd name="connsiteX54" fmla="*/ 178118 w 367665"/>
                <a:gd name="connsiteY54" fmla="*/ 380905 h 596264"/>
                <a:gd name="connsiteX55" fmla="*/ 174308 w 367665"/>
                <a:gd name="connsiteY55" fmla="*/ 341947 h 596264"/>
                <a:gd name="connsiteX56" fmla="*/ 181928 w 367665"/>
                <a:gd name="connsiteY56" fmla="*/ 313372 h 596264"/>
                <a:gd name="connsiteX57" fmla="*/ 195263 w 367665"/>
                <a:gd name="connsiteY57" fmla="*/ 292417 h 596264"/>
                <a:gd name="connsiteX58" fmla="*/ 213360 w 367665"/>
                <a:gd name="connsiteY58" fmla="*/ 267653 h 596264"/>
                <a:gd name="connsiteX59" fmla="*/ 240983 w 367665"/>
                <a:gd name="connsiteY59" fmla="*/ 264700 h 596264"/>
                <a:gd name="connsiteX60" fmla="*/ 269558 w 367665"/>
                <a:gd name="connsiteY60" fmla="*/ 242792 h 596264"/>
                <a:gd name="connsiteX61" fmla="*/ 290513 w 367665"/>
                <a:gd name="connsiteY61" fmla="*/ 218122 h 596264"/>
                <a:gd name="connsiteX62" fmla="*/ 283845 w 367665"/>
                <a:gd name="connsiteY62" fmla="*/ 200977 h 596264"/>
                <a:gd name="connsiteX63" fmla="*/ 294323 w 367665"/>
                <a:gd name="connsiteY63" fmla="*/ 176117 h 596264"/>
                <a:gd name="connsiteX64" fmla="*/ 319088 w 367665"/>
                <a:gd name="connsiteY64" fmla="*/ 158115 h 596264"/>
                <a:gd name="connsiteX65" fmla="*/ 336233 w 367665"/>
                <a:gd name="connsiteY65" fmla="*/ 155162 h 596264"/>
                <a:gd name="connsiteX66" fmla="*/ 367665 w 367665"/>
                <a:gd name="connsiteY66" fmla="*/ 151447 h 596264"/>
                <a:gd name="connsiteX67" fmla="*/ 350520 w 367665"/>
                <a:gd name="connsiteY67" fmla="*/ 126587 h 596264"/>
                <a:gd name="connsiteX68" fmla="*/ 360998 w 367665"/>
                <a:gd name="connsiteY68" fmla="*/ 99060 h 596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367665" h="596264">
                  <a:moveTo>
                    <a:pt x="360998" y="99060"/>
                  </a:moveTo>
                  <a:lnTo>
                    <a:pt x="346710" y="91440"/>
                  </a:lnTo>
                  <a:lnTo>
                    <a:pt x="350520" y="56197"/>
                  </a:lnTo>
                  <a:lnTo>
                    <a:pt x="350520" y="56197"/>
                  </a:lnTo>
                  <a:lnTo>
                    <a:pt x="333375" y="31337"/>
                  </a:lnTo>
                  <a:lnTo>
                    <a:pt x="308610" y="31337"/>
                  </a:lnTo>
                  <a:lnTo>
                    <a:pt x="273368" y="0"/>
                  </a:lnTo>
                  <a:lnTo>
                    <a:pt x="273368" y="0"/>
                  </a:lnTo>
                  <a:lnTo>
                    <a:pt x="255270" y="3810"/>
                  </a:lnTo>
                  <a:lnTo>
                    <a:pt x="255270" y="31337"/>
                  </a:lnTo>
                  <a:lnTo>
                    <a:pt x="230505" y="31337"/>
                  </a:lnTo>
                  <a:lnTo>
                    <a:pt x="230505" y="17050"/>
                  </a:lnTo>
                  <a:lnTo>
                    <a:pt x="205740" y="20860"/>
                  </a:lnTo>
                  <a:lnTo>
                    <a:pt x="205740" y="41910"/>
                  </a:lnTo>
                  <a:lnTo>
                    <a:pt x="174308" y="45625"/>
                  </a:lnTo>
                  <a:lnTo>
                    <a:pt x="153353" y="74200"/>
                  </a:lnTo>
                  <a:lnTo>
                    <a:pt x="153353" y="95155"/>
                  </a:lnTo>
                  <a:lnTo>
                    <a:pt x="132398" y="112300"/>
                  </a:lnTo>
                  <a:lnTo>
                    <a:pt x="128588" y="134302"/>
                  </a:lnTo>
                  <a:lnTo>
                    <a:pt x="103823" y="140875"/>
                  </a:lnTo>
                  <a:lnTo>
                    <a:pt x="100013" y="165735"/>
                  </a:lnTo>
                  <a:lnTo>
                    <a:pt x="82868" y="193262"/>
                  </a:lnTo>
                  <a:lnTo>
                    <a:pt x="93345" y="218122"/>
                  </a:lnTo>
                  <a:lnTo>
                    <a:pt x="86678" y="225742"/>
                  </a:lnTo>
                  <a:lnTo>
                    <a:pt x="58103" y="236125"/>
                  </a:lnTo>
                  <a:lnTo>
                    <a:pt x="30480" y="242792"/>
                  </a:lnTo>
                  <a:lnTo>
                    <a:pt x="30480" y="296228"/>
                  </a:lnTo>
                  <a:lnTo>
                    <a:pt x="30480" y="331375"/>
                  </a:lnTo>
                  <a:lnTo>
                    <a:pt x="51435" y="341947"/>
                  </a:lnTo>
                  <a:lnTo>
                    <a:pt x="54293" y="362903"/>
                  </a:lnTo>
                  <a:lnTo>
                    <a:pt x="30480" y="366617"/>
                  </a:lnTo>
                  <a:lnTo>
                    <a:pt x="51435" y="380905"/>
                  </a:lnTo>
                  <a:lnTo>
                    <a:pt x="43815" y="401955"/>
                  </a:lnTo>
                  <a:lnTo>
                    <a:pt x="30480" y="416242"/>
                  </a:lnTo>
                  <a:lnTo>
                    <a:pt x="30480" y="443865"/>
                  </a:lnTo>
                  <a:lnTo>
                    <a:pt x="0" y="447580"/>
                  </a:lnTo>
                  <a:lnTo>
                    <a:pt x="19050" y="482917"/>
                  </a:lnTo>
                  <a:lnTo>
                    <a:pt x="30480" y="511492"/>
                  </a:lnTo>
                  <a:lnTo>
                    <a:pt x="51435" y="542830"/>
                  </a:lnTo>
                  <a:lnTo>
                    <a:pt x="51435" y="557117"/>
                  </a:lnTo>
                  <a:lnTo>
                    <a:pt x="58103" y="571405"/>
                  </a:lnTo>
                  <a:lnTo>
                    <a:pt x="65723" y="596265"/>
                  </a:lnTo>
                  <a:lnTo>
                    <a:pt x="89535" y="592455"/>
                  </a:lnTo>
                  <a:lnTo>
                    <a:pt x="97155" y="571405"/>
                  </a:lnTo>
                  <a:lnTo>
                    <a:pt x="121920" y="567690"/>
                  </a:lnTo>
                  <a:lnTo>
                    <a:pt x="142875" y="557117"/>
                  </a:lnTo>
                  <a:lnTo>
                    <a:pt x="153353" y="536162"/>
                  </a:lnTo>
                  <a:lnTo>
                    <a:pt x="160020" y="514255"/>
                  </a:lnTo>
                  <a:lnTo>
                    <a:pt x="160020" y="489585"/>
                  </a:lnTo>
                  <a:lnTo>
                    <a:pt x="163830" y="468630"/>
                  </a:lnTo>
                  <a:lnTo>
                    <a:pt x="195263" y="451485"/>
                  </a:lnTo>
                  <a:lnTo>
                    <a:pt x="217170" y="437198"/>
                  </a:lnTo>
                  <a:lnTo>
                    <a:pt x="220028" y="416242"/>
                  </a:lnTo>
                  <a:lnTo>
                    <a:pt x="202883" y="391478"/>
                  </a:lnTo>
                  <a:lnTo>
                    <a:pt x="178118" y="380905"/>
                  </a:lnTo>
                  <a:lnTo>
                    <a:pt x="174308" y="341947"/>
                  </a:lnTo>
                  <a:lnTo>
                    <a:pt x="181928" y="313372"/>
                  </a:lnTo>
                  <a:lnTo>
                    <a:pt x="195263" y="292417"/>
                  </a:lnTo>
                  <a:lnTo>
                    <a:pt x="213360" y="267653"/>
                  </a:lnTo>
                  <a:lnTo>
                    <a:pt x="240983" y="264700"/>
                  </a:lnTo>
                  <a:lnTo>
                    <a:pt x="269558" y="242792"/>
                  </a:lnTo>
                  <a:lnTo>
                    <a:pt x="290513" y="218122"/>
                  </a:lnTo>
                  <a:lnTo>
                    <a:pt x="283845" y="200977"/>
                  </a:lnTo>
                  <a:lnTo>
                    <a:pt x="294323" y="176117"/>
                  </a:lnTo>
                  <a:lnTo>
                    <a:pt x="319088" y="158115"/>
                  </a:lnTo>
                  <a:lnTo>
                    <a:pt x="336233" y="155162"/>
                  </a:lnTo>
                  <a:lnTo>
                    <a:pt x="367665" y="151447"/>
                  </a:lnTo>
                  <a:lnTo>
                    <a:pt x="350520" y="126587"/>
                  </a:lnTo>
                  <a:lnTo>
                    <a:pt x="360998" y="9906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31" name="Freeform: Shape 3830">
              <a:extLst>
                <a:ext uri="{FF2B5EF4-FFF2-40B4-BE49-F238E27FC236}">
                  <a16:creationId xmlns:a16="http://schemas.microsoft.com/office/drawing/2014/main" id="{4FAFB436-9A52-AC79-CE1F-4C25D7134429}"/>
                </a:ext>
              </a:extLst>
            </p:cNvPr>
            <p:cNvSpPr/>
            <p:nvPr/>
          </p:nvSpPr>
          <p:spPr>
            <a:xfrm>
              <a:off x="6568092" y="2266366"/>
              <a:ext cx="34547" cy="30720"/>
            </a:xfrm>
            <a:custGeom>
              <a:avLst/>
              <a:gdLst>
                <a:gd name="connsiteX0" fmla="*/ 35243 w 35242"/>
                <a:gd name="connsiteY0" fmla="*/ 31337 h 31337"/>
                <a:gd name="connsiteX1" fmla="*/ 20955 w 35242"/>
                <a:gd name="connsiteY1" fmla="*/ 17050 h 31337"/>
                <a:gd name="connsiteX2" fmla="*/ 0 w 35242"/>
                <a:gd name="connsiteY2" fmla="*/ 0 h 31337"/>
                <a:gd name="connsiteX3" fmla="*/ 0 w 35242"/>
                <a:gd name="connsiteY3" fmla="*/ 0 h 31337"/>
                <a:gd name="connsiteX4" fmla="*/ 35243 w 35242"/>
                <a:gd name="connsiteY4" fmla="*/ 31337 h 31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42" h="31337">
                  <a:moveTo>
                    <a:pt x="35243" y="31337"/>
                  </a:moveTo>
                  <a:lnTo>
                    <a:pt x="20955" y="17050"/>
                  </a:lnTo>
                  <a:lnTo>
                    <a:pt x="0" y="0"/>
                  </a:lnTo>
                  <a:lnTo>
                    <a:pt x="0" y="0"/>
                  </a:lnTo>
                  <a:lnTo>
                    <a:pt x="35243" y="3133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32" name="Freeform: Shape 3831">
              <a:extLst>
                <a:ext uri="{FF2B5EF4-FFF2-40B4-BE49-F238E27FC236}">
                  <a16:creationId xmlns:a16="http://schemas.microsoft.com/office/drawing/2014/main" id="{DFDE642E-60C8-A2D5-5E59-A0AA57AF7695}"/>
                </a:ext>
              </a:extLst>
            </p:cNvPr>
            <p:cNvSpPr/>
            <p:nvPr/>
          </p:nvSpPr>
          <p:spPr>
            <a:xfrm>
              <a:off x="6639989" y="2321456"/>
              <a:ext cx="3735" cy="34548"/>
            </a:xfrm>
            <a:custGeom>
              <a:avLst/>
              <a:gdLst>
                <a:gd name="connsiteX0" fmla="*/ 3810 w 3810"/>
                <a:gd name="connsiteY0" fmla="*/ 14288 h 35242"/>
                <a:gd name="connsiteX1" fmla="*/ 3810 w 3810"/>
                <a:gd name="connsiteY1" fmla="*/ 0 h 35242"/>
                <a:gd name="connsiteX2" fmla="*/ 0 w 3810"/>
                <a:gd name="connsiteY2" fmla="*/ 35243 h 35242"/>
                <a:gd name="connsiteX3" fmla="*/ 3810 w 3810"/>
                <a:gd name="connsiteY3" fmla="*/ 14288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" h="35242">
                  <a:moveTo>
                    <a:pt x="3810" y="14288"/>
                  </a:moveTo>
                  <a:lnTo>
                    <a:pt x="3810" y="0"/>
                  </a:lnTo>
                  <a:lnTo>
                    <a:pt x="0" y="35243"/>
                  </a:lnTo>
                  <a:lnTo>
                    <a:pt x="3810" y="1428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33" name="Freeform: Shape 3832">
              <a:extLst>
                <a:ext uri="{FF2B5EF4-FFF2-40B4-BE49-F238E27FC236}">
                  <a16:creationId xmlns:a16="http://schemas.microsoft.com/office/drawing/2014/main" id="{F98462F3-5F4E-9388-DCD6-DFC78B89B9F6}"/>
                </a:ext>
              </a:extLst>
            </p:cNvPr>
            <p:cNvSpPr/>
            <p:nvPr/>
          </p:nvSpPr>
          <p:spPr>
            <a:xfrm>
              <a:off x="6134844" y="2162721"/>
              <a:ext cx="708696" cy="583582"/>
            </a:xfrm>
            <a:custGeom>
              <a:avLst/>
              <a:gdLst>
                <a:gd name="connsiteX0" fmla="*/ 199072 w 722947"/>
                <a:gd name="connsiteY0" fmla="*/ 521970 h 595312"/>
                <a:gd name="connsiteX1" fmla="*/ 212408 w 722947"/>
                <a:gd name="connsiteY1" fmla="*/ 507682 h 595312"/>
                <a:gd name="connsiteX2" fmla="*/ 220028 w 722947"/>
                <a:gd name="connsiteY2" fmla="*/ 486632 h 595312"/>
                <a:gd name="connsiteX3" fmla="*/ 199072 w 722947"/>
                <a:gd name="connsiteY3" fmla="*/ 472345 h 595312"/>
                <a:gd name="connsiteX4" fmla="*/ 222885 w 722947"/>
                <a:gd name="connsiteY4" fmla="*/ 468630 h 595312"/>
                <a:gd name="connsiteX5" fmla="*/ 220028 w 722947"/>
                <a:gd name="connsiteY5" fmla="*/ 447675 h 595312"/>
                <a:gd name="connsiteX6" fmla="*/ 199072 w 722947"/>
                <a:gd name="connsiteY6" fmla="*/ 437102 h 595312"/>
                <a:gd name="connsiteX7" fmla="*/ 199072 w 722947"/>
                <a:gd name="connsiteY7" fmla="*/ 401955 h 595312"/>
                <a:gd name="connsiteX8" fmla="*/ 199072 w 722947"/>
                <a:gd name="connsiteY8" fmla="*/ 348520 h 595312"/>
                <a:gd name="connsiteX9" fmla="*/ 255270 w 722947"/>
                <a:gd name="connsiteY9" fmla="*/ 331470 h 595312"/>
                <a:gd name="connsiteX10" fmla="*/ 261938 w 722947"/>
                <a:gd name="connsiteY10" fmla="*/ 323850 h 595312"/>
                <a:gd name="connsiteX11" fmla="*/ 251460 w 722947"/>
                <a:gd name="connsiteY11" fmla="*/ 298990 h 595312"/>
                <a:gd name="connsiteX12" fmla="*/ 268605 w 722947"/>
                <a:gd name="connsiteY12" fmla="*/ 271463 h 595312"/>
                <a:gd name="connsiteX13" fmla="*/ 272415 w 722947"/>
                <a:gd name="connsiteY13" fmla="*/ 246602 h 595312"/>
                <a:gd name="connsiteX14" fmla="*/ 297180 w 722947"/>
                <a:gd name="connsiteY14" fmla="*/ 240030 h 595312"/>
                <a:gd name="connsiteX15" fmla="*/ 300990 w 722947"/>
                <a:gd name="connsiteY15" fmla="*/ 218027 h 595312"/>
                <a:gd name="connsiteX16" fmla="*/ 321945 w 722947"/>
                <a:gd name="connsiteY16" fmla="*/ 200882 h 595312"/>
                <a:gd name="connsiteX17" fmla="*/ 321945 w 722947"/>
                <a:gd name="connsiteY17" fmla="*/ 179927 h 595312"/>
                <a:gd name="connsiteX18" fmla="*/ 342900 w 722947"/>
                <a:gd name="connsiteY18" fmla="*/ 151352 h 595312"/>
                <a:gd name="connsiteX19" fmla="*/ 374333 w 722947"/>
                <a:gd name="connsiteY19" fmla="*/ 147638 h 595312"/>
                <a:gd name="connsiteX20" fmla="*/ 374333 w 722947"/>
                <a:gd name="connsiteY20" fmla="*/ 126587 h 595312"/>
                <a:gd name="connsiteX21" fmla="*/ 399097 w 722947"/>
                <a:gd name="connsiteY21" fmla="*/ 122777 h 595312"/>
                <a:gd name="connsiteX22" fmla="*/ 399097 w 722947"/>
                <a:gd name="connsiteY22" fmla="*/ 137065 h 595312"/>
                <a:gd name="connsiteX23" fmla="*/ 423863 w 722947"/>
                <a:gd name="connsiteY23" fmla="*/ 137065 h 595312"/>
                <a:gd name="connsiteX24" fmla="*/ 423863 w 722947"/>
                <a:gd name="connsiteY24" fmla="*/ 109538 h 595312"/>
                <a:gd name="connsiteX25" fmla="*/ 441960 w 722947"/>
                <a:gd name="connsiteY25" fmla="*/ 105728 h 595312"/>
                <a:gd name="connsiteX26" fmla="*/ 448628 w 722947"/>
                <a:gd name="connsiteY26" fmla="*/ 100013 h 595312"/>
                <a:gd name="connsiteX27" fmla="*/ 459105 w 722947"/>
                <a:gd name="connsiteY27" fmla="*/ 91440 h 595312"/>
                <a:gd name="connsiteX28" fmla="*/ 459105 w 722947"/>
                <a:gd name="connsiteY28" fmla="*/ 91440 h 595312"/>
                <a:gd name="connsiteX29" fmla="*/ 459105 w 722947"/>
                <a:gd name="connsiteY29" fmla="*/ 91440 h 595312"/>
                <a:gd name="connsiteX30" fmla="*/ 459105 w 722947"/>
                <a:gd name="connsiteY30" fmla="*/ 91440 h 595312"/>
                <a:gd name="connsiteX31" fmla="*/ 469583 w 722947"/>
                <a:gd name="connsiteY31" fmla="*/ 101918 h 595312"/>
                <a:gd name="connsiteX32" fmla="*/ 483870 w 722947"/>
                <a:gd name="connsiteY32" fmla="*/ 120015 h 595312"/>
                <a:gd name="connsiteX33" fmla="*/ 533400 w 722947"/>
                <a:gd name="connsiteY33" fmla="*/ 122777 h 595312"/>
                <a:gd name="connsiteX34" fmla="*/ 558165 w 722947"/>
                <a:gd name="connsiteY34" fmla="*/ 126587 h 595312"/>
                <a:gd name="connsiteX35" fmla="*/ 575310 w 722947"/>
                <a:gd name="connsiteY35" fmla="*/ 109538 h 595312"/>
                <a:gd name="connsiteX36" fmla="*/ 582930 w 722947"/>
                <a:gd name="connsiteY36" fmla="*/ 91440 h 595312"/>
                <a:gd name="connsiteX37" fmla="*/ 585788 w 722947"/>
                <a:gd name="connsiteY37" fmla="*/ 77153 h 595312"/>
                <a:gd name="connsiteX38" fmla="*/ 589597 w 722947"/>
                <a:gd name="connsiteY38" fmla="*/ 74200 h 595312"/>
                <a:gd name="connsiteX39" fmla="*/ 624840 w 722947"/>
                <a:gd name="connsiteY39" fmla="*/ 52388 h 595312"/>
                <a:gd name="connsiteX40" fmla="*/ 663892 w 722947"/>
                <a:gd name="connsiteY40" fmla="*/ 66675 h 595312"/>
                <a:gd name="connsiteX41" fmla="*/ 681038 w 722947"/>
                <a:gd name="connsiteY41" fmla="*/ 91440 h 595312"/>
                <a:gd name="connsiteX42" fmla="*/ 699135 w 722947"/>
                <a:gd name="connsiteY42" fmla="*/ 87630 h 595312"/>
                <a:gd name="connsiteX43" fmla="*/ 699135 w 722947"/>
                <a:gd name="connsiteY43" fmla="*/ 77153 h 595312"/>
                <a:gd name="connsiteX44" fmla="*/ 670560 w 722947"/>
                <a:gd name="connsiteY44" fmla="*/ 52388 h 595312"/>
                <a:gd name="connsiteX45" fmla="*/ 705803 w 722947"/>
                <a:gd name="connsiteY45" fmla="*/ 56102 h 595312"/>
                <a:gd name="connsiteX46" fmla="*/ 722947 w 722947"/>
                <a:gd name="connsiteY46" fmla="*/ 35243 h 595312"/>
                <a:gd name="connsiteX47" fmla="*/ 681038 w 722947"/>
                <a:gd name="connsiteY47" fmla="*/ 17050 h 595312"/>
                <a:gd name="connsiteX48" fmla="*/ 649605 w 722947"/>
                <a:gd name="connsiteY48" fmla="*/ 35243 h 595312"/>
                <a:gd name="connsiteX49" fmla="*/ 656272 w 722947"/>
                <a:gd name="connsiteY49" fmla="*/ 10478 h 595312"/>
                <a:gd name="connsiteX50" fmla="*/ 631508 w 722947"/>
                <a:gd name="connsiteY50" fmla="*/ 6668 h 595312"/>
                <a:gd name="connsiteX51" fmla="*/ 603885 w 722947"/>
                <a:gd name="connsiteY51" fmla="*/ 39053 h 595312"/>
                <a:gd name="connsiteX52" fmla="*/ 603885 w 722947"/>
                <a:gd name="connsiteY52" fmla="*/ 17050 h 595312"/>
                <a:gd name="connsiteX53" fmla="*/ 561022 w 722947"/>
                <a:gd name="connsiteY53" fmla="*/ 56102 h 595312"/>
                <a:gd name="connsiteX54" fmla="*/ 561022 w 722947"/>
                <a:gd name="connsiteY54" fmla="*/ 39053 h 595312"/>
                <a:gd name="connsiteX55" fmla="*/ 593408 w 722947"/>
                <a:gd name="connsiteY55" fmla="*/ 6668 h 595312"/>
                <a:gd name="connsiteX56" fmla="*/ 579120 w 722947"/>
                <a:gd name="connsiteY56" fmla="*/ 0 h 595312"/>
                <a:gd name="connsiteX57" fmla="*/ 543878 w 722947"/>
                <a:gd name="connsiteY57" fmla="*/ 27527 h 595312"/>
                <a:gd name="connsiteX58" fmla="*/ 519113 w 722947"/>
                <a:gd name="connsiteY58" fmla="*/ 27527 h 595312"/>
                <a:gd name="connsiteX59" fmla="*/ 512445 w 722947"/>
                <a:gd name="connsiteY59" fmla="*/ 62865 h 595312"/>
                <a:gd name="connsiteX60" fmla="*/ 501967 w 722947"/>
                <a:gd name="connsiteY60" fmla="*/ 59912 h 595312"/>
                <a:gd name="connsiteX61" fmla="*/ 501967 w 722947"/>
                <a:gd name="connsiteY61" fmla="*/ 41815 h 595312"/>
                <a:gd name="connsiteX62" fmla="*/ 480060 w 722947"/>
                <a:gd name="connsiteY62" fmla="*/ 45625 h 595312"/>
                <a:gd name="connsiteX63" fmla="*/ 469583 w 722947"/>
                <a:gd name="connsiteY63" fmla="*/ 66675 h 595312"/>
                <a:gd name="connsiteX64" fmla="*/ 452438 w 722947"/>
                <a:gd name="connsiteY64" fmla="*/ 56102 h 595312"/>
                <a:gd name="connsiteX65" fmla="*/ 427672 w 722947"/>
                <a:gd name="connsiteY65" fmla="*/ 70390 h 595312"/>
                <a:gd name="connsiteX66" fmla="*/ 417195 w 722947"/>
                <a:gd name="connsiteY66" fmla="*/ 52388 h 595312"/>
                <a:gd name="connsiteX67" fmla="*/ 396240 w 722947"/>
                <a:gd name="connsiteY67" fmla="*/ 52388 h 595312"/>
                <a:gd name="connsiteX68" fmla="*/ 381953 w 722947"/>
                <a:gd name="connsiteY68" fmla="*/ 84677 h 595312"/>
                <a:gd name="connsiteX69" fmla="*/ 350520 w 722947"/>
                <a:gd name="connsiteY69" fmla="*/ 77153 h 595312"/>
                <a:gd name="connsiteX70" fmla="*/ 339090 w 722947"/>
                <a:gd name="connsiteY70" fmla="*/ 95250 h 595312"/>
                <a:gd name="connsiteX71" fmla="*/ 357188 w 722947"/>
                <a:gd name="connsiteY71" fmla="*/ 105728 h 595312"/>
                <a:gd name="connsiteX72" fmla="*/ 353378 w 722947"/>
                <a:gd name="connsiteY72" fmla="*/ 120015 h 595312"/>
                <a:gd name="connsiteX73" fmla="*/ 321945 w 722947"/>
                <a:gd name="connsiteY73" fmla="*/ 112300 h 595312"/>
                <a:gd name="connsiteX74" fmla="*/ 307658 w 722947"/>
                <a:gd name="connsiteY74" fmla="*/ 98012 h 595312"/>
                <a:gd name="connsiteX75" fmla="*/ 290513 w 722947"/>
                <a:gd name="connsiteY75" fmla="*/ 109538 h 595312"/>
                <a:gd name="connsiteX76" fmla="*/ 282892 w 722947"/>
                <a:gd name="connsiteY76" fmla="*/ 126587 h 595312"/>
                <a:gd name="connsiteX77" fmla="*/ 286703 w 722947"/>
                <a:gd name="connsiteY77" fmla="*/ 137065 h 595312"/>
                <a:gd name="connsiteX78" fmla="*/ 307658 w 722947"/>
                <a:gd name="connsiteY78" fmla="*/ 137065 h 595312"/>
                <a:gd name="connsiteX79" fmla="*/ 325755 w 722947"/>
                <a:gd name="connsiteY79" fmla="*/ 126587 h 595312"/>
                <a:gd name="connsiteX80" fmla="*/ 321945 w 722947"/>
                <a:gd name="connsiteY80" fmla="*/ 151352 h 595312"/>
                <a:gd name="connsiteX81" fmla="*/ 307658 w 722947"/>
                <a:gd name="connsiteY81" fmla="*/ 151352 h 595312"/>
                <a:gd name="connsiteX82" fmla="*/ 293370 w 722947"/>
                <a:gd name="connsiteY82" fmla="*/ 176213 h 595312"/>
                <a:gd name="connsiteX83" fmla="*/ 276225 w 722947"/>
                <a:gd name="connsiteY83" fmla="*/ 186690 h 595312"/>
                <a:gd name="connsiteX84" fmla="*/ 240983 w 722947"/>
                <a:gd name="connsiteY84" fmla="*/ 215170 h 595312"/>
                <a:gd name="connsiteX85" fmla="*/ 240983 w 722947"/>
                <a:gd name="connsiteY85" fmla="*/ 236220 h 595312"/>
                <a:gd name="connsiteX86" fmla="*/ 222885 w 722947"/>
                <a:gd name="connsiteY86" fmla="*/ 246602 h 595312"/>
                <a:gd name="connsiteX87" fmla="*/ 199072 w 722947"/>
                <a:gd name="connsiteY87" fmla="*/ 288608 h 595312"/>
                <a:gd name="connsiteX88" fmla="*/ 180975 w 722947"/>
                <a:gd name="connsiteY88" fmla="*/ 313277 h 595312"/>
                <a:gd name="connsiteX89" fmla="*/ 161925 w 722947"/>
                <a:gd name="connsiteY89" fmla="*/ 323850 h 595312"/>
                <a:gd name="connsiteX90" fmla="*/ 129540 w 722947"/>
                <a:gd name="connsiteY90" fmla="*/ 356140 h 595312"/>
                <a:gd name="connsiteX91" fmla="*/ 147638 w 722947"/>
                <a:gd name="connsiteY91" fmla="*/ 359093 h 595312"/>
                <a:gd name="connsiteX92" fmla="*/ 164783 w 722947"/>
                <a:gd name="connsiteY92" fmla="*/ 341852 h 595312"/>
                <a:gd name="connsiteX93" fmla="*/ 172403 w 722947"/>
                <a:gd name="connsiteY93" fmla="*/ 356140 h 595312"/>
                <a:gd name="connsiteX94" fmla="*/ 147638 w 722947"/>
                <a:gd name="connsiteY94" fmla="*/ 370427 h 595312"/>
                <a:gd name="connsiteX95" fmla="*/ 122872 w 722947"/>
                <a:gd name="connsiteY95" fmla="*/ 366713 h 595312"/>
                <a:gd name="connsiteX96" fmla="*/ 108585 w 722947"/>
                <a:gd name="connsiteY96" fmla="*/ 366713 h 595312"/>
                <a:gd name="connsiteX97" fmla="*/ 98108 w 722947"/>
                <a:gd name="connsiteY97" fmla="*/ 387668 h 595312"/>
                <a:gd name="connsiteX98" fmla="*/ 73342 w 722947"/>
                <a:gd name="connsiteY98" fmla="*/ 398145 h 595312"/>
                <a:gd name="connsiteX99" fmla="*/ 45720 w 722947"/>
                <a:gd name="connsiteY99" fmla="*/ 405670 h 595312"/>
                <a:gd name="connsiteX100" fmla="*/ 6668 w 722947"/>
                <a:gd name="connsiteY100" fmla="*/ 422815 h 595312"/>
                <a:gd name="connsiteX101" fmla="*/ 0 w 722947"/>
                <a:gd name="connsiteY101" fmla="*/ 441008 h 595312"/>
                <a:gd name="connsiteX102" fmla="*/ 6668 w 722947"/>
                <a:gd name="connsiteY102" fmla="*/ 479107 h 595312"/>
                <a:gd name="connsiteX103" fmla="*/ 13335 w 722947"/>
                <a:gd name="connsiteY103" fmla="*/ 493395 h 595312"/>
                <a:gd name="connsiteX104" fmla="*/ 31433 w 722947"/>
                <a:gd name="connsiteY104" fmla="*/ 503777 h 595312"/>
                <a:gd name="connsiteX105" fmla="*/ 6668 w 722947"/>
                <a:gd name="connsiteY105" fmla="*/ 521970 h 595312"/>
                <a:gd name="connsiteX106" fmla="*/ 10478 w 722947"/>
                <a:gd name="connsiteY106" fmla="*/ 536257 h 595312"/>
                <a:gd name="connsiteX107" fmla="*/ 27622 w 722947"/>
                <a:gd name="connsiteY107" fmla="*/ 532352 h 595312"/>
                <a:gd name="connsiteX108" fmla="*/ 31433 w 722947"/>
                <a:gd name="connsiteY108" fmla="*/ 539020 h 595312"/>
                <a:gd name="connsiteX109" fmla="*/ 17145 w 722947"/>
                <a:gd name="connsiteY109" fmla="*/ 557213 h 595312"/>
                <a:gd name="connsiteX110" fmla="*/ 20955 w 722947"/>
                <a:gd name="connsiteY110" fmla="*/ 571500 h 595312"/>
                <a:gd name="connsiteX111" fmla="*/ 41910 w 722947"/>
                <a:gd name="connsiteY111" fmla="*/ 588645 h 595312"/>
                <a:gd name="connsiteX112" fmla="*/ 73342 w 722947"/>
                <a:gd name="connsiteY112" fmla="*/ 595313 h 595312"/>
                <a:gd name="connsiteX113" fmla="*/ 108585 w 722947"/>
                <a:gd name="connsiteY113" fmla="*/ 578168 h 595312"/>
                <a:gd name="connsiteX114" fmla="*/ 129540 w 722947"/>
                <a:gd name="connsiteY114" fmla="*/ 557213 h 595312"/>
                <a:gd name="connsiteX115" fmla="*/ 143828 w 722947"/>
                <a:gd name="connsiteY115" fmla="*/ 549593 h 595312"/>
                <a:gd name="connsiteX116" fmla="*/ 154305 w 722947"/>
                <a:gd name="connsiteY116" fmla="*/ 528638 h 595312"/>
                <a:gd name="connsiteX117" fmla="*/ 161925 w 722947"/>
                <a:gd name="connsiteY117" fmla="*/ 546640 h 595312"/>
                <a:gd name="connsiteX118" fmla="*/ 168592 w 722947"/>
                <a:gd name="connsiteY118" fmla="*/ 553307 h 595312"/>
                <a:gd name="connsiteX119" fmla="*/ 199072 w 722947"/>
                <a:gd name="connsiteY119" fmla="*/ 549593 h 595312"/>
                <a:gd name="connsiteX120" fmla="*/ 199072 w 722947"/>
                <a:gd name="connsiteY120" fmla="*/ 521970 h 595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722947" h="595312">
                  <a:moveTo>
                    <a:pt x="199072" y="521970"/>
                  </a:moveTo>
                  <a:lnTo>
                    <a:pt x="212408" y="507682"/>
                  </a:lnTo>
                  <a:lnTo>
                    <a:pt x="220028" y="486632"/>
                  </a:lnTo>
                  <a:lnTo>
                    <a:pt x="199072" y="472345"/>
                  </a:lnTo>
                  <a:lnTo>
                    <a:pt x="222885" y="468630"/>
                  </a:lnTo>
                  <a:lnTo>
                    <a:pt x="220028" y="447675"/>
                  </a:lnTo>
                  <a:lnTo>
                    <a:pt x="199072" y="437102"/>
                  </a:lnTo>
                  <a:lnTo>
                    <a:pt x="199072" y="401955"/>
                  </a:lnTo>
                  <a:lnTo>
                    <a:pt x="199072" y="348520"/>
                  </a:lnTo>
                  <a:lnTo>
                    <a:pt x="255270" y="331470"/>
                  </a:lnTo>
                  <a:lnTo>
                    <a:pt x="261938" y="323850"/>
                  </a:lnTo>
                  <a:lnTo>
                    <a:pt x="251460" y="298990"/>
                  </a:lnTo>
                  <a:lnTo>
                    <a:pt x="268605" y="271463"/>
                  </a:lnTo>
                  <a:lnTo>
                    <a:pt x="272415" y="246602"/>
                  </a:lnTo>
                  <a:lnTo>
                    <a:pt x="297180" y="240030"/>
                  </a:lnTo>
                  <a:lnTo>
                    <a:pt x="300990" y="218027"/>
                  </a:lnTo>
                  <a:lnTo>
                    <a:pt x="321945" y="200882"/>
                  </a:lnTo>
                  <a:lnTo>
                    <a:pt x="321945" y="179927"/>
                  </a:lnTo>
                  <a:lnTo>
                    <a:pt x="342900" y="151352"/>
                  </a:lnTo>
                  <a:lnTo>
                    <a:pt x="374333" y="147638"/>
                  </a:lnTo>
                  <a:lnTo>
                    <a:pt x="374333" y="126587"/>
                  </a:lnTo>
                  <a:lnTo>
                    <a:pt x="399097" y="122777"/>
                  </a:lnTo>
                  <a:lnTo>
                    <a:pt x="399097" y="137065"/>
                  </a:lnTo>
                  <a:lnTo>
                    <a:pt x="423863" y="137065"/>
                  </a:lnTo>
                  <a:lnTo>
                    <a:pt x="423863" y="109538"/>
                  </a:lnTo>
                  <a:lnTo>
                    <a:pt x="441960" y="105728"/>
                  </a:lnTo>
                  <a:lnTo>
                    <a:pt x="448628" y="100013"/>
                  </a:lnTo>
                  <a:lnTo>
                    <a:pt x="459105" y="91440"/>
                  </a:lnTo>
                  <a:lnTo>
                    <a:pt x="459105" y="91440"/>
                  </a:lnTo>
                  <a:lnTo>
                    <a:pt x="459105" y="91440"/>
                  </a:lnTo>
                  <a:lnTo>
                    <a:pt x="459105" y="91440"/>
                  </a:lnTo>
                  <a:lnTo>
                    <a:pt x="469583" y="101918"/>
                  </a:lnTo>
                  <a:lnTo>
                    <a:pt x="483870" y="120015"/>
                  </a:lnTo>
                  <a:lnTo>
                    <a:pt x="533400" y="122777"/>
                  </a:lnTo>
                  <a:lnTo>
                    <a:pt x="558165" y="126587"/>
                  </a:lnTo>
                  <a:lnTo>
                    <a:pt x="575310" y="109538"/>
                  </a:lnTo>
                  <a:lnTo>
                    <a:pt x="582930" y="91440"/>
                  </a:lnTo>
                  <a:lnTo>
                    <a:pt x="585788" y="77153"/>
                  </a:lnTo>
                  <a:lnTo>
                    <a:pt x="589597" y="74200"/>
                  </a:lnTo>
                  <a:lnTo>
                    <a:pt x="624840" y="52388"/>
                  </a:lnTo>
                  <a:lnTo>
                    <a:pt x="663892" y="66675"/>
                  </a:lnTo>
                  <a:lnTo>
                    <a:pt x="681038" y="91440"/>
                  </a:lnTo>
                  <a:lnTo>
                    <a:pt x="699135" y="87630"/>
                  </a:lnTo>
                  <a:lnTo>
                    <a:pt x="699135" y="77153"/>
                  </a:lnTo>
                  <a:lnTo>
                    <a:pt x="670560" y="52388"/>
                  </a:lnTo>
                  <a:lnTo>
                    <a:pt x="705803" y="56102"/>
                  </a:lnTo>
                  <a:lnTo>
                    <a:pt x="722947" y="35243"/>
                  </a:lnTo>
                  <a:lnTo>
                    <a:pt x="681038" y="17050"/>
                  </a:lnTo>
                  <a:lnTo>
                    <a:pt x="649605" y="35243"/>
                  </a:lnTo>
                  <a:lnTo>
                    <a:pt x="656272" y="10478"/>
                  </a:lnTo>
                  <a:lnTo>
                    <a:pt x="631508" y="6668"/>
                  </a:lnTo>
                  <a:lnTo>
                    <a:pt x="603885" y="39053"/>
                  </a:lnTo>
                  <a:lnTo>
                    <a:pt x="603885" y="17050"/>
                  </a:lnTo>
                  <a:lnTo>
                    <a:pt x="561022" y="56102"/>
                  </a:lnTo>
                  <a:lnTo>
                    <a:pt x="561022" y="39053"/>
                  </a:lnTo>
                  <a:lnTo>
                    <a:pt x="593408" y="6668"/>
                  </a:lnTo>
                  <a:lnTo>
                    <a:pt x="579120" y="0"/>
                  </a:lnTo>
                  <a:lnTo>
                    <a:pt x="543878" y="27527"/>
                  </a:lnTo>
                  <a:lnTo>
                    <a:pt x="519113" y="27527"/>
                  </a:lnTo>
                  <a:lnTo>
                    <a:pt x="512445" y="62865"/>
                  </a:lnTo>
                  <a:lnTo>
                    <a:pt x="501967" y="59912"/>
                  </a:lnTo>
                  <a:lnTo>
                    <a:pt x="501967" y="41815"/>
                  </a:lnTo>
                  <a:lnTo>
                    <a:pt x="480060" y="45625"/>
                  </a:lnTo>
                  <a:lnTo>
                    <a:pt x="469583" y="66675"/>
                  </a:lnTo>
                  <a:lnTo>
                    <a:pt x="452438" y="56102"/>
                  </a:lnTo>
                  <a:lnTo>
                    <a:pt x="427672" y="70390"/>
                  </a:lnTo>
                  <a:lnTo>
                    <a:pt x="417195" y="52388"/>
                  </a:lnTo>
                  <a:lnTo>
                    <a:pt x="396240" y="52388"/>
                  </a:lnTo>
                  <a:lnTo>
                    <a:pt x="381953" y="84677"/>
                  </a:lnTo>
                  <a:lnTo>
                    <a:pt x="350520" y="77153"/>
                  </a:lnTo>
                  <a:lnTo>
                    <a:pt x="339090" y="95250"/>
                  </a:lnTo>
                  <a:lnTo>
                    <a:pt x="357188" y="105728"/>
                  </a:lnTo>
                  <a:lnTo>
                    <a:pt x="353378" y="120015"/>
                  </a:lnTo>
                  <a:lnTo>
                    <a:pt x="321945" y="112300"/>
                  </a:lnTo>
                  <a:lnTo>
                    <a:pt x="307658" y="98012"/>
                  </a:lnTo>
                  <a:lnTo>
                    <a:pt x="290513" y="109538"/>
                  </a:lnTo>
                  <a:lnTo>
                    <a:pt x="282892" y="126587"/>
                  </a:lnTo>
                  <a:lnTo>
                    <a:pt x="286703" y="137065"/>
                  </a:lnTo>
                  <a:lnTo>
                    <a:pt x="307658" y="137065"/>
                  </a:lnTo>
                  <a:lnTo>
                    <a:pt x="325755" y="126587"/>
                  </a:lnTo>
                  <a:lnTo>
                    <a:pt x="321945" y="151352"/>
                  </a:lnTo>
                  <a:lnTo>
                    <a:pt x="307658" y="151352"/>
                  </a:lnTo>
                  <a:lnTo>
                    <a:pt x="293370" y="176213"/>
                  </a:lnTo>
                  <a:lnTo>
                    <a:pt x="276225" y="186690"/>
                  </a:lnTo>
                  <a:lnTo>
                    <a:pt x="240983" y="215170"/>
                  </a:lnTo>
                  <a:lnTo>
                    <a:pt x="240983" y="236220"/>
                  </a:lnTo>
                  <a:lnTo>
                    <a:pt x="222885" y="246602"/>
                  </a:lnTo>
                  <a:lnTo>
                    <a:pt x="199072" y="288608"/>
                  </a:lnTo>
                  <a:lnTo>
                    <a:pt x="180975" y="313277"/>
                  </a:lnTo>
                  <a:lnTo>
                    <a:pt x="161925" y="323850"/>
                  </a:lnTo>
                  <a:lnTo>
                    <a:pt x="129540" y="356140"/>
                  </a:lnTo>
                  <a:lnTo>
                    <a:pt x="147638" y="359093"/>
                  </a:lnTo>
                  <a:lnTo>
                    <a:pt x="164783" y="341852"/>
                  </a:lnTo>
                  <a:lnTo>
                    <a:pt x="172403" y="356140"/>
                  </a:lnTo>
                  <a:lnTo>
                    <a:pt x="147638" y="370427"/>
                  </a:lnTo>
                  <a:lnTo>
                    <a:pt x="122872" y="366713"/>
                  </a:lnTo>
                  <a:lnTo>
                    <a:pt x="108585" y="366713"/>
                  </a:lnTo>
                  <a:lnTo>
                    <a:pt x="98108" y="387668"/>
                  </a:lnTo>
                  <a:lnTo>
                    <a:pt x="73342" y="398145"/>
                  </a:lnTo>
                  <a:lnTo>
                    <a:pt x="45720" y="405670"/>
                  </a:lnTo>
                  <a:lnTo>
                    <a:pt x="6668" y="422815"/>
                  </a:lnTo>
                  <a:lnTo>
                    <a:pt x="0" y="441008"/>
                  </a:lnTo>
                  <a:lnTo>
                    <a:pt x="6668" y="479107"/>
                  </a:lnTo>
                  <a:lnTo>
                    <a:pt x="13335" y="493395"/>
                  </a:lnTo>
                  <a:lnTo>
                    <a:pt x="31433" y="503777"/>
                  </a:lnTo>
                  <a:lnTo>
                    <a:pt x="6668" y="521970"/>
                  </a:lnTo>
                  <a:lnTo>
                    <a:pt x="10478" y="536257"/>
                  </a:lnTo>
                  <a:lnTo>
                    <a:pt x="27622" y="532352"/>
                  </a:lnTo>
                  <a:lnTo>
                    <a:pt x="31433" y="539020"/>
                  </a:lnTo>
                  <a:lnTo>
                    <a:pt x="17145" y="557213"/>
                  </a:lnTo>
                  <a:lnTo>
                    <a:pt x="20955" y="571500"/>
                  </a:lnTo>
                  <a:lnTo>
                    <a:pt x="41910" y="588645"/>
                  </a:lnTo>
                  <a:lnTo>
                    <a:pt x="73342" y="595313"/>
                  </a:lnTo>
                  <a:lnTo>
                    <a:pt x="108585" y="578168"/>
                  </a:lnTo>
                  <a:lnTo>
                    <a:pt x="129540" y="557213"/>
                  </a:lnTo>
                  <a:lnTo>
                    <a:pt x="143828" y="549593"/>
                  </a:lnTo>
                  <a:lnTo>
                    <a:pt x="154305" y="528638"/>
                  </a:lnTo>
                  <a:lnTo>
                    <a:pt x="161925" y="546640"/>
                  </a:lnTo>
                  <a:lnTo>
                    <a:pt x="168592" y="553307"/>
                  </a:lnTo>
                  <a:lnTo>
                    <a:pt x="199072" y="549593"/>
                  </a:lnTo>
                  <a:lnTo>
                    <a:pt x="199072" y="52197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34" name="Freeform: Shape 3833">
              <a:extLst>
                <a:ext uri="{FF2B5EF4-FFF2-40B4-BE49-F238E27FC236}">
                  <a16:creationId xmlns:a16="http://schemas.microsoft.com/office/drawing/2014/main" id="{A2CC1E2E-FCDF-F145-732C-74C4E870D633}"/>
                </a:ext>
              </a:extLst>
            </p:cNvPr>
            <p:cNvSpPr/>
            <p:nvPr/>
          </p:nvSpPr>
          <p:spPr>
            <a:xfrm>
              <a:off x="6682006" y="2252359"/>
              <a:ext cx="24276" cy="34454"/>
            </a:xfrm>
            <a:custGeom>
              <a:avLst/>
              <a:gdLst>
                <a:gd name="connsiteX0" fmla="*/ 0 w 24764"/>
                <a:gd name="connsiteY0" fmla="*/ 35147 h 35147"/>
                <a:gd name="connsiteX1" fmla="*/ 20955 w 24764"/>
                <a:gd name="connsiteY1" fmla="*/ 14288 h 35147"/>
                <a:gd name="connsiteX2" fmla="*/ 24765 w 24764"/>
                <a:gd name="connsiteY2" fmla="*/ 0 h 35147"/>
                <a:gd name="connsiteX3" fmla="*/ 17145 w 24764"/>
                <a:gd name="connsiteY3" fmla="*/ 18097 h 35147"/>
                <a:gd name="connsiteX4" fmla="*/ 0 w 24764"/>
                <a:gd name="connsiteY4" fmla="*/ 35147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64" h="35147">
                  <a:moveTo>
                    <a:pt x="0" y="35147"/>
                  </a:moveTo>
                  <a:lnTo>
                    <a:pt x="20955" y="14288"/>
                  </a:lnTo>
                  <a:lnTo>
                    <a:pt x="24765" y="0"/>
                  </a:lnTo>
                  <a:lnTo>
                    <a:pt x="17145" y="18097"/>
                  </a:lnTo>
                  <a:lnTo>
                    <a:pt x="0" y="3514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35" name="Freeform: Shape 3834">
              <a:extLst>
                <a:ext uri="{FF2B5EF4-FFF2-40B4-BE49-F238E27FC236}">
                  <a16:creationId xmlns:a16="http://schemas.microsoft.com/office/drawing/2014/main" id="{8A65CA09-1FEA-8633-325F-F02FE6BA7FCA}"/>
                </a:ext>
              </a:extLst>
            </p:cNvPr>
            <p:cNvSpPr/>
            <p:nvPr/>
          </p:nvSpPr>
          <p:spPr>
            <a:xfrm>
              <a:off x="6568092" y="2260764"/>
              <a:ext cx="6536" cy="5602"/>
            </a:xfrm>
            <a:custGeom>
              <a:avLst/>
              <a:gdLst>
                <a:gd name="connsiteX0" fmla="*/ 0 w 6667"/>
                <a:gd name="connsiteY0" fmla="*/ 5715 h 5715"/>
                <a:gd name="connsiteX1" fmla="*/ 6668 w 6667"/>
                <a:gd name="connsiteY1" fmla="*/ 0 h 5715"/>
                <a:gd name="connsiteX2" fmla="*/ 0 w 6667"/>
                <a:gd name="connsiteY2" fmla="*/ 5715 h 5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67" h="5715">
                  <a:moveTo>
                    <a:pt x="0" y="5715"/>
                  </a:moveTo>
                  <a:lnTo>
                    <a:pt x="6668" y="0"/>
                  </a:lnTo>
                  <a:lnTo>
                    <a:pt x="0" y="571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36" name="Freeform: Shape 3835">
              <a:extLst>
                <a:ext uri="{FF2B5EF4-FFF2-40B4-BE49-F238E27FC236}">
                  <a16:creationId xmlns:a16="http://schemas.microsoft.com/office/drawing/2014/main" id="{3C09C792-80DB-B85E-3959-67A515BC4726}"/>
                </a:ext>
              </a:extLst>
            </p:cNvPr>
            <p:cNvSpPr/>
            <p:nvPr/>
          </p:nvSpPr>
          <p:spPr>
            <a:xfrm>
              <a:off x="6381347" y="2404464"/>
              <a:ext cx="20542" cy="51355"/>
            </a:xfrm>
            <a:custGeom>
              <a:avLst/>
              <a:gdLst>
                <a:gd name="connsiteX0" fmla="*/ 0 w 20955"/>
                <a:gd name="connsiteY0" fmla="*/ 52388 h 52387"/>
                <a:gd name="connsiteX1" fmla="*/ 17145 w 20955"/>
                <a:gd name="connsiteY1" fmla="*/ 24860 h 52387"/>
                <a:gd name="connsiteX2" fmla="*/ 20955 w 20955"/>
                <a:gd name="connsiteY2" fmla="*/ 0 h 52387"/>
                <a:gd name="connsiteX3" fmla="*/ 17145 w 20955"/>
                <a:gd name="connsiteY3" fmla="*/ 24860 h 52387"/>
                <a:gd name="connsiteX4" fmla="*/ 0 w 20955"/>
                <a:gd name="connsiteY4" fmla="*/ 52388 h 5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55" h="52387">
                  <a:moveTo>
                    <a:pt x="0" y="52388"/>
                  </a:moveTo>
                  <a:lnTo>
                    <a:pt x="17145" y="24860"/>
                  </a:lnTo>
                  <a:lnTo>
                    <a:pt x="20955" y="0"/>
                  </a:lnTo>
                  <a:lnTo>
                    <a:pt x="17145" y="24860"/>
                  </a:lnTo>
                  <a:lnTo>
                    <a:pt x="0" y="5238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37" name="Freeform: Shape 3836">
              <a:extLst>
                <a:ext uri="{FF2B5EF4-FFF2-40B4-BE49-F238E27FC236}">
                  <a16:creationId xmlns:a16="http://schemas.microsoft.com/office/drawing/2014/main" id="{809D4476-EE1F-2B1E-798C-46C41F67B6CF}"/>
                </a:ext>
              </a:extLst>
            </p:cNvPr>
            <p:cNvSpPr/>
            <p:nvPr/>
          </p:nvSpPr>
          <p:spPr>
            <a:xfrm>
              <a:off x="6450444" y="2307450"/>
              <a:ext cx="51354" cy="31653"/>
            </a:xfrm>
            <a:custGeom>
              <a:avLst/>
              <a:gdLst>
                <a:gd name="connsiteX0" fmla="*/ 0 w 52387"/>
                <a:gd name="connsiteY0" fmla="*/ 32290 h 32289"/>
                <a:gd name="connsiteX1" fmla="*/ 20955 w 52387"/>
                <a:gd name="connsiteY1" fmla="*/ 3715 h 32289"/>
                <a:gd name="connsiteX2" fmla="*/ 52388 w 52387"/>
                <a:gd name="connsiteY2" fmla="*/ 0 h 32289"/>
                <a:gd name="connsiteX3" fmla="*/ 20955 w 52387"/>
                <a:gd name="connsiteY3" fmla="*/ 3715 h 32289"/>
                <a:gd name="connsiteX4" fmla="*/ 0 w 52387"/>
                <a:gd name="connsiteY4" fmla="*/ 32290 h 32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2387" h="32289">
                  <a:moveTo>
                    <a:pt x="0" y="32290"/>
                  </a:moveTo>
                  <a:lnTo>
                    <a:pt x="20955" y="3715"/>
                  </a:lnTo>
                  <a:lnTo>
                    <a:pt x="52388" y="0"/>
                  </a:lnTo>
                  <a:lnTo>
                    <a:pt x="20955" y="3715"/>
                  </a:lnTo>
                  <a:lnTo>
                    <a:pt x="0" y="3229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38" name="Freeform: Shape 3837">
              <a:extLst>
                <a:ext uri="{FF2B5EF4-FFF2-40B4-BE49-F238E27FC236}">
                  <a16:creationId xmlns:a16="http://schemas.microsoft.com/office/drawing/2014/main" id="{95B27E3E-112D-009A-842D-52F7E43E913C}"/>
                </a:ext>
              </a:extLst>
            </p:cNvPr>
            <p:cNvSpPr/>
            <p:nvPr/>
          </p:nvSpPr>
          <p:spPr>
            <a:xfrm>
              <a:off x="6550352" y="2266366"/>
              <a:ext cx="17740" cy="3734"/>
            </a:xfrm>
            <a:custGeom>
              <a:avLst/>
              <a:gdLst>
                <a:gd name="connsiteX0" fmla="*/ 0 w 18097"/>
                <a:gd name="connsiteY0" fmla="*/ 3810 h 3809"/>
                <a:gd name="connsiteX1" fmla="*/ 18097 w 18097"/>
                <a:gd name="connsiteY1" fmla="*/ 0 h 3809"/>
                <a:gd name="connsiteX2" fmla="*/ 18097 w 18097"/>
                <a:gd name="connsiteY2" fmla="*/ 0 h 3809"/>
                <a:gd name="connsiteX3" fmla="*/ 18097 w 18097"/>
                <a:gd name="connsiteY3" fmla="*/ 0 h 3809"/>
                <a:gd name="connsiteX4" fmla="*/ 0 w 18097"/>
                <a:gd name="connsiteY4" fmla="*/ 3810 h 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097" h="3809">
                  <a:moveTo>
                    <a:pt x="0" y="3810"/>
                  </a:moveTo>
                  <a:lnTo>
                    <a:pt x="18097" y="0"/>
                  </a:lnTo>
                  <a:lnTo>
                    <a:pt x="18097" y="0"/>
                  </a:lnTo>
                  <a:lnTo>
                    <a:pt x="18097" y="0"/>
                  </a:lnTo>
                  <a:lnTo>
                    <a:pt x="0" y="381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39" name="Freeform: Shape 3838">
              <a:extLst>
                <a:ext uri="{FF2B5EF4-FFF2-40B4-BE49-F238E27FC236}">
                  <a16:creationId xmlns:a16="http://schemas.microsoft.com/office/drawing/2014/main" id="{65B7E65A-3FDD-9DC6-3FCB-53F334BDBC09}"/>
                </a:ext>
              </a:extLst>
            </p:cNvPr>
            <p:cNvSpPr/>
            <p:nvPr/>
          </p:nvSpPr>
          <p:spPr>
            <a:xfrm>
              <a:off x="5834186" y="2719132"/>
              <a:ext cx="217557" cy="331474"/>
            </a:xfrm>
            <a:custGeom>
              <a:avLst/>
              <a:gdLst>
                <a:gd name="connsiteX0" fmla="*/ 10477 w 221932"/>
                <a:gd name="connsiteY0" fmla="*/ 112395 h 338137"/>
                <a:gd name="connsiteX1" fmla="*/ 24765 w 221932"/>
                <a:gd name="connsiteY1" fmla="*/ 105823 h 338137"/>
                <a:gd name="connsiteX2" fmla="*/ 31432 w 221932"/>
                <a:gd name="connsiteY2" fmla="*/ 109538 h 338137"/>
                <a:gd name="connsiteX3" fmla="*/ 35242 w 221932"/>
                <a:gd name="connsiteY3" fmla="*/ 134398 h 338137"/>
                <a:gd name="connsiteX4" fmla="*/ 24765 w 221932"/>
                <a:gd name="connsiteY4" fmla="*/ 144875 h 338137"/>
                <a:gd name="connsiteX5" fmla="*/ 28575 w 221932"/>
                <a:gd name="connsiteY5" fmla="*/ 158210 h 338137"/>
                <a:gd name="connsiteX6" fmla="*/ 56197 w 221932"/>
                <a:gd name="connsiteY6" fmla="*/ 161925 h 338137"/>
                <a:gd name="connsiteX7" fmla="*/ 66675 w 221932"/>
                <a:gd name="connsiteY7" fmla="*/ 147638 h 338137"/>
                <a:gd name="connsiteX8" fmla="*/ 77152 w 221932"/>
                <a:gd name="connsiteY8" fmla="*/ 151543 h 338137"/>
                <a:gd name="connsiteX9" fmla="*/ 66675 w 221932"/>
                <a:gd name="connsiteY9" fmla="*/ 165830 h 338137"/>
                <a:gd name="connsiteX10" fmla="*/ 91440 w 221932"/>
                <a:gd name="connsiteY10" fmla="*/ 180118 h 338137"/>
                <a:gd name="connsiteX11" fmla="*/ 84772 w 221932"/>
                <a:gd name="connsiteY11" fmla="*/ 197263 h 338137"/>
                <a:gd name="connsiteX12" fmla="*/ 84772 w 221932"/>
                <a:gd name="connsiteY12" fmla="*/ 215360 h 338137"/>
                <a:gd name="connsiteX13" fmla="*/ 41910 w 221932"/>
                <a:gd name="connsiteY13" fmla="*/ 211550 h 338137"/>
                <a:gd name="connsiteX14" fmla="*/ 41910 w 221932"/>
                <a:gd name="connsiteY14" fmla="*/ 225838 h 338137"/>
                <a:gd name="connsiteX15" fmla="*/ 60007 w 221932"/>
                <a:gd name="connsiteY15" fmla="*/ 228600 h 338137"/>
                <a:gd name="connsiteX16" fmla="*/ 60007 w 221932"/>
                <a:gd name="connsiteY16" fmla="*/ 240125 h 338137"/>
                <a:gd name="connsiteX17" fmla="*/ 45720 w 221932"/>
                <a:gd name="connsiteY17" fmla="*/ 250508 h 338137"/>
                <a:gd name="connsiteX18" fmla="*/ 31432 w 221932"/>
                <a:gd name="connsiteY18" fmla="*/ 261080 h 338137"/>
                <a:gd name="connsiteX19" fmla="*/ 17145 w 221932"/>
                <a:gd name="connsiteY19" fmla="*/ 271463 h 338137"/>
                <a:gd name="connsiteX20" fmla="*/ 24765 w 221932"/>
                <a:gd name="connsiteY20" fmla="*/ 278225 h 338137"/>
                <a:gd name="connsiteX21" fmla="*/ 41910 w 221932"/>
                <a:gd name="connsiteY21" fmla="*/ 271463 h 338137"/>
                <a:gd name="connsiteX22" fmla="*/ 52388 w 221932"/>
                <a:gd name="connsiteY22" fmla="*/ 278225 h 338137"/>
                <a:gd name="connsiteX23" fmla="*/ 66675 w 221932"/>
                <a:gd name="connsiteY23" fmla="*/ 278225 h 338137"/>
                <a:gd name="connsiteX24" fmla="*/ 84772 w 221932"/>
                <a:gd name="connsiteY24" fmla="*/ 282035 h 338137"/>
                <a:gd name="connsiteX25" fmla="*/ 98107 w 221932"/>
                <a:gd name="connsiteY25" fmla="*/ 271463 h 338137"/>
                <a:gd name="connsiteX26" fmla="*/ 95250 w 221932"/>
                <a:gd name="connsiteY26" fmla="*/ 285750 h 338137"/>
                <a:gd name="connsiteX27" fmla="*/ 80963 w 221932"/>
                <a:gd name="connsiteY27" fmla="*/ 288608 h 338137"/>
                <a:gd name="connsiteX28" fmla="*/ 60007 w 221932"/>
                <a:gd name="connsiteY28" fmla="*/ 288608 h 338137"/>
                <a:gd name="connsiteX29" fmla="*/ 41910 w 221932"/>
                <a:gd name="connsiteY29" fmla="*/ 302895 h 338137"/>
                <a:gd name="connsiteX30" fmla="*/ 10477 w 221932"/>
                <a:gd name="connsiteY30" fmla="*/ 331470 h 338137"/>
                <a:gd name="connsiteX31" fmla="*/ 17145 w 221932"/>
                <a:gd name="connsiteY31" fmla="*/ 338138 h 338137"/>
                <a:gd name="connsiteX32" fmla="*/ 39052 w 221932"/>
                <a:gd name="connsiteY32" fmla="*/ 323850 h 338137"/>
                <a:gd name="connsiteX33" fmla="*/ 66675 w 221932"/>
                <a:gd name="connsiteY33" fmla="*/ 323850 h 338137"/>
                <a:gd name="connsiteX34" fmla="*/ 66675 w 221932"/>
                <a:gd name="connsiteY34" fmla="*/ 310610 h 338137"/>
                <a:gd name="connsiteX35" fmla="*/ 80963 w 221932"/>
                <a:gd name="connsiteY35" fmla="*/ 310610 h 338137"/>
                <a:gd name="connsiteX36" fmla="*/ 168592 w 221932"/>
                <a:gd name="connsiteY36" fmla="*/ 310610 h 338137"/>
                <a:gd name="connsiteX37" fmla="*/ 190500 w 221932"/>
                <a:gd name="connsiteY37" fmla="*/ 302895 h 338137"/>
                <a:gd name="connsiteX38" fmla="*/ 203835 w 221932"/>
                <a:gd name="connsiteY38" fmla="*/ 292513 h 338137"/>
                <a:gd name="connsiteX39" fmla="*/ 190500 w 221932"/>
                <a:gd name="connsiteY39" fmla="*/ 285750 h 338137"/>
                <a:gd name="connsiteX40" fmla="*/ 180022 w 221932"/>
                <a:gd name="connsiteY40" fmla="*/ 282035 h 338137"/>
                <a:gd name="connsiteX41" fmla="*/ 193357 w 221932"/>
                <a:gd name="connsiteY41" fmla="*/ 271463 h 338137"/>
                <a:gd name="connsiteX42" fmla="*/ 211455 w 221932"/>
                <a:gd name="connsiteY42" fmla="*/ 261080 h 338137"/>
                <a:gd name="connsiteX43" fmla="*/ 221932 w 221932"/>
                <a:gd name="connsiteY43" fmla="*/ 242888 h 338137"/>
                <a:gd name="connsiteX44" fmla="*/ 203835 w 221932"/>
                <a:gd name="connsiteY44" fmla="*/ 228600 h 338137"/>
                <a:gd name="connsiteX45" fmla="*/ 186690 w 221932"/>
                <a:gd name="connsiteY45" fmla="*/ 232505 h 338137"/>
                <a:gd name="connsiteX46" fmla="*/ 172402 w 221932"/>
                <a:gd name="connsiteY46" fmla="*/ 228600 h 338137"/>
                <a:gd name="connsiteX47" fmla="*/ 165735 w 221932"/>
                <a:gd name="connsiteY47" fmla="*/ 207645 h 338137"/>
                <a:gd name="connsiteX48" fmla="*/ 161925 w 221932"/>
                <a:gd name="connsiteY48" fmla="*/ 193358 h 338137"/>
                <a:gd name="connsiteX49" fmla="*/ 147638 w 221932"/>
                <a:gd name="connsiteY49" fmla="*/ 172498 h 338137"/>
                <a:gd name="connsiteX50" fmla="*/ 126682 w 221932"/>
                <a:gd name="connsiteY50" fmla="*/ 158210 h 338137"/>
                <a:gd name="connsiteX51" fmla="*/ 122872 w 221932"/>
                <a:gd name="connsiteY51" fmla="*/ 137255 h 338137"/>
                <a:gd name="connsiteX52" fmla="*/ 116205 w 221932"/>
                <a:gd name="connsiteY52" fmla="*/ 120110 h 338137"/>
                <a:gd name="connsiteX53" fmla="*/ 91440 w 221932"/>
                <a:gd name="connsiteY53" fmla="*/ 116300 h 338137"/>
                <a:gd name="connsiteX54" fmla="*/ 74295 w 221932"/>
                <a:gd name="connsiteY54" fmla="*/ 122968 h 338137"/>
                <a:gd name="connsiteX55" fmla="*/ 63817 w 221932"/>
                <a:gd name="connsiteY55" fmla="*/ 116300 h 338137"/>
                <a:gd name="connsiteX56" fmla="*/ 70485 w 221932"/>
                <a:gd name="connsiteY56" fmla="*/ 102013 h 338137"/>
                <a:gd name="connsiteX57" fmla="*/ 84772 w 221932"/>
                <a:gd name="connsiteY57" fmla="*/ 87725 h 338137"/>
                <a:gd name="connsiteX58" fmla="*/ 105727 w 221932"/>
                <a:gd name="connsiteY58" fmla="*/ 66675 h 338137"/>
                <a:gd name="connsiteX59" fmla="*/ 112395 w 221932"/>
                <a:gd name="connsiteY59" fmla="*/ 45720 h 338137"/>
                <a:gd name="connsiteX60" fmla="*/ 49530 w 221932"/>
                <a:gd name="connsiteY60" fmla="*/ 45720 h 338137"/>
                <a:gd name="connsiteX61" fmla="*/ 77152 w 221932"/>
                <a:gd name="connsiteY61" fmla="*/ 3905 h 338137"/>
                <a:gd name="connsiteX62" fmla="*/ 28575 w 221932"/>
                <a:gd name="connsiteY62" fmla="*/ 0 h 338137"/>
                <a:gd name="connsiteX63" fmla="*/ 20955 w 221932"/>
                <a:gd name="connsiteY63" fmla="*/ 35338 h 338137"/>
                <a:gd name="connsiteX64" fmla="*/ 3810 w 221932"/>
                <a:gd name="connsiteY64" fmla="*/ 35338 h 338137"/>
                <a:gd name="connsiteX65" fmla="*/ 0 w 221932"/>
                <a:gd name="connsiteY65" fmla="*/ 62960 h 338137"/>
                <a:gd name="connsiteX66" fmla="*/ 6667 w 221932"/>
                <a:gd name="connsiteY66" fmla="*/ 77248 h 338137"/>
                <a:gd name="connsiteX67" fmla="*/ 17145 w 221932"/>
                <a:gd name="connsiteY67" fmla="*/ 84868 h 338137"/>
                <a:gd name="connsiteX68" fmla="*/ 0 w 221932"/>
                <a:gd name="connsiteY68" fmla="*/ 105823 h 338137"/>
                <a:gd name="connsiteX69" fmla="*/ 10477 w 221932"/>
                <a:gd name="connsiteY69" fmla="*/ 112395 h 33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</a:cxnLst>
              <a:rect l="l" t="t" r="r" b="b"/>
              <a:pathLst>
                <a:path w="221932" h="338137">
                  <a:moveTo>
                    <a:pt x="10477" y="112395"/>
                  </a:moveTo>
                  <a:lnTo>
                    <a:pt x="24765" y="105823"/>
                  </a:lnTo>
                  <a:lnTo>
                    <a:pt x="31432" y="109538"/>
                  </a:lnTo>
                  <a:lnTo>
                    <a:pt x="35242" y="134398"/>
                  </a:lnTo>
                  <a:lnTo>
                    <a:pt x="24765" y="144875"/>
                  </a:lnTo>
                  <a:lnTo>
                    <a:pt x="28575" y="158210"/>
                  </a:lnTo>
                  <a:lnTo>
                    <a:pt x="56197" y="161925"/>
                  </a:lnTo>
                  <a:lnTo>
                    <a:pt x="66675" y="147638"/>
                  </a:lnTo>
                  <a:lnTo>
                    <a:pt x="77152" y="151543"/>
                  </a:lnTo>
                  <a:lnTo>
                    <a:pt x="66675" y="165830"/>
                  </a:lnTo>
                  <a:lnTo>
                    <a:pt x="91440" y="180118"/>
                  </a:lnTo>
                  <a:lnTo>
                    <a:pt x="84772" y="197263"/>
                  </a:lnTo>
                  <a:lnTo>
                    <a:pt x="84772" y="215360"/>
                  </a:lnTo>
                  <a:lnTo>
                    <a:pt x="41910" y="211550"/>
                  </a:lnTo>
                  <a:lnTo>
                    <a:pt x="41910" y="225838"/>
                  </a:lnTo>
                  <a:lnTo>
                    <a:pt x="60007" y="228600"/>
                  </a:lnTo>
                  <a:lnTo>
                    <a:pt x="60007" y="240125"/>
                  </a:lnTo>
                  <a:lnTo>
                    <a:pt x="45720" y="250508"/>
                  </a:lnTo>
                  <a:lnTo>
                    <a:pt x="31432" y="261080"/>
                  </a:lnTo>
                  <a:lnTo>
                    <a:pt x="17145" y="271463"/>
                  </a:lnTo>
                  <a:lnTo>
                    <a:pt x="24765" y="278225"/>
                  </a:lnTo>
                  <a:lnTo>
                    <a:pt x="41910" y="271463"/>
                  </a:lnTo>
                  <a:lnTo>
                    <a:pt x="52388" y="278225"/>
                  </a:lnTo>
                  <a:lnTo>
                    <a:pt x="66675" y="278225"/>
                  </a:lnTo>
                  <a:lnTo>
                    <a:pt x="84772" y="282035"/>
                  </a:lnTo>
                  <a:lnTo>
                    <a:pt x="98107" y="271463"/>
                  </a:lnTo>
                  <a:lnTo>
                    <a:pt x="95250" y="285750"/>
                  </a:lnTo>
                  <a:lnTo>
                    <a:pt x="80963" y="288608"/>
                  </a:lnTo>
                  <a:lnTo>
                    <a:pt x="60007" y="288608"/>
                  </a:lnTo>
                  <a:lnTo>
                    <a:pt x="41910" y="302895"/>
                  </a:lnTo>
                  <a:lnTo>
                    <a:pt x="10477" y="331470"/>
                  </a:lnTo>
                  <a:lnTo>
                    <a:pt x="17145" y="338138"/>
                  </a:lnTo>
                  <a:lnTo>
                    <a:pt x="39052" y="323850"/>
                  </a:lnTo>
                  <a:lnTo>
                    <a:pt x="66675" y="323850"/>
                  </a:lnTo>
                  <a:lnTo>
                    <a:pt x="66675" y="310610"/>
                  </a:lnTo>
                  <a:lnTo>
                    <a:pt x="80963" y="310610"/>
                  </a:lnTo>
                  <a:lnTo>
                    <a:pt x="168592" y="310610"/>
                  </a:lnTo>
                  <a:lnTo>
                    <a:pt x="190500" y="302895"/>
                  </a:lnTo>
                  <a:lnTo>
                    <a:pt x="203835" y="292513"/>
                  </a:lnTo>
                  <a:lnTo>
                    <a:pt x="190500" y="285750"/>
                  </a:lnTo>
                  <a:lnTo>
                    <a:pt x="180022" y="282035"/>
                  </a:lnTo>
                  <a:lnTo>
                    <a:pt x="193357" y="271463"/>
                  </a:lnTo>
                  <a:lnTo>
                    <a:pt x="211455" y="261080"/>
                  </a:lnTo>
                  <a:lnTo>
                    <a:pt x="221932" y="242888"/>
                  </a:lnTo>
                  <a:lnTo>
                    <a:pt x="203835" y="228600"/>
                  </a:lnTo>
                  <a:lnTo>
                    <a:pt x="186690" y="232505"/>
                  </a:lnTo>
                  <a:lnTo>
                    <a:pt x="172402" y="228600"/>
                  </a:lnTo>
                  <a:lnTo>
                    <a:pt x="165735" y="207645"/>
                  </a:lnTo>
                  <a:lnTo>
                    <a:pt x="161925" y="193358"/>
                  </a:lnTo>
                  <a:lnTo>
                    <a:pt x="147638" y="172498"/>
                  </a:lnTo>
                  <a:lnTo>
                    <a:pt x="126682" y="158210"/>
                  </a:lnTo>
                  <a:lnTo>
                    <a:pt x="122872" y="137255"/>
                  </a:lnTo>
                  <a:lnTo>
                    <a:pt x="116205" y="120110"/>
                  </a:lnTo>
                  <a:lnTo>
                    <a:pt x="91440" y="116300"/>
                  </a:lnTo>
                  <a:lnTo>
                    <a:pt x="74295" y="122968"/>
                  </a:lnTo>
                  <a:lnTo>
                    <a:pt x="63817" y="116300"/>
                  </a:lnTo>
                  <a:lnTo>
                    <a:pt x="70485" y="102013"/>
                  </a:lnTo>
                  <a:lnTo>
                    <a:pt x="84772" y="87725"/>
                  </a:lnTo>
                  <a:lnTo>
                    <a:pt x="105727" y="66675"/>
                  </a:lnTo>
                  <a:lnTo>
                    <a:pt x="112395" y="45720"/>
                  </a:lnTo>
                  <a:lnTo>
                    <a:pt x="49530" y="45720"/>
                  </a:lnTo>
                  <a:lnTo>
                    <a:pt x="77152" y="3905"/>
                  </a:lnTo>
                  <a:lnTo>
                    <a:pt x="28575" y="0"/>
                  </a:lnTo>
                  <a:lnTo>
                    <a:pt x="20955" y="35338"/>
                  </a:lnTo>
                  <a:lnTo>
                    <a:pt x="3810" y="35338"/>
                  </a:lnTo>
                  <a:lnTo>
                    <a:pt x="0" y="62960"/>
                  </a:lnTo>
                  <a:lnTo>
                    <a:pt x="6667" y="77248"/>
                  </a:lnTo>
                  <a:lnTo>
                    <a:pt x="17145" y="84868"/>
                  </a:lnTo>
                  <a:lnTo>
                    <a:pt x="0" y="105823"/>
                  </a:lnTo>
                  <a:lnTo>
                    <a:pt x="10477" y="11239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40" name="Freeform: Shape 3839">
              <a:extLst>
                <a:ext uri="{FF2B5EF4-FFF2-40B4-BE49-F238E27FC236}">
                  <a16:creationId xmlns:a16="http://schemas.microsoft.com/office/drawing/2014/main" id="{CA7E07CF-51AC-39E7-F8F9-B5BBADE42C63}"/>
                </a:ext>
              </a:extLst>
            </p:cNvPr>
            <p:cNvSpPr/>
            <p:nvPr/>
          </p:nvSpPr>
          <p:spPr>
            <a:xfrm>
              <a:off x="6950919" y="3635217"/>
              <a:ext cx="569572" cy="463130"/>
            </a:xfrm>
            <a:custGeom>
              <a:avLst/>
              <a:gdLst>
                <a:gd name="connsiteX0" fmla="*/ 531495 w 581025"/>
                <a:gd name="connsiteY0" fmla="*/ 288512 h 472439"/>
                <a:gd name="connsiteX1" fmla="*/ 510540 w 581025"/>
                <a:gd name="connsiteY1" fmla="*/ 281940 h 472439"/>
                <a:gd name="connsiteX2" fmla="*/ 496253 w 581025"/>
                <a:gd name="connsiteY2" fmla="*/ 278130 h 472439"/>
                <a:gd name="connsiteX3" fmla="*/ 472440 w 581025"/>
                <a:gd name="connsiteY3" fmla="*/ 250412 h 472439"/>
                <a:gd name="connsiteX4" fmla="*/ 458153 w 581025"/>
                <a:gd name="connsiteY4" fmla="*/ 232315 h 472439"/>
                <a:gd name="connsiteX5" fmla="*/ 450532 w 581025"/>
                <a:gd name="connsiteY5" fmla="*/ 225742 h 472439"/>
                <a:gd name="connsiteX6" fmla="*/ 437198 w 581025"/>
                <a:gd name="connsiteY6" fmla="*/ 207550 h 472439"/>
                <a:gd name="connsiteX7" fmla="*/ 429578 w 581025"/>
                <a:gd name="connsiteY7" fmla="*/ 194215 h 472439"/>
                <a:gd name="connsiteX8" fmla="*/ 425768 w 581025"/>
                <a:gd name="connsiteY8" fmla="*/ 169450 h 472439"/>
                <a:gd name="connsiteX9" fmla="*/ 412432 w 581025"/>
                <a:gd name="connsiteY9" fmla="*/ 155162 h 472439"/>
                <a:gd name="connsiteX10" fmla="*/ 398145 w 581025"/>
                <a:gd name="connsiteY10" fmla="*/ 144780 h 472439"/>
                <a:gd name="connsiteX11" fmla="*/ 380048 w 581025"/>
                <a:gd name="connsiteY11" fmla="*/ 109538 h 472439"/>
                <a:gd name="connsiteX12" fmla="*/ 366713 w 581025"/>
                <a:gd name="connsiteY12" fmla="*/ 109538 h 472439"/>
                <a:gd name="connsiteX13" fmla="*/ 352425 w 581025"/>
                <a:gd name="connsiteY13" fmla="*/ 95250 h 472439"/>
                <a:gd name="connsiteX14" fmla="*/ 334328 w 581025"/>
                <a:gd name="connsiteY14" fmla="*/ 91440 h 472439"/>
                <a:gd name="connsiteX15" fmla="*/ 306705 w 581025"/>
                <a:gd name="connsiteY15" fmla="*/ 91440 h 472439"/>
                <a:gd name="connsiteX16" fmla="*/ 278130 w 581025"/>
                <a:gd name="connsiteY16" fmla="*/ 91440 h 472439"/>
                <a:gd name="connsiteX17" fmla="*/ 253365 w 581025"/>
                <a:gd name="connsiteY17" fmla="*/ 74200 h 472439"/>
                <a:gd name="connsiteX18" fmla="*/ 240030 w 581025"/>
                <a:gd name="connsiteY18" fmla="*/ 70390 h 472439"/>
                <a:gd name="connsiteX19" fmla="*/ 236220 w 581025"/>
                <a:gd name="connsiteY19" fmla="*/ 63817 h 472439"/>
                <a:gd name="connsiteX20" fmla="*/ 221932 w 581025"/>
                <a:gd name="connsiteY20" fmla="*/ 41815 h 472439"/>
                <a:gd name="connsiteX21" fmla="*/ 158115 w 581025"/>
                <a:gd name="connsiteY21" fmla="*/ 6667 h 472439"/>
                <a:gd name="connsiteX22" fmla="*/ 122873 w 581025"/>
                <a:gd name="connsiteY22" fmla="*/ 0 h 472439"/>
                <a:gd name="connsiteX23" fmla="*/ 120015 w 581025"/>
                <a:gd name="connsiteY23" fmla="*/ 10477 h 472439"/>
                <a:gd name="connsiteX24" fmla="*/ 70485 w 581025"/>
                <a:gd name="connsiteY24" fmla="*/ 17050 h 472439"/>
                <a:gd name="connsiteX25" fmla="*/ 91440 w 581025"/>
                <a:gd name="connsiteY25" fmla="*/ 45625 h 472439"/>
                <a:gd name="connsiteX26" fmla="*/ 80963 w 581025"/>
                <a:gd name="connsiteY26" fmla="*/ 56102 h 472439"/>
                <a:gd name="connsiteX27" fmla="*/ 77153 w 581025"/>
                <a:gd name="connsiteY27" fmla="*/ 66675 h 472439"/>
                <a:gd name="connsiteX28" fmla="*/ 56198 w 581025"/>
                <a:gd name="connsiteY28" fmla="*/ 70390 h 472439"/>
                <a:gd name="connsiteX29" fmla="*/ 45720 w 581025"/>
                <a:gd name="connsiteY29" fmla="*/ 84677 h 472439"/>
                <a:gd name="connsiteX30" fmla="*/ 39053 w 581025"/>
                <a:gd name="connsiteY30" fmla="*/ 91440 h 472439"/>
                <a:gd name="connsiteX31" fmla="*/ 6668 w 581025"/>
                <a:gd name="connsiteY31" fmla="*/ 80963 h 472439"/>
                <a:gd name="connsiteX32" fmla="*/ 0 w 581025"/>
                <a:gd name="connsiteY32" fmla="*/ 120015 h 472439"/>
                <a:gd name="connsiteX33" fmla="*/ 14288 w 581025"/>
                <a:gd name="connsiteY33" fmla="*/ 122777 h 472439"/>
                <a:gd name="connsiteX34" fmla="*/ 31432 w 581025"/>
                <a:gd name="connsiteY34" fmla="*/ 159067 h 472439"/>
                <a:gd name="connsiteX35" fmla="*/ 66675 w 581025"/>
                <a:gd name="connsiteY35" fmla="*/ 200977 h 472439"/>
                <a:gd name="connsiteX36" fmla="*/ 66675 w 581025"/>
                <a:gd name="connsiteY36" fmla="*/ 221837 h 472439"/>
                <a:gd name="connsiteX37" fmla="*/ 74295 w 581025"/>
                <a:gd name="connsiteY37" fmla="*/ 240030 h 472439"/>
                <a:gd name="connsiteX38" fmla="*/ 99060 w 581025"/>
                <a:gd name="connsiteY38" fmla="*/ 250412 h 472439"/>
                <a:gd name="connsiteX39" fmla="*/ 120015 w 581025"/>
                <a:gd name="connsiteY39" fmla="*/ 281940 h 472439"/>
                <a:gd name="connsiteX40" fmla="*/ 120015 w 581025"/>
                <a:gd name="connsiteY40" fmla="*/ 324802 h 472439"/>
                <a:gd name="connsiteX41" fmla="*/ 134303 w 581025"/>
                <a:gd name="connsiteY41" fmla="*/ 352425 h 472439"/>
                <a:gd name="connsiteX42" fmla="*/ 155257 w 581025"/>
                <a:gd name="connsiteY42" fmla="*/ 356140 h 472439"/>
                <a:gd name="connsiteX43" fmla="*/ 169545 w 581025"/>
                <a:gd name="connsiteY43" fmla="*/ 373380 h 472439"/>
                <a:gd name="connsiteX44" fmla="*/ 186690 w 581025"/>
                <a:gd name="connsiteY44" fmla="*/ 408527 h 472439"/>
                <a:gd name="connsiteX45" fmla="*/ 211455 w 581025"/>
                <a:gd name="connsiteY45" fmla="*/ 440912 h 472439"/>
                <a:gd name="connsiteX46" fmla="*/ 225743 w 581025"/>
                <a:gd name="connsiteY46" fmla="*/ 472440 h 472439"/>
                <a:gd name="connsiteX47" fmla="*/ 240030 w 581025"/>
                <a:gd name="connsiteY47" fmla="*/ 440912 h 472439"/>
                <a:gd name="connsiteX48" fmla="*/ 299085 w 581025"/>
                <a:gd name="connsiteY48" fmla="*/ 437102 h 472439"/>
                <a:gd name="connsiteX49" fmla="*/ 352425 w 581025"/>
                <a:gd name="connsiteY49" fmla="*/ 447675 h 472439"/>
                <a:gd name="connsiteX50" fmla="*/ 398145 w 581025"/>
                <a:gd name="connsiteY50" fmla="*/ 405765 h 472439"/>
                <a:gd name="connsiteX51" fmla="*/ 454343 w 581025"/>
                <a:gd name="connsiteY51" fmla="*/ 395287 h 472439"/>
                <a:gd name="connsiteX52" fmla="*/ 482918 w 581025"/>
                <a:gd name="connsiteY52" fmla="*/ 398050 h 472439"/>
                <a:gd name="connsiteX53" fmla="*/ 510540 w 581025"/>
                <a:gd name="connsiteY53" fmla="*/ 381000 h 472439"/>
                <a:gd name="connsiteX54" fmla="*/ 539115 w 581025"/>
                <a:gd name="connsiteY54" fmla="*/ 366712 h 472439"/>
                <a:gd name="connsiteX55" fmla="*/ 566738 w 581025"/>
                <a:gd name="connsiteY55" fmla="*/ 359950 h 472439"/>
                <a:gd name="connsiteX56" fmla="*/ 581025 w 581025"/>
                <a:gd name="connsiteY56" fmla="*/ 327565 h 472439"/>
                <a:gd name="connsiteX57" fmla="*/ 581025 w 581025"/>
                <a:gd name="connsiteY57" fmla="*/ 302800 h 472439"/>
                <a:gd name="connsiteX58" fmla="*/ 574357 w 581025"/>
                <a:gd name="connsiteY58" fmla="*/ 288512 h 472439"/>
                <a:gd name="connsiteX59" fmla="*/ 541973 w 581025"/>
                <a:gd name="connsiteY59" fmla="*/ 292417 h 472439"/>
                <a:gd name="connsiteX60" fmla="*/ 531495 w 581025"/>
                <a:gd name="connsiteY60" fmla="*/ 288512 h 472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581025" h="472439">
                  <a:moveTo>
                    <a:pt x="531495" y="288512"/>
                  </a:moveTo>
                  <a:lnTo>
                    <a:pt x="510540" y="281940"/>
                  </a:lnTo>
                  <a:lnTo>
                    <a:pt x="496253" y="278130"/>
                  </a:lnTo>
                  <a:lnTo>
                    <a:pt x="472440" y="250412"/>
                  </a:lnTo>
                  <a:lnTo>
                    <a:pt x="458153" y="232315"/>
                  </a:lnTo>
                  <a:lnTo>
                    <a:pt x="450532" y="225742"/>
                  </a:lnTo>
                  <a:lnTo>
                    <a:pt x="437198" y="207550"/>
                  </a:lnTo>
                  <a:lnTo>
                    <a:pt x="429578" y="194215"/>
                  </a:lnTo>
                  <a:lnTo>
                    <a:pt x="425768" y="169450"/>
                  </a:lnTo>
                  <a:lnTo>
                    <a:pt x="412432" y="155162"/>
                  </a:lnTo>
                  <a:lnTo>
                    <a:pt x="398145" y="144780"/>
                  </a:lnTo>
                  <a:lnTo>
                    <a:pt x="380048" y="109538"/>
                  </a:lnTo>
                  <a:lnTo>
                    <a:pt x="366713" y="109538"/>
                  </a:lnTo>
                  <a:lnTo>
                    <a:pt x="352425" y="95250"/>
                  </a:lnTo>
                  <a:lnTo>
                    <a:pt x="334328" y="91440"/>
                  </a:lnTo>
                  <a:lnTo>
                    <a:pt x="306705" y="91440"/>
                  </a:lnTo>
                  <a:lnTo>
                    <a:pt x="278130" y="91440"/>
                  </a:lnTo>
                  <a:lnTo>
                    <a:pt x="253365" y="74200"/>
                  </a:lnTo>
                  <a:lnTo>
                    <a:pt x="240030" y="70390"/>
                  </a:lnTo>
                  <a:lnTo>
                    <a:pt x="236220" y="63817"/>
                  </a:lnTo>
                  <a:lnTo>
                    <a:pt x="221932" y="41815"/>
                  </a:lnTo>
                  <a:lnTo>
                    <a:pt x="158115" y="6667"/>
                  </a:lnTo>
                  <a:lnTo>
                    <a:pt x="122873" y="0"/>
                  </a:lnTo>
                  <a:lnTo>
                    <a:pt x="120015" y="10477"/>
                  </a:lnTo>
                  <a:lnTo>
                    <a:pt x="70485" y="17050"/>
                  </a:lnTo>
                  <a:lnTo>
                    <a:pt x="91440" y="45625"/>
                  </a:lnTo>
                  <a:lnTo>
                    <a:pt x="80963" y="56102"/>
                  </a:lnTo>
                  <a:lnTo>
                    <a:pt x="77153" y="66675"/>
                  </a:lnTo>
                  <a:lnTo>
                    <a:pt x="56198" y="70390"/>
                  </a:lnTo>
                  <a:lnTo>
                    <a:pt x="45720" y="84677"/>
                  </a:lnTo>
                  <a:lnTo>
                    <a:pt x="39053" y="91440"/>
                  </a:lnTo>
                  <a:lnTo>
                    <a:pt x="6668" y="80963"/>
                  </a:lnTo>
                  <a:lnTo>
                    <a:pt x="0" y="120015"/>
                  </a:lnTo>
                  <a:lnTo>
                    <a:pt x="14288" y="122777"/>
                  </a:lnTo>
                  <a:lnTo>
                    <a:pt x="31432" y="159067"/>
                  </a:lnTo>
                  <a:lnTo>
                    <a:pt x="66675" y="200977"/>
                  </a:lnTo>
                  <a:lnTo>
                    <a:pt x="66675" y="221837"/>
                  </a:lnTo>
                  <a:lnTo>
                    <a:pt x="74295" y="240030"/>
                  </a:lnTo>
                  <a:lnTo>
                    <a:pt x="99060" y="250412"/>
                  </a:lnTo>
                  <a:lnTo>
                    <a:pt x="120015" y="281940"/>
                  </a:lnTo>
                  <a:lnTo>
                    <a:pt x="120015" y="324802"/>
                  </a:lnTo>
                  <a:lnTo>
                    <a:pt x="134303" y="352425"/>
                  </a:lnTo>
                  <a:lnTo>
                    <a:pt x="155257" y="356140"/>
                  </a:lnTo>
                  <a:lnTo>
                    <a:pt x="169545" y="373380"/>
                  </a:lnTo>
                  <a:lnTo>
                    <a:pt x="186690" y="408527"/>
                  </a:lnTo>
                  <a:lnTo>
                    <a:pt x="211455" y="440912"/>
                  </a:lnTo>
                  <a:lnTo>
                    <a:pt x="225743" y="472440"/>
                  </a:lnTo>
                  <a:lnTo>
                    <a:pt x="240030" y="440912"/>
                  </a:lnTo>
                  <a:lnTo>
                    <a:pt x="299085" y="437102"/>
                  </a:lnTo>
                  <a:lnTo>
                    <a:pt x="352425" y="447675"/>
                  </a:lnTo>
                  <a:lnTo>
                    <a:pt x="398145" y="405765"/>
                  </a:lnTo>
                  <a:lnTo>
                    <a:pt x="454343" y="395287"/>
                  </a:lnTo>
                  <a:lnTo>
                    <a:pt x="482918" y="398050"/>
                  </a:lnTo>
                  <a:lnTo>
                    <a:pt x="510540" y="381000"/>
                  </a:lnTo>
                  <a:lnTo>
                    <a:pt x="539115" y="366712"/>
                  </a:lnTo>
                  <a:lnTo>
                    <a:pt x="566738" y="359950"/>
                  </a:lnTo>
                  <a:lnTo>
                    <a:pt x="581025" y="327565"/>
                  </a:lnTo>
                  <a:lnTo>
                    <a:pt x="581025" y="302800"/>
                  </a:lnTo>
                  <a:lnTo>
                    <a:pt x="574357" y="288512"/>
                  </a:lnTo>
                  <a:lnTo>
                    <a:pt x="541973" y="292417"/>
                  </a:lnTo>
                  <a:lnTo>
                    <a:pt x="531495" y="28851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41" name="Freeform: Shape 3840">
              <a:extLst>
                <a:ext uri="{FF2B5EF4-FFF2-40B4-BE49-F238E27FC236}">
                  <a16:creationId xmlns:a16="http://schemas.microsoft.com/office/drawing/2014/main" id="{F5211F60-827C-FE24-10C2-87B25AA5E7B2}"/>
                </a:ext>
              </a:extLst>
            </p:cNvPr>
            <p:cNvSpPr/>
            <p:nvPr/>
          </p:nvSpPr>
          <p:spPr>
            <a:xfrm>
              <a:off x="6267433" y="2838650"/>
              <a:ext cx="29879" cy="22503"/>
            </a:xfrm>
            <a:custGeom>
              <a:avLst/>
              <a:gdLst>
                <a:gd name="connsiteX0" fmla="*/ 13335 w 30480"/>
                <a:gd name="connsiteY0" fmla="*/ 0 h 22955"/>
                <a:gd name="connsiteX1" fmla="*/ 0 w 30480"/>
                <a:gd name="connsiteY1" fmla="*/ 5810 h 22955"/>
                <a:gd name="connsiteX2" fmla="*/ 9525 w 30480"/>
                <a:gd name="connsiteY2" fmla="*/ 20098 h 22955"/>
                <a:gd name="connsiteX3" fmla="*/ 20955 w 30480"/>
                <a:gd name="connsiteY3" fmla="*/ 22955 h 22955"/>
                <a:gd name="connsiteX4" fmla="*/ 30480 w 30480"/>
                <a:gd name="connsiteY4" fmla="*/ 15335 h 22955"/>
                <a:gd name="connsiteX5" fmla="*/ 13335 w 30480"/>
                <a:gd name="connsiteY5" fmla="*/ 0 h 22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480" h="22955">
                  <a:moveTo>
                    <a:pt x="13335" y="0"/>
                  </a:moveTo>
                  <a:lnTo>
                    <a:pt x="0" y="5810"/>
                  </a:lnTo>
                  <a:lnTo>
                    <a:pt x="9525" y="20098"/>
                  </a:lnTo>
                  <a:lnTo>
                    <a:pt x="20955" y="22955"/>
                  </a:lnTo>
                  <a:lnTo>
                    <a:pt x="30480" y="15335"/>
                  </a:lnTo>
                  <a:lnTo>
                    <a:pt x="13335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42" name="Freeform: Shape 3841">
              <a:extLst>
                <a:ext uri="{FF2B5EF4-FFF2-40B4-BE49-F238E27FC236}">
                  <a16:creationId xmlns:a16="http://schemas.microsoft.com/office/drawing/2014/main" id="{A4FA5FF3-DAE0-E38B-6249-8F3500F250AF}"/>
                </a:ext>
              </a:extLst>
            </p:cNvPr>
            <p:cNvSpPr/>
            <p:nvPr/>
          </p:nvSpPr>
          <p:spPr>
            <a:xfrm>
              <a:off x="6290776" y="2857325"/>
              <a:ext cx="8403" cy="15033"/>
            </a:xfrm>
            <a:custGeom>
              <a:avLst/>
              <a:gdLst>
                <a:gd name="connsiteX0" fmla="*/ 8573 w 8572"/>
                <a:gd name="connsiteY0" fmla="*/ 0 h 15335"/>
                <a:gd name="connsiteX1" fmla="*/ 0 w 8572"/>
                <a:gd name="connsiteY1" fmla="*/ 6667 h 15335"/>
                <a:gd name="connsiteX2" fmla="*/ 0 w 8572"/>
                <a:gd name="connsiteY2" fmla="*/ 15335 h 15335"/>
                <a:gd name="connsiteX3" fmla="*/ 5715 w 8572"/>
                <a:gd name="connsiteY3" fmla="*/ 11430 h 15335"/>
                <a:gd name="connsiteX4" fmla="*/ 8573 w 8572"/>
                <a:gd name="connsiteY4" fmla="*/ 0 h 15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72" h="15335">
                  <a:moveTo>
                    <a:pt x="8573" y="0"/>
                  </a:moveTo>
                  <a:lnTo>
                    <a:pt x="0" y="6667"/>
                  </a:lnTo>
                  <a:lnTo>
                    <a:pt x="0" y="15335"/>
                  </a:lnTo>
                  <a:lnTo>
                    <a:pt x="5715" y="11430"/>
                  </a:lnTo>
                  <a:lnTo>
                    <a:pt x="8573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43" name="Freeform: Shape 3842">
              <a:extLst>
                <a:ext uri="{FF2B5EF4-FFF2-40B4-BE49-F238E27FC236}">
                  <a16:creationId xmlns:a16="http://schemas.microsoft.com/office/drawing/2014/main" id="{1D3FC7EC-7458-FC24-1DF6-5C686EE1D04B}"/>
                </a:ext>
              </a:extLst>
            </p:cNvPr>
            <p:cNvSpPr/>
            <p:nvPr/>
          </p:nvSpPr>
          <p:spPr>
            <a:xfrm>
              <a:off x="6303848" y="2866662"/>
              <a:ext cx="16806" cy="7563"/>
            </a:xfrm>
            <a:custGeom>
              <a:avLst/>
              <a:gdLst>
                <a:gd name="connsiteX0" fmla="*/ 1905 w 17144"/>
                <a:gd name="connsiteY0" fmla="*/ 5810 h 7715"/>
                <a:gd name="connsiteX1" fmla="*/ 17145 w 17144"/>
                <a:gd name="connsiteY1" fmla="*/ 7715 h 7715"/>
                <a:gd name="connsiteX2" fmla="*/ 13335 w 17144"/>
                <a:gd name="connsiteY2" fmla="*/ 1048 h 7715"/>
                <a:gd name="connsiteX3" fmla="*/ 0 w 17144"/>
                <a:gd name="connsiteY3" fmla="*/ 0 h 7715"/>
                <a:gd name="connsiteX4" fmla="*/ 1905 w 17144"/>
                <a:gd name="connsiteY4" fmla="*/ 5810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144" h="7715">
                  <a:moveTo>
                    <a:pt x="1905" y="5810"/>
                  </a:moveTo>
                  <a:lnTo>
                    <a:pt x="17145" y="7715"/>
                  </a:lnTo>
                  <a:lnTo>
                    <a:pt x="13335" y="1048"/>
                  </a:lnTo>
                  <a:lnTo>
                    <a:pt x="0" y="0"/>
                  </a:lnTo>
                  <a:lnTo>
                    <a:pt x="1905" y="581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44" name="Freeform: Shape 3843">
              <a:extLst>
                <a:ext uri="{FF2B5EF4-FFF2-40B4-BE49-F238E27FC236}">
                  <a16:creationId xmlns:a16="http://schemas.microsoft.com/office/drawing/2014/main" id="{51DCF465-B105-510D-7CF8-259A02C5581A}"/>
                </a:ext>
              </a:extLst>
            </p:cNvPr>
            <p:cNvSpPr/>
            <p:nvPr/>
          </p:nvSpPr>
          <p:spPr>
            <a:xfrm>
              <a:off x="6321590" y="2866662"/>
              <a:ext cx="8403" cy="6536"/>
            </a:xfrm>
            <a:custGeom>
              <a:avLst/>
              <a:gdLst>
                <a:gd name="connsiteX0" fmla="*/ 0 w 8572"/>
                <a:gd name="connsiteY0" fmla="*/ 1048 h 6667"/>
                <a:gd name="connsiteX1" fmla="*/ 3810 w 8572"/>
                <a:gd name="connsiteY1" fmla="*/ 6667 h 6667"/>
                <a:gd name="connsiteX2" fmla="*/ 8572 w 8572"/>
                <a:gd name="connsiteY2" fmla="*/ 2953 h 6667"/>
                <a:gd name="connsiteX3" fmla="*/ 8572 w 8572"/>
                <a:gd name="connsiteY3" fmla="*/ 0 h 6667"/>
                <a:gd name="connsiteX4" fmla="*/ 1905 w 8572"/>
                <a:gd name="connsiteY4" fmla="*/ 0 h 6667"/>
                <a:gd name="connsiteX5" fmla="*/ 0 w 8572"/>
                <a:gd name="connsiteY5" fmla="*/ 1048 h 6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572" h="6667">
                  <a:moveTo>
                    <a:pt x="0" y="1048"/>
                  </a:moveTo>
                  <a:lnTo>
                    <a:pt x="3810" y="6667"/>
                  </a:lnTo>
                  <a:lnTo>
                    <a:pt x="8572" y="2953"/>
                  </a:lnTo>
                  <a:lnTo>
                    <a:pt x="8572" y="0"/>
                  </a:lnTo>
                  <a:lnTo>
                    <a:pt x="1905" y="0"/>
                  </a:lnTo>
                  <a:lnTo>
                    <a:pt x="0" y="104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45" name="Freeform: Shape 3844">
              <a:extLst>
                <a:ext uri="{FF2B5EF4-FFF2-40B4-BE49-F238E27FC236}">
                  <a16:creationId xmlns:a16="http://schemas.microsoft.com/office/drawing/2014/main" id="{282AD966-58D5-FD29-BE58-4B157EC42125}"/>
                </a:ext>
              </a:extLst>
            </p:cNvPr>
            <p:cNvSpPr/>
            <p:nvPr/>
          </p:nvSpPr>
          <p:spPr>
            <a:xfrm>
              <a:off x="6332793" y="2861153"/>
              <a:ext cx="12138" cy="5508"/>
            </a:xfrm>
            <a:custGeom>
              <a:avLst/>
              <a:gdLst>
                <a:gd name="connsiteX0" fmla="*/ 0 w 12382"/>
                <a:gd name="connsiteY0" fmla="*/ 2762 h 5619"/>
                <a:gd name="connsiteX1" fmla="*/ 953 w 12382"/>
                <a:gd name="connsiteY1" fmla="*/ 5620 h 5619"/>
                <a:gd name="connsiteX2" fmla="*/ 12383 w 12382"/>
                <a:gd name="connsiteY2" fmla="*/ 3810 h 5619"/>
                <a:gd name="connsiteX3" fmla="*/ 8573 w 12382"/>
                <a:gd name="connsiteY3" fmla="*/ 0 h 5619"/>
                <a:gd name="connsiteX4" fmla="*/ 0 w 12382"/>
                <a:gd name="connsiteY4" fmla="*/ 2762 h 5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382" h="5619">
                  <a:moveTo>
                    <a:pt x="0" y="2762"/>
                  </a:moveTo>
                  <a:lnTo>
                    <a:pt x="953" y="5620"/>
                  </a:lnTo>
                  <a:lnTo>
                    <a:pt x="12383" y="3810"/>
                  </a:lnTo>
                  <a:lnTo>
                    <a:pt x="8573" y="0"/>
                  </a:lnTo>
                  <a:lnTo>
                    <a:pt x="0" y="276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46" name="Freeform: Shape 3845">
              <a:extLst>
                <a:ext uri="{FF2B5EF4-FFF2-40B4-BE49-F238E27FC236}">
                  <a16:creationId xmlns:a16="http://schemas.microsoft.com/office/drawing/2014/main" id="{CA33B3E7-0042-3C1E-20AC-21A306D8D832}"/>
                </a:ext>
              </a:extLst>
            </p:cNvPr>
            <p:cNvSpPr/>
            <p:nvPr/>
          </p:nvSpPr>
          <p:spPr>
            <a:xfrm>
              <a:off x="6301048" y="2817175"/>
              <a:ext cx="42950" cy="43045"/>
            </a:xfrm>
            <a:custGeom>
              <a:avLst/>
              <a:gdLst>
                <a:gd name="connsiteX0" fmla="*/ 12382 w 43814"/>
                <a:gd name="connsiteY0" fmla="*/ 9525 h 43910"/>
                <a:gd name="connsiteX1" fmla="*/ 9525 w 43814"/>
                <a:gd name="connsiteY1" fmla="*/ 14288 h 43910"/>
                <a:gd name="connsiteX2" fmla="*/ 0 w 43814"/>
                <a:gd name="connsiteY2" fmla="*/ 15335 h 43910"/>
                <a:gd name="connsiteX3" fmla="*/ 2857 w 43814"/>
                <a:gd name="connsiteY3" fmla="*/ 20098 h 43910"/>
                <a:gd name="connsiteX4" fmla="*/ 6668 w 43814"/>
                <a:gd name="connsiteY4" fmla="*/ 35338 h 43910"/>
                <a:gd name="connsiteX5" fmla="*/ 21907 w 43814"/>
                <a:gd name="connsiteY5" fmla="*/ 38100 h 43910"/>
                <a:gd name="connsiteX6" fmla="*/ 25718 w 43814"/>
                <a:gd name="connsiteY6" fmla="*/ 43910 h 43910"/>
                <a:gd name="connsiteX7" fmla="*/ 29527 w 43814"/>
                <a:gd name="connsiteY7" fmla="*/ 38100 h 43910"/>
                <a:gd name="connsiteX8" fmla="*/ 36195 w 43814"/>
                <a:gd name="connsiteY8" fmla="*/ 36195 h 43910"/>
                <a:gd name="connsiteX9" fmla="*/ 41910 w 43814"/>
                <a:gd name="connsiteY9" fmla="*/ 31433 h 43910"/>
                <a:gd name="connsiteX10" fmla="*/ 36195 w 43814"/>
                <a:gd name="connsiteY10" fmla="*/ 27718 h 43910"/>
                <a:gd name="connsiteX11" fmla="*/ 36195 w 43814"/>
                <a:gd name="connsiteY11" fmla="*/ 21050 h 43910"/>
                <a:gd name="connsiteX12" fmla="*/ 43815 w 43814"/>
                <a:gd name="connsiteY12" fmla="*/ 16288 h 43910"/>
                <a:gd name="connsiteX13" fmla="*/ 43815 w 43814"/>
                <a:gd name="connsiteY13" fmla="*/ 10573 h 43910"/>
                <a:gd name="connsiteX14" fmla="*/ 38100 w 43814"/>
                <a:gd name="connsiteY14" fmla="*/ 0 h 43910"/>
                <a:gd name="connsiteX15" fmla="*/ 28575 w 43814"/>
                <a:gd name="connsiteY15" fmla="*/ 5810 h 43910"/>
                <a:gd name="connsiteX16" fmla="*/ 23813 w 43814"/>
                <a:gd name="connsiteY16" fmla="*/ 14288 h 43910"/>
                <a:gd name="connsiteX17" fmla="*/ 20002 w 43814"/>
                <a:gd name="connsiteY17" fmla="*/ 13430 h 43910"/>
                <a:gd name="connsiteX18" fmla="*/ 21907 w 43814"/>
                <a:gd name="connsiteY18" fmla="*/ 8668 h 43910"/>
                <a:gd name="connsiteX19" fmla="*/ 12382 w 43814"/>
                <a:gd name="connsiteY19" fmla="*/ 9525 h 43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3814" h="43910">
                  <a:moveTo>
                    <a:pt x="12382" y="9525"/>
                  </a:moveTo>
                  <a:lnTo>
                    <a:pt x="9525" y="14288"/>
                  </a:lnTo>
                  <a:lnTo>
                    <a:pt x="0" y="15335"/>
                  </a:lnTo>
                  <a:lnTo>
                    <a:pt x="2857" y="20098"/>
                  </a:lnTo>
                  <a:lnTo>
                    <a:pt x="6668" y="35338"/>
                  </a:lnTo>
                  <a:lnTo>
                    <a:pt x="21907" y="38100"/>
                  </a:lnTo>
                  <a:lnTo>
                    <a:pt x="25718" y="43910"/>
                  </a:lnTo>
                  <a:lnTo>
                    <a:pt x="29527" y="38100"/>
                  </a:lnTo>
                  <a:lnTo>
                    <a:pt x="36195" y="36195"/>
                  </a:lnTo>
                  <a:lnTo>
                    <a:pt x="41910" y="31433"/>
                  </a:lnTo>
                  <a:lnTo>
                    <a:pt x="36195" y="27718"/>
                  </a:lnTo>
                  <a:lnTo>
                    <a:pt x="36195" y="21050"/>
                  </a:lnTo>
                  <a:lnTo>
                    <a:pt x="43815" y="16288"/>
                  </a:lnTo>
                  <a:lnTo>
                    <a:pt x="43815" y="10573"/>
                  </a:lnTo>
                  <a:lnTo>
                    <a:pt x="38100" y="0"/>
                  </a:lnTo>
                  <a:lnTo>
                    <a:pt x="28575" y="5810"/>
                  </a:lnTo>
                  <a:lnTo>
                    <a:pt x="23813" y="14288"/>
                  </a:lnTo>
                  <a:lnTo>
                    <a:pt x="20002" y="13430"/>
                  </a:lnTo>
                  <a:lnTo>
                    <a:pt x="21907" y="8668"/>
                  </a:lnTo>
                  <a:lnTo>
                    <a:pt x="12382" y="952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47" name="Freeform: Shape 3846">
              <a:extLst>
                <a:ext uri="{FF2B5EF4-FFF2-40B4-BE49-F238E27FC236}">
                  <a16:creationId xmlns:a16="http://schemas.microsoft.com/office/drawing/2014/main" id="{DADBE336-4D61-BFAC-722F-FAB629C99612}"/>
                </a:ext>
              </a:extLst>
            </p:cNvPr>
            <p:cNvSpPr/>
            <p:nvPr/>
          </p:nvSpPr>
          <p:spPr>
            <a:xfrm>
              <a:off x="6394420" y="2853683"/>
              <a:ext cx="14005" cy="12978"/>
            </a:xfrm>
            <a:custGeom>
              <a:avLst/>
              <a:gdLst>
                <a:gd name="connsiteX0" fmla="*/ 3810 w 14287"/>
                <a:gd name="connsiteY0" fmla="*/ 0 h 13239"/>
                <a:gd name="connsiteX1" fmla="*/ 0 w 14287"/>
                <a:gd name="connsiteY1" fmla="*/ 7620 h 13239"/>
                <a:gd name="connsiteX2" fmla="*/ 12382 w 14287"/>
                <a:gd name="connsiteY2" fmla="*/ 13240 h 13239"/>
                <a:gd name="connsiteX3" fmla="*/ 14288 w 14287"/>
                <a:gd name="connsiteY3" fmla="*/ 7620 h 13239"/>
                <a:gd name="connsiteX4" fmla="*/ 3810 w 14287"/>
                <a:gd name="connsiteY4" fmla="*/ 0 h 13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13239">
                  <a:moveTo>
                    <a:pt x="3810" y="0"/>
                  </a:moveTo>
                  <a:lnTo>
                    <a:pt x="0" y="7620"/>
                  </a:lnTo>
                  <a:lnTo>
                    <a:pt x="12382" y="13240"/>
                  </a:lnTo>
                  <a:lnTo>
                    <a:pt x="14288" y="7620"/>
                  </a:lnTo>
                  <a:lnTo>
                    <a:pt x="381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48" name="Freeform: Shape 3847">
              <a:extLst>
                <a:ext uri="{FF2B5EF4-FFF2-40B4-BE49-F238E27FC236}">
                  <a16:creationId xmlns:a16="http://schemas.microsoft.com/office/drawing/2014/main" id="{2AFF79E6-D9FB-2A04-FC86-EA381E6122C9}"/>
                </a:ext>
              </a:extLst>
            </p:cNvPr>
            <p:cNvSpPr/>
            <p:nvPr/>
          </p:nvSpPr>
          <p:spPr>
            <a:xfrm>
              <a:off x="6224481" y="2751813"/>
              <a:ext cx="63492" cy="42017"/>
            </a:xfrm>
            <a:custGeom>
              <a:avLst/>
              <a:gdLst>
                <a:gd name="connsiteX0" fmla="*/ 55245 w 64769"/>
                <a:gd name="connsiteY0" fmla="*/ 4763 h 42862"/>
                <a:gd name="connsiteX1" fmla="*/ 46673 w 64769"/>
                <a:gd name="connsiteY1" fmla="*/ 6763 h 42862"/>
                <a:gd name="connsiteX2" fmla="*/ 31432 w 64769"/>
                <a:gd name="connsiteY2" fmla="*/ 21908 h 42862"/>
                <a:gd name="connsiteX3" fmla="*/ 20955 w 64769"/>
                <a:gd name="connsiteY3" fmla="*/ 21908 h 42862"/>
                <a:gd name="connsiteX4" fmla="*/ 3810 w 64769"/>
                <a:gd name="connsiteY4" fmla="*/ 29623 h 42862"/>
                <a:gd name="connsiteX5" fmla="*/ 0 w 64769"/>
                <a:gd name="connsiteY5" fmla="*/ 40100 h 42862"/>
                <a:gd name="connsiteX6" fmla="*/ 4763 w 64769"/>
                <a:gd name="connsiteY6" fmla="*/ 42863 h 42862"/>
                <a:gd name="connsiteX7" fmla="*/ 5715 w 64769"/>
                <a:gd name="connsiteY7" fmla="*/ 36195 h 42862"/>
                <a:gd name="connsiteX8" fmla="*/ 22860 w 64769"/>
                <a:gd name="connsiteY8" fmla="*/ 27718 h 42862"/>
                <a:gd name="connsiteX9" fmla="*/ 28575 w 64769"/>
                <a:gd name="connsiteY9" fmla="*/ 30575 h 42862"/>
                <a:gd name="connsiteX10" fmla="*/ 41910 w 64769"/>
                <a:gd name="connsiteY10" fmla="*/ 27718 h 42862"/>
                <a:gd name="connsiteX11" fmla="*/ 55245 w 64769"/>
                <a:gd name="connsiteY11" fmla="*/ 29623 h 42862"/>
                <a:gd name="connsiteX12" fmla="*/ 64770 w 64769"/>
                <a:gd name="connsiteY12" fmla="*/ 17145 h 42862"/>
                <a:gd name="connsiteX13" fmla="*/ 61913 w 64769"/>
                <a:gd name="connsiteY13" fmla="*/ 6763 h 42862"/>
                <a:gd name="connsiteX14" fmla="*/ 63818 w 64769"/>
                <a:gd name="connsiteY14" fmla="*/ 0 h 42862"/>
                <a:gd name="connsiteX15" fmla="*/ 55245 w 64769"/>
                <a:gd name="connsiteY15" fmla="*/ 4763 h 4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4769" h="42862">
                  <a:moveTo>
                    <a:pt x="55245" y="4763"/>
                  </a:moveTo>
                  <a:lnTo>
                    <a:pt x="46673" y="6763"/>
                  </a:lnTo>
                  <a:lnTo>
                    <a:pt x="31432" y="21908"/>
                  </a:lnTo>
                  <a:lnTo>
                    <a:pt x="20955" y="21908"/>
                  </a:lnTo>
                  <a:lnTo>
                    <a:pt x="3810" y="29623"/>
                  </a:lnTo>
                  <a:lnTo>
                    <a:pt x="0" y="40100"/>
                  </a:lnTo>
                  <a:lnTo>
                    <a:pt x="4763" y="42863"/>
                  </a:lnTo>
                  <a:lnTo>
                    <a:pt x="5715" y="36195"/>
                  </a:lnTo>
                  <a:lnTo>
                    <a:pt x="22860" y="27718"/>
                  </a:lnTo>
                  <a:lnTo>
                    <a:pt x="28575" y="30575"/>
                  </a:lnTo>
                  <a:lnTo>
                    <a:pt x="41910" y="27718"/>
                  </a:lnTo>
                  <a:lnTo>
                    <a:pt x="55245" y="29623"/>
                  </a:lnTo>
                  <a:lnTo>
                    <a:pt x="64770" y="17145"/>
                  </a:lnTo>
                  <a:lnTo>
                    <a:pt x="61913" y="6763"/>
                  </a:lnTo>
                  <a:lnTo>
                    <a:pt x="63818" y="0"/>
                  </a:lnTo>
                  <a:lnTo>
                    <a:pt x="55245" y="476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49" name="Freeform: Shape 3848">
              <a:extLst>
                <a:ext uri="{FF2B5EF4-FFF2-40B4-BE49-F238E27FC236}">
                  <a16:creationId xmlns:a16="http://schemas.microsoft.com/office/drawing/2014/main" id="{F085DAB3-5394-327D-37D6-DEDB49DEF211}"/>
                </a:ext>
              </a:extLst>
            </p:cNvPr>
            <p:cNvSpPr/>
            <p:nvPr/>
          </p:nvSpPr>
          <p:spPr>
            <a:xfrm>
              <a:off x="6220747" y="2780852"/>
              <a:ext cx="78433" cy="89637"/>
            </a:xfrm>
            <a:custGeom>
              <a:avLst/>
              <a:gdLst>
                <a:gd name="connsiteX0" fmla="*/ 39053 w 80010"/>
                <a:gd name="connsiteY0" fmla="*/ 81915 h 91439"/>
                <a:gd name="connsiteX1" fmla="*/ 44768 w 80010"/>
                <a:gd name="connsiteY1" fmla="*/ 64770 h 91439"/>
                <a:gd name="connsiteX2" fmla="*/ 45720 w 80010"/>
                <a:gd name="connsiteY2" fmla="*/ 56102 h 91439"/>
                <a:gd name="connsiteX3" fmla="*/ 53340 w 80010"/>
                <a:gd name="connsiteY3" fmla="*/ 52388 h 91439"/>
                <a:gd name="connsiteX4" fmla="*/ 59055 w 80010"/>
                <a:gd name="connsiteY4" fmla="*/ 47625 h 91439"/>
                <a:gd name="connsiteX5" fmla="*/ 61913 w 80010"/>
                <a:gd name="connsiteY5" fmla="*/ 43815 h 91439"/>
                <a:gd name="connsiteX6" fmla="*/ 60008 w 80010"/>
                <a:gd name="connsiteY6" fmla="*/ 39910 h 91439"/>
                <a:gd name="connsiteX7" fmla="*/ 61913 w 80010"/>
                <a:gd name="connsiteY7" fmla="*/ 35147 h 91439"/>
                <a:gd name="connsiteX8" fmla="*/ 75248 w 80010"/>
                <a:gd name="connsiteY8" fmla="*/ 35147 h 91439"/>
                <a:gd name="connsiteX9" fmla="*/ 80010 w 80010"/>
                <a:gd name="connsiteY9" fmla="*/ 28575 h 91439"/>
                <a:gd name="connsiteX10" fmla="*/ 79058 w 80010"/>
                <a:gd name="connsiteY10" fmla="*/ 21908 h 91439"/>
                <a:gd name="connsiteX11" fmla="*/ 64770 w 80010"/>
                <a:gd name="connsiteY11" fmla="*/ 21908 h 91439"/>
                <a:gd name="connsiteX12" fmla="*/ 59055 w 80010"/>
                <a:gd name="connsiteY12" fmla="*/ 22765 h 91439"/>
                <a:gd name="connsiteX13" fmla="*/ 61913 w 80010"/>
                <a:gd name="connsiteY13" fmla="*/ 16097 h 91439"/>
                <a:gd name="connsiteX14" fmla="*/ 60960 w 80010"/>
                <a:gd name="connsiteY14" fmla="*/ 3715 h 91439"/>
                <a:gd name="connsiteX15" fmla="*/ 49530 w 80010"/>
                <a:gd name="connsiteY15" fmla="*/ 0 h 91439"/>
                <a:gd name="connsiteX16" fmla="*/ 47625 w 80010"/>
                <a:gd name="connsiteY16" fmla="*/ 2858 h 91439"/>
                <a:gd name="connsiteX17" fmla="*/ 32385 w 80010"/>
                <a:gd name="connsiteY17" fmla="*/ 4763 h 91439"/>
                <a:gd name="connsiteX18" fmla="*/ 32385 w 80010"/>
                <a:gd name="connsiteY18" fmla="*/ 15240 h 91439"/>
                <a:gd name="connsiteX19" fmla="*/ 24765 w 80010"/>
                <a:gd name="connsiteY19" fmla="*/ 12383 h 91439"/>
                <a:gd name="connsiteX20" fmla="*/ 17145 w 80010"/>
                <a:gd name="connsiteY20" fmla="*/ 16097 h 91439"/>
                <a:gd name="connsiteX21" fmla="*/ 17145 w 80010"/>
                <a:gd name="connsiteY21" fmla="*/ 21908 h 91439"/>
                <a:gd name="connsiteX22" fmla="*/ 9525 w 80010"/>
                <a:gd name="connsiteY22" fmla="*/ 19050 h 91439"/>
                <a:gd name="connsiteX23" fmla="*/ 2858 w 80010"/>
                <a:gd name="connsiteY23" fmla="*/ 14288 h 91439"/>
                <a:gd name="connsiteX24" fmla="*/ 0 w 80010"/>
                <a:gd name="connsiteY24" fmla="*/ 19050 h 91439"/>
                <a:gd name="connsiteX25" fmla="*/ 953 w 80010"/>
                <a:gd name="connsiteY25" fmla="*/ 40958 h 91439"/>
                <a:gd name="connsiteX26" fmla="*/ 2858 w 80010"/>
                <a:gd name="connsiteY26" fmla="*/ 42863 h 91439"/>
                <a:gd name="connsiteX27" fmla="*/ 0 w 80010"/>
                <a:gd name="connsiteY27" fmla="*/ 44672 h 91439"/>
                <a:gd name="connsiteX28" fmla="*/ 953 w 80010"/>
                <a:gd name="connsiteY28" fmla="*/ 60008 h 91439"/>
                <a:gd name="connsiteX29" fmla="*/ 8573 w 80010"/>
                <a:gd name="connsiteY29" fmla="*/ 63722 h 91439"/>
                <a:gd name="connsiteX30" fmla="*/ 16193 w 80010"/>
                <a:gd name="connsiteY30" fmla="*/ 69533 h 91439"/>
                <a:gd name="connsiteX31" fmla="*/ 19050 w 80010"/>
                <a:gd name="connsiteY31" fmla="*/ 89440 h 91439"/>
                <a:gd name="connsiteX32" fmla="*/ 26670 w 80010"/>
                <a:gd name="connsiteY32" fmla="*/ 91440 h 91439"/>
                <a:gd name="connsiteX33" fmla="*/ 41910 w 80010"/>
                <a:gd name="connsiteY33" fmla="*/ 88583 h 91439"/>
                <a:gd name="connsiteX34" fmla="*/ 43815 w 80010"/>
                <a:gd name="connsiteY34" fmla="*/ 84677 h 91439"/>
                <a:gd name="connsiteX35" fmla="*/ 39053 w 80010"/>
                <a:gd name="connsiteY35" fmla="*/ 81915 h 914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80010" h="91439">
                  <a:moveTo>
                    <a:pt x="39053" y="81915"/>
                  </a:moveTo>
                  <a:lnTo>
                    <a:pt x="44768" y="64770"/>
                  </a:lnTo>
                  <a:lnTo>
                    <a:pt x="45720" y="56102"/>
                  </a:lnTo>
                  <a:lnTo>
                    <a:pt x="53340" y="52388"/>
                  </a:lnTo>
                  <a:lnTo>
                    <a:pt x="59055" y="47625"/>
                  </a:lnTo>
                  <a:lnTo>
                    <a:pt x="61913" y="43815"/>
                  </a:lnTo>
                  <a:lnTo>
                    <a:pt x="60008" y="39910"/>
                  </a:lnTo>
                  <a:lnTo>
                    <a:pt x="61913" y="35147"/>
                  </a:lnTo>
                  <a:lnTo>
                    <a:pt x="75248" y="35147"/>
                  </a:lnTo>
                  <a:lnTo>
                    <a:pt x="80010" y="28575"/>
                  </a:lnTo>
                  <a:lnTo>
                    <a:pt x="79058" y="21908"/>
                  </a:lnTo>
                  <a:lnTo>
                    <a:pt x="64770" y="21908"/>
                  </a:lnTo>
                  <a:lnTo>
                    <a:pt x="59055" y="22765"/>
                  </a:lnTo>
                  <a:lnTo>
                    <a:pt x="61913" y="16097"/>
                  </a:lnTo>
                  <a:lnTo>
                    <a:pt x="60960" y="3715"/>
                  </a:lnTo>
                  <a:lnTo>
                    <a:pt x="49530" y="0"/>
                  </a:lnTo>
                  <a:lnTo>
                    <a:pt x="47625" y="2858"/>
                  </a:lnTo>
                  <a:lnTo>
                    <a:pt x="32385" y="4763"/>
                  </a:lnTo>
                  <a:lnTo>
                    <a:pt x="32385" y="15240"/>
                  </a:lnTo>
                  <a:lnTo>
                    <a:pt x="24765" y="12383"/>
                  </a:lnTo>
                  <a:lnTo>
                    <a:pt x="17145" y="16097"/>
                  </a:lnTo>
                  <a:lnTo>
                    <a:pt x="17145" y="21908"/>
                  </a:lnTo>
                  <a:lnTo>
                    <a:pt x="9525" y="19050"/>
                  </a:lnTo>
                  <a:lnTo>
                    <a:pt x="2858" y="14288"/>
                  </a:lnTo>
                  <a:lnTo>
                    <a:pt x="0" y="19050"/>
                  </a:lnTo>
                  <a:lnTo>
                    <a:pt x="953" y="40958"/>
                  </a:lnTo>
                  <a:lnTo>
                    <a:pt x="2858" y="42863"/>
                  </a:lnTo>
                  <a:lnTo>
                    <a:pt x="0" y="44672"/>
                  </a:lnTo>
                  <a:lnTo>
                    <a:pt x="953" y="60008"/>
                  </a:lnTo>
                  <a:lnTo>
                    <a:pt x="8573" y="63722"/>
                  </a:lnTo>
                  <a:lnTo>
                    <a:pt x="16193" y="69533"/>
                  </a:lnTo>
                  <a:lnTo>
                    <a:pt x="19050" y="89440"/>
                  </a:lnTo>
                  <a:lnTo>
                    <a:pt x="26670" y="91440"/>
                  </a:lnTo>
                  <a:lnTo>
                    <a:pt x="41910" y="88583"/>
                  </a:lnTo>
                  <a:lnTo>
                    <a:pt x="43815" y="84677"/>
                  </a:lnTo>
                  <a:lnTo>
                    <a:pt x="39053" y="8191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50" name="Freeform: Shape 3849">
              <a:extLst>
                <a:ext uri="{FF2B5EF4-FFF2-40B4-BE49-F238E27FC236}">
                  <a16:creationId xmlns:a16="http://schemas.microsoft.com/office/drawing/2014/main" id="{7AFA9F74-4B1D-4705-85A6-E4D764724ADC}"/>
                </a:ext>
              </a:extLst>
            </p:cNvPr>
            <p:cNvSpPr/>
            <p:nvPr/>
          </p:nvSpPr>
          <p:spPr>
            <a:xfrm>
              <a:off x="7400041" y="3821963"/>
              <a:ext cx="144727" cy="96081"/>
            </a:xfrm>
            <a:custGeom>
              <a:avLst/>
              <a:gdLst>
                <a:gd name="connsiteX0" fmla="*/ 143827 w 147637"/>
                <a:gd name="connsiteY0" fmla="*/ 17050 h 98012"/>
                <a:gd name="connsiteX1" fmla="*/ 140970 w 147637"/>
                <a:gd name="connsiteY1" fmla="*/ 3715 h 98012"/>
                <a:gd name="connsiteX2" fmla="*/ 133350 w 147637"/>
                <a:gd name="connsiteY2" fmla="*/ 0 h 98012"/>
                <a:gd name="connsiteX3" fmla="*/ 119063 w 147637"/>
                <a:gd name="connsiteY3" fmla="*/ 17050 h 98012"/>
                <a:gd name="connsiteX4" fmla="*/ 101917 w 147637"/>
                <a:gd name="connsiteY4" fmla="*/ 31337 h 98012"/>
                <a:gd name="connsiteX5" fmla="*/ 87630 w 147637"/>
                <a:gd name="connsiteY5" fmla="*/ 49530 h 98012"/>
                <a:gd name="connsiteX6" fmla="*/ 73342 w 147637"/>
                <a:gd name="connsiteY6" fmla="*/ 52388 h 98012"/>
                <a:gd name="connsiteX7" fmla="*/ 56197 w 147637"/>
                <a:gd name="connsiteY7" fmla="*/ 45625 h 98012"/>
                <a:gd name="connsiteX8" fmla="*/ 45720 w 147637"/>
                <a:gd name="connsiteY8" fmla="*/ 52388 h 98012"/>
                <a:gd name="connsiteX9" fmla="*/ 38100 w 147637"/>
                <a:gd name="connsiteY9" fmla="*/ 56102 h 98012"/>
                <a:gd name="connsiteX10" fmla="*/ 24765 w 147637"/>
                <a:gd name="connsiteY10" fmla="*/ 52388 h 98012"/>
                <a:gd name="connsiteX11" fmla="*/ 14288 w 147637"/>
                <a:gd name="connsiteY11" fmla="*/ 41815 h 98012"/>
                <a:gd name="connsiteX12" fmla="*/ 6667 w 147637"/>
                <a:gd name="connsiteY12" fmla="*/ 35243 h 98012"/>
                <a:gd name="connsiteX13" fmla="*/ 0 w 147637"/>
                <a:gd name="connsiteY13" fmla="*/ 41815 h 98012"/>
                <a:gd name="connsiteX14" fmla="*/ 38100 w 147637"/>
                <a:gd name="connsiteY14" fmla="*/ 87630 h 98012"/>
                <a:gd name="connsiteX15" fmla="*/ 83820 w 147637"/>
                <a:gd name="connsiteY15" fmla="*/ 98012 h 98012"/>
                <a:gd name="connsiteX16" fmla="*/ 116205 w 147637"/>
                <a:gd name="connsiteY16" fmla="*/ 98012 h 98012"/>
                <a:gd name="connsiteX17" fmla="*/ 147638 w 147637"/>
                <a:gd name="connsiteY17" fmla="*/ 41815 h 98012"/>
                <a:gd name="connsiteX18" fmla="*/ 143827 w 147637"/>
                <a:gd name="connsiteY18" fmla="*/ 17050 h 98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47637" h="98012">
                  <a:moveTo>
                    <a:pt x="143827" y="17050"/>
                  </a:moveTo>
                  <a:lnTo>
                    <a:pt x="140970" y="3715"/>
                  </a:lnTo>
                  <a:lnTo>
                    <a:pt x="133350" y="0"/>
                  </a:lnTo>
                  <a:lnTo>
                    <a:pt x="119063" y="17050"/>
                  </a:lnTo>
                  <a:lnTo>
                    <a:pt x="101917" y="31337"/>
                  </a:lnTo>
                  <a:lnTo>
                    <a:pt x="87630" y="49530"/>
                  </a:lnTo>
                  <a:lnTo>
                    <a:pt x="73342" y="52388"/>
                  </a:lnTo>
                  <a:lnTo>
                    <a:pt x="56197" y="45625"/>
                  </a:lnTo>
                  <a:lnTo>
                    <a:pt x="45720" y="52388"/>
                  </a:lnTo>
                  <a:lnTo>
                    <a:pt x="38100" y="56102"/>
                  </a:lnTo>
                  <a:lnTo>
                    <a:pt x="24765" y="52388"/>
                  </a:lnTo>
                  <a:lnTo>
                    <a:pt x="14288" y="41815"/>
                  </a:lnTo>
                  <a:lnTo>
                    <a:pt x="6667" y="35243"/>
                  </a:lnTo>
                  <a:lnTo>
                    <a:pt x="0" y="41815"/>
                  </a:lnTo>
                  <a:lnTo>
                    <a:pt x="38100" y="87630"/>
                  </a:lnTo>
                  <a:lnTo>
                    <a:pt x="83820" y="98012"/>
                  </a:lnTo>
                  <a:lnTo>
                    <a:pt x="116205" y="98012"/>
                  </a:lnTo>
                  <a:lnTo>
                    <a:pt x="147638" y="41815"/>
                  </a:lnTo>
                  <a:lnTo>
                    <a:pt x="143827" y="1705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51" name="Freeform: Shape 3850">
              <a:extLst>
                <a:ext uri="{FF2B5EF4-FFF2-40B4-BE49-F238E27FC236}">
                  <a16:creationId xmlns:a16="http://schemas.microsoft.com/office/drawing/2014/main" id="{E837E245-1F90-8EFF-96C2-A36BE62600F4}"/>
                </a:ext>
              </a:extLst>
            </p:cNvPr>
            <p:cNvSpPr/>
            <p:nvPr/>
          </p:nvSpPr>
          <p:spPr>
            <a:xfrm>
              <a:off x="7400041" y="3862954"/>
              <a:ext cx="37349" cy="44912"/>
            </a:xfrm>
            <a:custGeom>
              <a:avLst/>
              <a:gdLst>
                <a:gd name="connsiteX0" fmla="*/ 38100 w 38100"/>
                <a:gd name="connsiteY0" fmla="*/ 45815 h 45815"/>
                <a:gd name="connsiteX1" fmla="*/ 0 w 38100"/>
                <a:gd name="connsiteY1" fmla="*/ 0 h 45815"/>
                <a:gd name="connsiteX2" fmla="*/ 14288 w 38100"/>
                <a:gd name="connsiteY2" fmla="*/ 18097 h 45815"/>
                <a:gd name="connsiteX3" fmla="*/ 38100 w 38100"/>
                <a:gd name="connsiteY3" fmla="*/ 45815 h 4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45815">
                  <a:moveTo>
                    <a:pt x="38100" y="45815"/>
                  </a:moveTo>
                  <a:lnTo>
                    <a:pt x="0" y="0"/>
                  </a:lnTo>
                  <a:lnTo>
                    <a:pt x="14288" y="18097"/>
                  </a:lnTo>
                  <a:lnTo>
                    <a:pt x="38100" y="4581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52" name="Freeform: Shape 3851">
              <a:extLst>
                <a:ext uri="{FF2B5EF4-FFF2-40B4-BE49-F238E27FC236}">
                  <a16:creationId xmlns:a16="http://schemas.microsoft.com/office/drawing/2014/main" id="{B996030D-2D92-F213-5B07-45130E39B42E}"/>
                </a:ext>
              </a:extLst>
            </p:cNvPr>
            <p:cNvSpPr/>
            <p:nvPr/>
          </p:nvSpPr>
          <p:spPr>
            <a:xfrm>
              <a:off x="3969538" y="4402745"/>
              <a:ext cx="1070981" cy="1102644"/>
            </a:xfrm>
            <a:custGeom>
              <a:avLst/>
              <a:gdLst>
                <a:gd name="connsiteX0" fmla="*/ 1074420 w 1092517"/>
                <a:gd name="connsiteY0" fmla="*/ 288607 h 1124807"/>
                <a:gd name="connsiteX1" fmla="*/ 1060132 w 1092517"/>
                <a:gd name="connsiteY1" fmla="*/ 288607 h 1124807"/>
                <a:gd name="connsiteX2" fmla="*/ 1042988 w 1092517"/>
                <a:gd name="connsiteY2" fmla="*/ 292322 h 1124807"/>
                <a:gd name="connsiteX3" fmla="*/ 1024890 w 1092517"/>
                <a:gd name="connsiteY3" fmla="*/ 281845 h 1124807"/>
                <a:gd name="connsiteX4" fmla="*/ 1007745 w 1092517"/>
                <a:gd name="connsiteY4" fmla="*/ 267557 h 1124807"/>
                <a:gd name="connsiteX5" fmla="*/ 986790 w 1092517"/>
                <a:gd name="connsiteY5" fmla="*/ 250507 h 1124807"/>
                <a:gd name="connsiteX6" fmla="*/ 964882 w 1092517"/>
                <a:gd name="connsiteY6" fmla="*/ 236220 h 1124807"/>
                <a:gd name="connsiteX7" fmla="*/ 947738 w 1092517"/>
                <a:gd name="connsiteY7" fmla="*/ 232410 h 1124807"/>
                <a:gd name="connsiteX8" fmla="*/ 929640 w 1092517"/>
                <a:gd name="connsiteY8" fmla="*/ 228600 h 1124807"/>
                <a:gd name="connsiteX9" fmla="*/ 908685 w 1092517"/>
                <a:gd name="connsiteY9" fmla="*/ 228600 h 1124807"/>
                <a:gd name="connsiteX10" fmla="*/ 891540 w 1092517"/>
                <a:gd name="connsiteY10" fmla="*/ 225647 h 1124807"/>
                <a:gd name="connsiteX11" fmla="*/ 873443 w 1092517"/>
                <a:gd name="connsiteY11" fmla="*/ 218122 h 1124807"/>
                <a:gd name="connsiteX12" fmla="*/ 860107 w 1092517"/>
                <a:gd name="connsiteY12" fmla="*/ 215170 h 1124807"/>
                <a:gd name="connsiteX13" fmla="*/ 848678 w 1092517"/>
                <a:gd name="connsiteY13" fmla="*/ 218122 h 1124807"/>
                <a:gd name="connsiteX14" fmla="*/ 838200 w 1092517"/>
                <a:gd name="connsiteY14" fmla="*/ 221932 h 1124807"/>
                <a:gd name="connsiteX15" fmla="*/ 824865 w 1092517"/>
                <a:gd name="connsiteY15" fmla="*/ 236220 h 1124807"/>
                <a:gd name="connsiteX16" fmla="*/ 821055 w 1092517"/>
                <a:gd name="connsiteY16" fmla="*/ 236220 h 1124807"/>
                <a:gd name="connsiteX17" fmla="*/ 824865 w 1092517"/>
                <a:gd name="connsiteY17" fmla="*/ 221932 h 1124807"/>
                <a:gd name="connsiteX18" fmla="*/ 831532 w 1092517"/>
                <a:gd name="connsiteY18" fmla="*/ 211360 h 1124807"/>
                <a:gd name="connsiteX19" fmla="*/ 831532 w 1092517"/>
                <a:gd name="connsiteY19" fmla="*/ 200882 h 1124807"/>
                <a:gd name="connsiteX20" fmla="*/ 813435 w 1092517"/>
                <a:gd name="connsiteY20" fmla="*/ 193357 h 1124807"/>
                <a:gd name="connsiteX21" fmla="*/ 789622 w 1092517"/>
                <a:gd name="connsiteY21" fmla="*/ 182785 h 1124807"/>
                <a:gd name="connsiteX22" fmla="*/ 775335 w 1092517"/>
                <a:gd name="connsiteY22" fmla="*/ 172307 h 1124807"/>
                <a:gd name="connsiteX23" fmla="*/ 750570 w 1092517"/>
                <a:gd name="connsiteY23" fmla="*/ 165735 h 1124807"/>
                <a:gd name="connsiteX24" fmla="*/ 740093 w 1092517"/>
                <a:gd name="connsiteY24" fmla="*/ 161925 h 1124807"/>
                <a:gd name="connsiteX25" fmla="*/ 729615 w 1092517"/>
                <a:gd name="connsiteY25" fmla="*/ 165735 h 1124807"/>
                <a:gd name="connsiteX26" fmla="*/ 721995 w 1092517"/>
                <a:gd name="connsiteY26" fmla="*/ 172307 h 1124807"/>
                <a:gd name="connsiteX27" fmla="*/ 719138 w 1092517"/>
                <a:gd name="connsiteY27" fmla="*/ 182785 h 1124807"/>
                <a:gd name="connsiteX28" fmla="*/ 715328 w 1092517"/>
                <a:gd name="connsiteY28" fmla="*/ 190500 h 1124807"/>
                <a:gd name="connsiteX29" fmla="*/ 711518 w 1092517"/>
                <a:gd name="connsiteY29" fmla="*/ 190500 h 1124807"/>
                <a:gd name="connsiteX30" fmla="*/ 697230 w 1092517"/>
                <a:gd name="connsiteY30" fmla="*/ 204788 h 1124807"/>
                <a:gd name="connsiteX31" fmla="*/ 690563 w 1092517"/>
                <a:gd name="connsiteY31" fmla="*/ 204788 h 1124807"/>
                <a:gd name="connsiteX32" fmla="*/ 690563 w 1092517"/>
                <a:gd name="connsiteY32" fmla="*/ 190500 h 1124807"/>
                <a:gd name="connsiteX33" fmla="*/ 701040 w 1092517"/>
                <a:gd name="connsiteY33" fmla="*/ 180022 h 1124807"/>
                <a:gd name="connsiteX34" fmla="*/ 708660 w 1092517"/>
                <a:gd name="connsiteY34" fmla="*/ 172307 h 1124807"/>
                <a:gd name="connsiteX35" fmla="*/ 711518 w 1092517"/>
                <a:gd name="connsiteY35" fmla="*/ 161925 h 1124807"/>
                <a:gd name="connsiteX36" fmla="*/ 711518 w 1092517"/>
                <a:gd name="connsiteY36" fmla="*/ 155257 h 1124807"/>
                <a:gd name="connsiteX37" fmla="*/ 704850 w 1092517"/>
                <a:gd name="connsiteY37" fmla="*/ 147638 h 1124807"/>
                <a:gd name="connsiteX38" fmla="*/ 690563 w 1092517"/>
                <a:gd name="connsiteY38" fmla="*/ 144685 h 1124807"/>
                <a:gd name="connsiteX39" fmla="*/ 683895 w 1092517"/>
                <a:gd name="connsiteY39" fmla="*/ 137160 h 1124807"/>
                <a:gd name="connsiteX40" fmla="*/ 669607 w 1092517"/>
                <a:gd name="connsiteY40" fmla="*/ 137160 h 1124807"/>
                <a:gd name="connsiteX41" fmla="*/ 655320 w 1092517"/>
                <a:gd name="connsiteY41" fmla="*/ 144685 h 1124807"/>
                <a:gd name="connsiteX42" fmla="*/ 655320 w 1092517"/>
                <a:gd name="connsiteY42" fmla="*/ 161925 h 1124807"/>
                <a:gd name="connsiteX43" fmla="*/ 648653 w 1092517"/>
                <a:gd name="connsiteY43" fmla="*/ 172307 h 1124807"/>
                <a:gd name="connsiteX44" fmla="*/ 638175 w 1092517"/>
                <a:gd name="connsiteY44" fmla="*/ 176213 h 1124807"/>
                <a:gd name="connsiteX45" fmla="*/ 634365 w 1092517"/>
                <a:gd name="connsiteY45" fmla="*/ 169545 h 1124807"/>
                <a:gd name="connsiteX46" fmla="*/ 634365 w 1092517"/>
                <a:gd name="connsiteY46" fmla="*/ 155257 h 1124807"/>
                <a:gd name="connsiteX47" fmla="*/ 638175 w 1092517"/>
                <a:gd name="connsiteY47" fmla="*/ 147638 h 1124807"/>
                <a:gd name="connsiteX48" fmla="*/ 651510 w 1092517"/>
                <a:gd name="connsiteY48" fmla="*/ 133350 h 1124807"/>
                <a:gd name="connsiteX49" fmla="*/ 665797 w 1092517"/>
                <a:gd name="connsiteY49" fmla="*/ 122872 h 1124807"/>
                <a:gd name="connsiteX50" fmla="*/ 673418 w 1092517"/>
                <a:gd name="connsiteY50" fmla="*/ 119920 h 1124807"/>
                <a:gd name="connsiteX51" fmla="*/ 673418 w 1092517"/>
                <a:gd name="connsiteY51" fmla="*/ 105632 h 1124807"/>
                <a:gd name="connsiteX52" fmla="*/ 661988 w 1092517"/>
                <a:gd name="connsiteY52" fmla="*/ 95250 h 1124807"/>
                <a:gd name="connsiteX53" fmla="*/ 648653 w 1092517"/>
                <a:gd name="connsiteY53" fmla="*/ 77057 h 1124807"/>
                <a:gd name="connsiteX54" fmla="*/ 644843 w 1092517"/>
                <a:gd name="connsiteY54" fmla="*/ 62770 h 1124807"/>
                <a:gd name="connsiteX55" fmla="*/ 641032 w 1092517"/>
                <a:gd name="connsiteY55" fmla="*/ 49435 h 1124807"/>
                <a:gd name="connsiteX56" fmla="*/ 644843 w 1092517"/>
                <a:gd name="connsiteY56" fmla="*/ 41910 h 1124807"/>
                <a:gd name="connsiteX57" fmla="*/ 638175 w 1092517"/>
                <a:gd name="connsiteY57" fmla="*/ 35147 h 1124807"/>
                <a:gd name="connsiteX58" fmla="*/ 626745 w 1092517"/>
                <a:gd name="connsiteY58" fmla="*/ 31432 h 1124807"/>
                <a:gd name="connsiteX59" fmla="*/ 616268 w 1092517"/>
                <a:gd name="connsiteY59" fmla="*/ 41910 h 1124807"/>
                <a:gd name="connsiteX60" fmla="*/ 595313 w 1092517"/>
                <a:gd name="connsiteY60" fmla="*/ 91345 h 1124807"/>
                <a:gd name="connsiteX61" fmla="*/ 584835 w 1092517"/>
                <a:gd name="connsiteY61" fmla="*/ 84772 h 1124807"/>
                <a:gd name="connsiteX62" fmla="*/ 567690 w 1092517"/>
                <a:gd name="connsiteY62" fmla="*/ 80963 h 1124807"/>
                <a:gd name="connsiteX63" fmla="*/ 557213 w 1092517"/>
                <a:gd name="connsiteY63" fmla="*/ 87535 h 1124807"/>
                <a:gd name="connsiteX64" fmla="*/ 545782 w 1092517"/>
                <a:gd name="connsiteY64" fmla="*/ 87535 h 1124807"/>
                <a:gd name="connsiteX65" fmla="*/ 528638 w 1092517"/>
                <a:gd name="connsiteY65" fmla="*/ 80963 h 1124807"/>
                <a:gd name="connsiteX66" fmla="*/ 510540 w 1092517"/>
                <a:gd name="connsiteY66" fmla="*/ 77057 h 1124807"/>
                <a:gd name="connsiteX67" fmla="*/ 503872 w 1092517"/>
                <a:gd name="connsiteY67" fmla="*/ 77057 h 1124807"/>
                <a:gd name="connsiteX68" fmla="*/ 503872 w 1092517"/>
                <a:gd name="connsiteY68" fmla="*/ 84772 h 1124807"/>
                <a:gd name="connsiteX69" fmla="*/ 500063 w 1092517"/>
                <a:gd name="connsiteY69" fmla="*/ 95250 h 1124807"/>
                <a:gd name="connsiteX70" fmla="*/ 497205 w 1092517"/>
                <a:gd name="connsiteY70" fmla="*/ 95250 h 1124807"/>
                <a:gd name="connsiteX71" fmla="*/ 486728 w 1092517"/>
                <a:gd name="connsiteY71" fmla="*/ 95250 h 1124807"/>
                <a:gd name="connsiteX72" fmla="*/ 479107 w 1092517"/>
                <a:gd name="connsiteY72" fmla="*/ 87535 h 1124807"/>
                <a:gd name="connsiteX73" fmla="*/ 472440 w 1092517"/>
                <a:gd name="connsiteY73" fmla="*/ 95250 h 1124807"/>
                <a:gd name="connsiteX74" fmla="*/ 458153 w 1092517"/>
                <a:gd name="connsiteY74" fmla="*/ 101822 h 1124807"/>
                <a:gd name="connsiteX75" fmla="*/ 447675 w 1092517"/>
                <a:gd name="connsiteY75" fmla="*/ 109538 h 1124807"/>
                <a:gd name="connsiteX76" fmla="*/ 429578 w 1092517"/>
                <a:gd name="connsiteY76" fmla="*/ 112395 h 1124807"/>
                <a:gd name="connsiteX77" fmla="*/ 416243 w 1092517"/>
                <a:gd name="connsiteY77" fmla="*/ 112395 h 1124807"/>
                <a:gd name="connsiteX78" fmla="*/ 401955 w 1092517"/>
                <a:gd name="connsiteY78" fmla="*/ 98107 h 1124807"/>
                <a:gd name="connsiteX79" fmla="*/ 391478 w 1092517"/>
                <a:gd name="connsiteY79" fmla="*/ 84772 h 1124807"/>
                <a:gd name="connsiteX80" fmla="*/ 391478 w 1092517"/>
                <a:gd name="connsiteY80" fmla="*/ 49435 h 1124807"/>
                <a:gd name="connsiteX81" fmla="*/ 401955 w 1092517"/>
                <a:gd name="connsiteY81" fmla="*/ 38957 h 1124807"/>
                <a:gd name="connsiteX82" fmla="*/ 387668 w 1092517"/>
                <a:gd name="connsiteY82" fmla="*/ 0 h 1124807"/>
                <a:gd name="connsiteX83" fmla="*/ 366713 w 1092517"/>
                <a:gd name="connsiteY83" fmla="*/ 0 h 1124807"/>
                <a:gd name="connsiteX84" fmla="*/ 370522 w 1092517"/>
                <a:gd name="connsiteY84" fmla="*/ 6572 h 1124807"/>
                <a:gd name="connsiteX85" fmla="*/ 362903 w 1092517"/>
                <a:gd name="connsiteY85" fmla="*/ 24670 h 1124807"/>
                <a:gd name="connsiteX86" fmla="*/ 341947 w 1092517"/>
                <a:gd name="connsiteY86" fmla="*/ 31432 h 1124807"/>
                <a:gd name="connsiteX87" fmla="*/ 324803 w 1092517"/>
                <a:gd name="connsiteY87" fmla="*/ 35147 h 1124807"/>
                <a:gd name="connsiteX88" fmla="*/ 313372 w 1092517"/>
                <a:gd name="connsiteY88" fmla="*/ 41910 h 1124807"/>
                <a:gd name="connsiteX89" fmla="*/ 306705 w 1092517"/>
                <a:gd name="connsiteY89" fmla="*/ 38957 h 1124807"/>
                <a:gd name="connsiteX90" fmla="*/ 285750 w 1092517"/>
                <a:gd name="connsiteY90" fmla="*/ 38957 h 1124807"/>
                <a:gd name="connsiteX91" fmla="*/ 271463 w 1092517"/>
                <a:gd name="connsiteY91" fmla="*/ 31432 h 1124807"/>
                <a:gd name="connsiteX92" fmla="*/ 260985 w 1092517"/>
                <a:gd name="connsiteY92" fmla="*/ 35147 h 1124807"/>
                <a:gd name="connsiteX93" fmla="*/ 271463 w 1092517"/>
                <a:gd name="connsiteY93" fmla="*/ 45720 h 1124807"/>
                <a:gd name="connsiteX94" fmla="*/ 275272 w 1092517"/>
                <a:gd name="connsiteY94" fmla="*/ 62770 h 1124807"/>
                <a:gd name="connsiteX95" fmla="*/ 285750 w 1092517"/>
                <a:gd name="connsiteY95" fmla="*/ 77057 h 1124807"/>
                <a:gd name="connsiteX96" fmla="*/ 296228 w 1092517"/>
                <a:gd name="connsiteY96" fmla="*/ 77057 h 1124807"/>
                <a:gd name="connsiteX97" fmla="*/ 296228 w 1092517"/>
                <a:gd name="connsiteY97" fmla="*/ 91345 h 1124807"/>
                <a:gd name="connsiteX98" fmla="*/ 275272 w 1092517"/>
                <a:gd name="connsiteY98" fmla="*/ 98107 h 1124807"/>
                <a:gd name="connsiteX99" fmla="*/ 264795 w 1092517"/>
                <a:gd name="connsiteY99" fmla="*/ 109538 h 1124807"/>
                <a:gd name="connsiteX100" fmla="*/ 254318 w 1092517"/>
                <a:gd name="connsiteY100" fmla="*/ 119920 h 1124807"/>
                <a:gd name="connsiteX101" fmla="*/ 229553 w 1092517"/>
                <a:gd name="connsiteY101" fmla="*/ 126682 h 1124807"/>
                <a:gd name="connsiteX102" fmla="*/ 211455 w 1092517"/>
                <a:gd name="connsiteY102" fmla="*/ 122872 h 1124807"/>
                <a:gd name="connsiteX103" fmla="*/ 197168 w 1092517"/>
                <a:gd name="connsiteY103" fmla="*/ 109538 h 1124807"/>
                <a:gd name="connsiteX104" fmla="*/ 190500 w 1092517"/>
                <a:gd name="connsiteY104" fmla="*/ 98107 h 1124807"/>
                <a:gd name="connsiteX105" fmla="*/ 180022 w 1092517"/>
                <a:gd name="connsiteY105" fmla="*/ 95250 h 1124807"/>
                <a:gd name="connsiteX106" fmla="*/ 161925 w 1092517"/>
                <a:gd name="connsiteY106" fmla="*/ 98107 h 1124807"/>
                <a:gd name="connsiteX107" fmla="*/ 113347 w 1092517"/>
                <a:gd name="connsiteY107" fmla="*/ 101822 h 1124807"/>
                <a:gd name="connsiteX108" fmla="*/ 113347 w 1092517"/>
                <a:gd name="connsiteY108" fmla="*/ 112395 h 1124807"/>
                <a:gd name="connsiteX109" fmla="*/ 134303 w 1092517"/>
                <a:gd name="connsiteY109" fmla="*/ 119920 h 1124807"/>
                <a:gd name="connsiteX110" fmla="*/ 134303 w 1092517"/>
                <a:gd name="connsiteY110" fmla="*/ 130397 h 1124807"/>
                <a:gd name="connsiteX111" fmla="*/ 116205 w 1092517"/>
                <a:gd name="connsiteY111" fmla="*/ 126682 h 1124807"/>
                <a:gd name="connsiteX112" fmla="*/ 113347 w 1092517"/>
                <a:gd name="connsiteY112" fmla="*/ 130397 h 1124807"/>
                <a:gd name="connsiteX113" fmla="*/ 113347 w 1092517"/>
                <a:gd name="connsiteY113" fmla="*/ 151447 h 1124807"/>
                <a:gd name="connsiteX114" fmla="*/ 123825 w 1092517"/>
                <a:gd name="connsiteY114" fmla="*/ 165735 h 1124807"/>
                <a:gd name="connsiteX115" fmla="*/ 126682 w 1092517"/>
                <a:gd name="connsiteY115" fmla="*/ 186595 h 1124807"/>
                <a:gd name="connsiteX116" fmla="*/ 123825 w 1092517"/>
                <a:gd name="connsiteY116" fmla="*/ 211360 h 1124807"/>
                <a:gd name="connsiteX117" fmla="*/ 120015 w 1092517"/>
                <a:gd name="connsiteY117" fmla="*/ 221932 h 1124807"/>
                <a:gd name="connsiteX118" fmla="*/ 120015 w 1092517"/>
                <a:gd name="connsiteY118" fmla="*/ 242888 h 1124807"/>
                <a:gd name="connsiteX119" fmla="*/ 109538 w 1092517"/>
                <a:gd name="connsiteY119" fmla="*/ 267557 h 1124807"/>
                <a:gd name="connsiteX120" fmla="*/ 70485 w 1092517"/>
                <a:gd name="connsiteY120" fmla="*/ 271463 h 1124807"/>
                <a:gd name="connsiteX121" fmla="*/ 45720 w 1092517"/>
                <a:gd name="connsiteY121" fmla="*/ 281845 h 1124807"/>
                <a:gd name="connsiteX122" fmla="*/ 28575 w 1092517"/>
                <a:gd name="connsiteY122" fmla="*/ 302895 h 1124807"/>
                <a:gd name="connsiteX123" fmla="*/ 24765 w 1092517"/>
                <a:gd name="connsiteY123" fmla="*/ 320897 h 1124807"/>
                <a:gd name="connsiteX124" fmla="*/ 14288 w 1092517"/>
                <a:gd name="connsiteY124" fmla="*/ 331470 h 1124807"/>
                <a:gd name="connsiteX125" fmla="*/ 0 w 1092517"/>
                <a:gd name="connsiteY125" fmla="*/ 352425 h 1124807"/>
                <a:gd name="connsiteX126" fmla="*/ 14288 w 1092517"/>
                <a:gd name="connsiteY126" fmla="*/ 391382 h 1124807"/>
                <a:gd name="connsiteX127" fmla="*/ 32385 w 1092517"/>
                <a:gd name="connsiteY127" fmla="*/ 408622 h 1124807"/>
                <a:gd name="connsiteX128" fmla="*/ 49530 w 1092517"/>
                <a:gd name="connsiteY128" fmla="*/ 426720 h 1124807"/>
                <a:gd name="connsiteX129" fmla="*/ 63818 w 1092517"/>
                <a:gd name="connsiteY129" fmla="*/ 429482 h 1124807"/>
                <a:gd name="connsiteX130" fmla="*/ 67628 w 1092517"/>
                <a:gd name="connsiteY130" fmla="*/ 426720 h 1124807"/>
                <a:gd name="connsiteX131" fmla="*/ 84772 w 1092517"/>
                <a:gd name="connsiteY131" fmla="*/ 419100 h 1124807"/>
                <a:gd name="connsiteX132" fmla="*/ 95250 w 1092517"/>
                <a:gd name="connsiteY132" fmla="*/ 408622 h 1124807"/>
                <a:gd name="connsiteX133" fmla="*/ 99060 w 1092517"/>
                <a:gd name="connsiteY133" fmla="*/ 419100 h 1124807"/>
                <a:gd name="connsiteX134" fmla="*/ 91440 w 1092517"/>
                <a:gd name="connsiteY134" fmla="*/ 441007 h 1124807"/>
                <a:gd name="connsiteX135" fmla="*/ 95250 w 1092517"/>
                <a:gd name="connsiteY135" fmla="*/ 451485 h 1124807"/>
                <a:gd name="connsiteX136" fmla="*/ 105728 w 1092517"/>
                <a:gd name="connsiteY136" fmla="*/ 451485 h 1124807"/>
                <a:gd name="connsiteX137" fmla="*/ 126682 w 1092517"/>
                <a:gd name="connsiteY137" fmla="*/ 454247 h 1124807"/>
                <a:gd name="connsiteX138" fmla="*/ 161925 w 1092517"/>
                <a:gd name="connsiteY138" fmla="*/ 451485 h 1124807"/>
                <a:gd name="connsiteX139" fmla="*/ 186690 w 1092517"/>
                <a:gd name="connsiteY139" fmla="*/ 441007 h 1124807"/>
                <a:gd name="connsiteX140" fmla="*/ 200978 w 1092517"/>
                <a:gd name="connsiteY140" fmla="*/ 429482 h 1124807"/>
                <a:gd name="connsiteX141" fmla="*/ 204788 w 1092517"/>
                <a:gd name="connsiteY141" fmla="*/ 429482 h 1124807"/>
                <a:gd name="connsiteX142" fmla="*/ 221932 w 1092517"/>
                <a:gd name="connsiteY142" fmla="*/ 422910 h 1124807"/>
                <a:gd name="connsiteX143" fmla="*/ 242888 w 1092517"/>
                <a:gd name="connsiteY143" fmla="*/ 422910 h 1124807"/>
                <a:gd name="connsiteX144" fmla="*/ 246697 w 1092517"/>
                <a:gd name="connsiteY144" fmla="*/ 472345 h 1124807"/>
                <a:gd name="connsiteX145" fmla="*/ 267653 w 1092517"/>
                <a:gd name="connsiteY145" fmla="*/ 493395 h 1124807"/>
                <a:gd name="connsiteX146" fmla="*/ 285750 w 1092517"/>
                <a:gd name="connsiteY146" fmla="*/ 497110 h 1124807"/>
                <a:gd name="connsiteX147" fmla="*/ 302895 w 1092517"/>
                <a:gd name="connsiteY147" fmla="*/ 500920 h 1124807"/>
                <a:gd name="connsiteX148" fmla="*/ 310515 w 1092517"/>
                <a:gd name="connsiteY148" fmla="*/ 511397 h 1124807"/>
                <a:gd name="connsiteX149" fmla="*/ 324803 w 1092517"/>
                <a:gd name="connsiteY149" fmla="*/ 514350 h 1124807"/>
                <a:gd name="connsiteX150" fmla="*/ 345757 w 1092517"/>
                <a:gd name="connsiteY150" fmla="*/ 524732 h 1124807"/>
                <a:gd name="connsiteX151" fmla="*/ 377190 w 1092517"/>
                <a:gd name="connsiteY151" fmla="*/ 532447 h 1124807"/>
                <a:gd name="connsiteX152" fmla="*/ 383857 w 1092517"/>
                <a:gd name="connsiteY152" fmla="*/ 553307 h 1124807"/>
                <a:gd name="connsiteX153" fmla="*/ 387668 w 1092517"/>
                <a:gd name="connsiteY153" fmla="*/ 567595 h 1124807"/>
                <a:gd name="connsiteX154" fmla="*/ 383857 w 1092517"/>
                <a:gd name="connsiteY154" fmla="*/ 574357 h 1124807"/>
                <a:gd name="connsiteX155" fmla="*/ 383857 w 1092517"/>
                <a:gd name="connsiteY155" fmla="*/ 581882 h 1124807"/>
                <a:gd name="connsiteX156" fmla="*/ 387668 w 1092517"/>
                <a:gd name="connsiteY156" fmla="*/ 602932 h 1124807"/>
                <a:gd name="connsiteX157" fmla="*/ 437197 w 1092517"/>
                <a:gd name="connsiteY157" fmla="*/ 602932 h 1124807"/>
                <a:gd name="connsiteX158" fmla="*/ 433388 w 1092517"/>
                <a:gd name="connsiteY158" fmla="*/ 617220 h 1124807"/>
                <a:gd name="connsiteX159" fmla="*/ 437197 w 1092517"/>
                <a:gd name="connsiteY159" fmla="*/ 638175 h 1124807"/>
                <a:gd name="connsiteX160" fmla="*/ 454343 w 1092517"/>
                <a:gd name="connsiteY160" fmla="*/ 644747 h 1124807"/>
                <a:gd name="connsiteX161" fmla="*/ 458153 w 1092517"/>
                <a:gd name="connsiteY161" fmla="*/ 662845 h 1124807"/>
                <a:gd name="connsiteX162" fmla="*/ 458153 w 1092517"/>
                <a:gd name="connsiteY162" fmla="*/ 673322 h 1124807"/>
                <a:gd name="connsiteX163" fmla="*/ 443865 w 1092517"/>
                <a:gd name="connsiteY163" fmla="*/ 698182 h 1124807"/>
                <a:gd name="connsiteX164" fmla="*/ 451485 w 1092517"/>
                <a:gd name="connsiteY164" fmla="*/ 708660 h 1124807"/>
                <a:gd name="connsiteX165" fmla="*/ 443865 w 1092517"/>
                <a:gd name="connsiteY165" fmla="*/ 715232 h 1124807"/>
                <a:gd name="connsiteX166" fmla="*/ 451485 w 1092517"/>
                <a:gd name="connsiteY166" fmla="*/ 729520 h 1124807"/>
                <a:gd name="connsiteX167" fmla="*/ 451485 w 1092517"/>
                <a:gd name="connsiteY167" fmla="*/ 779145 h 1124807"/>
                <a:gd name="connsiteX168" fmla="*/ 468630 w 1092517"/>
                <a:gd name="connsiteY168" fmla="*/ 779145 h 1124807"/>
                <a:gd name="connsiteX169" fmla="*/ 482918 w 1092517"/>
                <a:gd name="connsiteY169" fmla="*/ 775335 h 1124807"/>
                <a:gd name="connsiteX170" fmla="*/ 500063 w 1092517"/>
                <a:gd name="connsiteY170" fmla="*/ 779145 h 1124807"/>
                <a:gd name="connsiteX171" fmla="*/ 510540 w 1092517"/>
                <a:gd name="connsiteY171" fmla="*/ 785813 h 1124807"/>
                <a:gd name="connsiteX172" fmla="*/ 507682 w 1092517"/>
                <a:gd name="connsiteY172" fmla="*/ 803910 h 1124807"/>
                <a:gd name="connsiteX173" fmla="*/ 514350 w 1092517"/>
                <a:gd name="connsiteY173" fmla="*/ 820960 h 1124807"/>
                <a:gd name="connsiteX174" fmla="*/ 528638 w 1092517"/>
                <a:gd name="connsiteY174" fmla="*/ 835247 h 1124807"/>
                <a:gd name="connsiteX175" fmla="*/ 542925 w 1092517"/>
                <a:gd name="connsiteY175" fmla="*/ 832485 h 1124807"/>
                <a:gd name="connsiteX176" fmla="*/ 553403 w 1092517"/>
                <a:gd name="connsiteY176" fmla="*/ 835247 h 1124807"/>
                <a:gd name="connsiteX177" fmla="*/ 549593 w 1092517"/>
                <a:gd name="connsiteY177" fmla="*/ 849535 h 1124807"/>
                <a:gd name="connsiteX178" fmla="*/ 542925 w 1092517"/>
                <a:gd name="connsiteY178" fmla="*/ 863822 h 1124807"/>
                <a:gd name="connsiteX179" fmla="*/ 542925 w 1092517"/>
                <a:gd name="connsiteY179" fmla="*/ 874395 h 1124807"/>
                <a:gd name="connsiteX180" fmla="*/ 560070 w 1092517"/>
                <a:gd name="connsiteY180" fmla="*/ 878110 h 1124807"/>
                <a:gd name="connsiteX181" fmla="*/ 567690 w 1092517"/>
                <a:gd name="connsiteY181" fmla="*/ 884872 h 1124807"/>
                <a:gd name="connsiteX182" fmla="*/ 570547 w 1092517"/>
                <a:gd name="connsiteY182" fmla="*/ 902970 h 1124807"/>
                <a:gd name="connsiteX183" fmla="*/ 563880 w 1092517"/>
                <a:gd name="connsiteY183" fmla="*/ 923925 h 1124807"/>
                <a:gd name="connsiteX184" fmla="*/ 557213 w 1092517"/>
                <a:gd name="connsiteY184" fmla="*/ 934307 h 1124807"/>
                <a:gd name="connsiteX185" fmla="*/ 542925 w 1092517"/>
                <a:gd name="connsiteY185" fmla="*/ 941070 h 1124807"/>
                <a:gd name="connsiteX186" fmla="*/ 528638 w 1092517"/>
                <a:gd name="connsiteY186" fmla="*/ 951547 h 1124807"/>
                <a:gd name="connsiteX187" fmla="*/ 486728 w 1092517"/>
                <a:gd name="connsiteY187" fmla="*/ 994410 h 1124807"/>
                <a:gd name="connsiteX188" fmla="*/ 476250 w 1092517"/>
                <a:gd name="connsiteY188" fmla="*/ 1000982 h 1124807"/>
                <a:gd name="connsiteX189" fmla="*/ 472440 w 1092517"/>
                <a:gd name="connsiteY189" fmla="*/ 1008697 h 1124807"/>
                <a:gd name="connsiteX190" fmla="*/ 489585 w 1092517"/>
                <a:gd name="connsiteY190" fmla="*/ 1022032 h 1124807"/>
                <a:gd name="connsiteX191" fmla="*/ 503872 w 1092517"/>
                <a:gd name="connsiteY191" fmla="*/ 1040035 h 1124807"/>
                <a:gd name="connsiteX192" fmla="*/ 518160 w 1092517"/>
                <a:gd name="connsiteY192" fmla="*/ 1043845 h 1124807"/>
                <a:gd name="connsiteX193" fmla="*/ 542925 w 1092517"/>
                <a:gd name="connsiteY193" fmla="*/ 1057275 h 1124807"/>
                <a:gd name="connsiteX194" fmla="*/ 563880 w 1092517"/>
                <a:gd name="connsiteY194" fmla="*/ 1075373 h 1124807"/>
                <a:gd name="connsiteX195" fmla="*/ 574357 w 1092517"/>
                <a:gd name="connsiteY195" fmla="*/ 1081945 h 1124807"/>
                <a:gd name="connsiteX196" fmla="*/ 581025 w 1092517"/>
                <a:gd name="connsiteY196" fmla="*/ 1096232 h 1124807"/>
                <a:gd name="connsiteX197" fmla="*/ 578168 w 1092517"/>
                <a:gd name="connsiteY197" fmla="*/ 1106710 h 1124807"/>
                <a:gd name="connsiteX198" fmla="*/ 578168 w 1092517"/>
                <a:gd name="connsiteY198" fmla="*/ 1117282 h 1124807"/>
                <a:gd name="connsiteX199" fmla="*/ 584835 w 1092517"/>
                <a:gd name="connsiteY199" fmla="*/ 1124807 h 1124807"/>
                <a:gd name="connsiteX200" fmla="*/ 592455 w 1092517"/>
                <a:gd name="connsiteY200" fmla="*/ 1110520 h 1124807"/>
                <a:gd name="connsiteX201" fmla="*/ 602932 w 1092517"/>
                <a:gd name="connsiteY201" fmla="*/ 1096232 h 1124807"/>
                <a:gd name="connsiteX202" fmla="*/ 605790 w 1092517"/>
                <a:gd name="connsiteY202" fmla="*/ 1089660 h 1124807"/>
                <a:gd name="connsiteX203" fmla="*/ 609600 w 1092517"/>
                <a:gd name="connsiteY203" fmla="*/ 1079182 h 1124807"/>
                <a:gd name="connsiteX204" fmla="*/ 613410 w 1092517"/>
                <a:gd name="connsiteY204" fmla="*/ 1068610 h 1124807"/>
                <a:gd name="connsiteX205" fmla="*/ 613410 w 1092517"/>
                <a:gd name="connsiteY205" fmla="*/ 1057275 h 1124807"/>
                <a:gd name="connsiteX206" fmla="*/ 620078 w 1092517"/>
                <a:gd name="connsiteY206" fmla="*/ 1050607 h 1124807"/>
                <a:gd name="connsiteX207" fmla="*/ 626745 w 1092517"/>
                <a:gd name="connsiteY207" fmla="*/ 1043845 h 1124807"/>
                <a:gd name="connsiteX208" fmla="*/ 634365 w 1092517"/>
                <a:gd name="connsiteY208" fmla="*/ 1033463 h 1124807"/>
                <a:gd name="connsiteX209" fmla="*/ 641032 w 1092517"/>
                <a:gd name="connsiteY209" fmla="*/ 1025747 h 1124807"/>
                <a:gd name="connsiteX210" fmla="*/ 648653 w 1092517"/>
                <a:gd name="connsiteY210" fmla="*/ 1022032 h 1124807"/>
                <a:gd name="connsiteX211" fmla="*/ 651510 w 1092517"/>
                <a:gd name="connsiteY211" fmla="*/ 1029557 h 1124807"/>
                <a:gd name="connsiteX212" fmla="*/ 644843 w 1092517"/>
                <a:gd name="connsiteY212" fmla="*/ 1040035 h 1124807"/>
                <a:gd name="connsiteX213" fmla="*/ 634365 w 1092517"/>
                <a:gd name="connsiteY213" fmla="*/ 1050607 h 1124807"/>
                <a:gd name="connsiteX214" fmla="*/ 626745 w 1092517"/>
                <a:gd name="connsiteY214" fmla="*/ 1057275 h 1124807"/>
                <a:gd name="connsiteX215" fmla="*/ 620078 w 1092517"/>
                <a:gd name="connsiteY215" fmla="*/ 1064895 h 1124807"/>
                <a:gd name="connsiteX216" fmla="*/ 620078 w 1092517"/>
                <a:gd name="connsiteY216" fmla="*/ 1068610 h 1124807"/>
                <a:gd name="connsiteX217" fmla="*/ 620078 w 1092517"/>
                <a:gd name="connsiteY217" fmla="*/ 1075373 h 1124807"/>
                <a:gd name="connsiteX218" fmla="*/ 634365 w 1092517"/>
                <a:gd name="connsiteY218" fmla="*/ 1064895 h 1124807"/>
                <a:gd name="connsiteX219" fmla="*/ 644843 w 1092517"/>
                <a:gd name="connsiteY219" fmla="*/ 1057275 h 1124807"/>
                <a:gd name="connsiteX220" fmla="*/ 651510 w 1092517"/>
                <a:gd name="connsiteY220" fmla="*/ 1043845 h 1124807"/>
                <a:gd name="connsiteX221" fmla="*/ 659130 w 1092517"/>
                <a:gd name="connsiteY221" fmla="*/ 1036320 h 1124807"/>
                <a:gd name="connsiteX222" fmla="*/ 661988 w 1092517"/>
                <a:gd name="connsiteY222" fmla="*/ 1029557 h 1124807"/>
                <a:gd name="connsiteX223" fmla="*/ 669607 w 1092517"/>
                <a:gd name="connsiteY223" fmla="*/ 1011460 h 1124807"/>
                <a:gd name="connsiteX224" fmla="*/ 676275 w 1092517"/>
                <a:gd name="connsiteY224" fmla="*/ 998220 h 1124807"/>
                <a:gd name="connsiteX225" fmla="*/ 686753 w 1092517"/>
                <a:gd name="connsiteY225" fmla="*/ 986695 h 1124807"/>
                <a:gd name="connsiteX226" fmla="*/ 701040 w 1092517"/>
                <a:gd name="connsiteY226" fmla="*/ 969645 h 1124807"/>
                <a:gd name="connsiteX227" fmla="*/ 711518 w 1092517"/>
                <a:gd name="connsiteY227" fmla="*/ 955357 h 1124807"/>
                <a:gd name="connsiteX228" fmla="*/ 708660 w 1092517"/>
                <a:gd name="connsiteY228" fmla="*/ 926782 h 1124807"/>
                <a:gd name="connsiteX229" fmla="*/ 708660 w 1092517"/>
                <a:gd name="connsiteY229" fmla="*/ 909638 h 1124807"/>
                <a:gd name="connsiteX230" fmla="*/ 711518 w 1092517"/>
                <a:gd name="connsiteY230" fmla="*/ 884872 h 1124807"/>
                <a:gd name="connsiteX231" fmla="*/ 719138 w 1092517"/>
                <a:gd name="connsiteY231" fmla="*/ 870585 h 1124807"/>
                <a:gd name="connsiteX232" fmla="*/ 736282 w 1092517"/>
                <a:gd name="connsiteY232" fmla="*/ 853345 h 1124807"/>
                <a:gd name="connsiteX233" fmla="*/ 757238 w 1092517"/>
                <a:gd name="connsiteY233" fmla="*/ 845820 h 1124807"/>
                <a:gd name="connsiteX234" fmla="*/ 771525 w 1092517"/>
                <a:gd name="connsiteY234" fmla="*/ 832485 h 1124807"/>
                <a:gd name="connsiteX235" fmla="*/ 785813 w 1092517"/>
                <a:gd name="connsiteY235" fmla="*/ 832485 h 1124807"/>
                <a:gd name="connsiteX236" fmla="*/ 800100 w 1092517"/>
                <a:gd name="connsiteY236" fmla="*/ 824770 h 1124807"/>
                <a:gd name="connsiteX237" fmla="*/ 817245 w 1092517"/>
                <a:gd name="connsiteY237" fmla="*/ 807720 h 1124807"/>
                <a:gd name="connsiteX238" fmla="*/ 848678 w 1092517"/>
                <a:gd name="connsiteY238" fmla="*/ 803910 h 1124807"/>
                <a:gd name="connsiteX239" fmla="*/ 870585 w 1092517"/>
                <a:gd name="connsiteY239" fmla="*/ 803910 h 1124807"/>
                <a:gd name="connsiteX240" fmla="*/ 895350 w 1092517"/>
                <a:gd name="connsiteY240" fmla="*/ 796195 h 1124807"/>
                <a:gd name="connsiteX241" fmla="*/ 902018 w 1092517"/>
                <a:gd name="connsiteY241" fmla="*/ 785813 h 1124807"/>
                <a:gd name="connsiteX242" fmla="*/ 912495 w 1092517"/>
                <a:gd name="connsiteY242" fmla="*/ 775335 h 1124807"/>
                <a:gd name="connsiteX243" fmla="*/ 922972 w 1092517"/>
                <a:gd name="connsiteY243" fmla="*/ 764857 h 1124807"/>
                <a:gd name="connsiteX244" fmla="*/ 929640 w 1092517"/>
                <a:gd name="connsiteY244" fmla="*/ 739997 h 1124807"/>
                <a:gd name="connsiteX245" fmla="*/ 943928 w 1092517"/>
                <a:gd name="connsiteY245" fmla="*/ 719138 h 1124807"/>
                <a:gd name="connsiteX246" fmla="*/ 958215 w 1092517"/>
                <a:gd name="connsiteY246" fmla="*/ 690563 h 1124807"/>
                <a:gd name="connsiteX247" fmla="*/ 964882 w 1092517"/>
                <a:gd name="connsiteY247" fmla="*/ 662845 h 1124807"/>
                <a:gd name="connsiteX248" fmla="*/ 972503 w 1092517"/>
                <a:gd name="connsiteY248" fmla="*/ 644747 h 1124807"/>
                <a:gd name="connsiteX249" fmla="*/ 976313 w 1092517"/>
                <a:gd name="connsiteY249" fmla="*/ 617220 h 1124807"/>
                <a:gd name="connsiteX250" fmla="*/ 979170 w 1092517"/>
                <a:gd name="connsiteY250" fmla="*/ 595313 h 1124807"/>
                <a:gd name="connsiteX251" fmla="*/ 979170 w 1092517"/>
                <a:gd name="connsiteY251" fmla="*/ 567595 h 1124807"/>
                <a:gd name="connsiteX252" fmla="*/ 976313 w 1092517"/>
                <a:gd name="connsiteY252" fmla="*/ 546735 h 1124807"/>
                <a:gd name="connsiteX253" fmla="*/ 976313 w 1092517"/>
                <a:gd name="connsiteY253" fmla="*/ 532447 h 1124807"/>
                <a:gd name="connsiteX254" fmla="*/ 979170 w 1092517"/>
                <a:gd name="connsiteY254" fmla="*/ 518160 h 1124807"/>
                <a:gd name="connsiteX255" fmla="*/ 989647 w 1092517"/>
                <a:gd name="connsiteY255" fmla="*/ 511397 h 1124807"/>
                <a:gd name="connsiteX256" fmla="*/ 1003935 w 1092517"/>
                <a:gd name="connsiteY256" fmla="*/ 503872 h 1124807"/>
                <a:gd name="connsiteX257" fmla="*/ 1011555 w 1092517"/>
                <a:gd name="connsiteY257" fmla="*/ 497110 h 1124807"/>
                <a:gd name="connsiteX258" fmla="*/ 1018222 w 1092517"/>
                <a:gd name="connsiteY258" fmla="*/ 489585 h 1124807"/>
                <a:gd name="connsiteX259" fmla="*/ 1022032 w 1092517"/>
                <a:gd name="connsiteY259" fmla="*/ 479107 h 1124807"/>
                <a:gd name="connsiteX260" fmla="*/ 1022032 w 1092517"/>
                <a:gd name="connsiteY260" fmla="*/ 464820 h 1124807"/>
                <a:gd name="connsiteX261" fmla="*/ 1057275 w 1092517"/>
                <a:gd name="connsiteY261" fmla="*/ 433388 h 1124807"/>
                <a:gd name="connsiteX262" fmla="*/ 1070610 w 1092517"/>
                <a:gd name="connsiteY262" fmla="*/ 416147 h 1124807"/>
                <a:gd name="connsiteX263" fmla="*/ 1088707 w 1092517"/>
                <a:gd name="connsiteY263" fmla="*/ 394335 h 1124807"/>
                <a:gd name="connsiteX264" fmla="*/ 1092518 w 1092517"/>
                <a:gd name="connsiteY264" fmla="*/ 362807 h 1124807"/>
                <a:gd name="connsiteX265" fmla="*/ 1092518 w 1092517"/>
                <a:gd name="connsiteY265" fmla="*/ 334232 h 1124807"/>
                <a:gd name="connsiteX266" fmla="*/ 1081088 w 1092517"/>
                <a:gd name="connsiteY266" fmla="*/ 306610 h 1124807"/>
                <a:gd name="connsiteX267" fmla="*/ 1074420 w 1092517"/>
                <a:gd name="connsiteY267" fmla="*/ 288607 h 112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</a:cxnLst>
              <a:rect l="l" t="t" r="r" b="b"/>
              <a:pathLst>
                <a:path w="1092517" h="1124807">
                  <a:moveTo>
                    <a:pt x="1074420" y="288607"/>
                  </a:moveTo>
                  <a:lnTo>
                    <a:pt x="1060132" y="288607"/>
                  </a:lnTo>
                  <a:lnTo>
                    <a:pt x="1042988" y="292322"/>
                  </a:lnTo>
                  <a:lnTo>
                    <a:pt x="1024890" y="281845"/>
                  </a:lnTo>
                  <a:lnTo>
                    <a:pt x="1007745" y="267557"/>
                  </a:lnTo>
                  <a:lnTo>
                    <a:pt x="986790" y="250507"/>
                  </a:lnTo>
                  <a:lnTo>
                    <a:pt x="964882" y="236220"/>
                  </a:lnTo>
                  <a:lnTo>
                    <a:pt x="947738" y="232410"/>
                  </a:lnTo>
                  <a:lnTo>
                    <a:pt x="929640" y="228600"/>
                  </a:lnTo>
                  <a:lnTo>
                    <a:pt x="908685" y="228600"/>
                  </a:lnTo>
                  <a:lnTo>
                    <a:pt x="891540" y="225647"/>
                  </a:lnTo>
                  <a:lnTo>
                    <a:pt x="873443" y="218122"/>
                  </a:lnTo>
                  <a:lnTo>
                    <a:pt x="860107" y="215170"/>
                  </a:lnTo>
                  <a:lnTo>
                    <a:pt x="848678" y="218122"/>
                  </a:lnTo>
                  <a:lnTo>
                    <a:pt x="838200" y="221932"/>
                  </a:lnTo>
                  <a:lnTo>
                    <a:pt x="824865" y="236220"/>
                  </a:lnTo>
                  <a:lnTo>
                    <a:pt x="821055" y="236220"/>
                  </a:lnTo>
                  <a:lnTo>
                    <a:pt x="824865" y="221932"/>
                  </a:lnTo>
                  <a:lnTo>
                    <a:pt x="831532" y="211360"/>
                  </a:lnTo>
                  <a:lnTo>
                    <a:pt x="831532" y="200882"/>
                  </a:lnTo>
                  <a:lnTo>
                    <a:pt x="813435" y="193357"/>
                  </a:lnTo>
                  <a:lnTo>
                    <a:pt x="789622" y="182785"/>
                  </a:lnTo>
                  <a:lnTo>
                    <a:pt x="775335" y="172307"/>
                  </a:lnTo>
                  <a:lnTo>
                    <a:pt x="750570" y="165735"/>
                  </a:lnTo>
                  <a:lnTo>
                    <a:pt x="740093" y="161925"/>
                  </a:lnTo>
                  <a:lnTo>
                    <a:pt x="729615" y="165735"/>
                  </a:lnTo>
                  <a:lnTo>
                    <a:pt x="721995" y="172307"/>
                  </a:lnTo>
                  <a:lnTo>
                    <a:pt x="719138" y="182785"/>
                  </a:lnTo>
                  <a:lnTo>
                    <a:pt x="715328" y="190500"/>
                  </a:lnTo>
                  <a:lnTo>
                    <a:pt x="711518" y="190500"/>
                  </a:lnTo>
                  <a:lnTo>
                    <a:pt x="697230" y="204788"/>
                  </a:lnTo>
                  <a:lnTo>
                    <a:pt x="690563" y="204788"/>
                  </a:lnTo>
                  <a:lnTo>
                    <a:pt x="690563" y="190500"/>
                  </a:lnTo>
                  <a:lnTo>
                    <a:pt x="701040" y="180022"/>
                  </a:lnTo>
                  <a:lnTo>
                    <a:pt x="708660" y="172307"/>
                  </a:lnTo>
                  <a:lnTo>
                    <a:pt x="711518" y="161925"/>
                  </a:lnTo>
                  <a:lnTo>
                    <a:pt x="711518" y="155257"/>
                  </a:lnTo>
                  <a:lnTo>
                    <a:pt x="704850" y="147638"/>
                  </a:lnTo>
                  <a:lnTo>
                    <a:pt x="690563" y="144685"/>
                  </a:lnTo>
                  <a:lnTo>
                    <a:pt x="683895" y="137160"/>
                  </a:lnTo>
                  <a:lnTo>
                    <a:pt x="669607" y="137160"/>
                  </a:lnTo>
                  <a:lnTo>
                    <a:pt x="655320" y="144685"/>
                  </a:lnTo>
                  <a:lnTo>
                    <a:pt x="655320" y="161925"/>
                  </a:lnTo>
                  <a:lnTo>
                    <a:pt x="648653" y="172307"/>
                  </a:lnTo>
                  <a:lnTo>
                    <a:pt x="638175" y="176213"/>
                  </a:lnTo>
                  <a:lnTo>
                    <a:pt x="634365" y="169545"/>
                  </a:lnTo>
                  <a:lnTo>
                    <a:pt x="634365" y="155257"/>
                  </a:lnTo>
                  <a:lnTo>
                    <a:pt x="638175" y="147638"/>
                  </a:lnTo>
                  <a:lnTo>
                    <a:pt x="651510" y="133350"/>
                  </a:lnTo>
                  <a:lnTo>
                    <a:pt x="665797" y="122872"/>
                  </a:lnTo>
                  <a:lnTo>
                    <a:pt x="673418" y="119920"/>
                  </a:lnTo>
                  <a:lnTo>
                    <a:pt x="673418" y="105632"/>
                  </a:lnTo>
                  <a:lnTo>
                    <a:pt x="661988" y="95250"/>
                  </a:lnTo>
                  <a:lnTo>
                    <a:pt x="648653" y="77057"/>
                  </a:lnTo>
                  <a:lnTo>
                    <a:pt x="644843" y="62770"/>
                  </a:lnTo>
                  <a:lnTo>
                    <a:pt x="641032" y="49435"/>
                  </a:lnTo>
                  <a:lnTo>
                    <a:pt x="644843" y="41910"/>
                  </a:lnTo>
                  <a:lnTo>
                    <a:pt x="638175" y="35147"/>
                  </a:lnTo>
                  <a:lnTo>
                    <a:pt x="626745" y="31432"/>
                  </a:lnTo>
                  <a:lnTo>
                    <a:pt x="616268" y="41910"/>
                  </a:lnTo>
                  <a:lnTo>
                    <a:pt x="595313" y="91345"/>
                  </a:lnTo>
                  <a:lnTo>
                    <a:pt x="584835" y="84772"/>
                  </a:lnTo>
                  <a:lnTo>
                    <a:pt x="567690" y="80963"/>
                  </a:lnTo>
                  <a:lnTo>
                    <a:pt x="557213" y="87535"/>
                  </a:lnTo>
                  <a:lnTo>
                    <a:pt x="545782" y="87535"/>
                  </a:lnTo>
                  <a:lnTo>
                    <a:pt x="528638" y="80963"/>
                  </a:lnTo>
                  <a:lnTo>
                    <a:pt x="510540" y="77057"/>
                  </a:lnTo>
                  <a:lnTo>
                    <a:pt x="503872" y="77057"/>
                  </a:lnTo>
                  <a:lnTo>
                    <a:pt x="503872" y="84772"/>
                  </a:lnTo>
                  <a:lnTo>
                    <a:pt x="500063" y="95250"/>
                  </a:lnTo>
                  <a:lnTo>
                    <a:pt x="497205" y="95250"/>
                  </a:lnTo>
                  <a:lnTo>
                    <a:pt x="486728" y="95250"/>
                  </a:lnTo>
                  <a:lnTo>
                    <a:pt x="479107" y="87535"/>
                  </a:lnTo>
                  <a:lnTo>
                    <a:pt x="472440" y="95250"/>
                  </a:lnTo>
                  <a:lnTo>
                    <a:pt x="458153" y="101822"/>
                  </a:lnTo>
                  <a:lnTo>
                    <a:pt x="447675" y="109538"/>
                  </a:lnTo>
                  <a:lnTo>
                    <a:pt x="429578" y="112395"/>
                  </a:lnTo>
                  <a:lnTo>
                    <a:pt x="416243" y="112395"/>
                  </a:lnTo>
                  <a:lnTo>
                    <a:pt x="401955" y="98107"/>
                  </a:lnTo>
                  <a:lnTo>
                    <a:pt x="391478" y="84772"/>
                  </a:lnTo>
                  <a:lnTo>
                    <a:pt x="391478" y="49435"/>
                  </a:lnTo>
                  <a:lnTo>
                    <a:pt x="401955" y="38957"/>
                  </a:lnTo>
                  <a:lnTo>
                    <a:pt x="387668" y="0"/>
                  </a:lnTo>
                  <a:lnTo>
                    <a:pt x="366713" y="0"/>
                  </a:lnTo>
                  <a:lnTo>
                    <a:pt x="370522" y="6572"/>
                  </a:lnTo>
                  <a:lnTo>
                    <a:pt x="362903" y="24670"/>
                  </a:lnTo>
                  <a:lnTo>
                    <a:pt x="341947" y="31432"/>
                  </a:lnTo>
                  <a:lnTo>
                    <a:pt x="324803" y="35147"/>
                  </a:lnTo>
                  <a:lnTo>
                    <a:pt x="313372" y="41910"/>
                  </a:lnTo>
                  <a:lnTo>
                    <a:pt x="306705" y="38957"/>
                  </a:lnTo>
                  <a:lnTo>
                    <a:pt x="285750" y="38957"/>
                  </a:lnTo>
                  <a:lnTo>
                    <a:pt x="271463" y="31432"/>
                  </a:lnTo>
                  <a:lnTo>
                    <a:pt x="260985" y="35147"/>
                  </a:lnTo>
                  <a:lnTo>
                    <a:pt x="271463" y="45720"/>
                  </a:lnTo>
                  <a:lnTo>
                    <a:pt x="275272" y="62770"/>
                  </a:lnTo>
                  <a:lnTo>
                    <a:pt x="285750" y="77057"/>
                  </a:lnTo>
                  <a:lnTo>
                    <a:pt x="296228" y="77057"/>
                  </a:lnTo>
                  <a:lnTo>
                    <a:pt x="296228" y="91345"/>
                  </a:lnTo>
                  <a:lnTo>
                    <a:pt x="275272" y="98107"/>
                  </a:lnTo>
                  <a:lnTo>
                    <a:pt x="264795" y="109538"/>
                  </a:lnTo>
                  <a:lnTo>
                    <a:pt x="254318" y="119920"/>
                  </a:lnTo>
                  <a:lnTo>
                    <a:pt x="229553" y="126682"/>
                  </a:lnTo>
                  <a:lnTo>
                    <a:pt x="211455" y="122872"/>
                  </a:lnTo>
                  <a:lnTo>
                    <a:pt x="197168" y="109538"/>
                  </a:lnTo>
                  <a:lnTo>
                    <a:pt x="190500" y="98107"/>
                  </a:lnTo>
                  <a:lnTo>
                    <a:pt x="180022" y="95250"/>
                  </a:lnTo>
                  <a:lnTo>
                    <a:pt x="161925" y="98107"/>
                  </a:lnTo>
                  <a:lnTo>
                    <a:pt x="113347" y="101822"/>
                  </a:lnTo>
                  <a:lnTo>
                    <a:pt x="113347" y="112395"/>
                  </a:lnTo>
                  <a:lnTo>
                    <a:pt x="134303" y="119920"/>
                  </a:lnTo>
                  <a:lnTo>
                    <a:pt x="134303" y="130397"/>
                  </a:lnTo>
                  <a:lnTo>
                    <a:pt x="116205" y="126682"/>
                  </a:lnTo>
                  <a:lnTo>
                    <a:pt x="113347" y="130397"/>
                  </a:lnTo>
                  <a:lnTo>
                    <a:pt x="113347" y="151447"/>
                  </a:lnTo>
                  <a:lnTo>
                    <a:pt x="123825" y="165735"/>
                  </a:lnTo>
                  <a:lnTo>
                    <a:pt x="126682" y="186595"/>
                  </a:lnTo>
                  <a:lnTo>
                    <a:pt x="123825" y="211360"/>
                  </a:lnTo>
                  <a:lnTo>
                    <a:pt x="120015" y="221932"/>
                  </a:lnTo>
                  <a:lnTo>
                    <a:pt x="120015" y="242888"/>
                  </a:lnTo>
                  <a:lnTo>
                    <a:pt x="109538" y="267557"/>
                  </a:lnTo>
                  <a:lnTo>
                    <a:pt x="70485" y="271463"/>
                  </a:lnTo>
                  <a:lnTo>
                    <a:pt x="45720" y="281845"/>
                  </a:lnTo>
                  <a:lnTo>
                    <a:pt x="28575" y="302895"/>
                  </a:lnTo>
                  <a:lnTo>
                    <a:pt x="24765" y="320897"/>
                  </a:lnTo>
                  <a:lnTo>
                    <a:pt x="14288" y="331470"/>
                  </a:lnTo>
                  <a:lnTo>
                    <a:pt x="0" y="352425"/>
                  </a:lnTo>
                  <a:lnTo>
                    <a:pt x="14288" y="391382"/>
                  </a:lnTo>
                  <a:lnTo>
                    <a:pt x="32385" y="408622"/>
                  </a:lnTo>
                  <a:lnTo>
                    <a:pt x="49530" y="426720"/>
                  </a:lnTo>
                  <a:lnTo>
                    <a:pt x="63818" y="429482"/>
                  </a:lnTo>
                  <a:lnTo>
                    <a:pt x="67628" y="426720"/>
                  </a:lnTo>
                  <a:lnTo>
                    <a:pt x="84772" y="419100"/>
                  </a:lnTo>
                  <a:lnTo>
                    <a:pt x="95250" y="408622"/>
                  </a:lnTo>
                  <a:lnTo>
                    <a:pt x="99060" y="419100"/>
                  </a:lnTo>
                  <a:lnTo>
                    <a:pt x="91440" y="441007"/>
                  </a:lnTo>
                  <a:lnTo>
                    <a:pt x="95250" y="451485"/>
                  </a:lnTo>
                  <a:lnTo>
                    <a:pt x="105728" y="451485"/>
                  </a:lnTo>
                  <a:lnTo>
                    <a:pt x="126682" y="454247"/>
                  </a:lnTo>
                  <a:lnTo>
                    <a:pt x="161925" y="451485"/>
                  </a:lnTo>
                  <a:lnTo>
                    <a:pt x="186690" y="441007"/>
                  </a:lnTo>
                  <a:lnTo>
                    <a:pt x="200978" y="429482"/>
                  </a:lnTo>
                  <a:lnTo>
                    <a:pt x="204788" y="429482"/>
                  </a:lnTo>
                  <a:lnTo>
                    <a:pt x="221932" y="422910"/>
                  </a:lnTo>
                  <a:lnTo>
                    <a:pt x="242888" y="422910"/>
                  </a:lnTo>
                  <a:lnTo>
                    <a:pt x="246697" y="472345"/>
                  </a:lnTo>
                  <a:lnTo>
                    <a:pt x="267653" y="493395"/>
                  </a:lnTo>
                  <a:lnTo>
                    <a:pt x="285750" y="497110"/>
                  </a:lnTo>
                  <a:lnTo>
                    <a:pt x="302895" y="500920"/>
                  </a:lnTo>
                  <a:lnTo>
                    <a:pt x="310515" y="511397"/>
                  </a:lnTo>
                  <a:lnTo>
                    <a:pt x="324803" y="514350"/>
                  </a:lnTo>
                  <a:lnTo>
                    <a:pt x="345757" y="524732"/>
                  </a:lnTo>
                  <a:lnTo>
                    <a:pt x="377190" y="532447"/>
                  </a:lnTo>
                  <a:lnTo>
                    <a:pt x="383857" y="553307"/>
                  </a:lnTo>
                  <a:lnTo>
                    <a:pt x="387668" y="567595"/>
                  </a:lnTo>
                  <a:lnTo>
                    <a:pt x="383857" y="574357"/>
                  </a:lnTo>
                  <a:lnTo>
                    <a:pt x="383857" y="581882"/>
                  </a:lnTo>
                  <a:lnTo>
                    <a:pt x="387668" y="602932"/>
                  </a:lnTo>
                  <a:lnTo>
                    <a:pt x="437197" y="602932"/>
                  </a:lnTo>
                  <a:lnTo>
                    <a:pt x="433388" y="617220"/>
                  </a:lnTo>
                  <a:lnTo>
                    <a:pt x="437197" y="638175"/>
                  </a:lnTo>
                  <a:lnTo>
                    <a:pt x="454343" y="644747"/>
                  </a:lnTo>
                  <a:lnTo>
                    <a:pt x="458153" y="662845"/>
                  </a:lnTo>
                  <a:lnTo>
                    <a:pt x="458153" y="673322"/>
                  </a:lnTo>
                  <a:lnTo>
                    <a:pt x="443865" y="698182"/>
                  </a:lnTo>
                  <a:lnTo>
                    <a:pt x="451485" y="708660"/>
                  </a:lnTo>
                  <a:lnTo>
                    <a:pt x="443865" y="715232"/>
                  </a:lnTo>
                  <a:lnTo>
                    <a:pt x="451485" y="729520"/>
                  </a:lnTo>
                  <a:lnTo>
                    <a:pt x="451485" y="779145"/>
                  </a:lnTo>
                  <a:lnTo>
                    <a:pt x="468630" y="779145"/>
                  </a:lnTo>
                  <a:lnTo>
                    <a:pt x="482918" y="775335"/>
                  </a:lnTo>
                  <a:lnTo>
                    <a:pt x="500063" y="779145"/>
                  </a:lnTo>
                  <a:lnTo>
                    <a:pt x="510540" y="785813"/>
                  </a:lnTo>
                  <a:lnTo>
                    <a:pt x="507682" y="803910"/>
                  </a:lnTo>
                  <a:lnTo>
                    <a:pt x="514350" y="820960"/>
                  </a:lnTo>
                  <a:lnTo>
                    <a:pt x="528638" y="835247"/>
                  </a:lnTo>
                  <a:lnTo>
                    <a:pt x="542925" y="832485"/>
                  </a:lnTo>
                  <a:lnTo>
                    <a:pt x="553403" y="835247"/>
                  </a:lnTo>
                  <a:lnTo>
                    <a:pt x="549593" y="849535"/>
                  </a:lnTo>
                  <a:lnTo>
                    <a:pt x="542925" y="863822"/>
                  </a:lnTo>
                  <a:lnTo>
                    <a:pt x="542925" y="874395"/>
                  </a:lnTo>
                  <a:lnTo>
                    <a:pt x="560070" y="878110"/>
                  </a:lnTo>
                  <a:lnTo>
                    <a:pt x="567690" y="884872"/>
                  </a:lnTo>
                  <a:lnTo>
                    <a:pt x="570547" y="902970"/>
                  </a:lnTo>
                  <a:lnTo>
                    <a:pt x="563880" y="923925"/>
                  </a:lnTo>
                  <a:lnTo>
                    <a:pt x="557213" y="934307"/>
                  </a:lnTo>
                  <a:lnTo>
                    <a:pt x="542925" y="941070"/>
                  </a:lnTo>
                  <a:lnTo>
                    <a:pt x="528638" y="951547"/>
                  </a:lnTo>
                  <a:lnTo>
                    <a:pt x="486728" y="994410"/>
                  </a:lnTo>
                  <a:lnTo>
                    <a:pt x="476250" y="1000982"/>
                  </a:lnTo>
                  <a:lnTo>
                    <a:pt x="472440" y="1008697"/>
                  </a:lnTo>
                  <a:lnTo>
                    <a:pt x="489585" y="1022032"/>
                  </a:lnTo>
                  <a:lnTo>
                    <a:pt x="503872" y="1040035"/>
                  </a:lnTo>
                  <a:lnTo>
                    <a:pt x="518160" y="1043845"/>
                  </a:lnTo>
                  <a:lnTo>
                    <a:pt x="542925" y="1057275"/>
                  </a:lnTo>
                  <a:lnTo>
                    <a:pt x="563880" y="1075373"/>
                  </a:lnTo>
                  <a:lnTo>
                    <a:pt x="574357" y="1081945"/>
                  </a:lnTo>
                  <a:lnTo>
                    <a:pt x="581025" y="1096232"/>
                  </a:lnTo>
                  <a:lnTo>
                    <a:pt x="578168" y="1106710"/>
                  </a:lnTo>
                  <a:lnTo>
                    <a:pt x="578168" y="1117282"/>
                  </a:lnTo>
                  <a:lnTo>
                    <a:pt x="584835" y="1124807"/>
                  </a:lnTo>
                  <a:lnTo>
                    <a:pt x="592455" y="1110520"/>
                  </a:lnTo>
                  <a:lnTo>
                    <a:pt x="602932" y="1096232"/>
                  </a:lnTo>
                  <a:lnTo>
                    <a:pt x="605790" y="1089660"/>
                  </a:lnTo>
                  <a:lnTo>
                    <a:pt x="609600" y="1079182"/>
                  </a:lnTo>
                  <a:lnTo>
                    <a:pt x="613410" y="1068610"/>
                  </a:lnTo>
                  <a:lnTo>
                    <a:pt x="613410" y="1057275"/>
                  </a:lnTo>
                  <a:lnTo>
                    <a:pt x="620078" y="1050607"/>
                  </a:lnTo>
                  <a:lnTo>
                    <a:pt x="626745" y="1043845"/>
                  </a:lnTo>
                  <a:lnTo>
                    <a:pt x="634365" y="1033463"/>
                  </a:lnTo>
                  <a:lnTo>
                    <a:pt x="641032" y="1025747"/>
                  </a:lnTo>
                  <a:lnTo>
                    <a:pt x="648653" y="1022032"/>
                  </a:lnTo>
                  <a:lnTo>
                    <a:pt x="651510" y="1029557"/>
                  </a:lnTo>
                  <a:lnTo>
                    <a:pt x="644843" y="1040035"/>
                  </a:lnTo>
                  <a:lnTo>
                    <a:pt x="634365" y="1050607"/>
                  </a:lnTo>
                  <a:lnTo>
                    <a:pt x="626745" y="1057275"/>
                  </a:lnTo>
                  <a:lnTo>
                    <a:pt x="620078" y="1064895"/>
                  </a:lnTo>
                  <a:lnTo>
                    <a:pt x="620078" y="1068610"/>
                  </a:lnTo>
                  <a:lnTo>
                    <a:pt x="620078" y="1075373"/>
                  </a:lnTo>
                  <a:lnTo>
                    <a:pt x="634365" y="1064895"/>
                  </a:lnTo>
                  <a:lnTo>
                    <a:pt x="644843" y="1057275"/>
                  </a:lnTo>
                  <a:lnTo>
                    <a:pt x="651510" y="1043845"/>
                  </a:lnTo>
                  <a:lnTo>
                    <a:pt x="659130" y="1036320"/>
                  </a:lnTo>
                  <a:lnTo>
                    <a:pt x="661988" y="1029557"/>
                  </a:lnTo>
                  <a:lnTo>
                    <a:pt x="669607" y="1011460"/>
                  </a:lnTo>
                  <a:lnTo>
                    <a:pt x="676275" y="998220"/>
                  </a:lnTo>
                  <a:lnTo>
                    <a:pt x="686753" y="986695"/>
                  </a:lnTo>
                  <a:lnTo>
                    <a:pt x="701040" y="969645"/>
                  </a:lnTo>
                  <a:lnTo>
                    <a:pt x="711518" y="955357"/>
                  </a:lnTo>
                  <a:lnTo>
                    <a:pt x="708660" y="926782"/>
                  </a:lnTo>
                  <a:lnTo>
                    <a:pt x="708660" y="909638"/>
                  </a:lnTo>
                  <a:lnTo>
                    <a:pt x="711518" y="884872"/>
                  </a:lnTo>
                  <a:lnTo>
                    <a:pt x="719138" y="870585"/>
                  </a:lnTo>
                  <a:lnTo>
                    <a:pt x="736282" y="853345"/>
                  </a:lnTo>
                  <a:lnTo>
                    <a:pt x="757238" y="845820"/>
                  </a:lnTo>
                  <a:lnTo>
                    <a:pt x="771525" y="832485"/>
                  </a:lnTo>
                  <a:lnTo>
                    <a:pt x="785813" y="832485"/>
                  </a:lnTo>
                  <a:lnTo>
                    <a:pt x="800100" y="824770"/>
                  </a:lnTo>
                  <a:lnTo>
                    <a:pt x="817245" y="807720"/>
                  </a:lnTo>
                  <a:lnTo>
                    <a:pt x="848678" y="803910"/>
                  </a:lnTo>
                  <a:lnTo>
                    <a:pt x="870585" y="803910"/>
                  </a:lnTo>
                  <a:lnTo>
                    <a:pt x="895350" y="796195"/>
                  </a:lnTo>
                  <a:lnTo>
                    <a:pt x="902018" y="785813"/>
                  </a:lnTo>
                  <a:lnTo>
                    <a:pt x="912495" y="775335"/>
                  </a:lnTo>
                  <a:lnTo>
                    <a:pt x="922972" y="764857"/>
                  </a:lnTo>
                  <a:lnTo>
                    <a:pt x="929640" y="739997"/>
                  </a:lnTo>
                  <a:lnTo>
                    <a:pt x="943928" y="719138"/>
                  </a:lnTo>
                  <a:lnTo>
                    <a:pt x="958215" y="690563"/>
                  </a:lnTo>
                  <a:lnTo>
                    <a:pt x="964882" y="662845"/>
                  </a:lnTo>
                  <a:lnTo>
                    <a:pt x="972503" y="644747"/>
                  </a:lnTo>
                  <a:lnTo>
                    <a:pt x="976313" y="617220"/>
                  </a:lnTo>
                  <a:lnTo>
                    <a:pt x="979170" y="595313"/>
                  </a:lnTo>
                  <a:lnTo>
                    <a:pt x="979170" y="567595"/>
                  </a:lnTo>
                  <a:lnTo>
                    <a:pt x="976313" y="546735"/>
                  </a:lnTo>
                  <a:lnTo>
                    <a:pt x="976313" y="532447"/>
                  </a:lnTo>
                  <a:lnTo>
                    <a:pt x="979170" y="518160"/>
                  </a:lnTo>
                  <a:lnTo>
                    <a:pt x="989647" y="511397"/>
                  </a:lnTo>
                  <a:lnTo>
                    <a:pt x="1003935" y="503872"/>
                  </a:lnTo>
                  <a:lnTo>
                    <a:pt x="1011555" y="497110"/>
                  </a:lnTo>
                  <a:lnTo>
                    <a:pt x="1018222" y="489585"/>
                  </a:lnTo>
                  <a:lnTo>
                    <a:pt x="1022032" y="479107"/>
                  </a:lnTo>
                  <a:lnTo>
                    <a:pt x="1022032" y="464820"/>
                  </a:lnTo>
                  <a:lnTo>
                    <a:pt x="1057275" y="433388"/>
                  </a:lnTo>
                  <a:lnTo>
                    <a:pt x="1070610" y="416147"/>
                  </a:lnTo>
                  <a:lnTo>
                    <a:pt x="1088707" y="394335"/>
                  </a:lnTo>
                  <a:lnTo>
                    <a:pt x="1092518" y="362807"/>
                  </a:lnTo>
                  <a:lnTo>
                    <a:pt x="1092518" y="334232"/>
                  </a:lnTo>
                  <a:lnTo>
                    <a:pt x="1081088" y="306610"/>
                  </a:lnTo>
                  <a:lnTo>
                    <a:pt x="1074420" y="28860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53" name="Freeform: Shape 3852">
              <a:extLst>
                <a:ext uri="{FF2B5EF4-FFF2-40B4-BE49-F238E27FC236}">
                  <a16:creationId xmlns:a16="http://schemas.microsoft.com/office/drawing/2014/main" id="{78C66DDA-BD22-28F3-90D3-D1B9815F23A4}"/>
                </a:ext>
              </a:extLst>
            </p:cNvPr>
            <p:cNvSpPr/>
            <p:nvPr/>
          </p:nvSpPr>
          <p:spPr>
            <a:xfrm>
              <a:off x="2136637" y="2130974"/>
              <a:ext cx="2330575" cy="1193215"/>
            </a:xfrm>
            <a:custGeom>
              <a:avLst/>
              <a:gdLst>
                <a:gd name="connsiteX0" fmla="*/ 1271587 w 2377439"/>
                <a:gd name="connsiteY0" fmla="*/ 959167 h 1217199"/>
                <a:gd name="connsiteX1" fmla="*/ 1285875 w 2377439"/>
                <a:gd name="connsiteY1" fmla="*/ 959167 h 1217199"/>
                <a:gd name="connsiteX2" fmla="*/ 1288733 w 2377439"/>
                <a:gd name="connsiteY2" fmla="*/ 973455 h 1217199"/>
                <a:gd name="connsiteX3" fmla="*/ 1296353 w 2377439"/>
                <a:gd name="connsiteY3" fmla="*/ 980980 h 1217199"/>
                <a:gd name="connsiteX4" fmla="*/ 1317308 w 2377439"/>
                <a:gd name="connsiteY4" fmla="*/ 987742 h 1217199"/>
                <a:gd name="connsiteX5" fmla="*/ 1359218 w 2377439"/>
                <a:gd name="connsiteY5" fmla="*/ 994410 h 1217199"/>
                <a:gd name="connsiteX6" fmla="*/ 1383983 w 2377439"/>
                <a:gd name="connsiteY6" fmla="*/ 1002030 h 1217199"/>
                <a:gd name="connsiteX7" fmla="*/ 1404937 w 2377439"/>
                <a:gd name="connsiteY7" fmla="*/ 1005840 h 1217199"/>
                <a:gd name="connsiteX8" fmla="*/ 1415415 w 2377439"/>
                <a:gd name="connsiteY8" fmla="*/ 1005840 h 1217199"/>
                <a:gd name="connsiteX9" fmla="*/ 1425893 w 2377439"/>
                <a:gd name="connsiteY9" fmla="*/ 1008698 h 1217199"/>
                <a:gd name="connsiteX10" fmla="*/ 1440180 w 2377439"/>
                <a:gd name="connsiteY10" fmla="*/ 998125 h 1217199"/>
                <a:gd name="connsiteX11" fmla="*/ 1458278 w 2377439"/>
                <a:gd name="connsiteY11" fmla="*/ 987742 h 1217199"/>
                <a:gd name="connsiteX12" fmla="*/ 1472565 w 2377439"/>
                <a:gd name="connsiteY12" fmla="*/ 977265 h 1217199"/>
                <a:gd name="connsiteX13" fmla="*/ 1485900 w 2377439"/>
                <a:gd name="connsiteY13" fmla="*/ 977265 h 1217199"/>
                <a:gd name="connsiteX14" fmla="*/ 1503998 w 2377439"/>
                <a:gd name="connsiteY14" fmla="*/ 983837 h 1217199"/>
                <a:gd name="connsiteX15" fmla="*/ 1521143 w 2377439"/>
                <a:gd name="connsiteY15" fmla="*/ 983837 h 1217199"/>
                <a:gd name="connsiteX16" fmla="*/ 1531620 w 2377439"/>
                <a:gd name="connsiteY16" fmla="*/ 998125 h 1217199"/>
                <a:gd name="connsiteX17" fmla="*/ 1539240 w 2377439"/>
                <a:gd name="connsiteY17" fmla="*/ 1012412 h 1217199"/>
                <a:gd name="connsiteX18" fmla="*/ 1560195 w 2377439"/>
                <a:gd name="connsiteY18" fmla="*/ 1012412 h 1217199"/>
                <a:gd name="connsiteX19" fmla="*/ 1564005 w 2377439"/>
                <a:gd name="connsiteY19" fmla="*/ 1019080 h 1217199"/>
                <a:gd name="connsiteX20" fmla="*/ 1570673 w 2377439"/>
                <a:gd name="connsiteY20" fmla="*/ 1040987 h 1217199"/>
                <a:gd name="connsiteX21" fmla="*/ 1577340 w 2377439"/>
                <a:gd name="connsiteY21" fmla="*/ 1058228 h 1217199"/>
                <a:gd name="connsiteX22" fmla="*/ 1588770 w 2377439"/>
                <a:gd name="connsiteY22" fmla="*/ 1068705 h 1217199"/>
                <a:gd name="connsiteX23" fmla="*/ 1609725 w 2377439"/>
                <a:gd name="connsiteY23" fmla="*/ 1072515 h 1217199"/>
                <a:gd name="connsiteX24" fmla="*/ 1637348 w 2377439"/>
                <a:gd name="connsiteY24" fmla="*/ 1072515 h 1217199"/>
                <a:gd name="connsiteX25" fmla="*/ 1659255 w 2377439"/>
                <a:gd name="connsiteY25" fmla="*/ 1076230 h 1217199"/>
                <a:gd name="connsiteX26" fmla="*/ 1680210 w 2377439"/>
                <a:gd name="connsiteY26" fmla="*/ 1082992 h 1217199"/>
                <a:gd name="connsiteX27" fmla="*/ 1693545 w 2377439"/>
                <a:gd name="connsiteY27" fmla="*/ 1097280 h 1217199"/>
                <a:gd name="connsiteX28" fmla="*/ 1704975 w 2377439"/>
                <a:gd name="connsiteY28" fmla="*/ 1114330 h 1217199"/>
                <a:gd name="connsiteX29" fmla="*/ 1701165 w 2377439"/>
                <a:gd name="connsiteY29" fmla="*/ 1128617 h 1217199"/>
                <a:gd name="connsiteX30" fmla="*/ 1686878 w 2377439"/>
                <a:gd name="connsiteY30" fmla="*/ 1132523 h 1217199"/>
                <a:gd name="connsiteX31" fmla="*/ 1676400 w 2377439"/>
                <a:gd name="connsiteY31" fmla="*/ 1121950 h 1217199"/>
                <a:gd name="connsiteX32" fmla="*/ 1669733 w 2377439"/>
                <a:gd name="connsiteY32" fmla="*/ 1121950 h 1217199"/>
                <a:gd name="connsiteX33" fmla="*/ 1665923 w 2377439"/>
                <a:gd name="connsiteY33" fmla="*/ 1132523 h 1217199"/>
                <a:gd name="connsiteX34" fmla="*/ 1655445 w 2377439"/>
                <a:gd name="connsiteY34" fmla="*/ 1142905 h 1217199"/>
                <a:gd name="connsiteX35" fmla="*/ 1651635 w 2377439"/>
                <a:gd name="connsiteY35" fmla="*/ 1157192 h 1217199"/>
                <a:gd name="connsiteX36" fmla="*/ 1647825 w 2377439"/>
                <a:gd name="connsiteY36" fmla="*/ 1174337 h 1217199"/>
                <a:gd name="connsiteX37" fmla="*/ 1634490 w 2377439"/>
                <a:gd name="connsiteY37" fmla="*/ 1178242 h 1217199"/>
                <a:gd name="connsiteX38" fmla="*/ 1624012 w 2377439"/>
                <a:gd name="connsiteY38" fmla="*/ 1182053 h 1217199"/>
                <a:gd name="connsiteX39" fmla="*/ 1624012 w 2377439"/>
                <a:gd name="connsiteY39" fmla="*/ 1196340 h 1217199"/>
                <a:gd name="connsiteX40" fmla="*/ 1620203 w 2377439"/>
                <a:gd name="connsiteY40" fmla="*/ 1199198 h 1217199"/>
                <a:gd name="connsiteX41" fmla="*/ 1620203 w 2377439"/>
                <a:gd name="connsiteY41" fmla="*/ 1213485 h 1217199"/>
                <a:gd name="connsiteX42" fmla="*/ 1626870 w 2377439"/>
                <a:gd name="connsiteY42" fmla="*/ 1217200 h 1217199"/>
                <a:gd name="connsiteX43" fmla="*/ 1641158 w 2377439"/>
                <a:gd name="connsiteY43" fmla="*/ 1209580 h 1217199"/>
                <a:gd name="connsiteX44" fmla="*/ 1655445 w 2377439"/>
                <a:gd name="connsiteY44" fmla="*/ 1199198 h 1217199"/>
                <a:gd name="connsiteX45" fmla="*/ 1669733 w 2377439"/>
                <a:gd name="connsiteY45" fmla="*/ 1196340 h 1217199"/>
                <a:gd name="connsiteX46" fmla="*/ 1697355 w 2377439"/>
                <a:gd name="connsiteY46" fmla="*/ 1188625 h 1217199"/>
                <a:gd name="connsiteX47" fmla="*/ 1727835 w 2377439"/>
                <a:gd name="connsiteY47" fmla="*/ 1185767 h 1217199"/>
                <a:gd name="connsiteX48" fmla="*/ 1725930 w 2377439"/>
                <a:gd name="connsiteY48" fmla="*/ 1178242 h 1217199"/>
                <a:gd name="connsiteX49" fmla="*/ 1728788 w 2377439"/>
                <a:gd name="connsiteY49" fmla="*/ 1171480 h 1217199"/>
                <a:gd name="connsiteX50" fmla="*/ 1715452 w 2377439"/>
                <a:gd name="connsiteY50" fmla="*/ 1171480 h 1217199"/>
                <a:gd name="connsiteX51" fmla="*/ 1711642 w 2377439"/>
                <a:gd name="connsiteY51" fmla="*/ 1163955 h 1217199"/>
                <a:gd name="connsiteX52" fmla="*/ 1725930 w 2377439"/>
                <a:gd name="connsiteY52" fmla="*/ 1157192 h 1217199"/>
                <a:gd name="connsiteX53" fmla="*/ 1736408 w 2377439"/>
                <a:gd name="connsiteY53" fmla="*/ 1149667 h 1217199"/>
                <a:gd name="connsiteX54" fmla="*/ 1764030 w 2377439"/>
                <a:gd name="connsiteY54" fmla="*/ 1149667 h 1217199"/>
                <a:gd name="connsiteX55" fmla="*/ 1785938 w 2377439"/>
                <a:gd name="connsiteY55" fmla="*/ 1149667 h 1217199"/>
                <a:gd name="connsiteX56" fmla="*/ 1796415 w 2377439"/>
                <a:gd name="connsiteY56" fmla="*/ 1142905 h 1217199"/>
                <a:gd name="connsiteX57" fmla="*/ 1806892 w 2377439"/>
                <a:gd name="connsiteY57" fmla="*/ 1136237 h 1217199"/>
                <a:gd name="connsiteX58" fmla="*/ 1821180 w 2377439"/>
                <a:gd name="connsiteY58" fmla="*/ 1124903 h 1217199"/>
                <a:gd name="connsiteX59" fmla="*/ 1834515 w 2377439"/>
                <a:gd name="connsiteY59" fmla="*/ 1114330 h 1217199"/>
                <a:gd name="connsiteX60" fmla="*/ 1937385 w 2377439"/>
                <a:gd name="connsiteY60" fmla="*/ 1114330 h 1217199"/>
                <a:gd name="connsiteX61" fmla="*/ 1958340 w 2377439"/>
                <a:gd name="connsiteY61" fmla="*/ 1103948 h 1217199"/>
                <a:gd name="connsiteX62" fmla="*/ 1968817 w 2377439"/>
                <a:gd name="connsiteY62" fmla="*/ 1089660 h 1217199"/>
                <a:gd name="connsiteX63" fmla="*/ 1968817 w 2377439"/>
                <a:gd name="connsiteY63" fmla="*/ 1079087 h 1217199"/>
                <a:gd name="connsiteX64" fmla="*/ 1975485 w 2377439"/>
                <a:gd name="connsiteY64" fmla="*/ 1061942 h 1217199"/>
                <a:gd name="connsiteX65" fmla="*/ 1989773 w 2377439"/>
                <a:gd name="connsiteY65" fmla="*/ 1037273 h 1217199"/>
                <a:gd name="connsiteX66" fmla="*/ 2004060 w 2377439"/>
                <a:gd name="connsiteY66" fmla="*/ 1022985 h 1217199"/>
                <a:gd name="connsiteX67" fmla="*/ 2018348 w 2377439"/>
                <a:gd name="connsiteY67" fmla="*/ 1030605 h 1217199"/>
                <a:gd name="connsiteX68" fmla="*/ 2043113 w 2377439"/>
                <a:gd name="connsiteY68" fmla="*/ 1037273 h 1217199"/>
                <a:gd name="connsiteX69" fmla="*/ 2045970 w 2377439"/>
                <a:gd name="connsiteY69" fmla="*/ 1051560 h 1217199"/>
                <a:gd name="connsiteX70" fmla="*/ 2043113 w 2377439"/>
                <a:gd name="connsiteY70" fmla="*/ 1079087 h 1217199"/>
                <a:gd name="connsiteX71" fmla="*/ 2045970 w 2377439"/>
                <a:gd name="connsiteY71" fmla="*/ 1093375 h 1217199"/>
                <a:gd name="connsiteX72" fmla="*/ 2056448 w 2377439"/>
                <a:gd name="connsiteY72" fmla="*/ 1103948 h 1217199"/>
                <a:gd name="connsiteX73" fmla="*/ 2064067 w 2377439"/>
                <a:gd name="connsiteY73" fmla="*/ 1114330 h 1217199"/>
                <a:gd name="connsiteX74" fmla="*/ 2091690 w 2377439"/>
                <a:gd name="connsiteY74" fmla="*/ 1107662 h 1217199"/>
                <a:gd name="connsiteX75" fmla="*/ 2109788 w 2377439"/>
                <a:gd name="connsiteY75" fmla="*/ 1101090 h 1217199"/>
                <a:gd name="connsiteX76" fmla="*/ 2130743 w 2377439"/>
                <a:gd name="connsiteY76" fmla="*/ 1089660 h 1217199"/>
                <a:gd name="connsiteX77" fmla="*/ 2137410 w 2377439"/>
                <a:gd name="connsiteY77" fmla="*/ 1093375 h 1217199"/>
                <a:gd name="connsiteX78" fmla="*/ 2141220 w 2377439"/>
                <a:gd name="connsiteY78" fmla="*/ 1101090 h 1217199"/>
                <a:gd name="connsiteX79" fmla="*/ 2141220 w 2377439"/>
                <a:gd name="connsiteY79" fmla="*/ 1103948 h 1217199"/>
                <a:gd name="connsiteX80" fmla="*/ 2137410 w 2377439"/>
                <a:gd name="connsiteY80" fmla="*/ 1107662 h 1217199"/>
                <a:gd name="connsiteX81" fmla="*/ 2116455 w 2377439"/>
                <a:gd name="connsiteY81" fmla="*/ 1114330 h 1217199"/>
                <a:gd name="connsiteX82" fmla="*/ 2095500 w 2377439"/>
                <a:gd name="connsiteY82" fmla="*/ 1128617 h 1217199"/>
                <a:gd name="connsiteX83" fmla="*/ 2088833 w 2377439"/>
                <a:gd name="connsiteY83" fmla="*/ 1142905 h 1217199"/>
                <a:gd name="connsiteX84" fmla="*/ 2091690 w 2377439"/>
                <a:gd name="connsiteY84" fmla="*/ 1157192 h 1217199"/>
                <a:gd name="connsiteX85" fmla="*/ 2109788 w 2377439"/>
                <a:gd name="connsiteY85" fmla="*/ 1167765 h 1217199"/>
                <a:gd name="connsiteX86" fmla="*/ 2120265 w 2377439"/>
                <a:gd name="connsiteY86" fmla="*/ 1157192 h 1217199"/>
                <a:gd name="connsiteX87" fmla="*/ 2134552 w 2377439"/>
                <a:gd name="connsiteY87" fmla="*/ 1142905 h 1217199"/>
                <a:gd name="connsiteX88" fmla="*/ 2147888 w 2377439"/>
                <a:gd name="connsiteY88" fmla="*/ 1128617 h 1217199"/>
                <a:gd name="connsiteX89" fmla="*/ 2165985 w 2377439"/>
                <a:gd name="connsiteY89" fmla="*/ 1128617 h 1217199"/>
                <a:gd name="connsiteX90" fmla="*/ 2194560 w 2377439"/>
                <a:gd name="connsiteY90" fmla="*/ 1118235 h 1217199"/>
                <a:gd name="connsiteX91" fmla="*/ 2215515 w 2377439"/>
                <a:gd name="connsiteY91" fmla="*/ 1111567 h 1217199"/>
                <a:gd name="connsiteX92" fmla="*/ 2222183 w 2377439"/>
                <a:gd name="connsiteY92" fmla="*/ 1103948 h 1217199"/>
                <a:gd name="connsiteX93" fmla="*/ 2232660 w 2377439"/>
                <a:gd name="connsiteY93" fmla="*/ 1086803 h 1217199"/>
                <a:gd name="connsiteX94" fmla="*/ 2243138 w 2377439"/>
                <a:gd name="connsiteY94" fmla="*/ 1086803 h 1217199"/>
                <a:gd name="connsiteX95" fmla="*/ 2261235 w 2377439"/>
                <a:gd name="connsiteY95" fmla="*/ 1086803 h 1217199"/>
                <a:gd name="connsiteX96" fmla="*/ 2261235 w 2377439"/>
                <a:gd name="connsiteY96" fmla="*/ 1072515 h 1217199"/>
                <a:gd name="connsiteX97" fmla="*/ 2250758 w 2377439"/>
                <a:gd name="connsiteY97" fmla="*/ 1065848 h 1217199"/>
                <a:gd name="connsiteX98" fmla="*/ 2250758 w 2377439"/>
                <a:gd name="connsiteY98" fmla="*/ 1051560 h 1217199"/>
                <a:gd name="connsiteX99" fmla="*/ 2236470 w 2377439"/>
                <a:gd name="connsiteY99" fmla="*/ 1051560 h 1217199"/>
                <a:gd name="connsiteX100" fmla="*/ 2229802 w 2377439"/>
                <a:gd name="connsiteY100" fmla="*/ 1065848 h 1217199"/>
                <a:gd name="connsiteX101" fmla="*/ 2222183 w 2377439"/>
                <a:gd name="connsiteY101" fmla="*/ 1079087 h 1217199"/>
                <a:gd name="connsiteX102" fmla="*/ 2207895 w 2377439"/>
                <a:gd name="connsiteY102" fmla="*/ 1082992 h 1217199"/>
                <a:gd name="connsiteX103" fmla="*/ 2176463 w 2377439"/>
                <a:gd name="connsiteY103" fmla="*/ 1082992 h 1217199"/>
                <a:gd name="connsiteX104" fmla="*/ 2151698 w 2377439"/>
                <a:gd name="connsiteY104" fmla="*/ 1076230 h 1217199"/>
                <a:gd name="connsiteX105" fmla="*/ 2130743 w 2377439"/>
                <a:gd name="connsiteY105" fmla="*/ 1061942 h 1217199"/>
                <a:gd name="connsiteX106" fmla="*/ 2124075 w 2377439"/>
                <a:gd name="connsiteY106" fmla="*/ 1047655 h 1217199"/>
                <a:gd name="connsiteX107" fmla="*/ 2120265 w 2377439"/>
                <a:gd name="connsiteY107" fmla="*/ 1037273 h 1217199"/>
                <a:gd name="connsiteX108" fmla="*/ 2126933 w 2377439"/>
                <a:gd name="connsiteY108" fmla="*/ 1022985 h 1217199"/>
                <a:gd name="connsiteX109" fmla="*/ 2120265 w 2377439"/>
                <a:gd name="connsiteY109" fmla="*/ 1005840 h 1217199"/>
                <a:gd name="connsiteX110" fmla="*/ 2137410 w 2377439"/>
                <a:gd name="connsiteY110" fmla="*/ 1002030 h 1217199"/>
                <a:gd name="connsiteX111" fmla="*/ 2145030 w 2377439"/>
                <a:gd name="connsiteY111" fmla="*/ 991553 h 1217199"/>
                <a:gd name="connsiteX112" fmla="*/ 2137410 w 2377439"/>
                <a:gd name="connsiteY112" fmla="*/ 973455 h 1217199"/>
                <a:gd name="connsiteX113" fmla="*/ 2116455 w 2377439"/>
                <a:gd name="connsiteY113" fmla="*/ 966692 h 1217199"/>
                <a:gd name="connsiteX114" fmla="*/ 2085023 w 2377439"/>
                <a:gd name="connsiteY114" fmla="*/ 962978 h 1217199"/>
                <a:gd name="connsiteX115" fmla="*/ 2066925 w 2377439"/>
                <a:gd name="connsiteY115" fmla="*/ 970598 h 1217199"/>
                <a:gd name="connsiteX116" fmla="*/ 2056448 w 2377439"/>
                <a:gd name="connsiteY116" fmla="*/ 977265 h 1217199"/>
                <a:gd name="connsiteX117" fmla="*/ 2025015 w 2377439"/>
                <a:gd name="connsiteY117" fmla="*/ 991553 h 1217199"/>
                <a:gd name="connsiteX118" fmla="*/ 1996440 w 2377439"/>
                <a:gd name="connsiteY118" fmla="*/ 1008698 h 1217199"/>
                <a:gd name="connsiteX119" fmla="*/ 1972627 w 2377439"/>
                <a:gd name="connsiteY119" fmla="*/ 1037273 h 1217199"/>
                <a:gd name="connsiteX120" fmla="*/ 1965008 w 2377439"/>
                <a:gd name="connsiteY120" fmla="*/ 1040987 h 1217199"/>
                <a:gd name="connsiteX121" fmla="*/ 1954530 w 2377439"/>
                <a:gd name="connsiteY121" fmla="*/ 1047655 h 1217199"/>
                <a:gd name="connsiteX122" fmla="*/ 1954530 w 2377439"/>
                <a:gd name="connsiteY122" fmla="*/ 1043940 h 1217199"/>
                <a:gd name="connsiteX123" fmla="*/ 1958340 w 2377439"/>
                <a:gd name="connsiteY123" fmla="*/ 1040987 h 1217199"/>
                <a:gd name="connsiteX124" fmla="*/ 1961198 w 2377439"/>
                <a:gd name="connsiteY124" fmla="*/ 1033367 h 1217199"/>
                <a:gd name="connsiteX125" fmla="*/ 1985963 w 2377439"/>
                <a:gd name="connsiteY125" fmla="*/ 1005840 h 1217199"/>
                <a:gd name="connsiteX126" fmla="*/ 2004060 w 2377439"/>
                <a:gd name="connsiteY126" fmla="*/ 987742 h 1217199"/>
                <a:gd name="connsiteX127" fmla="*/ 2028825 w 2377439"/>
                <a:gd name="connsiteY127" fmla="*/ 966692 h 1217199"/>
                <a:gd name="connsiteX128" fmla="*/ 2053590 w 2377439"/>
                <a:gd name="connsiteY128" fmla="*/ 959167 h 1217199"/>
                <a:gd name="connsiteX129" fmla="*/ 2066925 w 2377439"/>
                <a:gd name="connsiteY129" fmla="*/ 938117 h 1217199"/>
                <a:gd name="connsiteX130" fmla="*/ 2095500 w 2377439"/>
                <a:gd name="connsiteY130" fmla="*/ 927735 h 1217199"/>
                <a:gd name="connsiteX131" fmla="*/ 2145030 w 2377439"/>
                <a:gd name="connsiteY131" fmla="*/ 923830 h 1217199"/>
                <a:gd name="connsiteX132" fmla="*/ 2180273 w 2377439"/>
                <a:gd name="connsiteY132" fmla="*/ 923830 h 1217199"/>
                <a:gd name="connsiteX133" fmla="*/ 2225993 w 2377439"/>
                <a:gd name="connsiteY133" fmla="*/ 931450 h 1217199"/>
                <a:gd name="connsiteX134" fmla="*/ 2264093 w 2377439"/>
                <a:gd name="connsiteY134" fmla="*/ 923830 h 1217199"/>
                <a:gd name="connsiteX135" fmla="*/ 2292668 w 2377439"/>
                <a:gd name="connsiteY135" fmla="*/ 902875 h 1217199"/>
                <a:gd name="connsiteX136" fmla="*/ 2306955 w 2377439"/>
                <a:gd name="connsiteY136" fmla="*/ 885730 h 1217199"/>
                <a:gd name="connsiteX137" fmla="*/ 2342198 w 2377439"/>
                <a:gd name="connsiteY137" fmla="*/ 885730 h 1217199"/>
                <a:gd name="connsiteX138" fmla="*/ 2359343 w 2377439"/>
                <a:gd name="connsiteY138" fmla="*/ 875348 h 1217199"/>
                <a:gd name="connsiteX139" fmla="*/ 2373630 w 2377439"/>
                <a:gd name="connsiteY139" fmla="*/ 861060 h 1217199"/>
                <a:gd name="connsiteX140" fmla="*/ 2377440 w 2377439"/>
                <a:gd name="connsiteY140" fmla="*/ 836200 h 1217199"/>
                <a:gd name="connsiteX141" fmla="*/ 2373630 w 2377439"/>
                <a:gd name="connsiteY141" fmla="*/ 807625 h 1217199"/>
                <a:gd name="connsiteX142" fmla="*/ 2352675 w 2377439"/>
                <a:gd name="connsiteY142" fmla="*/ 797242 h 1217199"/>
                <a:gd name="connsiteX143" fmla="*/ 2342198 w 2377439"/>
                <a:gd name="connsiteY143" fmla="*/ 797242 h 1217199"/>
                <a:gd name="connsiteX144" fmla="*/ 2338388 w 2377439"/>
                <a:gd name="connsiteY144" fmla="*/ 797242 h 1217199"/>
                <a:gd name="connsiteX145" fmla="*/ 2331720 w 2377439"/>
                <a:gd name="connsiteY145" fmla="*/ 780098 h 1217199"/>
                <a:gd name="connsiteX146" fmla="*/ 2313623 w 2377439"/>
                <a:gd name="connsiteY146" fmla="*/ 782955 h 1217199"/>
                <a:gd name="connsiteX147" fmla="*/ 2288858 w 2377439"/>
                <a:gd name="connsiteY147" fmla="*/ 793337 h 1217199"/>
                <a:gd name="connsiteX148" fmla="*/ 2261235 w 2377439"/>
                <a:gd name="connsiteY148" fmla="*/ 807625 h 1217199"/>
                <a:gd name="connsiteX149" fmla="*/ 2257425 w 2377439"/>
                <a:gd name="connsiteY149" fmla="*/ 807625 h 1217199"/>
                <a:gd name="connsiteX150" fmla="*/ 2257425 w 2377439"/>
                <a:gd name="connsiteY150" fmla="*/ 804767 h 1217199"/>
                <a:gd name="connsiteX151" fmla="*/ 2253615 w 2377439"/>
                <a:gd name="connsiteY151" fmla="*/ 801053 h 1217199"/>
                <a:gd name="connsiteX152" fmla="*/ 2275523 w 2377439"/>
                <a:gd name="connsiteY152" fmla="*/ 790480 h 1217199"/>
                <a:gd name="connsiteX153" fmla="*/ 2288858 w 2377439"/>
                <a:gd name="connsiteY153" fmla="*/ 782955 h 1217199"/>
                <a:gd name="connsiteX154" fmla="*/ 2313623 w 2377439"/>
                <a:gd name="connsiteY154" fmla="*/ 772478 h 1217199"/>
                <a:gd name="connsiteX155" fmla="*/ 2321243 w 2377439"/>
                <a:gd name="connsiteY155" fmla="*/ 758190 h 1217199"/>
                <a:gd name="connsiteX156" fmla="*/ 2306955 w 2377439"/>
                <a:gd name="connsiteY156" fmla="*/ 758190 h 1217199"/>
                <a:gd name="connsiteX157" fmla="*/ 2286000 w 2377439"/>
                <a:gd name="connsiteY157" fmla="*/ 751523 h 1217199"/>
                <a:gd name="connsiteX158" fmla="*/ 2261235 w 2377439"/>
                <a:gd name="connsiteY158" fmla="*/ 744855 h 1217199"/>
                <a:gd name="connsiteX159" fmla="*/ 2243138 w 2377439"/>
                <a:gd name="connsiteY159" fmla="*/ 737235 h 1217199"/>
                <a:gd name="connsiteX160" fmla="*/ 2243138 w 2377439"/>
                <a:gd name="connsiteY160" fmla="*/ 726662 h 1217199"/>
                <a:gd name="connsiteX161" fmla="*/ 2240280 w 2377439"/>
                <a:gd name="connsiteY161" fmla="*/ 720090 h 1217199"/>
                <a:gd name="connsiteX162" fmla="*/ 2211705 w 2377439"/>
                <a:gd name="connsiteY162" fmla="*/ 701992 h 1217199"/>
                <a:gd name="connsiteX163" fmla="*/ 2207895 w 2377439"/>
                <a:gd name="connsiteY163" fmla="*/ 687705 h 1217199"/>
                <a:gd name="connsiteX164" fmla="*/ 2218373 w 2377439"/>
                <a:gd name="connsiteY164" fmla="*/ 677228 h 1217199"/>
                <a:gd name="connsiteX165" fmla="*/ 2211705 w 2377439"/>
                <a:gd name="connsiteY165" fmla="*/ 656273 h 1217199"/>
                <a:gd name="connsiteX166" fmla="*/ 2207895 w 2377439"/>
                <a:gd name="connsiteY166" fmla="*/ 635317 h 1217199"/>
                <a:gd name="connsiteX167" fmla="*/ 2190750 w 2377439"/>
                <a:gd name="connsiteY167" fmla="*/ 624840 h 1217199"/>
                <a:gd name="connsiteX168" fmla="*/ 2186940 w 2377439"/>
                <a:gd name="connsiteY168" fmla="*/ 610553 h 1217199"/>
                <a:gd name="connsiteX169" fmla="*/ 2162175 w 2377439"/>
                <a:gd name="connsiteY169" fmla="*/ 579025 h 1217199"/>
                <a:gd name="connsiteX170" fmla="*/ 2145030 w 2377439"/>
                <a:gd name="connsiteY170" fmla="*/ 550450 h 1217199"/>
                <a:gd name="connsiteX171" fmla="*/ 2130743 w 2377439"/>
                <a:gd name="connsiteY171" fmla="*/ 529590 h 1217199"/>
                <a:gd name="connsiteX172" fmla="*/ 2120265 w 2377439"/>
                <a:gd name="connsiteY172" fmla="*/ 540067 h 1217199"/>
                <a:gd name="connsiteX173" fmla="*/ 2105977 w 2377439"/>
                <a:gd name="connsiteY173" fmla="*/ 557117 h 1217199"/>
                <a:gd name="connsiteX174" fmla="*/ 2105977 w 2377439"/>
                <a:gd name="connsiteY174" fmla="*/ 579025 h 1217199"/>
                <a:gd name="connsiteX175" fmla="*/ 2081213 w 2377439"/>
                <a:gd name="connsiteY175" fmla="*/ 599980 h 1217199"/>
                <a:gd name="connsiteX176" fmla="*/ 2056448 w 2377439"/>
                <a:gd name="connsiteY176" fmla="*/ 621030 h 1217199"/>
                <a:gd name="connsiteX177" fmla="*/ 2035492 w 2377439"/>
                <a:gd name="connsiteY177" fmla="*/ 610553 h 1217199"/>
                <a:gd name="connsiteX178" fmla="*/ 2021205 w 2377439"/>
                <a:gd name="connsiteY178" fmla="*/ 596265 h 1217199"/>
                <a:gd name="connsiteX179" fmla="*/ 2000250 w 2377439"/>
                <a:gd name="connsiteY179" fmla="*/ 592455 h 1217199"/>
                <a:gd name="connsiteX180" fmla="*/ 2000250 w 2377439"/>
                <a:gd name="connsiteY180" fmla="*/ 579025 h 1217199"/>
                <a:gd name="connsiteX181" fmla="*/ 1989773 w 2377439"/>
                <a:gd name="connsiteY181" fmla="*/ 554355 h 1217199"/>
                <a:gd name="connsiteX182" fmla="*/ 1989773 w 2377439"/>
                <a:gd name="connsiteY182" fmla="*/ 529590 h 1217199"/>
                <a:gd name="connsiteX183" fmla="*/ 1996440 w 2377439"/>
                <a:gd name="connsiteY183" fmla="*/ 511492 h 1217199"/>
                <a:gd name="connsiteX184" fmla="*/ 1958340 w 2377439"/>
                <a:gd name="connsiteY184" fmla="*/ 504730 h 1217199"/>
                <a:gd name="connsiteX185" fmla="*/ 1933575 w 2377439"/>
                <a:gd name="connsiteY185" fmla="*/ 490442 h 1217199"/>
                <a:gd name="connsiteX186" fmla="*/ 1919288 w 2377439"/>
                <a:gd name="connsiteY186" fmla="*/ 469487 h 1217199"/>
                <a:gd name="connsiteX187" fmla="*/ 1894523 w 2377439"/>
                <a:gd name="connsiteY187" fmla="*/ 451485 h 1217199"/>
                <a:gd name="connsiteX188" fmla="*/ 1873567 w 2377439"/>
                <a:gd name="connsiteY188" fmla="*/ 438055 h 1217199"/>
                <a:gd name="connsiteX189" fmla="*/ 1863090 w 2377439"/>
                <a:gd name="connsiteY189" fmla="*/ 451485 h 1217199"/>
                <a:gd name="connsiteX190" fmla="*/ 1838325 w 2377439"/>
                <a:gd name="connsiteY190" fmla="*/ 455200 h 1217199"/>
                <a:gd name="connsiteX191" fmla="*/ 1821180 w 2377439"/>
                <a:gd name="connsiteY191" fmla="*/ 451485 h 1217199"/>
                <a:gd name="connsiteX192" fmla="*/ 1792605 w 2377439"/>
                <a:gd name="connsiteY192" fmla="*/ 440912 h 1217199"/>
                <a:gd name="connsiteX193" fmla="*/ 1761173 w 2377439"/>
                <a:gd name="connsiteY193" fmla="*/ 440912 h 1217199"/>
                <a:gd name="connsiteX194" fmla="*/ 1753552 w 2377439"/>
                <a:gd name="connsiteY194" fmla="*/ 465772 h 1217199"/>
                <a:gd name="connsiteX195" fmla="*/ 1771650 w 2377439"/>
                <a:gd name="connsiteY195" fmla="*/ 483775 h 1217199"/>
                <a:gd name="connsiteX196" fmla="*/ 1764030 w 2377439"/>
                <a:gd name="connsiteY196" fmla="*/ 515303 h 1217199"/>
                <a:gd name="connsiteX197" fmla="*/ 1767840 w 2377439"/>
                <a:gd name="connsiteY197" fmla="*/ 536162 h 1217199"/>
                <a:gd name="connsiteX198" fmla="*/ 1771650 w 2377439"/>
                <a:gd name="connsiteY198" fmla="*/ 557117 h 1217199"/>
                <a:gd name="connsiteX199" fmla="*/ 1753552 w 2377439"/>
                <a:gd name="connsiteY199" fmla="*/ 579025 h 1217199"/>
                <a:gd name="connsiteX200" fmla="*/ 1743075 w 2377439"/>
                <a:gd name="connsiteY200" fmla="*/ 589598 h 1217199"/>
                <a:gd name="connsiteX201" fmla="*/ 1740217 w 2377439"/>
                <a:gd name="connsiteY201" fmla="*/ 599980 h 1217199"/>
                <a:gd name="connsiteX202" fmla="*/ 1757363 w 2377439"/>
                <a:gd name="connsiteY202" fmla="*/ 610553 h 1217199"/>
                <a:gd name="connsiteX203" fmla="*/ 1778317 w 2377439"/>
                <a:gd name="connsiteY203" fmla="*/ 624840 h 1217199"/>
                <a:gd name="connsiteX204" fmla="*/ 1796415 w 2377439"/>
                <a:gd name="connsiteY204" fmla="*/ 656273 h 1217199"/>
                <a:gd name="connsiteX205" fmla="*/ 1799273 w 2377439"/>
                <a:gd name="connsiteY205" fmla="*/ 695230 h 1217199"/>
                <a:gd name="connsiteX206" fmla="*/ 1782127 w 2377439"/>
                <a:gd name="connsiteY206" fmla="*/ 716280 h 1217199"/>
                <a:gd name="connsiteX207" fmla="*/ 1764030 w 2377439"/>
                <a:gd name="connsiteY207" fmla="*/ 737235 h 1217199"/>
                <a:gd name="connsiteX208" fmla="*/ 1725930 w 2377439"/>
                <a:gd name="connsiteY208" fmla="*/ 747617 h 1217199"/>
                <a:gd name="connsiteX209" fmla="*/ 1711642 w 2377439"/>
                <a:gd name="connsiteY209" fmla="*/ 755237 h 1217199"/>
                <a:gd name="connsiteX210" fmla="*/ 1725930 w 2377439"/>
                <a:gd name="connsiteY210" fmla="*/ 790480 h 1217199"/>
                <a:gd name="connsiteX211" fmla="*/ 1732598 w 2377439"/>
                <a:gd name="connsiteY211" fmla="*/ 815340 h 1217199"/>
                <a:gd name="connsiteX212" fmla="*/ 1743075 w 2377439"/>
                <a:gd name="connsiteY212" fmla="*/ 850487 h 1217199"/>
                <a:gd name="connsiteX213" fmla="*/ 1740217 w 2377439"/>
                <a:gd name="connsiteY213" fmla="*/ 864775 h 1217199"/>
                <a:gd name="connsiteX214" fmla="*/ 1732598 w 2377439"/>
                <a:gd name="connsiteY214" fmla="*/ 878205 h 1217199"/>
                <a:gd name="connsiteX215" fmla="*/ 1707833 w 2377439"/>
                <a:gd name="connsiteY215" fmla="*/ 892492 h 1217199"/>
                <a:gd name="connsiteX216" fmla="*/ 1693545 w 2377439"/>
                <a:gd name="connsiteY216" fmla="*/ 885730 h 1217199"/>
                <a:gd name="connsiteX217" fmla="*/ 1683068 w 2377439"/>
                <a:gd name="connsiteY217" fmla="*/ 878205 h 1217199"/>
                <a:gd name="connsiteX218" fmla="*/ 1662112 w 2377439"/>
                <a:gd name="connsiteY218" fmla="*/ 853440 h 1217199"/>
                <a:gd name="connsiteX219" fmla="*/ 1641158 w 2377439"/>
                <a:gd name="connsiteY219" fmla="*/ 828580 h 1217199"/>
                <a:gd name="connsiteX220" fmla="*/ 1641158 w 2377439"/>
                <a:gd name="connsiteY220" fmla="*/ 815340 h 1217199"/>
                <a:gd name="connsiteX221" fmla="*/ 1641158 w 2377439"/>
                <a:gd name="connsiteY221" fmla="*/ 804767 h 1217199"/>
                <a:gd name="connsiteX222" fmla="*/ 1641158 w 2377439"/>
                <a:gd name="connsiteY222" fmla="*/ 780098 h 1217199"/>
                <a:gd name="connsiteX223" fmla="*/ 1634490 w 2377439"/>
                <a:gd name="connsiteY223" fmla="*/ 740950 h 1217199"/>
                <a:gd name="connsiteX224" fmla="*/ 1612583 w 2377439"/>
                <a:gd name="connsiteY224" fmla="*/ 740950 h 1217199"/>
                <a:gd name="connsiteX225" fmla="*/ 1591628 w 2377439"/>
                <a:gd name="connsiteY225" fmla="*/ 737235 h 1217199"/>
                <a:gd name="connsiteX226" fmla="*/ 1577340 w 2377439"/>
                <a:gd name="connsiteY226" fmla="*/ 734378 h 1217199"/>
                <a:gd name="connsiteX227" fmla="*/ 1560195 w 2377439"/>
                <a:gd name="connsiteY227" fmla="*/ 734378 h 1217199"/>
                <a:gd name="connsiteX228" fmla="*/ 1521143 w 2377439"/>
                <a:gd name="connsiteY228" fmla="*/ 720090 h 1217199"/>
                <a:gd name="connsiteX229" fmla="*/ 1489710 w 2377439"/>
                <a:gd name="connsiteY229" fmla="*/ 701992 h 1217199"/>
                <a:gd name="connsiteX230" fmla="*/ 1461135 w 2377439"/>
                <a:gd name="connsiteY230" fmla="*/ 674275 h 1217199"/>
                <a:gd name="connsiteX231" fmla="*/ 1433512 w 2377439"/>
                <a:gd name="connsiteY231" fmla="*/ 670560 h 1217199"/>
                <a:gd name="connsiteX232" fmla="*/ 1408748 w 2377439"/>
                <a:gd name="connsiteY232" fmla="*/ 659987 h 1217199"/>
                <a:gd name="connsiteX233" fmla="*/ 1377315 w 2377439"/>
                <a:gd name="connsiteY233" fmla="*/ 659987 h 1217199"/>
                <a:gd name="connsiteX234" fmla="*/ 1352550 w 2377439"/>
                <a:gd name="connsiteY234" fmla="*/ 666655 h 1217199"/>
                <a:gd name="connsiteX235" fmla="*/ 1338262 w 2377439"/>
                <a:gd name="connsiteY235" fmla="*/ 621030 h 1217199"/>
                <a:gd name="connsiteX236" fmla="*/ 1331595 w 2377439"/>
                <a:gd name="connsiteY236" fmla="*/ 606742 h 1217199"/>
                <a:gd name="connsiteX237" fmla="*/ 1317308 w 2377439"/>
                <a:gd name="connsiteY237" fmla="*/ 603885 h 1217199"/>
                <a:gd name="connsiteX238" fmla="*/ 1299210 w 2377439"/>
                <a:gd name="connsiteY238" fmla="*/ 603885 h 1217199"/>
                <a:gd name="connsiteX239" fmla="*/ 1296353 w 2377439"/>
                <a:gd name="connsiteY239" fmla="*/ 592455 h 1217199"/>
                <a:gd name="connsiteX240" fmla="*/ 1292543 w 2377439"/>
                <a:gd name="connsiteY240" fmla="*/ 585692 h 1217199"/>
                <a:gd name="connsiteX241" fmla="*/ 1303020 w 2377439"/>
                <a:gd name="connsiteY241" fmla="*/ 511492 h 1217199"/>
                <a:gd name="connsiteX242" fmla="*/ 1334453 w 2377439"/>
                <a:gd name="connsiteY242" fmla="*/ 459105 h 1217199"/>
                <a:gd name="connsiteX243" fmla="*/ 1369695 w 2377439"/>
                <a:gd name="connsiteY243" fmla="*/ 426625 h 1217199"/>
                <a:gd name="connsiteX244" fmla="*/ 1402080 w 2377439"/>
                <a:gd name="connsiteY244" fmla="*/ 420053 h 1217199"/>
                <a:gd name="connsiteX245" fmla="*/ 1398270 w 2377439"/>
                <a:gd name="connsiteY245" fmla="*/ 402812 h 1217199"/>
                <a:gd name="connsiteX246" fmla="*/ 1369695 w 2377439"/>
                <a:gd name="connsiteY246" fmla="*/ 391478 h 1217199"/>
                <a:gd name="connsiteX247" fmla="*/ 1359218 w 2377439"/>
                <a:gd name="connsiteY247" fmla="*/ 380905 h 1217199"/>
                <a:gd name="connsiteX248" fmla="*/ 1380173 w 2377439"/>
                <a:gd name="connsiteY248" fmla="*/ 388525 h 1217199"/>
                <a:gd name="connsiteX249" fmla="*/ 1415415 w 2377439"/>
                <a:gd name="connsiteY249" fmla="*/ 384810 h 1217199"/>
                <a:gd name="connsiteX250" fmla="*/ 1415415 w 2377439"/>
                <a:gd name="connsiteY250" fmla="*/ 367665 h 1217199"/>
                <a:gd name="connsiteX251" fmla="*/ 1429703 w 2377439"/>
                <a:gd name="connsiteY251" fmla="*/ 374237 h 1217199"/>
                <a:gd name="connsiteX252" fmla="*/ 1443990 w 2377439"/>
                <a:gd name="connsiteY252" fmla="*/ 374237 h 1217199"/>
                <a:gd name="connsiteX253" fmla="*/ 1461135 w 2377439"/>
                <a:gd name="connsiteY253" fmla="*/ 370522 h 1217199"/>
                <a:gd name="connsiteX254" fmla="*/ 1479233 w 2377439"/>
                <a:gd name="connsiteY254" fmla="*/ 359950 h 1217199"/>
                <a:gd name="connsiteX255" fmla="*/ 1493520 w 2377439"/>
                <a:gd name="connsiteY255" fmla="*/ 339090 h 1217199"/>
                <a:gd name="connsiteX256" fmla="*/ 1503998 w 2377439"/>
                <a:gd name="connsiteY256" fmla="*/ 320992 h 1217199"/>
                <a:gd name="connsiteX257" fmla="*/ 1483043 w 2377439"/>
                <a:gd name="connsiteY257" fmla="*/ 320992 h 1217199"/>
                <a:gd name="connsiteX258" fmla="*/ 1468755 w 2377439"/>
                <a:gd name="connsiteY258" fmla="*/ 318135 h 1217199"/>
                <a:gd name="connsiteX259" fmla="*/ 1447800 w 2377439"/>
                <a:gd name="connsiteY259" fmla="*/ 314230 h 1217199"/>
                <a:gd name="connsiteX260" fmla="*/ 1437323 w 2377439"/>
                <a:gd name="connsiteY260" fmla="*/ 303847 h 1217199"/>
                <a:gd name="connsiteX261" fmla="*/ 1429703 w 2377439"/>
                <a:gd name="connsiteY261" fmla="*/ 289560 h 1217199"/>
                <a:gd name="connsiteX262" fmla="*/ 1447800 w 2377439"/>
                <a:gd name="connsiteY262" fmla="*/ 293275 h 1217199"/>
                <a:gd name="connsiteX263" fmla="*/ 1468755 w 2377439"/>
                <a:gd name="connsiteY263" fmla="*/ 307562 h 1217199"/>
                <a:gd name="connsiteX264" fmla="*/ 1489710 w 2377439"/>
                <a:gd name="connsiteY264" fmla="*/ 310515 h 1217199"/>
                <a:gd name="connsiteX265" fmla="*/ 1507808 w 2377439"/>
                <a:gd name="connsiteY265" fmla="*/ 307562 h 1217199"/>
                <a:gd name="connsiteX266" fmla="*/ 1521143 w 2377439"/>
                <a:gd name="connsiteY266" fmla="*/ 293275 h 1217199"/>
                <a:gd name="connsiteX267" fmla="*/ 1531620 w 2377439"/>
                <a:gd name="connsiteY267" fmla="*/ 275272 h 1217199"/>
                <a:gd name="connsiteX268" fmla="*/ 1521143 w 2377439"/>
                <a:gd name="connsiteY268" fmla="*/ 264700 h 1217199"/>
                <a:gd name="connsiteX269" fmla="*/ 1528762 w 2377439"/>
                <a:gd name="connsiteY269" fmla="*/ 254317 h 1217199"/>
                <a:gd name="connsiteX270" fmla="*/ 1545908 w 2377439"/>
                <a:gd name="connsiteY270" fmla="*/ 254317 h 1217199"/>
                <a:gd name="connsiteX271" fmla="*/ 1566862 w 2377439"/>
                <a:gd name="connsiteY271" fmla="*/ 275272 h 1217199"/>
                <a:gd name="connsiteX272" fmla="*/ 1581150 w 2377439"/>
                <a:gd name="connsiteY272" fmla="*/ 268605 h 1217199"/>
                <a:gd name="connsiteX273" fmla="*/ 1588770 w 2377439"/>
                <a:gd name="connsiteY273" fmla="*/ 254317 h 1217199"/>
                <a:gd name="connsiteX274" fmla="*/ 1612583 w 2377439"/>
                <a:gd name="connsiteY274" fmla="*/ 268605 h 1217199"/>
                <a:gd name="connsiteX275" fmla="*/ 1630680 w 2377439"/>
                <a:gd name="connsiteY275" fmla="*/ 258127 h 1217199"/>
                <a:gd name="connsiteX276" fmla="*/ 1651635 w 2377439"/>
                <a:gd name="connsiteY276" fmla="*/ 240030 h 1217199"/>
                <a:gd name="connsiteX277" fmla="*/ 1665923 w 2377439"/>
                <a:gd name="connsiteY277" fmla="*/ 222885 h 1217199"/>
                <a:gd name="connsiteX278" fmla="*/ 1655445 w 2377439"/>
                <a:gd name="connsiteY278" fmla="*/ 201835 h 1217199"/>
                <a:gd name="connsiteX279" fmla="*/ 1644968 w 2377439"/>
                <a:gd name="connsiteY279" fmla="*/ 187547 h 1217199"/>
                <a:gd name="connsiteX280" fmla="*/ 1641158 w 2377439"/>
                <a:gd name="connsiteY280" fmla="*/ 169450 h 1217199"/>
                <a:gd name="connsiteX281" fmla="*/ 1655445 w 2377439"/>
                <a:gd name="connsiteY281" fmla="*/ 165735 h 1217199"/>
                <a:gd name="connsiteX282" fmla="*/ 1665923 w 2377439"/>
                <a:gd name="connsiteY282" fmla="*/ 158972 h 1217199"/>
                <a:gd name="connsiteX283" fmla="*/ 1647825 w 2377439"/>
                <a:gd name="connsiteY283" fmla="*/ 134302 h 1217199"/>
                <a:gd name="connsiteX284" fmla="*/ 1624012 w 2377439"/>
                <a:gd name="connsiteY284" fmla="*/ 117062 h 1217199"/>
                <a:gd name="connsiteX285" fmla="*/ 1584960 w 2377439"/>
                <a:gd name="connsiteY285" fmla="*/ 102775 h 1217199"/>
                <a:gd name="connsiteX286" fmla="*/ 1553528 w 2377439"/>
                <a:gd name="connsiteY286" fmla="*/ 99060 h 1217199"/>
                <a:gd name="connsiteX287" fmla="*/ 1549718 w 2377439"/>
                <a:gd name="connsiteY287" fmla="*/ 109538 h 1217199"/>
                <a:gd name="connsiteX288" fmla="*/ 1560195 w 2377439"/>
                <a:gd name="connsiteY288" fmla="*/ 130397 h 1217199"/>
                <a:gd name="connsiteX289" fmla="*/ 1564005 w 2377439"/>
                <a:gd name="connsiteY289" fmla="*/ 144685 h 1217199"/>
                <a:gd name="connsiteX290" fmla="*/ 1543050 w 2377439"/>
                <a:gd name="connsiteY290" fmla="*/ 158972 h 1217199"/>
                <a:gd name="connsiteX291" fmla="*/ 1539240 w 2377439"/>
                <a:gd name="connsiteY291" fmla="*/ 187547 h 1217199"/>
                <a:gd name="connsiteX292" fmla="*/ 1524953 w 2377439"/>
                <a:gd name="connsiteY292" fmla="*/ 212312 h 1217199"/>
                <a:gd name="connsiteX293" fmla="*/ 1510665 w 2377439"/>
                <a:gd name="connsiteY293" fmla="*/ 222885 h 1217199"/>
                <a:gd name="connsiteX294" fmla="*/ 1485900 w 2377439"/>
                <a:gd name="connsiteY294" fmla="*/ 212312 h 1217199"/>
                <a:gd name="connsiteX295" fmla="*/ 1468755 w 2377439"/>
                <a:gd name="connsiteY295" fmla="*/ 198025 h 1217199"/>
                <a:gd name="connsiteX296" fmla="*/ 1472565 w 2377439"/>
                <a:gd name="connsiteY296" fmla="*/ 177165 h 1217199"/>
                <a:gd name="connsiteX297" fmla="*/ 1483043 w 2377439"/>
                <a:gd name="connsiteY297" fmla="*/ 158972 h 1217199"/>
                <a:gd name="connsiteX298" fmla="*/ 1464945 w 2377439"/>
                <a:gd name="connsiteY298" fmla="*/ 138113 h 1217199"/>
                <a:gd name="connsiteX299" fmla="*/ 1443990 w 2377439"/>
                <a:gd name="connsiteY299" fmla="*/ 130397 h 1217199"/>
                <a:gd name="connsiteX300" fmla="*/ 1433512 w 2377439"/>
                <a:gd name="connsiteY300" fmla="*/ 144685 h 1217199"/>
                <a:gd name="connsiteX301" fmla="*/ 1443990 w 2377439"/>
                <a:gd name="connsiteY301" fmla="*/ 162877 h 1217199"/>
                <a:gd name="connsiteX302" fmla="*/ 1429703 w 2377439"/>
                <a:gd name="connsiteY302" fmla="*/ 173260 h 1217199"/>
                <a:gd name="connsiteX303" fmla="*/ 1412558 w 2377439"/>
                <a:gd name="connsiteY303" fmla="*/ 165735 h 1217199"/>
                <a:gd name="connsiteX304" fmla="*/ 1402080 w 2377439"/>
                <a:gd name="connsiteY304" fmla="*/ 141922 h 1217199"/>
                <a:gd name="connsiteX305" fmla="*/ 1398270 w 2377439"/>
                <a:gd name="connsiteY305" fmla="*/ 113347 h 1217199"/>
                <a:gd name="connsiteX306" fmla="*/ 1383983 w 2377439"/>
                <a:gd name="connsiteY306" fmla="*/ 109538 h 1217199"/>
                <a:gd name="connsiteX307" fmla="*/ 1363028 w 2377439"/>
                <a:gd name="connsiteY307" fmla="*/ 113347 h 1217199"/>
                <a:gd name="connsiteX308" fmla="*/ 1356360 w 2377439"/>
                <a:gd name="connsiteY308" fmla="*/ 95250 h 1217199"/>
                <a:gd name="connsiteX309" fmla="*/ 1366837 w 2377439"/>
                <a:gd name="connsiteY309" fmla="*/ 84772 h 1217199"/>
                <a:gd name="connsiteX310" fmla="*/ 1363028 w 2377439"/>
                <a:gd name="connsiteY310" fmla="*/ 71438 h 1217199"/>
                <a:gd name="connsiteX311" fmla="*/ 1344930 w 2377439"/>
                <a:gd name="connsiteY311" fmla="*/ 46672 h 1217199"/>
                <a:gd name="connsiteX312" fmla="*/ 1342073 w 2377439"/>
                <a:gd name="connsiteY312" fmla="*/ 36100 h 1217199"/>
                <a:gd name="connsiteX313" fmla="*/ 1321118 w 2377439"/>
                <a:gd name="connsiteY313" fmla="*/ 7525 h 1217199"/>
                <a:gd name="connsiteX314" fmla="*/ 1288733 w 2377439"/>
                <a:gd name="connsiteY314" fmla="*/ 0 h 1217199"/>
                <a:gd name="connsiteX315" fmla="*/ 1271587 w 2377439"/>
                <a:gd name="connsiteY315" fmla="*/ 7525 h 1217199"/>
                <a:gd name="connsiteX316" fmla="*/ 1263968 w 2377439"/>
                <a:gd name="connsiteY316" fmla="*/ 21812 h 1217199"/>
                <a:gd name="connsiteX317" fmla="*/ 1246823 w 2377439"/>
                <a:gd name="connsiteY317" fmla="*/ 21812 h 1217199"/>
                <a:gd name="connsiteX318" fmla="*/ 1240155 w 2377439"/>
                <a:gd name="connsiteY318" fmla="*/ 46672 h 1217199"/>
                <a:gd name="connsiteX319" fmla="*/ 1253490 w 2377439"/>
                <a:gd name="connsiteY319" fmla="*/ 57150 h 1217199"/>
                <a:gd name="connsiteX320" fmla="*/ 1240155 w 2377439"/>
                <a:gd name="connsiteY320" fmla="*/ 78010 h 1217199"/>
                <a:gd name="connsiteX321" fmla="*/ 1246823 w 2377439"/>
                <a:gd name="connsiteY321" fmla="*/ 92297 h 1217199"/>
                <a:gd name="connsiteX322" fmla="*/ 1271587 w 2377439"/>
                <a:gd name="connsiteY322" fmla="*/ 106585 h 1217199"/>
                <a:gd name="connsiteX323" fmla="*/ 1303020 w 2377439"/>
                <a:gd name="connsiteY323" fmla="*/ 113347 h 1217199"/>
                <a:gd name="connsiteX324" fmla="*/ 1321118 w 2377439"/>
                <a:gd name="connsiteY324" fmla="*/ 138113 h 1217199"/>
                <a:gd name="connsiteX325" fmla="*/ 1323975 w 2377439"/>
                <a:gd name="connsiteY325" fmla="*/ 158972 h 1217199"/>
                <a:gd name="connsiteX326" fmla="*/ 1306830 w 2377439"/>
                <a:gd name="connsiteY326" fmla="*/ 180022 h 1217199"/>
                <a:gd name="connsiteX327" fmla="*/ 1271587 w 2377439"/>
                <a:gd name="connsiteY327" fmla="*/ 190500 h 1217199"/>
                <a:gd name="connsiteX328" fmla="*/ 1274445 w 2377439"/>
                <a:gd name="connsiteY328" fmla="*/ 212312 h 1217199"/>
                <a:gd name="connsiteX329" fmla="*/ 1274445 w 2377439"/>
                <a:gd name="connsiteY329" fmla="*/ 237172 h 1217199"/>
                <a:gd name="connsiteX330" fmla="*/ 1261110 w 2377439"/>
                <a:gd name="connsiteY330" fmla="*/ 237172 h 1217199"/>
                <a:gd name="connsiteX331" fmla="*/ 1250633 w 2377439"/>
                <a:gd name="connsiteY331" fmla="*/ 222885 h 1217199"/>
                <a:gd name="connsiteX332" fmla="*/ 1240155 w 2377439"/>
                <a:gd name="connsiteY332" fmla="*/ 204788 h 1217199"/>
                <a:gd name="connsiteX333" fmla="*/ 1246823 w 2377439"/>
                <a:gd name="connsiteY333" fmla="*/ 198025 h 1217199"/>
                <a:gd name="connsiteX334" fmla="*/ 1225868 w 2377439"/>
                <a:gd name="connsiteY334" fmla="*/ 177165 h 1217199"/>
                <a:gd name="connsiteX335" fmla="*/ 1204912 w 2377439"/>
                <a:gd name="connsiteY335" fmla="*/ 169450 h 1217199"/>
                <a:gd name="connsiteX336" fmla="*/ 1193483 w 2377439"/>
                <a:gd name="connsiteY336" fmla="*/ 173260 h 1217199"/>
                <a:gd name="connsiteX337" fmla="*/ 1190625 w 2377439"/>
                <a:gd name="connsiteY337" fmla="*/ 187547 h 1217199"/>
                <a:gd name="connsiteX338" fmla="*/ 1211580 w 2377439"/>
                <a:gd name="connsiteY338" fmla="*/ 190500 h 1217199"/>
                <a:gd name="connsiteX339" fmla="*/ 1222058 w 2377439"/>
                <a:gd name="connsiteY339" fmla="*/ 198025 h 1217199"/>
                <a:gd name="connsiteX340" fmla="*/ 1211580 w 2377439"/>
                <a:gd name="connsiteY340" fmla="*/ 208597 h 1217199"/>
                <a:gd name="connsiteX341" fmla="*/ 1176337 w 2377439"/>
                <a:gd name="connsiteY341" fmla="*/ 204788 h 1217199"/>
                <a:gd name="connsiteX342" fmla="*/ 1137285 w 2377439"/>
                <a:gd name="connsiteY342" fmla="*/ 204788 h 1217199"/>
                <a:gd name="connsiteX343" fmla="*/ 1095375 w 2377439"/>
                <a:gd name="connsiteY343" fmla="*/ 204788 h 1217199"/>
                <a:gd name="connsiteX344" fmla="*/ 1056323 w 2377439"/>
                <a:gd name="connsiteY344" fmla="*/ 198025 h 1217199"/>
                <a:gd name="connsiteX345" fmla="*/ 1018223 w 2377439"/>
                <a:gd name="connsiteY345" fmla="*/ 183737 h 1217199"/>
                <a:gd name="connsiteX346" fmla="*/ 985837 w 2377439"/>
                <a:gd name="connsiteY346" fmla="*/ 165735 h 1217199"/>
                <a:gd name="connsiteX347" fmla="*/ 943928 w 2377439"/>
                <a:gd name="connsiteY347" fmla="*/ 183737 h 1217199"/>
                <a:gd name="connsiteX348" fmla="*/ 925830 w 2377439"/>
                <a:gd name="connsiteY348" fmla="*/ 194310 h 1217199"/>
                <a:gd name="connsiteX349" fmla="*/ 933450 w 2377439"/>
                <a:gd name="connsiteY349" fmla="*/ 212312 h 1217199"/>
                <a:gd name="connsiteX350" fmla="*/ 940118 w 2377439"/>
                <a:gd name="connsiteY350" fmla="*/ 243840 h 1217199"/>
                <a:gd name="connsiteX351" fmla="*/ 929640 w 2377439"/>
                <a:gd name="connsiteY351" fmla="*/ 250412 h 1217199"/>
                <a:gd name="connsiteX352" fmla="*/ 915353 w 2377439"/>
                <a:gd name="connsiteY352" fmla="*/ 229552 h 1217199"/>
                <a:gd name="connsiteX353" fmla="*/ 887730 w 2377439"/>
                <a:gd name="connsiteY353" fmla="*/ 212312 h 1217199"/>
                <a:gd name="connsiteX354" fmla="*/ 856298 w 2377439"/>
                <a:gd name="connsiteY354" fmla="*/ 194310 h 1217199"/>
                <a:gd name="connsiteX355" fmla="*/ 842010 w 2377439"/>
                <a:gd name="connsiteY355" fmla="*/ 201835 h 1217199"/>
                <a:gd name="connsiteX356" fmla="*/ 802957 w 2377439"/>
                <a:gd name="connsiteY356" fmla="*/ 204788 h 1217199"/>
                <a:gd name="connsiteX357" fmla="*/ 750570 w 2377439"/>
                <a:gd name="connsiteY357" fmla="*/ 208597 h 1217199"/>
                <a:gd name="connsiteX358" fmla="*/ 721995 w 2377439"/>
                <a:gd name="connsiteY358" fmla="*/ 194310 h 1217199"/>
                <a:gd name="connsiteX359" fmla="*/ 725805 w 2377439"/>
                <a:gd name="connsiteY359" fmla="*/ 180022 h 1217199"/>
                <a:gd name="connsiteX360" fmla="*/ 746760 w 2377439"/>
                <a:gd name="connsiteY360" fmla="*/ 177165 h 1217199"/>
                <a:gd name="connsiteX361" fmla="*/ 742950 w 2377439"/>
                <a:gd name="connsiteY361" fmla="*/ 162877 h 1217199"/>
                <a:gd name="connsiteX362" fmla="*/ 711518 w 2377439"/>
                <a:gd name="connsiteY362" fmla="*/ 148590 h 1217199"/>
                <a:gd name="connsiteX363" fmla="*/ 672465 w 2377439"/>
                <a:gd name="connsiteY363" fmla="*/ 144685 h 1217199"/>
                <a:gd name="connsiteX364" fmla="*/ 620078 w 2377439"/>
                <a:gd name="connsiteY364" fmla="*/ 127635 h 1217199"/>
                <a:gd name="connsiteX365" fmla="*/ 577215 w 2377439"/>
                <a:gd name="connsiteY365" fmla="*/ 117062 h 1217199"/>
                <a:gd name="connsiteX366" fmla="*/ 531495 w 2377439"/>
                <a:gd name="connsiteY366" fmla="*/ 99060 h 1217199"/>
                <a:gd name="connsiteX367" fmla="*/ 496253 w 2377439"/>
                <a:gd name="connsiteY367" fmla="*/ 109538 h 1217199"/>
                <a:gd name="connsiteX368" fmla="*/ 475298 w 2377439"/>
                <a:gd name="connsiteY368" fmla="*/ 123825 h 1217199"/>
                <a:gd name="connsiteX369" fmla="*/ 461010 w 2377439"/>
                <a:gd name="connsiteY369" fmla="*/ 92297 h 1217199"/>
                <a:gd name="connsiteX370" fmla="*/ 450532 w 2377439"/>
                <a:gd name="connsiteY370" fmla="*/ 88487 h 1217199"/>
                <a:gd name="connsiteX371" fmla="*/ 429578 w 2377439"/>
                <a:gd name="connsiteY371" fmla="*/ 117062 h 1217199"/>
                <a:gd name="connsiteX372" fmla="*/ 404813 w 2377439"/>
                <a:gd name="connsiteY372" fmla="*/ 113347 h 1217199"/>
                <a:gd name="connsiteX373" fmla="*/ 383857 w 2377439"/>
                <a:gd name="connsiteY373" fmla="*/ 81915 h 1217199"/>
                <a:gd name="connsiteX374" fmla="*/ 366713 w 2377439"/>
                <a:gd name="connsiteY374" fmla="*/ 67627 h 1217199"/>
                <a:gd name="connsiteX375" fmla="*/ 338138 w 2377439"/>
                <a:gd name="connsiteY375" fmla="*/ 102775 h 1217199"/>
                <a:gd name="connsiteX376" fmla="*/ 317182 w 2377439"/>
                <a:gd name="connsiteY376" fmla="*/ 99060 h 1217199"/>
                <a:gd name="connsiteX377" fmla="*/ 313373 w 2377439"/>
                <a:gd name="connsiteY377" fmla="*/ 84772 h 1217199"/>
                <a:gd name="connsiteX378" fmla="*/ 285750 w 2377439"/>
                <a:gd name="connsiteY378" fmla="*/ 84772 h 1217199"/>
                <a:gd name="connsiteX379" fmla="*/ 242888 w 2377439"/>
                <a:gd name="connsiteY379" fmla="*/ 106585 h 1217199"/>
                <a:gd name="connsiteX380" fmla="*/ 203835 w 2377439"/>
                <a:gd name="connsiteY380" fmla="*/ 127635 h 1217199"/>
                <a:gd name="connsiteX381" fmla="*/ 193357 w 2377439"/>
                <a:gd name="connsiteY381" fmla="*/ 120015 h 1217199"/>
                <a:gd name="connsiteX382" fmla="*/ 176213 w 2377439"/>
                <a:gd name="connsiteY382" fmla="*/ 109538 h 1217199"/>
                <a:gd name="connsiteX383" fmla="*/ 144780 w 2377439"/>
                <a:gd name="connsiteY383" fmla="*/ 127635 h 1217199"/>
                <a:gd name="connsiteX384" fmla="*/ 147638 w 2377439"/>
                <a:gd name="connsiteY384" fmla="*/ 152400 h 1217199"/>
                <a:gd name="connsiteX385" fmla="*/ 84773 w 2377439"/>
                <a:gd name="connsiteY385" fmla="*/ 134302 h 1217199"/>
                <a:gd name="connsiteX386" fmla="*/ 31432 w 2377439"/>
                <a:gd name="connsiteY386" fmla="*/ 113347 h 1217199"/>
                <a:gd name="connsiteX387" fmla="*/ 0 w 2377439"/>
                <a:gd name="connsiteY387" fmla="*/ 109538 h 1217199"/>
                <a:gd name="connsiteX388" fmla="*/ 0 w 2377439"/>
                <a:gd name="connsiteY388" fmla="*/ 533305 h 1217199"/>
                <a:gd name="connsiteX389" fmla="*/ 18098 w 2377439"/>
                <a:gd name="connsiteY389" fmla="*/ 540067 h 1217199"/>
                <a:gd name="connsiteX390" fmla="*/ 31432 w 2377439"/>
                <a:gd name="connsiteY390" fmla="*/ 533305 h 1217199"/>
                <a:gd name="connsiteX391" fmla="*/ 45720 w 2377439"/>
                <a:gd name="connsiteY391" fmla="*/ 529590 h 1217199"/>
                <a:gd name="connsiteX392" fmla="*/ 60007 w 2377439"/>
                <a:gd name="connsiteY392" fmla="*/ 546735 h 1217199"/>
                <a:gd name="connsiteX393" fmla="*/ 87630 w 2377439"/>
                <a:gd name="connsiteY393" fmla="*/ 568642 h 1217199"/>
                <a:gd name="connsiteX394" fmla="*/ 101917 w 2377439"/>
                <a:gd name="connsiteY394" fmla="*/ 581978 h 1217199"/>
                <a:gd name="connsiteX395" fmla="*/ 120015 w 2377439"/>
                <a:gd name="connsiteY395" fmla="*/ 579025 h 1217199"/>
                <a:gd name="connsiteX396" fmla="*/ 122873 w 2377439"/>
                <a:gd name="connsiteY396" fmla="*/ 568642 h 1217199"/>
                <a:gd name="connsiteX397" fmla="*/ 137160 w 2377439"/>
                <a:gd name="connsiteY397" fmla="*/ 561023 h 1217199"/>
                <a:gd name="connsiteX398" fmla="*/ 155257 w 2377439"/>
                <a:gd name="connsiteY398" fmla="*/ 554355 h 1217199"/>
                <a:gd name="connsiteX399" fmla="*/ 176213 w 2377439"/>
                <a:gd name="connsiteY399" fmla="*/ 575310 h 1217199"/>
                <a:gd name="connsiteX400" fmla="*/ 193357 w 2377439"/>
                <a:gd name="connsiteY400" fmla="*/ 592455 h 1217199"/>
                <a:gd name="connsiteX401" fmla="*/ 221932 w 2377439"/>
                <a:gd name="connsiteY401" fmla="*/ 621030 h 1217199"/>
                <a:gd name="connsiteX402" fmla="*/ 239077 w 2377439"/>
                <a:gd name="connsiteY402" fmla="*/ 656273 h 1217199"/>
                <a:gd name="connsiteX403" fmla="*/ 257175 w 2377439"/>
                <a:gd name="connsiteY403" fmla="*/ 677228 h 1217199"/>
                <a:gd name="connsiteX404" fmla="*/ 263842 w 2377439"/>
                <a:gd name="connsiteY404" fmla="*/ 680942 h 1217199"/>
                <a:gd name="connsiteX405" fmla="*/ 278130 w 2377439"/>
                <a:gd name="connsiteY405" fmla="*/ 691515 h 1217199"/>
                <a:gd name="connsiteX406" fmla="*/ 302895 w 2377439"/>
                <a:gd name="connsiteY406" fmla="*/ 705803 h 1217199"/>
                <a:gd name="connsiteX407" fmla="*/ 306705 w 2377439"/>
                <a:gd name="connsiteY407" fmla="*/ 720090 h 1217199"/>
                <a:gd name="connsiteX408" fmla="*/ 313373 w 2377439"/>
                <a:gd name="connsiteY408" fmla="*/ 722948 h 1217199"/>
                <a:gd name="connsiteX409" fmla="*/ 317182 w 2377439"/>
                <a:gd name="connsiteY409" fmla="*/ 740950 h 1217199"/>
                <a:gd name="connsiteX410" fmla="*/ 306705 w 2377439"/>
                <a:gd name="connsiteY410" fmla="*/ 761905 h 1217199"/>
                <a:gd name="connsiteX411" fmla="*/ 306705 w 2377439"/>
                <a:gd name="connsiteY411" fmla="*/ 772478 h 1217199"/>
                <a:gd name="connsiteX412" fmla="*/ 302895 w 2377439"/>
                <a:gd name="connsiteY412" fmla="*/ 786765 h 1217199"/>
                <a:gd name="connsiteX413" fmla="*/ 302895 w 2377439"/>
                <a:gd name="connsiteY413" fmla="*/ 807625 h 1217199"/>
                <a:gd name="connsiteX414" fmla="*/ 317182 w 2377439"/>
                <a:gd name="connsiteY414" fmla="*/ 807625 h 1217199"/>
                <a:gd name="connsiteX415" fmla="*/ 331470 w 2377439"/>
                <a:gd name="connsiteY415" fmla="*/ 797242 h 1217199"/>
                <a:gd name="connsiteX416" fmla="*/ 341948 w 2377439"/>
                <a:gd name="connsiteY416" fmla="*/ 790480 h 1217199"/>
                <a:gd name="connsiteX417" fmla="*/ 344805 w 2377439"/>
                <a:gd name="connsiteY417" fmla="*/ 804767 h 1217199"/>
                <a:gd name="connsiteX418" fmla="*/ 334328 w 2377439"/>
                <a:gd name="connsiteY418" fmla="*/ 821912 h 1217199"/>
                <a:gd name="connsiteX419" fmla="*/ 331470 w 2377439"/>
                <a:gd name="connsiteY419" fmla="*/ 836200 h 1217199"/>
                <a:gd name="connsiteX420" fmla="*/ 344805 w 2377439"/>
                <a:gd name="connsiteY420" fmla="*/ 828580 h 1217199"/>
                <a:gd name="connsiteX421" fmla="*/ 355282 w 2377439"/>
                <a:gd name="connsiteY421" fmla="*/ 832485 h 1217199"/>
                <a:gd name="connsiteX422" fmla="*/ 362903 w 2377439"/>
                <a:gd name="connsiteY422" fmla="*/ 842867 h 1217199"/>
                <a:gd name="connsiteX423" fmla="*/ 366713 w 2377439"/>
                <a:gd name="connsiteY423" fmla="*/ 857155 h 1217199"/>
                <a:gd name="connsiteX424" fmla="*/ 366713 w 2377439"/>
                <a:gd name="connsiteY424" fmla="*/ 871442 h 1217199"/>
                <a:gd name="connsiteX425" fmla="*/ 380048 w 2377439"/>
                <a:gd name="connsiteY425" fmla="*/ 871442 h 1217199"/>
                <a:gd name="connsiteX426" fmla="*/ 383857 w 2377439"/>
                <a:gd name="connsiteY426" fmla="*/ 882015 h 1217199"/>
                <a:gd name="connsiteX427" fmla="*/ 377190 w 2377439"/>
                <a:gd name="connsiteY427" fmla="*/ 900017 h 1217199"/>
                <a:gd name="connsiteX428" fmla="*/ 408623 w 2377439"/>
                <a:gd name="connsiteY428" fmla="*/ 902875 h 1217199"/>
                <a:gd name="connsiteX429" fmla="*/ 429578 w 2377439"/>
                <a:gd name="connsiteY429" fmla="*/ 917162 h 1217199"/>
                <a:gd name="connsiteX430" fmla="*/ 440055 w 2377439"/>
                <a:gd name="connsiteY430" fmla="*/ 910590 h 1217199"/>
                <a:gd name="connsiteX431" fmla="*/ 450532 w 2377439"/>
                <a:gd name="connsiteY431" fmla="*/ 927735 h 1217199"/>
                <a:gd name="connsiteX432" fmla="*/ 468630 w 2377439"/>
                <a:gd name="connsiteY432" fmla="*/ 945737 h 1217199"/>
                <a:gd name="connsiteX433" fmla="*/ 479107 w 2377439"/>
                <a:gd name="connsiteY433" fmla="*/ 938117 h 1217199"/>
                <a:gd name="connsiteX434" fmla="*/ 496253 w 2377439"/>
                <a:gd name="connsiteY434" fmla="*/ 956310 h 1217199"/>
                <a:gd name="connsiteX435" fmla="*/ 510540 w 2377439"/>
                <a:gd name="connsiteY435" fmla="*/ 973455 h 1217199"/>
                <a:gd name="connsiteX436" fmla="*/ 1267778 w 2377439"/>
                <a:gd name="connsiteY436" fmla="*/ 973455 h 1217199"/>
                <a:gd name="connsiteX437" fmla="*/ 1271587 w 2377439"/>
                <a:gd name="connsiteY437" fmla="*/ 959167 h 1217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</a:cxnLst>
              <a:rect l="l" t="t" r="r" b="b"/>
              <a:pathLst>
                <a:path w="2377439" h="1217199">
                  <a:moveTo>
                    <a:pt x="1271587" y="959167"/>
                  </a:moveTo>
                  <a:lnTo>
                    <a:pt x="1285875" y="959167"/>
                  </a:lnTo>
                  <a:lnTo>
                    <a:pt x="1288733" y="973455"/>
                  </a:lnTo>
                  <a:lnTo>
                    <a:pt x="1296353" y="980980"/>
                  </a:lnTo>
                  <a:lnTo>
                    <a:pt x="1317308" y="987742"/>
                  </a:lnTo>
                  <a:lnTo>
                    <a:pt x="1359218" y="994410"/>
                  </a:lnTo>
                  <a:lnTo>
                    <a:pt x="1383983" y="1002030"/>
                  </a:lnTo>
                  <a:lnTo>
                    <a:pt x="1404937" y="1005840"/>
                  </a:lnTo>
                  <a:lnTo>
                    <a:pt x="1415415" y="1005840"/>
                  </a:lnTo>
                  <a:lnTo>
                    <a:pt x="1425893" y="1008698"/>
                  </a:lnTo>
                  <a:lnTo>
                    <a:pt x="1440180" y="998125"/>
                  </a:lnTo>
                  <a:lnTo>
                    <a:pt x="1458278" y="987742"/>
                  </a:lnTo>
                  <a:lnTo>
                    <a:pt x="1472565" y="977265"/>
                  </a:lnTo>
                  <a:lnTo>
                    <a:pt x="1485900" y="977265"/>
                  </a:lnTo>
                  <a:lnTo>
                    <a:pt x="1503998" y="983837"/>
                  </a:lnTo>
                  <a:lnTo>
                    <a:pt x="1521143" y="983837"/>
                  </a:lnTo>
                  <a:lnTo>
                    <a:pt x="1531620" y="998125"/>
                  </a:lnTo>
                  <a:lnTo>
                    <a:pt x="1539240" y="1012412"/>
                  </a:lnTo>
                  <a:lnTo>
                    <a:pt x="1560195" y="1012412"/>
                  </a:lnTo>
                  <a:lnTo>
                    <a:pt x="1564005" y="1019080"/>
                  </a:lnTo>
                  <a:lnTo>
                    <a:pt x="1570673" y="1040987"/>
                  </a:lnTo>
                  <a:lnTo>
                    <a:pt x="1577340" y="1058228"/>
                  </a:lnTo>
                  <a:lnTo>
                    <a:pt x="1588770" y="1068705"/>
                  </a:lnTo>
                  <a:lnTo>
                    <a:pt x="1609725" y="1072515"/>
                  </a:lnTo>
                  <a:lnTo>
                    <a:pt x="1637348" y="1072515"/>
                  </a:lnTo>
                  <a:lnTo>
                    <a:pt x="1659255" y="1076230"/>
                  </a:lnTo>
                  <a:lnTo>
                    <a:pt x="1680210" y="1082992"/>
                  </a:lnTo>
                  <a:lnTo>
                    <a:pt x="1693545" y="1097280"/>
                  </a:lnTo>
                  <a:lnTo>
                    <a:pt x="1704975" y="1114330"/>
                  </a:lnTo>
                  <a:lnTo>
                    <a:pt x="1701165" y="1128617"/>
                  </a:lnTo>
                  <a:lnTo>
                    <a:pt x="1686878" y="1132523"/>
                  </a:lnTo>
                  <a:lnTo>
                    <a:pt x="1676400" y="1121950"/>
                  </a:lnTo>
                  <a:lnTo>
                    <a:pt x="1669733" y="1121950"/>
                  </a:lnTo>
                  <a:lnTo>
                    <a:pt x="1665923" y="1132523"/>
                  </a:lnTo>
                  <a:lnTo>
                    <a:pt x="1655445" y="1142905"/>
                  </a:lnTo>
                  <a:lnTo>
                    <a:pt x="1651635" y="1157192"/>
                  </a:lnTo>
                  <a:lnTo>
                    <a:pt x="1647825" y="1174337"/>
                  </a:lnTo>
                  <a:lnTo>
                    <a:pt x="1634490" y="1178242"/>
                  </a:lnTo>
                  <a:lnTo>
                    <a:pt x="1624012" y="1182053"/>
                  </a:lnTo>
                  <a:lnTo>
                    <a:pt x="1624012" y="1196340"/>
                  </a:lnTo>
                  <a:lnTo>
                    <a:pt x="1620203" y="1199198"/>
                  </a:lnTo>
                  <a:lnTo>
                    <a:pt x="1620203" y="1213485"/>
                  </a:lnTo>
                  <a:lnTo>
                    <a:pt x="1626870" y="1217200"/>
                  </a:lnTo>
                  <a:lnTo>
                    <a:pt x="1641158" y="1209580"/>
                  </a:lnTo>
                  <a:lnTo>
                    <a:pt x="1655445" y="1199198"/>
                  </a:lnTo>
                  <a:lnTo>
                    <a:pt x="1669733" y="1196340"/>
                  </a:lnTo>
                  <a:lnTo>
                    <a:pt x="1697355" y="1188625"/>
                  </a:lnTo>
                  <a:lnTo>
                    <a:pt x="1727835" y="1185767"/>
                  </a:lnTo>
                  <a:lnTo>
                    <a:pt x="1725930" y="1178242"/>
                  </a:lnTo>
                  <a:lnTo>
                    <a:pt x="1728788" y="1171480"/>
                  </a:lnTo>
                  <a:lnTo>
                    <a:pt x="1715452" y="1171480"/>
                  </a:lnTo>
                  <a:lnTo>
                    <a:pt x="1711642" y="1163955"/>
                  </a:lnTo>
                  <a:lnTo>
                    <a:pt x="1725930" y="1157192"/>
                  </a:lnTo>
                  <a:lnTo>
                    <a:pt x="1736408" y="1149667"/>
                  </a:lnTo>
                  <a:lnTo>
                    <a:pt x="1764030" y="1149667"/>
                  </a:lnTo>
                  <a:lnTo>
                    <a:pt x="1785938" y="1149667"/>
                  </a:lnTo>
                  <a:lnTo>
                    <a:pt x="1796415" y="1142905"/>
                  </a:lnTo>
                  <a:lnTo>
                    <a:pt x="1806892" y="1136237"/>
                  </a:lnTo>
                  <a:lnTo>
                    <a:pt x="1821180" y="1124903"/>
                  </a:lnTo>
                  <a:lnTo>
                    <a:pt x="1834515" y="1114330"/>
                  </a:lnTo>
                  <a:lnTo>
                    <a:pt x="1937385" y="1114330"/>
                  </a:lnTo>
                  <a:lnTo>
                    <a:pt x="1958340" y="1103948"/>
                  </a:lnTo>
                  <a:lnTo>
                    <a:pt x="1968817" y="1089660"/>
                  </a:lnTo>
                  <a:lnTo>
                    <a:pt x="1968817" y="1079087"/>
                  </a:lnTo>
                  <a:lnTo>
                    <a:pt x="1975485" y="1061942"/>
                  </a:lnTo>
                  <a:lnTo>
                    <a:pt x="1989773" y="1037273"/>
                  </a:lnTo>
                  <a:lnTo>
                    <a:pt x="2004060" y="1022985"/>
                  </a:lnTo>
                  <a:lnTo>
                    <a:pt x="2018348" y="1030605"/>
                  </a:lnTo>
                  <a:lnTo>
                    <a:pt x="2043113" y="1037273"/>
                  </a:lnTo>
                  <a:lnTo>
                    <a:pt x="2045970" y="1051560"/>
                  </a:lnTo>
                  <a:lnTo>
                    <a:pt x="2043113" y="1079087"/>
                  </a:lnTo>
                  <a:lnTo>
                    <a:pt x="2045970" y="1093375"/>
                  </a:lnTo>
                  <a:lnTo>
                    <a:pt x="2056448" y="1103948"/>
                  </a:lnTo>
                  <a:lnTo>
                    <a:pt x="2064067" y="1114330"/>
                  </a:lnTo>
                  <a:lnTo>
                    <a:pt x="2091690" y="1107662"/>
                  </a:lnTo>
                  <a:lnTo>
                    <a:pt x="2109788" y="1101090"/>
                  </a:lnTo>
                  <a:lnTo>
                    <a:pt x="2130743" y="1089660"/>
                  </a:lnTo>
                  <a:lnTo>
                    <a:pt x="2137410" y="1093375"/>
                  </a:lnTo>
                  <a:lnTo>
                    <a:pt x="2141220" y="1101090"/>
                  </a:lnTo>
                  <a:lnTo>
                    <a:pt x="2141220" y="1103948"/>
                  </a:lnTo>
                  <a:lnTo>
                    <a:pt x="2137410" y="1107662"/>
                  </a:lnTo>
                  <a:lnTo>
                    <a:pt x="2116455" y="1114330"/>
                  </a:lnTo>
                  <a:lnTo>
                    <a:pt x="2095500" y="1128617"/>
                  </a:lnTo>
                  <a:lnTo>
                    <a:pt x="2088833" y="1142905"/>
                  </a:lnTo>
                  <a:lnTo>
                    <a:pt x="2091690" y="1157192"/>
                  </a:lnTo>
                  <a:lnTo>
                    <a:pt x="2109788" y="1167765"/>
                  </a:lnTo>
                  <a:lnTo>
                    <a:pt x="2120265" y="1157192"/>
                  </a:lnTo>
                  <a:lnTo>
                    <a:pt x="2134552" y="1142905"/>
                  </a:lnTo>
                  <a:lnTo>
                    <a:pt x="2147888" y="1128617"/>
                  </a:lnTo>
                  <a:lnTo>
                    <a:pt x="2165985" y="1128617"/>
                  </a:lnTo>
                  <a:lnTo>
                    <a:pt x="2194560" y="1118235"/>
                  </a:lnTo>
                  <a:lnTo>
                    <a:pt x="2215515" y="1111567"/>
                  </a:lnTo>
                  <a:lnTo>
                    <a:pt x="2222183" y="1103948"/>
                  </a:lnTo>
                  <a:lnTo>
                    <a:pt x="2232660" y="1086803"/>
                  </a:lnTo>
                  <a:lnTo>
                    <a:pt x="2243138" y="1086803"/>
                  </a:lnTo>
                  <a:lnTo>
                    <a:pt x="2261235" y="1086803"/>
                  </a:lnTo>
                  <a:lnTo>
                    <a:pt x="2261235" y="1072515"/>
                  </a:lnTo>
                  <a:lnTo>
                    <a:pt x="2250758" y="1065848"/>
                  </a:lnTo>
                  <a:lnTo>
                    <a:pt x="2250758" y="1051560"/>
                  </a:lnTo>
                  <a:lnTo>
                    <a:pt x="2236470" y="1051560"/>
                  </a:lnTo>
                  <a:lnTo>
                    <a:pt x="2229802" y="1065848"/>
                  </a:lnTo>
                  <a:lnTo>
                    <a:pt x="2222183" y="1079087"/>
                  </a:lnTo>
                  <a:lnTo>
                    <a:pt x="2207895" y="1082992"/>
                  </a:lnTo>
                  <a:lnTo>
                    <a:pt x="2176463" y="1082992"/>
                  </a:lnTo>
                  <a:lnTo>
                    <a:pt x="2151698" y="1076230"/>
                  </a:lnTo>
                  <a:lnTo>
                    <a:pt x="2130743" y="1061942"/>
                  </a:lnTo>
                  <a:lnTo>
                    <a:pt x="2124075" y="1047655"/>
                  </a:lnTo>
                  <a:lnTo>
                    <a:pt x="2120265" y="1037273"/>
                  </a:lnTo>
                  <a:lnTo>
                    <a:pt x="2126933" y="1022985"/>
                  </a:lnTo>
                  <a:lnTo>
                    <a:pt x="2120265" y="1005840"/>
                  </a:lnTo>
                  <a:lnTo>
                    <a:pt x="2137410" y="1002030"/>
                  </a:lnTo>
                  <a:lnTo>
                    <a:pt x="2145030" y="991553"/>
                  </a:lnTo>
                  <a:lnTo>
                    <a:pt x="2137410" y="973455"/>
                  </a:lnTo>
                  <a:lnTo>
                    <a:pt x="2116455" y="966692"/>
                  </a:lnTo>
                  <a:lnTo>
                    <a:pt x="2085023" y="962978"/>
                  </a:lnTo>
                  <a:lnTo>
                    <a:pt x="2066925" y="970598"/>
                  </a:lnTo>
                  <a:lnTo>
                    <a:pt x="2056448" y="977265"/>
                  </a:lnTo>
                  <a:lnTo>
                    <a:pt x="2025015" y="991553"/>
                  </a:lnTo>
                  <a:lnTo>
                    <a:pt x="1996440" y="1008698"/>
                  </a:lnTo>
                  <a:lnTo>
                    <a:pt x="1972627" y="1037273"/>
                  </a:lnTo>
                  <a:lnTo>
                    <a:pt x="1965008" y="1040987"/>
                  </a:lnTo>
                  <a:lnTo>
                    <a:pt x="1954530" y="1047655"/>
                  </a:lnTo>
                  <a:lnTo>
                    <a:pt x="1954530" y="1043940"/>
                  </a:lnTo>
                  <a:lnTo>
                    <a:pt x="1958340" y="1040987"/>
                  </a:lnTo>
                  <a:lnTo>
                    <a:pt x="1961198" y="1033367"/>
                  </a:lnTo>
                  <a:lnTo>
                    <a:pt x="1985963" y="1005840"/>
                  </a:lnTo>
                  <a:lnTo>
                    <a:pt x="2004060" y="987742"/>
                  </a:lnTo>
                  <a:lnTo>
                    <a:pt x="2028825" y="966692"/>
                  </a:lnTo>
                  <a:lnTo>
                    <a:pt x="2053590" y="959167"/>
                  </a:lnTo>
                  <a:lnTo>
                    <a:pt x="2066925" y="938117"/>
                  </a:lnTo>
                  <a:lnTo>
                    <a:pt x="2095500" y="927735"/>
                  </a:lnTo>
                  <a:lnTo>
                    <a:pt x="2145030" y="923830"/>
                  </a:lnTo>
                  <a:lnTo>
                    <a:pt x="2180273" y="923830"/>
                  </a:lnTo>
                  <a:lnTo>
                    <a:pt x="2225993" y="931450"/>
                  </a:lnTo>
                  <a:lnTo>
                    <a:pt x="2264093" y="923830"/>
                  </a:lnTo>
                  <a:lnTo>
                    <a:pt x="2292668" y="902875"/>
                  </a:lnTo>
                  <a:lnTo>
                    <a:pt x="2306955" y="885730"/>
                  </a:lnTo>
                  <a:lnTo>
                    <a:pt x="2342198" y="885730"/>
                  </a:lnTo>
                  <a:lnTo>
                    <a:pt x="2359343" y="875348"/>
                  </a:lnTo>
                  <a:lnTo>
                    <a:pt x="2373630" y="861060"/>
                  </a:lnTo>
                  <a:lnTo>
                    <a:pt x="2377440" y="836200"/>
                  </a:lnTo>
                  <a:lnTo>
                    <a:pt x="2373630" y="807625"/>
                  </a:lnTo>
                  <a:lnTo>
                    <a:pt x="2352675" y="797242"/>
                  </a:lnTo>
                  <a:lnTo>
                    <a:pt x="2342198" y="797242"/>
                  </a:lnTo>
                  <a:lnTo>
                    <a:pt x="2338388" y="797242"/>
                  </a:lnTo>
                  <a:lnTo>
                    <a:pt x="2331720" y="780098"/>
                  </a:lnTo>
                  <a:lnTo>
                    <a:pt x="2313623" y="782955"/>
                  </a:lnTo>
                  <a:lnTo>
                    <a:pt x="2288858" y="793337"/>
                  </a:lnTo>
                  <a:lnTo>
                    <a:pt x="2261235" y="807625"/>
                  </a:lnTo>
                  <a:lnTo>
                    <a:pt x="2257425" y="807625"/>
                  </a:lnTo>
                  <a:lnTo>
                    <a:pt x="2257425" y="804767"/>
                  </a:lnTo>
                  <a:lnTo>
                    <a:pt x="2253615" y="801053"/>
                  </a:lnTo>
                  <a:lnTo>
                    <a:pt x="2275523" y="790480"/>
                  </a:lnTo>
                  <a:lnTo>
                    <a:pt x="2288858" y="782955"/>
                  </a:lnTo>
                  <a:lnTo>
                    <a:pt x="2313623" y="772478"/>
                  </a:lnTo>
                  <a:lnTo>
                    <a:pt x="2321243" y="758190"/>
                  </a:lnTo>
                  <a:lnTo>
                    <a:pt x="2306955" y="758190"/>
                  </a:lnTo>
                  <a:lnTo>
                    <a:pt x="2286000" y="751523"/>
                  </a:lnTo>
                  <a:lnTo>
                    <a:pt x="2261235" y="744855"/>
                  </a:lnTo>
                  <a:lnTo>
                    <a:pt x="2243138" y="737235"/>
                  </a:lnTo>
                  <a:lnTo>
                    <a:pt x="2243138" y="726662"/>
                  </a:lnTo>
                  <a:lnTo>
                    <a:pt x="2240280" y="720090"/>
                  </a:lnTo>
                  <a:lnTo>
                    <a:pt x="2211705" y="701992"/>
                  </a:lnTo>
                  <a:lnTo>
                    <a:pt x="2207895" y="687705"/>
                  </a:lnTo>
                  <a:lnTo>
                    <a:pt x="2218373" y="677228"/>
                  </a:lnTo>
                  <a:lnTo>
                    <a:pt x="2211705" y="656273"/>
                  </a:lnTo>
                  <a:lnTo>
                    <a:pt x="2207895" y="635317"/>
                  </a:lnTo>
                  <a:lnTo>
                    <a:pt x="2190750" y="624840"/>
                  </a:lnTo>
                  <a:lnTo>
                    <a:pt x="2186940" y="610553"/>
                  </a:lnTo>
                  <a:lnTo>
                    <a:pt x="2162175" y="579025"/>
                  </a:lnTo>
                  <a:lnTo>
                    <a:pt x="2145030" y="550450"/>
                  </a:lnTo>
                  <a:lnTo>
                    <a:pt x="2130743" y="529590"/>
                  </a:lnTo>
                  <a:lnTo>
                    <a:pt x="2120265" y="540067"/>
                  </a:lnTo>
                  <a:lnTo>
                    <a:pt x="2105977" y="557117"/>
                  </a:lnTo>
                  <a:lnTo>
                    <a:pt x="2105977" y="579025"/>
                  </a:lnTo>
                  <a:lnTo>
                    <a:pt x="2081213" y="599980"/>
                  </a:lnTo>
                  <a:lnTo>
                    <a:pt x="2056448" y="621030"/>
                  </a:lnTo>
                  <a:lnTo>
                    <a:pt x="2035492" y="610553"/>
                  </a:lnTo>
                  <a:lnTo>
                    <a:pt x="2021205" y="596265"/>
                  </a:lnTo>
                  <a:lnTo>
                    <a:pt x="2000250" y="592455"/>
                  </a:lnTo>
                  <a:lnTo>
                    <a:pt x="2000250" y="579025"/>
                  </a:lnTo>
                  <a:lnTo>
                    <a:pt x="1989773" y="554355"/>
                  </a:lnTo>
                  <a:lnTo>
                    <a:pt x="1989773" y="529590"/>
                  </a:lnTo>
                  <a:lnTo>
                    <a:pt x="1996440" y="511492"/>
                  </a:lnTo>
                  <a:lnTo>
                    <a:pt x="1958340" y="504730"/>
                  </a:lnTo>
                  <a:lnTo>
                    <a:pt x="1933575" y="490442"/>
                  </a:lnTo>
                  <a:lnTo>
                    <a:pt x="1919288" y="469487"/>
                  </a:lnTo>
                  <a:lnTo>
                    <a:pt x="1894523" y="451485"/>
                  </a:lnTo>
                  <a:lnTo>
                    <a:pt x="1873567" y="438055"/>
                  </a:lnTo>
                  <a:lnTo>
                    <a:pt x="1863090" y="451485"/>
                  </a:lnTo>
                  <a:lnTo>
                    <a:pt x="1838325" y="455200"/>
                  </a:lnTo>
                  <a:lnTo>
                    <a:pt x="1821180" y="451485"/>
                  </a:lnTo>
                  <a:lnTo>
                    <a:pt x="1792605" y="440912"/>
                  </a:lnTo>
                  <a:lnTo>
                    <a:pt x="1761173" y="440912"/>
                  </a:lnTo>
                  <a:lnTo>
                    <a:pt x="1753552" y="465772"/>
                  </a:lnTo>
                  <a:lnTo>
                    <a:pt x="1771650" y="483775"/>
                  </a:lnTo>
                  <a:lnTo>
                    <a:pt x="1764030" y="515303"/>
                  </a:lnTo>
                  <a:lnTo>
                    <a:pt x="1767840" y="536162"/>
                  </a:lnTo>
                  <a:lnTo>
                    <a:pt x="1771650" y="557117"/>
                  </a:lnTo>
                  <a:lnTo>
                    <a:pt x="1753552" y="579025"/>
                  </a:lnTo>
                  <a:lnTo>
                    <a:pt x="1743075" y="589598"/>
                  </a:lnTo>
                  <a:lnTo>
                    <a:pt x="1740217" y="599980"/>
                  </a:lnTo>
                  <a:lnTo>
                    <a:pt x="1757363" y="610553"/>
                  </a:lnTo>
                  <a:lnTo>
                    <a:pt x="1778317" y="624840"/>
                  </a:lnTo>
                  <a:lnTo>
                    <a:pt x="1796415" y="656273"/>
                  </a:lnTo>
                  <a:lnTo>
                    <a:pt x="1799273" y="695230"/>
                  </a:lnTo>
                  <a:lnTo>
                    <a:pt x="1782127" y="716280"/>
                  </a:lnTo>
                  <a:lnTo>
                    <a:pt x="1764030" y="737235"/>
                  </a:lnTo>
                  <a:lnTo>
                    <a:pt x="1725930" y="747617"/>
                  </a:lnTo>
                  <a:lnTo>
                    <a:pt x="1711642" y="755237"/>
                  </a:lnTo>
                  <a:lnTo>
                    <a:pt x="1725930" y="790480"/>
                  </a:lnTo>
                  <a:lnTo>
                    <a:pt x="1732598" y="815340"/>
                  </a:lnTo>
                  <a:lnTo>
                    <a:pt x="1743075" y="850487"/>
                  </a:lnTo>
                  <a:lnTo>
                    <a:pt x="1740217" y="864775"/>
                  </a:lnTo>
                  <a:lnTo>
                    <a:pt x="1732598" y="878205"/>
                  </a:lnTo>
                  <a:lnTo>
                    <a:pt x="1707833" y="892492"/>
                  </a:lnTo>
                  <a:lnTo>
                    <a:pt x="1693545" y="885730"/>
                  </a:lnTo>
                  <a:lnTo>
                    <a:pt x="1683068" y="878205"/>
                  </a:lnTo>
                  <a:lnTo>
                    <a:pt x="1662112" y="853440"/>
                  </a:lnTo>
                  <a:lnTo>
                    <a:pt x="1641158" y="828580"/>
                  </a:lnTo>
                  <a:lnTo>
                    <a:pt x="1641158" y="815340"/>
                  </a:lnTo>
                  <a:lnTo>
                    <a:pt x="1641158" y="804767"/>
                  </a:lnTo>
                  <a:lnTo>
                    <a:pt x="1641158" y="780098"/>
                  </a:lnTo>
                  <a:lnTo>
                    <a:pt x="1634490" y="740950"/>
                  </a:lnTo>
                  <a:lnTo>
                    <a:pt x="1612583" y="740950"/>
                  </a:lnTo>
                  <a:lnTo>
                    <a:pt x="1591628" y="737235"/>
                  </a:lnTo>
                  <a:lnTo>
                    <a:pt x="1577340" y="734378"/>
                  </a:lnTo>
                  <a:lnTo>
                    <a:pt x="1560195" y="734378"/>
                  </a:lnTo>
                  <a:lnTo>
                    <a:pt x="1521143" y="720090"/>
                  </a:lnTo>
                  <a:lnTo>
                    <a:pt x="1489710" y="701992"/>
                  </a:lnTo>
                  <a:lnTo>
                    <a:pt x="1461135" y="674275"/>
                  </a:lnTo>
                  <a:lnTo>
                    <a:pt x="1433512" y="670560"/>
                  </a:lnTo>
                  <a:lnTo>
                    <a:pt x="1408748" y="659987"/>
                  </a:lnTo>
                  <a:lnTo>
                    <a:pt x="1377315" y="659987"/>
                  </a:lnTo>
                  <a:lnTo>
                    <a:pt x="1352550" y="666655"/>
                  </a:lnTo>
                  <a:lnTo>
                    <a:pt x="1338262" y="621030"/>
                  </a:lnTo>
                  <a:lnTo>
                    <a:pt x="1331595" y="606742"/>
                  </a:lnTo>
                  <a:lnTo>
                    <a:pt x="1317308" y="603885"/>
                  </a:lnTo>
                  <a:lnTo>
                    <a:pt x="1299210" y="603885"/>
                  </a:lnTo>
                  <a:lnTo>
                    <a:pt x="1296353" y="592455"/>
                  </a:lnTo>
                  <a:lnTo>
                    <a:pt x="1292543" y="585692"/>
                  </a:lnTo>
                  <a:lnTo>
                    <a:pt x="1303020" y="511492"/>
                  </a:lnTo>
                  <a:lnTo>
                    <a:pt x="1334453" y="459105"/>
                  </a:lnTo>
                  <a:lnTo>
                    <a:pt x="1369695" y="426625"/>
                  </a:lnTo>
                  <a:lnTo>
                    <a:pt x="1402080" y="420053"/>
                  </a:lnTo>
                  <a:lnTo>
                    <a:pt x="1398270" y="402812"/>
                  </a:lnTo>
                  <a:lnTo>
                    <a:pt x="1369695" y="391478"/>
                  </a:lnTo>
                  <a:lnTo>
                    <a:pt x="1359218" y="380905"/>
                  </a:lnTo>
                  <a:lnTo>
                    <a:pt x="1380173" y="388525"/>
                  </a:lnTo>
                  <a:lnTo>
                    <a:pt x="1415415" y="384810"/>
                  </a:lnTo>
                  <a:lnTo>
                    <a:pt x="1415415" y="367665"/>
                  </a:lnTo>
                  <a:lnTo>
                    <a:pt x="1429703" y="374237"/>
                  </a:lnTo>
                  <a:lnTo>
                    <a:pt x="1443990" y="374237"/>
                  </a:lnTo>
                  <a:lnTo>
                    <a:pt x="1461135" y="370522"/>
                  </a:lnTo>
                  <a:lnTo>
                    <a:pt x="1479233" y="359950"/>
                  </a:lnTo>
                  <a:lnTo>
                    <a:pt x="1493520" y="339090"/>
                  </a:lnTo>
                  <a:lnTo>
                    <a:pt x="1503998" y="320992"/>
                  </a:lnTo>
                  <a:lnTo>
                    <a:pt x="1483043" y="320992"/>
                  </a:lnTo>
                  <a:lnTo>
                    <a:pt x="1468755" y="318135"/>
                  </a:lnTo>
                  <a:lnTo>
                    <a:pt x="1447800" y="314230"/>
                  </a:lnTo>
                  <a:lnTo>
                    <a:pt x="1437323" y="303847"/>
                  </a:lnTo>
                  <a:lnTo>
                    <a:pt x="1429703" y="289560"/>
                  </a:lnTo>
                  <a:lnTo>
                    <a:pt x="1447800" y="293275"/>
                  </a:lnTo>
                  <a:lnTo>
                    <a:pt x="1468755" y="307562"/>
                  </a:lnTo>
                  <a:lnTo>
                    <a:pt x="1489710" y="310515"/>
                  </a:lnTo>
                  <a:lnTo>
                    <a:pt x="1507808" y="307562"/>
                  </a:lnTo>
                  <a:lnTo>
                    <a:pt x="1521143" y="293275"/>
                  </a:lnTo>
                  <a:lnTo>
                    <a:pt x="1531620" y="275272"/>
                  </a:lnTo>
                  <a:lnTo>
                    <a:pt x="1521143" y="264700"/>
                  </a:lnTo>
                  <a:lnTo>
                    <a:pt x="1528762" y="254317"/>
                  </a:lnTo>
                  <a:lnTo>
                    <a:pt x="1545908" y="254317"/>
                  </a:lnTo>
                  <a:lnTo>
                    <a:pt x="1566862" y="275272"/>
                  </a:lnTo>
                  <a:lnTo>
                    <a:pt x="1581150" y="268605"/>
                  </a:lnTo>
                  <a:lnTo>
                    <a:pt x="1588770" y="254317"/>
                  </a:lnTo>
                  <a:lnTo>
                    <a:pt x="1612583" y="268605"/>
                  </a:lnTo>
                  <a:lnTo>
                    <a:pt x="1630680" y="258127"/>
                  </a:lnTo>
                  <a:lnTo>
                    <a:pt x="1651635" y="240030"/>
                  </a:lnTo>
                  <a:lnTo>
                    <a:pt x="1665923" y="222885"/>
                  </a:lnTo>
                  <a:lnTo>
                    <a:pt x="1655445" y="201835"/>
                  </a:lnTo>
                  <a:lnTo>
                    <a:pt x="1644968" y="187547"/>
                  </a:lnTo>
                  <a:lnTo>
                    <a:pt x="1641158" y="169450"/>
                  </a:lnTo>
                  <a:lnTo>
                    <a:pt x="1655445" y="165735"/>
                  </a:lnTo>
                  <a:lnTo>
                    <a:pt x="1665923" y="158972"/>
                  </a:lnTo>
                  <a:lnTo>
                    <a:pt x="1647825" y="134302"/>
                  </a:lnTo>
                  <a:lnTo>
                    <a:pt x="1624012" y="117062"/>
                  </a:lnTo>
                  <a:lnTo>
                    <a:pt x="1584960" y="102775"/>
                  </a:lnTo>
                  <a:lnTo>
                    <a:pt x="1553528" y="99060"/>
                  </a:lnTo>
                  <a:lnTo>
                    <a:pt x="1549718" y="109538"/>
                  </a:lnTo>
                  <a:lnTo>
                    <a:pt x="1560195" y="130397"/>
                  </a:lnTo>
                  <a:lnTo>
                    <a:pt x="1564005" y="144685"/>
                  </a:lnTo>
                  <a:lnTo>
                    <a:pt x="1543050" y="158972"/>
                  </a:lnTo>
                  <a:lnTo>
                    <a:pt x="1539240" y="187547"/>
                  </a:lnTo>
                  <a:lnTo>
                    <a:pt x="1524953" y="212312"/>
                  </a:lnTo>
                  <a:lnTo>
                    <a:pt x="1510665" y="222885"/>
                  </a:lnTo>
                  <a:lnTo>
                    <a:pt x="1485900" y="212312"/>
                  </a:lnTo>
                  <a:lnTo>
                    <a:pt x="1468755" y="198025"/>
                  </a:lnTo>
                  <a:lnTo>
                    <a:pt x="1472565" y="177165"/>
                  </a:lnTo>
                  <a:lnTo>
                    <a:pt x="1483043" y="158972"/>
                  </a:lnTo>
                  <a:lnTo>
                    <a:pt x="1464945" y="138113"/>
                  </a:lnTo>
                  <a:lnTo>
                    <a:pt x="1443990" y="130397"/>
                  </a:lnTo>
                  <a:lnTo>
                    <a:pt x="1433512" y="144685"/>
                  </a:lnTo>
                  <a:lnTo>
                    <a:pt x="1443990" y="162877"/>
                  </a:lnTo>
                  <a:lnTo>
                    <a:pt x="1429703" y="173260"/>
                  </a:lnTo>
                  <a:lnTo>
                    <a:pt x="1412558" y="165735"/>
                  </a:lnTo>
                  <a:lnTo>
                    <a:pt x="1402080" y="141922"/>
                  </a:lnTo>
                  <a:lnTo>
                    <a:pt x="1398270" y="113347"/>
                  </a:lnTo>
                  <a:lnTo>
                    <a:pt x="1383983" y="109538"/>
                  </a:lnTo>
                  <a:lnTo>
                    <a:pt x="1363028" y="113347"/>
                  </a:lnTo>
                  <a:lnTo>
                    <a:pt x="1356360" y="95250"/>
                  </a:lnTo>
                  <a:lnTo>
                    <a:pt x="1366837" y="84772"/>
                  </a:lnTo>
                  <a:lnTo>
                    <a:pt x="1363028" y="71438"/>
                  </a:lnTo>
                  <a:lnTo>
                    <a:pt x="1344930" y="46672"/>
                  </a:lnTo>
                  <a:lnTo>
                    <a:pt x="1342073" y="36100"/>
                  </a:lnTo>
                  <a:lnTo>
                    <a:pt x="1321118" y="7525"/>
                  </a:lnTo>
                  <a:lnTo>
                    <a:pt x="1288733" y="0"/>
                  </a:lnTo>
                  <a:lnTo>
                    <a:pt x="1271587" y="7525"/>
                  </a:lnTo>
                  <a:lnTo>
                    <a:pt x="1263968" y="21812"/>
                  </a:lnTo>
                  <a:lnTo>
                    <a:pt x="1246823" y="21812"/>
                  </a:lnTo>
                  <a:lnTo>
                    <a:pt x="1240155" y="46672"/>
                  </a:lnTo>
                  <a:lnTo>
                    <a:pt x="1253490" y="57150"/>
                  </a:lnTo>
                  <a:lnTo>
                    <a:pt x="1240155" y="78010"/>
                  </a:lnTo>
                  <a:lnTo>
                    <a:pt x="1246823" y="92297"/>
                  </a:lnTo>
                  <a:lnTo>
                    <a:pt x="1271587" y="106585"/>
                  </a:lnTo>
                  <a:lnTo>
                    <a:pt x="1303020" y="113347"/>
                  </a:lnTo>
                  <a:lnTo>
                    <a:pt x="1321118" y="138113"/>
                  </a:lnTo>
                  <a:lnTo>
                    <a:pt x="1323975" y="158972"/>
                  </a:lnTo>
                  <a:lnTo>
                    <a:pt x="1306830" y="180022"/>
                  </a:lnTo>
                  <a:lnTo>
                    <a:pt x="1271587" y="190500"/>
                  </a:lnTo>
                  <a:lnTo>
                    <a:pt x="1274445" y="212312"/>
                  </a:lnTo>
                  <a:lnTo>
                    <a:pt x="1274445" y="237172"/>
                  </a:lnTo>
                  <a:lnTo>
                    <a:pt x="1261110" y="237172"/>
                  </a:lnTo>
                  <a:lnTo>
                    <a:pt x="1250633" y="222885"/>
                  </a:lnTo>
                  <a:lnTo>
                    <a:pt x="1240155" y="204788"/>
                  </a:lnTo>
                  <a:lnTo>
                    <a:pt x="1246823" y="198025"/>
                  </a:lnTo>
                  <a:lnTo>
                    <a:pt x="1225868" y="177165"/>
                  </a:lnTo>
                  <a:lnTo>
                    <a:pt x="1204912" y="169450"/>
                  </a:lnTo>
                  <a:lnTo>
                    <a:pt x="1193483" y="173260"/>
                  </a:lnTo>
                  <a:lnTo>
                    <a:pt x="1190625" y="187547"/>
                  </a:lnTo>
                  <a:lnTo>
                    <a:pt x="1211580" y="190500"/>
                  </a:lnTo>
                  <a:lnTo>
                    <a:pt x="1222058" y="198025"/>
                  </a:lnTo>
                  <a:lnTo>
                    <a:pt x="1211580" y="208597"/>
                  </a:lnTo>
                  <a:lnTo>
                    <a:pt x="1176337" y="204788"/>
                  </a:lnTo>
                  <a:lnTo>
                    <a:pt x="1137285" y="204788"/>
                  </a:lnTo>
                  <a:lnTo>
                    <a:pt x="1095375" y="204788"/>
                  </a:lnTo>
                  <a:lnTo>
                    <a:pt x="1056323" y="198025"/>
                  </a:lnTo>
                  <a:lnTo>
                    <a:pt x="1018223" y="183737"/>
                  </a:lnTo>
                  <a:lnTo>
                    <a:pt x="985837" y="165735"/>
                  </a:lnTo>
                  <a:lnTo>
                    <a:pt x="943928" y="183737"/>
                  </a:lnTo>
                  <a:lnTo>
                    <a:pt x="925830" y="194310"/>
                  </a:lnTo>
                  <a:lnTo>
                    <a:pt x="933450" y="212312"/>
                  </a:lnTo>
                  <a:lnTo>
                    <a:pt x="940118" y="243840"/>
                  </a:lnTo>
                  <a:lnTo>
                    <a:pt x="929640" y="250412"/>
                  </a:lnTo>
                  <a:lnTo>
                    <a:pt x="915353" y="229552"/>
                  </a:lnTo>
                  <a:lnTo>
                    <a:pt x="887730" y="212312"/>
                  </a:lnTo>
                  <a:lnTo>
                    <a:pt x="856298" y="194310"/>
                  </a:lnTo>
                  <a:lnTo>
                    <a:pt x="842010" y="201835"/>
                  </a:lnTo>
                  <a:lnTo>
                    <a:pt x="802957" y="204788"/>
                  </a:lnTo>
                  <a:lnTo>
                    <a:pt x="750570" y="208597"/>
                  </a:lnTo>
                  <a:lnTo>
                    <a:pt x="721995" y="194310"/>
                  </a:lnTo>
                  <a:lnTo>
                    <a:pt x="725805" y="180022"/>
                  </a:lnTo>
                  <a:lnTo>
                    <a:pt x="746760" y="177165"/>
                  </a:lnTo>
                  <a:lnTo>
                    <a:pt x="742950" y="162877"/>
                  </a:lnTo>
                  <a:lnTo>
                    <a:pt x="711518" y="148590"/>
                  </a:lnTo>
                  <a:lnTo>
                    <a:pt x="672465" y="144685"/>
                  </a:lnTo>
                  <a:lnTo>
                    <a:pt x="620078" y="127635"/>
                  </a:lnTo>
                  <a:lnTo>
                    <a:pt x="577215" y="117062"/>
                  </a:lnTo>
                  <a:lnTo>
                    <a:pt x="531495" y="99060"/>
                  </a:lnTo>
                  <a:lnTo>
                    <a:pt x="496253" y="109538"/>
                  </a:lnTo>
                  <a:lnTo>
                    <a:pt x="475298" y="123825"/>
                  </a:lnTo>
                  <a:lnTo>
                    <a:pt x="461010" y="92297"/>
                  </a:lnTo>
                  <a:lnTo>
                    <a:pt x="450532" y="88487"/>
                  </a:lnTo>
                  <a:lnTo>
                    <a:pt x="429578" y="117062"/>
                  </a:lnTo>
                  <a:lnTo>
                    <a:pt x="404813" y="113347"/>
                  </a:lnTo>
                  <a:lnTo>
                    <a:pt x="383857" y="81915"/>
                  </a:lnTo>
                  <a:lnTo>
                    <a:pt x="366713" y="67627"/>
                  </a:lnTo>
                  <a:lnTo>
                    <a:pt x="338138" y="102775"/>
                  </a:lnTo>
                  <a:lnTo>
                    <a:pt x="317182" y="99060"/>
                  </a:lnTo>
                  <a:lnTo>
                    <a:pt x="313373" y="84772"/>
                  </a:lnTo>
                  <a:lnTo>
                    <a:pt x="285750" y="84772"/>
                  </a:lnTo>
                  <a:lnTo>
                    <a:pt x="242888" y="106585"/>
                  </a:lnTo>
                  <a:lnTo>
                    <a:pt x="203835" y="127635"/>
                  </a:lnTo>
                  <a:lnTo>
                    <a:pt x="193357" y="120015"/>
                  </a:lnTo>
                  <a:lnTo>
                    <a:pt x="176213" y="109538"/>
                  </a:lnTo>
                  <a:lnTo>
                    <a:pt x="144780" y="127635"/>
                  </a:lnTo>
                  <a:lnTo>
                    <a:pt x="147638" y="152400"/>
                  </a:lnTo>
                  <a:lnTo>
                    <a:pt x="84773" y="134302"/>
                  </a:lnTo>
                  <a:lnTo>
                    <a:pt x="31432" y="113347"/>
                  </a:lnTo>
                  <a:lnTo>
                    <a:pt x="0" y="109538"/>
                  </a:lnTo>
                  <a:lnTo>
                    <a:pt x="0" y="533305"/>
                  </a:lnTo>
                  <a:lnTo>
                    <a:pt x="18098" y="540067"/>
                  </a:lnTo>
                  <a:lnTo>
                    <a:pt x="31432" y="533305"/>
                  </a:lnTo>
                  <a:lnTo>
                    <a:pt x="45720" y="529590"/>
                  </a:lnTo>
                  <a:lnTo>
                    <a:pt x="60007" y="546735"/>
                  </a:lnTo>
                  <a:lnTo>
                    <a:pt x="87630" y="568642"/>
                  </a:lnTo>
                  <a:lnTo>
                    <a:pt x="101917" y="581978"/>
                  </a:lnTo>
                  <a:lnTo>
                    <a:pt x="120015" y="579025"/>
                  </a:lnTo>
                  <a:lnTo>
                    <a:pt x="122873" y="568642"/>
                  </a:lnTo>
                  <a:lnTo>
                    <a:pt x="137160" y="561023"/>
                  </a:lnTo>
                  <a:lnTo>
                    <a:pt x="155257" y="554355"/>
                  </a:lnTo>
                  <a:lnTo>
                    <a:pt x="176213" y="575310"/>
                  </a:lnTo>
                  <a:lnTo>
                    <a:pt x="193357" y="592455"/>
                  </a:lnTo>
                  <a:lnTo>
                    <a:pt x="221932" y="621030"/>
                  </a:lnTo>
                  <a:lnTo>
                    <a:pt x="239077" y="656273"/>
                  </a:lnTo>
                  <a:lnTo>
                    <a:pt x="257175" y="677228"/>
                  </a:lnTo>
                  <a:lnTo>
                    <a:pt x="263842" y="680942"/>
                  </a:lnTo>
                  <a:lnTo>
                    <a:pt x="278130" y="691515"/>
                  </a:lnTo>
                  <a:lnTo>
                    <a:pt x="302895" y="705803"/>
                  </a:lnTo>
                  <a:lnTo>
                    <a:pt x="306705" y="720090"/>
                  </a:lnTo>
                  <a:lnTo>
                    <a:pt x="313373" y="722948"/>
                  </a:lnTo>
                  <a:lnTo>
                    <a:pt x="317182" y="740950"/>
                  </a:lnTo>
                  <a:lnTo>
                    <a:pt x="306705" y="761905"/>
                  </a:lnTo>
                  <a:lnTo>
                    <a:pt x="306705" y="772478"/>
                  </a:lnTo>
                  <a:lnTo>
                    <a:pt x="302895" y="786765"/>
                  </a:lnTo>
                  <a:lnTo>
                    <a:pt x="302895" y="807625"/>
                  </a:lnTo>
                  <a:lnTo>
                    <a:pt x="317182" y="807625"/>
                  </a:lnTo>
                  <a:lnTo>
                    <a:pt x="331470" y="797242"/>
                  </a:lnTo>
                  <a:lnTo>
                    <a:pt x="341948" y="790480"/>
                  </a:lnTo>
                  <a:lnTo>
                    <a:pt x="344805" y="804767"/>
                  </a:lnTo>
                  <a:lnTo>
                    <a:pt x="334328" y="821912"/>
                  </a:lnTo>
                  <a:lnTo>
                    <a:pt x="331470" y="836200"/>
                  </a:lnTo>
                  <a:lnTo>
                    <a:pt x="344805" y="828580"/>
                  </a:lnTo>
                  <a:lnTo>
                    <a:pt x="355282" y="832485"/>
                  </a:lnTo>
                  <a:lnTo>
                    <a:pt x="362903" y="842867"/>
                  </a:lnTo>
                  <a:lnTo>
                    <a:pt x="366713" y="857155"/>
                  </a:lnTo>
                  <a:lnTo>
                    <a:pt x="366713" y="871442"/>
                  </a:lnTo>
                  <a:lnTo>
                    <a:pt x="380048" y="871442"/>
                  </a:lnTo>
                  <a:lnTo>
                    <a:pt x="383857" y="882015"/>
                  </a:lnTo>
                  <a:lnTo>
                    <a:pt x="377190" y="900017"/>
                  </a:lnTo>
                  <a:lnTo>
                    <a:pt x="408623" y="902875"/>
                  </a:lnTo>
                  <a:lnTo>
                    <a:pt x="429578" y="917162"/>
                  </a:lnTo>
                  <a:lnTo>
                    <a:pt x="440055" y="910590"/>
                  </a:lnTo>
                  <a:lnTo>
                    <a:pt x="450532" y="927735"/>
                  </a:lnTo>
                  <a:lnTo>
                    <a:pt x="468630" y="945737"/>
                  </a:lnTo>
                  <a:lnTo>
                    <a:pt x="479107" y="938117"/>
                  </a:lnTo>
                  <a:lnTo>
                    <a:pt x="496253" y="956310"/>
                  </a:lnTo>
                  <a:lnTo>
                    <a:pt x="510540" y="973455"/>
                  </a:lnTo>
                  <a:lnTo>
                    <a:pt x="1267778" y="973455"/>
                  </a:lnTo>
                  <a:lnTo>
                    <a:pt x="1271587" y="95916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54" name="Freeform: Shape 3853">
              <a:extLst>
                <a:ext uri="{FF2B5EF4-FFF2-40B4-BE49-F238E27FC236}">
                  <a16:creationId xmlns:a16="http://schemas.microsoft.com/office/drawing/2014/main" id="{88CE59F4-D652-67B2-FDBB-77273F69801C}"/>
                </a:ext>
              </a:extLst>
            </p:cNvPr>
            <p:cNvSpPr/>
            <p:nvPr/>
          </p:nvSpPr>
          <p:spPr>
            <a:xfrm>
              <a:off x="2585758" y="3071243"/>
              <a:ext cx="1574258" cy="774998"/>
            </a:xfrm>
            <a:custGeom>
              <a:avLst/>
              <a:gdLst>
                <a:gd name="connsiteX0" fmla="*/ 1400175 w 1605914"/>
                <a:gd name="connsiteY0" fmla="*/ 308610 h 790575"/>
                <a:gd name="connsiteX1" fmla="*/ 1415415 w 1605914"/>
                <a:gd name="connsiteY1" fmla="*/ 293275 h 790575"/>
                <a:gd name="connsiteX2" fmla="*/ 1446848 w 1605914"/>
                <a:gd name="connsiteY2" fmla="*/ 285750 h 790575"/>
                <a:gd name="connsiteX3" fmla="*/ 1475423 w 1605914"/>
                <a:gd name="connsiteY3" fmla="*/ 278987 h 790575"/>
                <a:gd name="connsiteX4" fmla="*/ 1492568 w 1605914"/>
                <a:gd name="connsiteY4" fmla="*/ 272320 h 790575"/>
                <a:gd name="connsiteX5" fmla="*/ 1503045 w 1605914"/>
                <a:gd name="connsiteY5" fmla="*/ 272320 h 790575"/>
                <a:gd name="connsiteX6" fmla="*/ 1517333 w 1605914"/>
                <a:gd name="connsiteY6" fmla="*/ 260985 h 790575"/>
                <a:gd name="connsiteX7" fmla="*/ 1503045 w 1605914"/>
                <a:gd name="connsiteY7" fmla="*/ 258032 h 790575"/>
                <a:gd name="connsiteX8" fmla="*/ 1496377 w 1605914"/>
                <a:gd name="connsiteY8" fmla="*/ 250412 h 790575"/>
                <a:gd name="connsiteX9" fmla="*/ 1496377 w 1605914"/>
                <a:gd name="connsiteY9" fmla="*/ 237173 h 790575"/>
                <a:gd name="connsiteX10" fmla="*/ 1510665 w 1605914"/>
                <a:gd name="connsiteY10" fmla="*/ 219075 h 790575"/>
                <a:gd name="connsiteX11" fmla="*/ 1521143 w 1605914"/>
                <a:gd name="connsiteY11" fmla="*/ 194310 h 790575"/>
                <a:gd name="connsiteX12" fmla="*/ 1538287 w 1605914"/>
                <a:gd name="connsiteY12" fmla="*/ 183737 h 790575"/>
                <a:gd name="connsiteX13" fmla="*/ 1556385 w 1605914"/>
                <a:gd name="connsiteY13" fmla="*/ 173355 h 790575"/>
                <a:gd name="connsiteX14" fmla="*/ 1577340 w 1605914"/>
                <a:gd name="connsiteY14" fmla="*/ 169450 h 790575"/>
                <a:gd name="connsiteX15" fmla="*/ 1598295 w 1605914"/>
                <a:gd name="connsiteY15" fmla="*/ 169450 h 790575"/>
                <a:gd name="connsiteX16" fmla="*/ 1605915 w 1605914"/>
                <a:gd name="connsiteY16" fmla="*/ 159068 h 790575"/>
                <a:gd name="connsiteX17" fmla="*/ 1598295 w 1605914"/>
                <a:gd name="connsiteY17" fmla="*/ 144780 h 790575"/>
                <a:gd name="connsiteX18" fmla="*/ 1587818 w 1605914"/>
                <a:gd name="connsiteY18" fmla="*/ 134207 h 790575"/>
                <a:gd name="connsiteX19" fmla="*/ 1584960 w 1605914"/>
                <a:gd name="connsiteY19" fmla="*/ 119920 h 790575"/>
                <a:gd name="connsiteX20" fmla="*/ 1587818 w 1605914"/>
                <a:gd name="connsiteY20" fmla="*/ 92393 h 790575"/>
                <a:gd name="connsiteX21" fmla="*/ 1584960 w 1605914"/>
                <a:gd name="connsiteY21" fmla="*/ 78105 h 790575"/>
                <a:gd name="connsiteX22" fmla="*/ 1560195 w 1605914"/>
                <a:gd name="connsiteY22" fmla="*/ 71438 h 790575"/>
                <a:gd name="connsiteX23" fmla="*/ 1545908 w 1605914"/>
                <a:gd name="connsiteY23" fmla="*/ 63818 h 790575"/>
                <a:gd name="connsiteX24" fmla="*/ 1531620 w 1605914"/>
                <a:gd name="connsiteY24" fmla="*/ 78105 h 790575"/>
                <a:gd name="connsiteX25" fmla="*/ 1517333 w 1605914"/>
                <a:gd name="connsiteY25" fmla="*/ 102775 h 790575"/>
                <a:gd name="connsiteX26" fmla="*/ 1510665 w 1605914"/>
                <a:gd name="connsiteY26" fmla="*/ 130493 h 790575"/>
                <a:gd name="connsiteX27" fmla="*/ 1500187 w 1605914"/>
                <a:gd name="connsiteY27" fmla="*/ 144780 h 790575"/>
                <a:gd name="connsiteX28" fmla="*/ 1479233 w 1605914"/>
                <a:gd name="connsiteY28" fmla="*/ 155162 h 790575"/>
                <a:gd name="connsiteX29" fmla="*/ 1376362 w 1605914"/>
                <a:gd name="connsiteY29" fmla="*/ 155162 h 790575"/>
                <a:gd name="connsiteX30" fmla="*/ 1348740 w 1605914"/>
                <a:gd name="connsiteY30" fmla="*/ 177070 h 790575"/>
                <a:gd name="connsiteX31" fmla="*/ 1348740 w 1605914"/>
                <a:gd name="connsiteY31" fmla="*/ 198025 h 790575"/>
                <a:gd name="connsiteX32" fmla="*/ 1330643 w 1605914"/>
                <a:gd name="connsiteY32" fmla="*/ 212312 h 790575"/>
                <a:gd name="connsiteX33" fmla="*/ 1309687 w 1605914"/>
                <a:gd name="connsiteY33" fmla="*/ 215170 h 790575"/>
                <a:gd name="connsiteX34" fmla="*/ 1270635 w 1605914"/>
                <a:gd name="connsiteY34" fmla="*/ 212312 h 790575"/>
                <a:gd name="connsiteX35" fmla="*/ 1267777 w 1605914"/>
                <a:gd name="connsiteY35" fmla="*/ 219075 h 790575"/>
                <a:gd name="connsiteX36" fmla="*/ 1270635 w 1605914"/>
                <a:gd name="connsiteY36" fmla="*/ 225743 h 790575"/>
                <a:gd name="connsiteX37" fmla="*/ 1269683 w 1605914"/>
                <a:gd name="connsiteY37" fmla="*/ 226600 h 790575"/>
                <a:gd name="connsiteX38" fmla="*/ 1270635 w 1605914"/>
                <a:gd name="connsiteY38" fmla="*/ 229457 h 790575"/>
                <a:gd name="connsiteX39" fmla="*/ 1267777 w 1605914"/>
                <a:gd name="connsiteY39" fmla="*/ 240030 h 790575"/>
                <a:gd name="connsiteX40" fmla="*/ 1257300 w 1605914"/>
                <a:gd name="connsiteY40" fmla="*/ 243745 h 790575"/>
                <a:gd name="connsiteX41" fmla="*/ 1235393 w 1605914"/>
                <a:gd name="connsiteY41" fmla="*/ 254318 h 790575"/>
                <a:gd name="connsiteX42" fmla="*/ 1214438 w 1605914"/>
                <a:gd name="connsiteY42" fmla="*/ 260985 h 790575"/>
                <a:gd name="connsiteX43" fmla="*/ 1193483 w 1605914"/>
                <a:gd name="connsiteY43" fmla="*/ 272320 h 790575"/>
                <a:gd name="connsiteX44" fmla="*/ 1162050 w 1605914"/>
                <a:gd name="connsiteY44" fmla="*/ 272320 h 790575"/>
                <a:gd name="connsiteX45" fmla="*/ 1147763 w 1605914"/>
                <a:gd name="connsiteY45" fmla="*/ 260985 h 790575"/>
                <a:gd name="connsiteX46" fmla="*/ 1154430 w 1605914"/>
                <a:gd name="connsiteY46" fmla="*/ 247650 h 790575"/>
                <a:gd name="connsiteX47" fmla="*/ 1162050 w 1605914"/>
                <a:gd name="connsiteY47" fmla="*/ 240030 h 790575"/>
                <a:gd name="connsiteX48" fmla="*/ 1162050 w 1605914"/>
                <a:gd name="connsiteY48" fmla="*/ 240030 h 790575"/>
                <a:gd name="connsiteX49" fmla="*/ 1165860 w 1605914"/>
                <a:gd name="connsiteY49" fmla="*/ 237173 h 790575"/>
                <a:gd name="connsiteX50" fmla="*/ 1165860 w 1605914"/>
                <a:gd name="connsiteY50" fmla="*/ 222885 h 790575"/>
                <a:gd name="connsiteX51" fmla="*/ 1168718 w 1605914"/>
                <a:gd name="connsiteY51" fmla="*/ 212312 h 790575"/>
                <a:gd name="connsiteX52" fmla="*/ 1168718 w 1605914"/>
                <a:gd name="connsiteY52" fmla="*/ 194310 h 790575"/>
                <a:gd name="connsiteX53" fmla="*/ 1158240 w 1605914"/>
                <a:gd name="connsiteY53" fmla="*/ 190500 h 790575"/>
                <a:gd name="connsiteX54" fmla="*/ 1147763 w 1605914"/>
                <a:gd name="connsiteY54" fmla="*/ 198025 h 790575"/>
                <a:gd name="connsiteX55" fmla="*/ 1137285 w 1605914"/>
                <a:gd name="connsiteY55" fmla="*/ 204788 h 790575"/>
                <a:gd name="connsiteX56" fmla="*/ 1133475 w 1605914"/>
                <a:gd name="connsiteY56" fmla="*/ 198025 h 790575"/>
                <a:gd name="connsiteX57" fmla="*/ 1141095 w 1605914"/>
                <a:gd name="connsiteY57" fmla="*/ 190500 h 790575"/>
                <a:gd name="connsiteX58" fmla="*/ 1147763 w 1605914"/>
                <a:gd name="connsiteY58" fmla="*/ 177070 h 790575"/>
                <a:gd name="connsiteX59" fmla="*/ 1151573 w 1605914"/>
                <a:gd name="connsiteY59" fmla="*/ 159068 h 790575"/>
                <a:gd name="connsiteX60" fmla="*/ 1143953 w 1605914"/>
                <a:gd name="connsiteY60" fmla="*/ 144780 h 790575"/>
                <a:gd name="connsiteX61" fmla="*/ 1126808 w 1605914"/>
                <a:gd name="connsiteY61" fmla="*/ 141923 h 790575"/>
                <a:gd name="connsiteX62" fmla="*/ 1112520 w 1605914"/>
                <a:gd name="connsiteY62" fmla="*/ 134207 h 790575"/>
                <a:gd name="connsiteX63" fmla="*/ 1098233 w 1605914"/>
                <a:gd name="connsiteY63" fmla="*/ 138113 h 790575"/>
                <a:gd name="connsiteX64" fmla="*/ 1091565 w 1605914"/>
                <a:gd name="connsiteY64" fmla="*/ 148495 h 790575"/>
                <a:gd name="connsiteX65" fmla="*/ 1084898 w 1605914"/>
                <a:gd name="connsiteY65" fmla="*/ 155162 h 790575"/>
                <a:gd name="connsiteX66" fmla="*/ 1073468 w 1605914"/>
                <a:gd name="connsiteY66" fmla="*/ 155162 h 790575"/>
                <a:gd name="connsiteX67" fmla="*/ 1070610 w 1605914"/>
                <a:gd name="connsiteY67" fmla="*/ 162782 h 790575"/>
                <a:gd name="connsiteX68" fmla="*/ 1070610 w 1605914"/>
                <a:gd name="connsiteY68" fmla="*/ 177070 h 790575"/>
                <a:gd name="connsiteX69" fmla="*/ 1070610 w 1605914"/>
                <a:gd name="connsiteY69" fmla="*/ 198025 h 790575"/>
                <a:gd name="connsiteX70" fmla="*/ 1070610 w 1605914"/>
                <a:gd name="connsiteY70" fmla="*/ 215170 h 790575"/>
                <a:gd name="connsiteX71" fmla="*/ 1070610 w 1605914"/>
                <a:gd name="connsiteY71" fmla="*/ 237173 h 790575"/>
                <a:gd name="connsiteX72" fmla="*/ 1062990 w 1605914"/>
                <a:gd name="connsiteY72" fmla="*/ 254318 h 790575"/>
                <a:gd name="connsiteX73" fmla="*/ 1045845 w 1605914"/>
                <a:gd name="connsiteY73" fmla="*/ 268605 h 790575"/>
                <a:gd name="connsiteX74" fmla="*/ 1027747 w 1605914"/>
                <a:gd name="connsiteY74" fmla="*/ 272320 h 790575"/>
                <a:gd name="connsiteX75" fmla="*/ 1021080 w 1605914"/>
                <a:gd name="connsiteY75" fmla="*/ 247650 h 790575"/>
                <a:gd name="connsiteX76" fmla="*/ 1021080 w 1605914"/>
                <a:gd name="connsiteY76" fmla="*/ 225743 h 790575"/>
                <a:gd name="connsiteX77" fmla="*/ 1027747 w 1605914"/>
                <a:gd name="connsiteY77" fmla="*/ 183737 h 790575"/>
                <a:gd name="connsiteX78" fmla="*/ 1042035 w 1605914"/>
                <a:gd name="connsiteY78" fmla="*/ 152400 h 790575"/>
                <a:gd name="connsiteX79" fmla="*/ 1035368 w 1605914"/>
                <a:gd name="connsiteY79" fmla="*/ 165735 h 790575"/>
                <a:gd name="connsiteX80" fmla="*/ 1021080 w 1605914"/>
                <a:gd name="connsiteY80" fmla="*/ 169450 h 790575"/>
                <a:gd name="connsiteX81" fmla="*/ 1017270 w 1605914"/>
                <a:gd name="connsiteY81" fmla="*/ 155162 h 790575"/>
                <a:gd name="connsiteX82" fmla="*/ 1035368 w 1605914"/>
                <a:gd name="connsiteY82" fmla="*/ 141923 h 790575"/>
                <a:gd name="connsiteX83" fmla="*/ 1049655 w 1605914"/>
                <a:gd name="connsiteY83" fmla="*/ 127635 h 790575"/>
                <a:gd name="connsiteX84" fmla="*/ 1056323 w 1605914"/>
                <a:gd name="connsiteY84" fmla="*/ 119920 h 790575"/>
                <a:gd name="connsiteX85" fmla="*/ 1062990 w 1605914"/>
                <a:gd name="connsiteY85" fmla="*/ 127635 h 790575"/>
                <a:gd name="connsiteX86" fmla="*/ 1073468 w 1605914"/>
                <a:gd name="connsiteY86" fmla="*/ 123825 h 790575"/>
                <a:gd name="connsiteX87" fmla="*/ 1087755 w 1605914"/>
                <a:gd name="connsiteY87" fmla="*/ 113348 h 790575"/>
                <a:gd name="connsiteX88" fmla="*/ 1105853 w 1605914"/>
                <a:gd name="connsiteY88" fmla="*/ 113348 h 790575"/>
                <a:gd name="connsiteX89" fmla="*/ 1119188 w 1605914"/>
                <a:gd name="connsiteY89" fmla="*/ 119920 h 790575"/>
                <a:gd name="connsiteX90" fmla="*/ 1119188 w 1605914"/>
                <a:gd name="connsiteY90" fmla="*/ 113348 h 790575"/>
                <a:gd name="connsiteX91" fmla="*/ 1105853 w 1605914"/>
                <a:gd name="connsiteY91" fmla="*/ 102775 h 790575"/>
                <a:gd name="connsiteX92" fmla="*/ 1095375 w 1605914"/>
                <a:gd name="connsiteY92" fmla="*/ 95250 h 790575"/>
                <a:gd name="connsiteX93" fmla="*/ 1077278 w 1605914"/>
                <a:gd name="connsiteY93" fmla="*/ 99060 h 790575"/>
                <a:gd name="connsiteX94" fmla="*/ 1062990 w 1605914"/>
                <a:gd name="connsiteY94" fmla="*/ 99060 h 790575"/>
                <a:gd name="connsiteX95" fmla="*/ 1045845 w 1605914"/>
                <a:gd name="connsiteY95" fmla="*/ 102775 h 790575"/>
                <a:gd name="connsiteX96" fmla="*/ 1027747 w 1605914"/>
                <a:gd name="connsiteY96" fmla="*/ 95250 h 790575"/>
                <a:gd name="connsiteX97" fmla="*/ 1010603 w 1605914"/>
                <a:gd name="connsiteY97" fmla="*/ 84773 h 790575"/>
                <a:gd name="connsiteX98" fmla="*/ 1002983 w 1605914"/>
                <a:gd name="connsiteY98" fmla="*/ 74200 h 790575"/>
                <a:gd name="connsiteX99" fmla="*/ 989647 w 1605914"/>
                <a:gd name="connsiteY99" fmla="*/ 84773 h 790575"/>
                <a:gd name="connsiteX100" fmla="*/ 982028 w 1605914"/>
                <a:gd name="connsiteY100" fmla="*/ 92393 h 790575"/>
                <a:gd name="connsiteX101" fmla="*/ 971550 w 1605914"/>
                <a:gd name="connsiteY101" fmla="*/ 99060 h 790575"/>
                <a:gd name="connsiteX102" fmla="*/ 950595 w 1605914"/>
                <a:gd name="connsiteY102" fmla="*/ 99060 h 790575"/>
                <a:gd name="connsiteX103" fmla="*/ 925830 w 1605914"/>
                <a:gd name="connsiteY103" fmla="*/ 99060 h 790575"/>
                <a:gd name="connsiteX104" fmla="*/ 908685 w 1605914"/>
                <a:gd name="connsiteY104" fmla="*/ 92393 h 790575"/>
                <a:gd name="connsiteX105" fmla="*/ 915353 w 1605914"/>
                <a:gd name="connsiteY105" fmla="*/ 84773 h 790575"/>
                <a:gd name="connsiteX106" fmla="*/ 929640 w 1605914"/>
                <a:gd name="connsiteY106" fmla="*/ 71438 h 790575"/>
                <a:gd name="connsiteX107" fmla="*/ 943928 w 1605914"/>
                <a:gd name="connsiteY107" fmla="*/ 63818 h 790575"/>
                <a:gd name="connsiteX108" fmla="*/ 964883 w 1605914"/>
                <a:gd name="connsiteY108" fmla="*/ 57150 h 790575"/>
                <a:gd name="connsiteX109" fmla="*/ 967740 w 1605914"/>
                <a:gd name="connsiteY109" fmla="*/ 49530 h 790575"/>
                <a:gd name="connsiteX110" fmla="*/ 946785 w 1605914"/>
                <a:gd name="connsiteY110" fmla="*/ 46673 h 790575"/>
                <a:gd name="connsiteX111" fmla="*/ 940118 w 1605914"/>
                <a:gd name="connsiteY111" fmla="*/ 46673 h 790575"/>
                <a:gd name="connsiteX112" fmla="*/ 925830 w 1605914"/>
                <a:gd name="connsiteY112" fmla="*/ 42863 h 790575"/>
                <a:gd name="connsiteX113" fmla="*/ 919163 w 1605914"/>
                <a:gd name="connsiteY113" fmla="*/ 42863 h 790575"/>
                <a:gd name="connsiteX114" fmla="*/ 901065 w 1605914"/>
                <a:gd name="connsiteY114" fmla="*/ 35243 h 790575"/>
                <a:gd name="connsiteX115" fmla="*/ 859155 w 1605914"/>
                <a:gd name="connsiteY115" fmla="*/ 28575 h 790575"/>
                <a:gd name="connsiteX116" fmla="*/ 838200 w 1605914"/>
                <a:gd name="connsiteY116" fmla="*/ 21812 h 790575"/>
                <a:gd name="connsiteX117" fmla="*/ 830580 w 1605914"/>
                <a:gd name="connsiteY117" fmla="*/ 14288 h 790575"/>
                <a:gd name="connsiteX118" fmla="*/ 827722 w 1605914"/>
                <a:gd name="connsiteY118" fmla="*/ 0 h 790575"/>
                <a:gd name="connsiteX119" fmla="*/ 813435 w 1605914"/>
                <a:gd name="connsiteY119" fmla="*/ 0 h 790575"/>
                <a:gd name="connsiteX120" fmla="*/ 809625 w 1605914"/>
                <a:gd name="connsiteY120" fmla="*/ 14288 h 790575"/>
                <a:gd name="connsiteX121" fmla="*/ 52388 w 1605914"/>
                <a:gd name="connsiteY121" fmla="*/ 14288 h 790575"/>
                <a:gd name="connsiteX122" fmla="*/ 52388 w 1605914"/>
                <a:gd name="connsiteY122" fmla="*/ 35243 h 790575"/>
                <a:gd name="connsiteX123" fmla="*/ 62865 w 1605914"/>
                <a:gd name="connsiteY123" fmla="*/ 49530 h 790575"/>
                <a:gd name="connsiteX124" fmla="*/ 60008 w 1605914"/>
                <a:gd name="connsiteY124" fmla="*/ 67532 h 790575"/>
                <a:gd name="connsiteX125" fmla="*/ 48578 w 1605914"/>
                <a:gd name="connsiteY125" fmla="*/ 78105 h 790575"/>
                <a:gd name="connsiteX126" fmla="*/ 45720 w 1605914"/>
                <a:gd name="connsiteY126" fmla="*/ 67532 h 790575"/>
                <a:gd name="connsiteX127" fmla="*/ 41910 w 1605914"/>
                <a:gd name="connsiteY127" fmla="*/ 53245 h 790575"/>
                <a:gd name="connsiteX128" fmla="*/ 31433 w 1605914"/>
                <a:gd name="connsiteY128" fmla="*/ 49530 h 790575"/>
                <a:gd name="connsiteX129" fmla="*/ 13335 w 1605914"/>
                <a:gd name="connsiteY129" fmla="*/ 42863 h 790575"/>
                <a:gd name="connsiteX130" fmla="*/ 0 w 1605914"/>
                <a:gd name="connsiteY130" fmla="*/ 49530 h 790575"/>
                <a:gd name="connsiteX131" fmla="*/ 6667 w 1605914"/>
                <a:gd name="connsiteY131" fmla="*/ 67532 h 790575"/>
                <a:gd name="connsiteX132" fmla="*/ 13335 w 1605914"/>
                <a:gd name="connsiteY132" fmla="*/ 74200 h 790575"/>
                <a:gd name="connsiteX133" fmla="*/ 10477 w 1605914"/>
                <a:gd name="connsiteY133" fmla="*/ 84773 h 790575"/>
                <a:gd name="connsiteX134" fmla="*/ 17145 w 1605914"/>
                <a:gd name="connsiteY134" fmla="*/ 95250 h 790575"/>
                <a:gd name="connsiteX135" fmla="*/ 27622 w 1605914"/>
                <a:gd name="connsiteY135" fmla="*/ 113348 h 790575"/>
                <a:gd name="connsiteX136" fmla="*/ 17145 w 1605914"/>
                <a:gd name="connsiteY136" fmla="*/ 113348 h 790575"/>
                <a:gd name="connsiteX137" fmla="*/ 10477 w 1605914"/>
                <a:gd name="connsiteY137" fmla="*/ 198025 h 790575"/>
                <a:gd name="connsiteX138" fmla="*/ 2858 w 1605914"/>
                <a:gd name="connsiteY138" fmla="*/ 215170 h 790575"/>
                <a:gd name="connsiteX139" fmla="*/ 10477 w 1605914"/>
                <a:gd name="connsiteY139" fmla="*/ 260985 h 790575"/>
                <a:gd name="connsiteX140" fmla="*/ 2858 w 1605914"/>
                <a:gd name="connsiteY140" fmla="*/ 300038 h 790575"/>
                <a:gd name="connsiteX141" fmla="*/ 2858 w 1605914"/>
                <a:gd name="connsiteY141" fmla="*/ 314325 h 790575"/>
                <a:gd name="connsiteX142" fmla="*/ 17145 w 1605914"/>
                <a:gd name="connsiteY142" fmla="*/ 328613 h 790575"/>
                <a:gd name="connsiteX143" fmla="*/ 17145 w 1605914"/>
                <a:gd name="connsiteY143" fmla="*/ 349568 h 790575"/>
                <a:gd name="connsiteX144" fmla="*/ 31433 w 1605914"/>
                <a:gd name="connsiteY144" fmla="*/ 370523 h 790575"/>
                <a:gd name="connsiteX145" fmla="*/ 45720 w 1605914"/>
                <a:gd name="connsiteY145" fmla="*/ 384810 h 790575"/>
                <a:gd name="connsiteX146" fmla="*/ 66675 w 1605914"/>
                <a:gd name="connsiteY146" fmla="*/ 384810 h 790575"/>
                <a:gd name="connsiteX147" fmla="*/ 56197 w 1605914"/>
                <a:gd name="connsiteY147" fmla="*/ 402812 h 790575"/>
                <a:gd name="connsiteX148" fmla="*/ 62865 w 1605914"/>
                <a:gd name="connsiteY148" fmla="*/ 419957 h 790575"/>
                <a:gd name="connsiteX149" fmla="*/ 73342 w 1605914"/>
                <a:gd name="connsiteY149" fmla="*/ 426625 h 790575"/>
                <a:gd name="connsiteX150" fmla="*/ 66675 w 1605914"/>
                <a:gd name="connsiteY150" fmla="*/ 438150 h 790575"/>
                <a:gd name="connsiteX151" fmla="*/ 83820 w 1605914"/>
                <a:gd name="connsiteY151" fmla="*/ 455200 h 790575"/>
                <a:gd name="connsiteX152" fmla="*/ 101917 w 1605914"/>
                <a:gd name="connsiteY152" fmla="*/ 480060 h 790575"/>
                <a:gd name="connsiteX153" fmla="*/ 105728 w 1605914"/>
                <a:gd name="connsiteY153" fmla="*/ 504825 h 790575"/>
                <a:gd name="connsiteX154" fmla="*/ 130492 w 1605914"/>
                <a:gd name="connsiteY154" fmla="*/ 497110 h 790575"/>
                <a:gd name="connsiteX155" fmla="*/ 147638 w 1605914"/>
                <a:gd name="connsiteY155" fmla="*/ 511397 h 790575"/>
                <a:gd name="connsiteX156" fmla="*/ 172403 w 1605914"/>
                <a:gd name="connsiteY156" fmla="*/ 519113 h 790575"/>
                <a:gd name="connsiteX157" fmla="*/ 182880 w 1605914"/>
                <a:gd name="connsiteY157" fmla="*/ 525685 h 790575"/>
                <a:gd name="connsiteX158" fmla="*/ 197167 w 1605914"/>
                <a:gd name="connsiteY158" fmla="*/ 539972 h 790575"/>
                <a:gd name="connsiteX159" fmla="*/ 203835 w 1605914"/>
                <a:gd name="connsiteY159" fmla="*/ 561023 h 790575"/>
                <a:gd name="connsiteX160" fmla="*/ 260033 w 1605914"/>
                <a:gd name="connsiteY160" fmla="*/ 557213 h 790575"/>
                <a:gd name="connsiteX161" fmla="*/ 292417 w 1605914"/>
                <a:gd name="connsiteY161" fmla="*/ 568547 h 790575"/>
                <a:gd name="connsiteX162" fmla="*/ 338138 w 1605914"/>
                <a:gd name="connsiteY162" fmla="*/ 589598 h 790575"/>
                <a:gd name="connsiteX163" fmla="*/ 365760 w 1605914"/>
                <a:gd name="connsiteY163" fmla="*/ 600075 h 790575"/>
                <a:gd name="connsiteX164" fmla="*/ 446722 w 1605914"/>
                <a:gd name="connsiteY164" fmla="*/ 600075 h 790575"/>
                <a:gd name="connsiteX165" fmla="*/ 461010 w 1605914"/>
                <a:gd name="connsiteY165" fmla="*/ 589598 h 790575"/>
                <a:gd name="connsiteX166" fmla="*/ 496253 w 1605914"/>
                <a:gd name="connsiteY166" fmla="*/ 581978 h 790575"/>
                <a:gd name="connsiteX167" fmla="*/ 531495 w 1605914"/>
                <a:gd name="connsiteY167" fmla="*/ 610553 h 790575"/>
                <a:gd name="connsiteX168" fmla="*/ 548640 w 1605914"/>
                <a:gd name="connsiteY168" fmla="*/ 624840 h 790575"/>
                <a:gd name="connsiteX169" fmla="*/ 552450 w 1605914"/>
                <a:gd name="connsiteY169" fmla="*/ 652463 h 790575"/>
                <a:gd name="connsiteX170" fmla="*/ 581025 w 1605914"/>
                <a:gd name="connsiteY170" fmla="*/ 670560 h 790575"/>
                <a:gd name="connsiteX171" fmla="*/ 601980 w 1605914"/>
                <a:gd name="connsiteY171" fmla="*/ 666750 h 790575"/>
                <a:gd name="connsiteX172" fmla="*/ 605790 w 1605914"/>
                <a:gd name="connsiteY172" fmla="*/ 649510 h 790575"/>
                <a:gd name="connsiteX173" fmla="*/ 619125 w 1605914"/>
                <a:gd name="connsiteY173" fmla="*/ 641985 h 790575"/>
                <a:gd name="connsiteX174" fmla="*/ 619125 w 1605914"/>
                <a:gd name="connsiteY174" fmla="*/ 641985 h 790575"/>
                <a:gd name="connsiteX175" fmla="*/ 619125 w 1605914"/>
                <a:gd name="connsiteY175" fmla="*/ 641985 h 790575"/>
                <a:gd name="connsiteX176" fmla="*/ 658178 w 1605914"/>
                <a:gd name="connsiteY176" fmla="*/ 659987 h 790575"/>
                <a:gd name="connsiteX177" fmla="*/ 668655 w 1605914"/>
                <a:gd name="connsiteY177" fmla="*/ 684848 h 790575"/>
                <a:gd name="connsiteX178" fmla="*/ 686753 w 1605914"/>
                <a:gd name="connsiteY178" fmla="*/ 705803 h 790575"/>
                <a:gd name="connsiteX179" fmla="*/ 700088 w 1605914"/>
                <a:gd name="connsiteY179" fmla="*/ 726662 h 790575"/>
                <a:gd name="connsiteX180" fmla="*/ 714375 w 1605914"/>
                <a:gd name="connsiteY180" fmla="*/ 747713 h 790575"/>
                <a:gd name="connsiteX181" fmla="*/ 742950 w 1605914"/>
                <a:gd name="connsiteY181" fmla="*/ 758190 h 790575"/>
                <a:gd name="connsiteX182" fmla="*/ 763905 w 1605914"/>
                <a:gd name="connsiteY182" fmla="*/ 762000 h 790575"/>
                <a:gd name="connsiteX183" fmla="*/ 757238 w 1605914"/>
                <a:gd name="connsiteY183" fmla="*/ 740950 h 790575"/>
                <a:gd name="connsiteX184" fmla="*/ 753428 w 1605914"/>
                <a:gd name="connsiteY184" fmla="*/ 720090 h 790575"/>
                <a:gd name="connsiteX185" fmla="*/ 760095 w 1605914"/>
                <a:gd name="connsiteY185" fmla="*/ 705803 h 790575"/>
                <a:gd name="connsiteX186" fmla="*/ 770572 w 1605914"/>
                <a:gd name="connsiteY186" fmla="*/ 695325 h 790575"/>
                <a:gd name="connsiteX187" fmla="*/ 778193 w 1605914"/>
                <a:gd name="connsiteY187" fmla="*/ 684848 h 790575"/>
                <a:gd name="connsiteX188" fmla="*/ 799147 w 1605914"/>
                <a:gd name="connsiteY188" fmla="*/ 684848 h 790575"/>
                <a:gd name="connsiteX189" fmla="*/ 809625 w 1605914"/>
                <a:gd name="connsiteY189" fmla="*/ 677228 h 790575"/>
                <a:gd name="connsiteX190" fmla="*/ 820103 w 1605914"/>
                <a:gd name="connsiteY190" fmla="*/ 666750 h 790575"/>
                <a:gd name="connsiteX191" fmla="*/ 827722 w 1605914"/>
                <a:gd name="connsiteY191" fmla="*/ 652463 h 790575"/>
                <a:gd name="connsiteX192" fmla="*/ 838200 w 1605914"/>
                <a:gd name="connsiteY192" fmla="*/ 659987 h 790575"/>
                <a:gd name="connsiteX193" fmla="*/ 851535 w 1605914"/>
                <a:gd name="connsiteY193" fmla="*/ 656273 h 790575"/>
                <a:gd name="connsiteX194" fmla="*/ 859155 w 1605914"/>
                <a:gd name="connsiteY194" fmla="*/ 645700 h 790575"/>
                <a:gd name="connsiteX195" fmla="*/ 876300 w 1605914"/>
                <a:gd name="connsiteY195" fmla="*/ 645700 h 790575"/>
                <a:gd name="connsiteX196" fmla="*/ 894397 w 1605914"/>
                <a:gd name="connsiteY196" fmla="*/ 656273 h 790575"/>
                <a:gd name="connsiteX197" fmla="*/ 901065 w 1605914"/>
                <a:gd name="connsiteY197" fmla="*/ 652463 h 790575"/>
                <a:gd name="connsiteX198" fmla="*/ 908685 w 1605914"/>
                <a:gd name="connsiteY198" fmla="*/ 649510 h 790575"/>
                <a:gd name="connsiteX199" fmla="*/ 925830 w 1605914"/>
                <a:gd name="connsiteY199" fmla="*/ 656273 h 790575"/>
                <a:gd name="connsiteX200" fmla="*/ 940118 w 1605914"/>
                <a:gd name="connsiteY200" fmla="*/ 666750 h 790575"/>
                <a:gd name="connsiteX201" fmla="*/ 957263 w 1605914"/>
                <a:gd name="connsiteY201" fmla="*/ 662940 h 790575"/>
                <a:gd name="connsiteX202" fmla="*/ 971550 w 1605914"/>
                <a:gd name="connsiteY202" fmla="*/ 662940 h 790575"/>
                <a:gd name="connsiteX203" fmla="*/ 985838 w 1605914"/>
                <a:gd name="connsiteY203" fmla="*/ 659987 h 790575"/>
                <a:gd name="connsiteX204" fmla="*/ 975360 w 1605914"/>
                <a:gd name="connsiteY204" fmla="*/ 649510 h 790575"/>
                <a:gd name="connsiteX205" fmla="*/ 964883 w 1605914"/>
                <a:gd name="connsiteY205" fmla="*/ 641985 h 790575"/>
                <a:gd name="connsiteX206" fmla="*/ 954405 w 1605914"/>
                <a:gd name="connsiteY206" fmla="*/ 631412 h 790575"/>
                <a:gd name="connsiteX207" fmla="*/ 971550 w 1605914"/>
                <a:gd name="connsiteY207" fmla="*/ 627698 h 790575"/>
                <a:gd name="connsiteX208" fmla="*/ 996315 w 1605914"/>
                <a:gd name="connsiteY208" fmla="*/ 624840 h 790575"/>
                <a:gd name="connsiteX209" fmla="*/ 1024890 w 1605914"/>
                <a:gd name="connsiteY209" fmla="*/ 624840 h 790575"/>
                <a:gd name="connsiteX210" fmla="*/ 1042035 w 1605914"/>
                <a:gd name="connsiteY210" fmla="*/ 631412 h 790575"/>
                <a:gd name="connsiteX211" fmla="*/ 1066800 w 1605914"/>
                <a:gd name="connsiteY211" fmla="*/ 635222 h 790575"/>
                <a:gd name="connsiteX212" fmla="*/ 1087755 w 1605914"/>
                <a:gd name="connsiteY212" fmla="*/ 639128 h 790575"/>
                <a:gd name="connsiteX213" fmla="*/ 1102043 w 1605914"/>
                <a:gd name="connsiteY213" fmla="*/ 656273 h 790575"/>
                <a:gd name="connsiteX214" fmla="*/ 1116330 w 1605914"/>
                <a:gd name="connsiteY214" fmla="*/ 641985 h 790575"/>
                <a:gd name="connsiteX215" fmla="*/ 1126808 w 1605914"/>
                <a:gd name="connsiteY215" fmla="*/ 639128 h 790575"/>
                <a:gd name="connsiteX216" fmla="*/ 1143953 w 1605914"/>
                <a:gd name="connsiteY216" fmla="*/ 645700 h 790575"/>
                <a:gd name="connsiteX217" fmla="*/ 1154430 w 1605914"/>
                <a:gd name="connsiteY217" fmla="*/ 659987 h 790575"/>
                <a:gd name="connsiteX218" fmla="*/ 1168718 w 1605914"/>
                <a:gd name="connsiteY218" fmla="*/ 674275 h 790575"/>
                <a:gd name="connsiteX219" fmla="*/ 1165860 w 1605914"/>
                <a:gd name="connsiteY219" fmla="*/ 691515 h 790575"/>
                <a:gd name="connsiteX220" fmla="*/ 1165860 w 1605914"/>
                <a:gd name="connsiteY220" fmla="*/ 712375 h 790575"/>
                <a:gd name="connsiteX221" fmla="*/ 1168718 w 1605914"/>
                <a:gd name="connsiteY221" fmla="*/ 734378 h 790575"/>
                <a:gd name="connsiteX222" fmla="*/ 1183005 w 1605914"/>
                <a:gd name="connsiteY222" fmla="*/ 744760 h 790575"/>
                <a:gd name="connsiteX223" fmla="*/ 1197293 w 1605914"/>
                <a:gd name="connsiteY223" fmla="*/ 755237 h 790575"/>
                <a:gd name="connsiteX224" fmla="*/ 1207770 w 1605914"/>
                <a:gd name="connsiteY224" fmla="*/ 776288 h 790575"/>
                <a:gd name="connsiteX225" fmla="*/ 1222058 w 1605914"/>
                <a:gd name="connsiteY225" fmla="*/ 790575 h 790575"/>
                <a:gd name="connsiteX226" fmla="*/ 1235393 w 1605914"/>
                <a:gd name="connsiteY226" fmla="*/ 790575 h 790575"/>
                <a:gd name="connsiteX227" fmla="*/ 1239203 w 1605914"/>
                <a:gd name="connsiteY227" fmla="*/ 776288 h 790575"/>
                <a:gd name="connsiteX228" fmla="*/ 1239203 w 1605914"/>
                <a:gd name="connsiteY228" fmla="*/ 747713 h 790575"/>
                <a:gd name="connsiteX229" fmla="*/ 1235393 w 1605914"/>
                <a:gd name="connsiteY229" fmla="*/ 716185 h 790575"/>
                <a:gd name="connsiteX230" fmla="*/ 1224915 w 1605914"/>
                <a:gd name="connsiteY230" fmla="*/ 691515 h 790575"/>
                <a:gd name="connsiteX231" fmla="*/ 1218248 w 1605914"/>
                <a:gd name="connsiteY231" fmla="*/ 666750 h 790575"/>
                <a:gd name="connsiteX232" fmla="*/ 1207770 w 1605914"/>
                <a:gd name="connsiteY232" fmla="*/ 641985 h 790575"/>
                <a:gd name="connsiteX233" fmla="*/ 1201103 w 1605914"/>
                <a:gd name="connsiteY233" fmla="*/ 617125 h 790575"/>
                <a:gd name="connsiteX234" fmla="*/ 1207770 w 1605914"/>
                <a:gd name="connsiteY234" fmla="*/ 596265 h 790575"/>
                <a:gd name="connsiteX235" fmla="*/ 1224915 w 1605914"/>
                <a:gd name="connsiteY235" fmla="*/ 575310 h 790575"/>
                <a:gd name="connsiteX236" fmla="*/ 1235393 w 1605914"/>
                <a:gd name="connsiteY236" fmla="*/ 561023 h 790575"/>
                <a:gd name="connsiteX237" fmla="*/ 1257300 w 1605914"/>
                <a:gd name="connsiteY237" fmla="*/ 554260 h 790575"/>
                <a:gd name="connsiteX238" fmla="*/ 1274445 w 1605914"/>
                <a:gd name="connsiteY238" fmla="*/ 525685 h 790575"/>
                <a:gd name="connsiteX239" fmla="*/ 1292543 w 1605914"/>
                <a:gd name="connsiteY239" fmla="*/ 521875 h 790575"/>
                <a:gd name="connsiteX240" fmla="*/ 1299210 w 1605914"/>
                <a:gd name="connsiteY240" fmla="*/ 515303 h 790575"/>
                <a:gd name="connsiteX241" fmla="*/ 1323975 w 1605914"/>
                <a:gd name="connsiteY241" fmla="*/ 494348 h 790575"/>
                <a:gd name="connsiteX242" fmla="*/ 1341120 w 1605914"/>
                <a:gd name="connsiteY242" fmla="*/ 490538 h 790575"/>
                <a:gd name="connsiteX243" fmla="*/ 1341120 w 1605914"/>
                <a:gd name="connsiteY243" fmla="*/ 476250 h 790575"/>
                <a:gd name="connsiteX244" fmla="*/ 1355408 w 1605914"/>
                <a:gd name="connsiteY244" fmla="*/ 465773 h 790575"/>
                <a:gd name="connsiteX245" fmla="*/ 1363027 w 1605914"/>
                <a:gd name="connsiteY245" fmla="*/ 451485 h 790575"/>
                <a:gd name="connsiteX246" fmla="*/ 1355408 w 1605914"/>
                <a:gd name="connsiteY246" fmla="*/ 434245 h 790575"/>
                <a:gd name="connsiteX247" fmla="*/ 1344930 w 1605914"/>
                <a:gd name="connsiteY247" fmla="*/ 430530 h 790575"/>
                <a:gd name="connsiteX248" fmla="*/ 1341120 w 1605914"/>
                <a:gd name="connsiteY248" fmla="*/ 413385 h 790575"/>
                <a:gd name="connsiteX249" fmla="*/ 1344930 w 1605914"/>
                <a:gd name="connsiteY249" fmla="*/ 402812 h 790575"/>
                <a:gd name="connsiteX250" fmla="*/ 1334452 w 1605914"/>
                <a:gd name="connsiteY250" fmla="*/ 391382 h 790575"/>
                <a:gd name="connsiteX251" fmla="*/ 1320165 w 1605914"/>
                <a:gd name="connsiteY251" fmla="*/ 378143 h 790575"/>
                <a:gd name="connsiteX252" fmla="*/ 1327785 w 1605914"/>
                <a:gd name="connsiteY252" fmla="*/ 374237 h 790575"/>
                <a:gd name="connsiteX253" fmla="*/ 1338262 w 1605914"/>
                <a:gd name="connsiteY253" fmla="*/ 378143 h 790575"/>
                <a:gd name="connsiteX254" fmla="*/ 1341120 w 1605914"/>
                <a:gd name="connsiteY254" fmla="*/ 356235 h 790575"/>
                <a:gd name="connsiteX255" fmla="*/ 1344930 w 1605914"/>
                <a:gd name="connsiteY255" fmla="*/ 342900 h 790575"/>
                <a:gd name="connsiteX256" fmla="*/ 1352550 w 1605914"/>
                <a:gd name="connsiteY256" fmla="*/ 349568 h 790575"/>
                <a:gd name="connsiteX257" fmla="*/ 1348740 w 1605914"/>
                <a:gd name="connsiteY257" fmla="*/ 366713 h 790575"/>
                <a:gd name="connsiteX258" fmla="*/ 1355408 w 1605914"/>
                <a:gd name="connsiteY258" fmla="*/ 388525 h 790575"/>
                <a:gd name="connsiteX259" fmla="*/ 1355408 w 1605914"/>
                <a:gd name="connsiteY259" fmla="*/ 413385 h 790575"/>
                <a:gd name="connsiteX260" fmla="*/ 1363027 w 1605914"/>
                <a:gd name="connsiteY260" fmla="*/ 402812 h 790575"/>
                <a:gd name="connsiteX261" fmla="*/ 1376362 w 1605914"/>
                <a:gd name="connsiteY261" fmla="*/ 384810 h 790575"/>
                <a:gd name="connsiteX262" fmla="*/ 1383983 w 1605914"/>
                <a:gd name="connsiteY262" fmla="*/ 370523 h 790575"/>
                <a:gd name="connsiteX263" fmla="*/ 1376362 w 1605914"/>
                <a:gd name="connsiteY263" fmla="*/ 349568 h 790575"/>
                <a:gd name="connsiteX264" fmla="*/ 1390650 w 1605914"/>
                <a:gd name="connsiteY264" fmla="*/ 353282 h 790575"/>
                <a:gd name="connsiteX265" fmla="*/ 1401127 w 1605914"/>
                <a:gd name="connsiteY265" fmla="*/ 326612 h 790575"/>
                <a:gd name="connsiteX266" fmla="*/ 1443990 w 1605914"/>
                <a:gd name="connsiteY266" fmla="*/ 307562 h 790575"/>
                <a:gd name="connsiteX267" fmla="*/ 1448752 w 1605914"/>
                <a:gd name="connsiteY267" fmla="*/ 300038 h 790575"/>
                <a:gd name="connsiteX268" fmla="*/ 1400175 w 1605914"/>
                <a:gd name="connsiteY268" fmla="*/ 308610 h 790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</a:cxnLst>
              <a:rect l="l" t="t" r="r" b="b"/>
              <a:pathLst>
                <a:path w="1605914" h="790575">
                  <a:moveTo>
                    <a:pt x="1400175" y="308610"/>
                  </a:moveTo>
                  <a:lnTo>
                    <a:pt x="1415415" y="293275"/>
                  </a:lnTo>
                  <a:lnTo>
                    <a:pt x="1446848" y="285750"/>
                  </a:lnTo>
                  <a:lnTo>
                    <a:pt x="1475423" y="278987"/>
                  </a:lnTo>
                  <a:lnTo>
                    <a:pt x="1492568" y="272320"/>
                  </a:lnTo>
                  <a:lnTo>
                    <a:pt x="1503045" y="272320"/>
                  </a:lnTo>
                  <a:lnTo>
                    <a:pt x="1517333" y="260985"/>
                  </a:lnTo>
                  <a:lnTo>
                    <a:pt x="1503045" y="258032"/>
                  </a:lnTo>
                  <a:lnTo>
                    <a:pt x="1496377" y="250412"/>
                  </a:lnTo>
                  <a:lnTo>
                    <a:pt x="1496377" y="237173"/>
                  </a:lnTo>
                  <a:lnTo>
                    <a:pt x="1510665" y="219075"/>
                  </a:lnTo>
                  <a:lnTo>
                    <a:pt x="1521143" y="194310"/>
                  </a:lnTo>
                  <a:lnTo>
                    <a:pt x="1538287" y="183737"/>
                  </a:lnTo>
                  <a:lnTo>
                    <a:pt x="1556385" y="173355"/>
                  </a:lnTo>
                  <a:lnTo>
                    <a:pt x="1577340" y="169450"/>
                  </a:lnTo>
                  <a:lnTo>
                    <a:pt x="1598295" y="169450"/>
                  </a:lnTo>
                  <a:lnTo>
                    <a:pt x="1605915" y="159068"/>
                  </a:lnTo>
                  <a:lnTo>
                    <a:pt x="1598295" y="144780"/>
                  </a:lnTo>
                  <a:lnTo>
                    <a:pt x="1587818" y="134207"/>
                  </a:lnTo>
                  <a:lnTo>
                    <a:pt x="1584960" y="119920"/>
                  </a:lnTo>
                  <a:lnTo>
                    <a:pt x="1587818" y="92393"/>
                  </a:lnTo>
                  <a:lnTo>
                    <a:pt x="1584960" y="78105"/>
                  </a:lnTo>
                  <a:lnTo>
                    <a:pt x="1560195" y="71438"/>
                  </a:lnTo>
                  <a:lnTo>
                    <a:pt x="1545908" y="63818"/>
                  </a:lnTo>
                  <a:lnTo>
                    <a:pt x="1531620" y="78105"/>
                  </a:lnTo>
                  <a:lnTo>
                    <a:pt x="1517333" y="102775"/>
                  </a:lnTo>
                  <a:lnTo>
                    <a:pt x="1510665" y="130493"/>
                  </a:lnTo>
                  <a:lnTo>
                    <a:pt x="1500187" y="144780"/>
                  </a:lnTo>
                  <a:lnTo>
                    <a:pt x="1479233" y="155162"/>
                  </a:lnTo>
                  <a:lnTo>
                    <a:pt x="1376362" y="155162"/>
                  </a:lnTo>
                  <a:lnTo>
                    <a:pt x="1348740" y="177070"/>
                  </a:lnTo>
                  <a:lnTo>
                    <a:pt x="1348740" y="198025"/>
                  </a:lnTo>
                  <a:lnTo>
                    <a:pt x="1330643" y="212312"/>
                  </a:lnTo>
                  <a:lnTo>
                    <a:pt x="1309687" y="215170"/>
                  </a:lnTo>
                  <a:lnTo>
                    <a:pt x="1270635" y="212312"/>
                  </a:lnTo>
                  <a:lnTo>
                    <a:pt x="1267777" y="219075"/>
                  </a:lnTo>
                  <a:lnTo>
                    <a:pt x="1270635" y="225743"/>
                  </a:lnTo>
                  <a:lnTo>
                    <a:pt x="1269683" y="226600"/>
                  </a:lnTo>
                  <a:lnTo>
                    <a:pt x="1270635" y="229457"/>
                  </a:lnTo>
                  <a:lnTo>
                    <a:pt x="1267777" y="240030"/>
                  </a:lnTo>
                  <a:lnTo>
                    <a:pt x="1257300" y="243745"/>
                  </a:lnTo>
                  <a:lnTo>
                    <a:pt x="1235393" y="254318"/>
                  </a:lnTo>
                  <a:lnTo>
                    <a:pt x="1214438" y="260985"/>
                  </a:lnTo>
                  <a:lnTo>
                    <a:pt x="1193483" y="272320"/>
                  </a:lnTo>
                  <a:lnTo>
                    <a:pt x="1162050" y="272320"/>
                  </a:lnTo>
                  <a:lnTo>
                    <a:pt x="1147763" y="260985"/>
                  </a:lnTo>
                  <a:lnTo>
                    <a:pt x="1154430" y="247650"/>
                  </a:lnTo>
                  <a:lnTo>
                    <a:pt x="1162050" y="240030"/>
                  </a:lnTo>
                  <a:lnTo>
                    <a:pt x="1162050" y="240030"/>
                  </a:lnTo>
                  <a:lnTo>
                    <a:pt x="1165860" y="237173"/>
                  </a:lnTo>
                  <a:lnTo>
                    <a:pt x="1165860" y="222885"/>
                  </a:lnTo>
                  <a:lnTo>
                    <a:pt x="1168718" y="212312"/>
                  </a:lnTo>
                  <a:lnTo>
                    <a:pt x="1168718" y="194310"/>
                  </a:lnTo>
                  <a:lnTo>
                    <a:pt x="1158240" y="190500"/>
                  </a:lnTo>
                  <a:lnTo>
                    <a:pt x="1147763" y="198025"/>
                  </a:lnTo>
                  <a:lnTo>
                    <a:pt x="1137285" y="204788"/>
                  </a:lnTo>
                  <a:lnTo>
                    <a:pt x="1133475" y="198025"/>
                  </a:lnTo>
                  <a:lnTo>
                    <a:pt x="1141095" y="190500"/>
                  </a:lnTo>
                  <a:lnTo>
                    <a:pt x="1147763" y="177070"/>
                  </a:lnTo>
                  <a:lnTo>
                    <a:pt x="1151573" y="159068"/>
                  </a:lnTo>
                  <a:lnTo>
                    <a:pt x="1143953" y="144780"/>
                  </a:lnTo>
                  <a:lnTo>
                    <a:pt x="1126808" y="141923"/>
                  </a:lnTo>
                  <a:lnTo>
                    <a:pt x="1112520" y="134207"/>
                  </a:lnTo>
                  <a:lnTo>
                    <a:pt x="1098233" y="138113"/>
                  </a:lnTo>
                  <a:lnTo>
                    <a:pt x="1091565" y="148495"/>
                  </a:lnTo>
                  <a:lnTo>
                    <a:pt x="1084898" y="155162"/>
                  </a:lnTo>
                  <a:lnTo>
                    <a:pt x="1073468" y="155162"/>
                  </a:lnTo>
                  <a:lnTo>
                    <a:pt x="1070610" y="162782"/>
                  </a:lnTo>
                  <a:lnTo>
                    <a:pt x="1070610" y="177070"/>
                  </a:lnTo>
                  <a:lnTo>
                    <a:pt x="1070610" y="198025"/>
                  </a:lnTo>
                  <a:lnTo>
                    <a:pt x="1070610" y="215170"/>
                  </a:lnTo>
                  <a:lnTo>
                    <a:pt x="1070610" y="237173"/>
                  </a:lnTo>
                  <a:lnTo>
                    <a:pt x="1062990" y="254318"/>
                  </a:lnTo>
                  <a:lnTo>
                    <a:pt x="1045845" y="268605"/>
                  </a:lnTo>
                  <a:lnTo>
                    <a:pt x="1027747" y="272320"/>
                  </a:lnTo>
                  <a:lnTo>
                    <a:pt x="1021080" y="247650"/>
                  </a:lnTo>
                  <a:lnTo>
                    <a:pt x="1021080" y="225743"/>
                  </a:lnTo>
                  <a:lnTo>
                    <a:pt x="1027747" y="183737"/>
                  </a:lnTo>
                  <a:lnTo>
                    <a:pt x="1042035" y="152400"/>
                  </a:lnTo>
                  <a:lnTo>
                    <a:pt x="1035368" y="165735"/>
                  </a:lnTo>
                  <a:lnTo>
                    <a:pt x="1021080" y="169450"/>
                  </a:lnTo>
                  <a:lnTo>
                    <a:pt x="1017270" y="155162"/>
                  </a:lnTo>
                  <a:lnTo>
                    <a:pt x="1035368" y="141923"/>
                  </a:lnTo>
                  <a:lnTo>
                    <a:pt x="1049655" y="127635"/>
                  </a:lnTo>
                  <a:lnTo>
                    <a:pt x="1056323" y="119920"/>
                  </a:lnTo>
                  <a:lnTo>
                    <a:pt x="1062990" y="127635"/>
                  </a:lnTo>
                  <a:lnTo>
                    <a:pt x="1073468" y="123825"/>
                  </a:lnTo>
                  <a:lnTo>
                    <a:pt x="1087755" y="113348"/>
                  </a:lnTo>
                  <a:lnTo>
                    <a:pt x="1105853" y="113348"/>
                  </a:lnTo>
                  <a:lnTo>
                    <a:pt x="1119188" y="119920"/>
                  </a:lnTo>
                  <a:lnTo>
                    <a:pt x="1119188" y="113348"/>
                  </a:lnTo>
                  <a:lnTo>
                    <a:pt x="1105853" y="102775"/>
                  </a:lnTo>
                  <a:lnTo>
                    <a:pt x="1095375" y="95250"/>
                  </a:lnTo>
                  <a:lnTo>
                    <a:pt x="1077278" y="99060"/>
                  </a:lnTo>
                  <a:lnTo>
                    <a:pt x="1062990" y="99060"/>
                  </a:lnTo>
                  <a:lnTo>
                    <a:pt x="1045845" y="102775"/>
                  </a:lnTo>
                  <a:lnTo>
                    <a:pt x="1027747" y="95250"/>
                  </a:lnTo>
                  <a:lnTo>
                    <a:pt x="1010603" y="84773"/>
                  </a:lnTo>
                  <a:lnTo>
                    <a:pt x="1002983" y="74200"/>
                  </a:lnTo>
                  <a:lnTo>
                    <a:pt x="989647" y="84773"/>
                  </a:lnTo>
                  <a:lnTo>
                    <a:pt x="982028" y="92393"/>
                  </a:lnTo>
                  <a:lnTo>
                    <a:pt x="971550" y="99060"/>
                  </a:lnTo>
                  <a:lnTo>
                    <a:pt x="950595" y="99060"/>
                  </a:lnTo>
                  <a:lnTo>
                    <a:pt x="925830" y="99060"/>
                  </a:lnTo>
                  <a:lnTo>
                    <a:pt x="908685" y="92393"/>
                  </a:lnTo>
                  <a:lnTo>
                    <a:pt x="915353" y="84773"/>
                  </a:lnTo>
                  <a:lnTo>
                    <a:pt x="929640" y="71438"/>
                  </a:lnTo>
                  <a:lnTo>
                    <a:pt x="943928" y="63818"/>
                  </a:lnTo>
                  <a:lnTo>
                    <a:pt x="964883" y="57150"/>
                  </a:lnTo>
                  <a:lnTo>
                    <a:pt x="967740" y="49530"/>
                  </a:lnTo>
                  <a:lnTo>
                    <a:pt x="946785" y="46673"/>
                  </a:lnTo>
                  <a:lnTo>
                    <a:pt x="940118" y="46673"/>
                  </a:lnTo>
                  <a:lnTo>
                    <a:pt x="925830" y="42863"/>
                  </a:lnTo>
                  <a:lnTo>
                    <a:pt x="919163" y="42863"/>
                  </a:lnTo>
                  <a:lnTo>
                    <a:pt x="901065" y="35243"/>
                  </a:lnTo>
                  <a:lnTo>
                    <a:pt x="859155" y="28575"/>
                  </a:lnTo>
                  <a:lnTo>
                    <a:pt x="838200" y="21812"/>
                  </a:lnTo>
                  <a:lnTo>
                    <a:pt x="830580" y="14288"/>
                  </a:lnTo>
                  <a:lnTo>
                    <a:pt x="827722" y="0"/>
                  </a:lnTo>
                  <a:lnTo>
                    <a:pt x="813435" y="0"/>
                  </a:lnTo>
                  <a:lnTo>
                    <a:pt x="809625" y="14288"/>
                  </a:lnTo>
                  <a:lnTo>
                    <a:pt x="52388" y="14288"/>
                  </a:lnTo>
                  <a:lnTo>
                    <a:pt x="52388" y="35243"/>
                  </a:lnTo>
                  <a:lnTo>
                    <a:pt x="62865" y="49530"/>
                  </a:lnTo>
                  <a:lnTo>
                    <a:pt x="60008" y="67532"/>
                  </a:lnTo>
                  <a:lnTo>
                    <a:pt x="48578" y="78105"/>
                  </a:lnTo>
                  <a:lnTo>
                    <a:pt x="45720" y="67532"/>
                  </a:lnTo>
                  <a:lnTo>
                    <a:pt x="41910" y="53245"/>
                  </a:lnTo>
                  <a:lnTo>
                    <a:pt x="31433" y="49530"/>
                  </a:lnTo>
                  <a:lnTo>
                    <a:pt x="13335" y="42863"/>
                  </a:lnTo>
                  <a:lnTo>
                    <a:pt x="0" y="49530"/>
                  </a:lnTo>
                  <a:lnTo>
                    <a:pt x="6667" y="67532"/>
                  </a:lnTo>
                  <a:lnTo>
                    <a:pt x="13335" y="74200"/>
                  </a:lnTo>
                  <a:lnTo>
                    <a:pt x="10477" y="84773"/>
                  </a:lnTo>
                  <a:lnTo>
                    <a:pt x="17145" y="95250"/>
                  </a:lnTo>
                  <a:lnTo>
                    <a:pt x="27622" y="113348"/>
                  </a:lnTo>
                  <a:lnTo>
                    <a:pt x="17145" y="113348"/>
                  </a:lnTo>
                  <a:lnTo>
                    <a:pt x="10477" y="198025"/>
                  </a:lnTo>
                  <a:lnTo>
                    <a:pt x="2858" y="215170"/>
                  </a:lnTo>
                  <a:lnTo>
                    <a:pt x="10477" y="260985"/>
                  </a:lnTo>
                  <a:lnTo>
                    <a:pt x="2858" y="300038"/>
                  </a:lnTo>
                  <a:lnTo>
                    <a:pt x="2858" y="314325"/>
                  </a:lnTo>
                  <a:lnTo>
                    <a:pt x="17145" y="328613"/>
                  </a:lnTo>
                  <a:lnTo>
                    <a:pt x="17145" y="349568"/>
                  </a:lnTo>
                  <a:lnTo>
                    <a:pt x="31433" y="370523"/>
                  </a:lnTo>
                  <a:lnTo>
                    <a:pt x="45720" y="384810"/>
                  </a:lnTo>
                  <a:lnTo>
                    <a:pt x="66675" y="384810"/>
                  </a:lnTo>
                  <a:lnTo>
                    <a:pt x="56197" y="402812"/>
                  </a:lnTo>
                  <a:lnTo>
                    <a:pt x="62865" y="419957"/>
                  </a:lnTo>
                  <a:lnTo>
                    <a:pt x="73342" y="426625"/>
                  </a:lnTo>
                  <a:lnTo>
                    <a:pt x="66675" y="438150"/>
                  </a:lnTo>
                  <a:lnTo>
                    <a:pt x="83820" y="455200"/>
                  </a:lnTo>
                  <a:lnTo>
                    <a:pt x="101917" y="480060"/>
                  </a:lnTo>
                  <a:lnTo>
                    <a:pt x="105728" y="504825"/>
                  </a:lnTo>
                  <a:lnTo>
                    <a:pt x="130492" y="497110"/>
                  </a:lnTo>
                  <a:lnTo>
                    <a:pt x="147638" y="511397"/>
                  </a:lnTo>
                  <a:lnTo>
                    <a:pt x="172403" y="519113"/>
                  </a:lnTo>
                  <a:lnTo>
                    <a:pt x="182880" y="525685"/>
                  </a:lnTo>
                  <a:lnTo>
                    <a:pt x="197167" y="539972"/>
                  </a:lnTo>
                  <a:lnTo>
                    <a:pt x="203835" y="561023"/>
                  </a:lnTo>
                  <a:lnTo>
                    <a:pt x="260033" y="557213"/>
                  </a:lnTo>
                  <a:lnTo>
                    <a:pt x="292417" y="568547"/>
                  </a:lnTo>
                  <a:lnTo>
                    <a:pt x="338138" y="589598"/>
                  </a:lnTo>
                  <a:lnTo>
                    <a:pt x="365760" y="600075"/>
                  </a:lnTo>
                  <a:lnTo>
                    <a:pt x="446722" y="600075"/>
                  </a:lnTo>
                  <a:lnTo>
                    <a:pt x="461010" y="589598"/>
                  </a:lnTo>
                  <a:lnTo>
                    <a:pt x="496253" y="581978"/>
                  </a:lnTo>
                  <a:lnTo>
                    <a:pt x="531495" y="610553"/>
                  </a:lnTo>
                  <a:lnTo>
                    <a:pt x="548640" y="624840"/>
                  </a:lnTo>
                  <a:lnTo>
                    <a:pt x="552450" y="652463"/>
                  </a:lnTo>
                  <a:lnTo>
                    <a:pt x="581025" y="670560"/>
                  </a:lnTo>
                  <a:lnTo>
                    <a:pt x="601980" y="666750"/>
                  </a:lnTo>
                  <a:lnTo>
                    <a:pt x="605790" y="649510"/>
                  </a:lnTo>
                  <a:lnTo>
                    <a:pt x="619125" y="641985"/>
                  </a:lnTo>
                  <a:lnTo>
                    <a:pt x="619125" y="641985"/>
                  </a:lnTo>
                  <a:lnTo>
                    <a:pt x="619125" y="641985"/>
                  </a:lnTo>
                  <a:lnTo>
                    <a:pt x="658178" y="659987"/>
                  </a:lnTo>
                  <a:lnTo>
                    <a:pt x="668655" y="684848"/>
                  </a:lnTo>
                  <a:lnTo>
                    <a:pt x="686753" y="705803"/>
                  </a:lnTo>
                  <a:lnTo>
                    <a:pt x="700088" y="726662"/>
                  </a:lnTo>
                  <a:lnTo>
                    <a:pt x="714375" y="747713"/>
                  </a:lnTo>
                  <a:lnTo>
                    <a:pt x="742950" y="758190"/>
                  </a:lnTo>
                  <a:lnTo>
                    <a:pt x="763905" y="762000"/>
                  </a:lnTo>
                  <a:lnTo>
                    <a:pt x="757238" y="740950"/>
                  </a:lnTo>
                  <a:lnTo>
                    <a:pt x="753428" y="720090"/>
                  </a:lnTo>
                  <a:lnTo>
                    <a:pt x="760095" y="705803"/>
                  </a:lnTo>
                  <a:lnTo>
                    <a:pt x="770572" y="695325"/>
                  </a:lnTo>
                  <a:lnTo>
                    <a:pt x="778193" y="684848"/>
                  </a:lnTo>
                  <a:lnTo>
                    <a:pt x="799147" y="684848"/>
                  </a:lnTo>
                  <a:lnTo>
                    <a:pt x="809625" y="677228"/>
                  </a:lnTo>
                  <a:lnTo>
                    <a:pt x="820103" y="666750"/>
                  </a:lnTo>
                  <a:lnTo>
                    <a:pt x="827722" y="652463"/>
                  </a:lnTo>
                  <a:lnTo>
                    <a:pt x="838200" y="659987"/>
                  </a:lnTo>
                  <a:lnTo>
                    <a:pt x="851535" y="656273"/>
                  </a:lnTo>
                  <a:lnTo>
                    <a:pt x="859155" y="645700"/>
                  </a:lnTo>
                  <a:lnTo>
                    <a:pt x="876300" y="645700"/>
                  </a:lnTo>
                  <a:lnTo>
                    <a:pt x="894397" y="656273"/>
                  </a:lnTo>
                  <a:lnTo>
                    <a:pt x="901065" y="652463"/>
                  </a:lnTo>
                  <a:lnTo>
                    <a:pt x="908685" y="649510"/>
                  </a:lnTo>
                  <a:lnTo>
                    <a:pt x="925830" y="656273"/>
                  </a:lnTo>
                  <a:lnTo>
                    <a:pt x="940118" y="666750"/>
                  </a:lnTo>
                  <a:lnTo>
                    <a:pt x="957263" y="662940"/>
                  </a:lnTo>
                  <a:lnTo>
                    <a:pt x="971550" y="662940"/>
                  </a:lnTo>
                  <a:lnTo>
                    <a:pt x="985838" y="659987"/>
                  </a:lnTo>
                  <a:lnTo>
                    <a:pt x="975360" y="649510"/>
                  </a:lnTo>
                  <a:lnTo>
                    <a:pt x="964883" y="641985"/>
                  </a:lnTo>
                  <a:lnTo>
                    <a:pt x="954405" y="631412"/>
                  </a:lnTo>
                  <a:lnTo>
                    <a:pt x="971550" y="627698"/>
                  </a:lnTo>
                  <a:lnTo>
                    <a:pt x="996315" y="624840"/>
                  </a:lnTo>
                  <a:lnTo>
                    <a:pt x="1024890" y="624840"/>
                  </a:lnTo>
                  <a:lnTo>
                    <a:pt x="1042035" y="631412"/>
                  </a:lnTo>
                  <a:lnTo>
                    <a:pt x="1066800" y="635222"/>
                  </a:lnTo>
                  <a:lnTo>
                    <a:pt x="1087755" y="639128"/>
                  </a:lnTo>
                  <a:lnTo>
                    <a:pt x="1102043" y="656273"/>
                  </a:lnTo>
                  <a:lnTo>
                    <a:pt x="1116330" y="641985"/>
                  </a:lnTo>
                  <a:lnTo>
                    <a:pt x="1126808" y="639128"/>
                  </a:lnTo>
                  <a:lnTo>
                    <a:pt x="1143953" y="645700"/>
                  </a:lnTo>
                  <a:lnTo>
                    <a:pt x="1154430" y="659987"/>
                  </a:lnTo>
                  <a:lnTo>
                    <a:pt x="1168718" y="674275"/>
                  </a:lnTo>
                  <a:lnTo>
                    <a:pt x="1165860" y="691515"/>
                  </a:lnTo>
                  <a:lnTo>
                    <a:pt x="1165860" y="712375"/>
                  </a:lnTo>
                  <a:lnTo>
                    <a:pt x="1168718" y="734378"/>
                  </a:lnTo>
                  <a:lnTo>
                    <a:pt x="1183005" y="744760"/>
                  </a:lnTo>
                  <a:lnTo>
                    <a:pt x="1197293" y="755237"/>
                  </a:lnTo>
                  <a:lnTo>
                    <a:pt x="1207770" y="776288"/>
                  </a:lnTo>
                  <a:lnTo>
                    <a:pt x="1222058" y="790575"/>
                  </a:lnTo>
                  <a:lnTo>
                    <a:pt x="1235393" y="790575"/>
                  </a:lnTo>
                  <a:lnTo>
                    <a:pt x="1239203" y="776288"/>
                  </a:lnTo>
                  <a:lnTo>
                    <a:pt x="1239203" y="747713"/>
                  </a:lnTo>
                  <a:lnTo>
                    <a:pt x="1235393" y="716185"/>
                  </a:lnTo>
                  <a:lnTo>
                    <a:pt x="1224915" y="691515"/>
                  </a:lnTo>
                  <a:lnTo>
                    <a:pt x="1218248" y="666750"/>
                  </a:lnTo>
                  <a:lnTo>
                    <a:pt x="1207770" y="641985"/>
                  </a:lnTo>
                  <a:lnTo>
                    <a:pt x="1201103" y="617125"/>
                  </a:lnTo>
                  <a:lnTo>
                    <a:pt x="1207770" y="596265"/>
                  </a:lnTo>
                  <a:lnTo>
                    <a:pt x="1224915" y="575310"/>
                  </a:lnTo>
                  <a:lnTo>
                    <a:pt x="1235393" y="561023"/>
                  </a:lnTo>
                  <a:lnTo>
                    <a:pt x="1257300" y="554260"/>
                  </a:lnTo>
                  <a:lnTo>
                    <a:pt x="1274445" y="525685"/>
                  </a:lnTo>
                  <a:lnTo>
                    <a:pt x="1292543" y="521875"/>
                  </a:lnTo>
                  <a:lnTo>
                    <a:pt x="1299210" y="515303"/>
                  </a:lnTo>
                  <a:lnTo>
                    <a:pt x="1323975" y="494348"/>
                  </a:lnTo>
                  <a:lnTo>
                    <a:pt x="1341120" y="490538"/>
                  </a:lnTo>
                  <a:lnTo>
                    <a:pt x="1341120" y="476250"/>
                  </a:lnTo>
                  <a:lnTo>
                    <a:pt x="1355408" y="465773"/>
                  </a:lnTo>
                  <a:lnTo>
                    <a:pt x="1363027" y="451485"/>
                  </a:lnTo>
                  <a:lnTo>
                    <a:pt x="1355408" y="434245"/>
                  </a:lnTo>
                  <a:lnTo>
                    <a:pt x="1344930" y="430530"/>
                  </a:lnTo>
                  <a:lnTo>
                    <a:pt x="1341120" y="413385"/>
                  </a:lnTo>
                  <a:lnTo>
                    <a:pt x="1344930" y="402812"/>
                  </a:lnTo>
                  <a:lnTo>
                    <a:pt x="1334452" y="391382"/>
                  </a:lnTo>
                  <a:lnTo>
                    <a:pt x="1320165" y="378143"/>
                  </a:lnTo>
                  <a:lnTo>
                    <a:pt x="1327785" y="374237"/>
                  </a:lnTo>
                  <a:lnTo>
                    <a:pt x="1338262" y="378143"/>
                  </a:lnTo>
                  <a:lnTo>
                    <a:pt x="1341120" y="356235"/>
                  </a:lnTo>
                  <a:lnTo>
                    <a:pt x="1344930" y="342900"/>
                  </a:lnTo>
                  <a:lnTo>
                    <a:pt x="1352550" y="349568"/>
                  </a:lnTo>
                  <a:lnTo>
                    <a:pt x="1348740" y="366713"/>
                  </a:lnTo>
                  <a:lnTo>
                    <a:pt x="1355408" y="388525"/>
                  </a:lnTo>
                  <a:lnTo>
                    <a:pt x="1355408" y="413385"/>
                  </a:lnTo>
                  <a:lnTo>
                    <a:pt x="1363027" y="402812"/>
                  </a:lnTo>
                  <a:lnTo>
                    <a:pt x="1376362" y="384810"/>
                  </a:lnTo>
                  <a:lnTo>
                    <a:pt x="1383983" y="370523"/>
                  </a:lnTo>
                  <a:lnTo>
                    <a:pt x="1376362" y="349568"/>
                  </a:lnTo>
                  <a:lnTo>
                    <a:pt x="1390650" y="353282"/>
                  </a:lnTo>
                  <a:lnTo>
                    <a:pt x="1401127" y="326612"/>
                  </a:lnTo>
                  <a:lnTo>
                    <a:pt x="1443990" y="307562"/>
                  </a:lnTo>
                  <a:lnTo>
                    <a:pt x="1448752" y="300038"/>
                  </a:lnTo>
                  <a:lnTo>
                    <a:pt x="1400175" y="30861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55" name="Freeform: Shape 3854">
              <a:extLst>
                <a:ext uri="{FF2B5EF4-FFF2-40B4-BE49-F238E27FC236}">
                  <a16:creationId xmlns:a16="http://schemas.microsoft.com/office/drawing/2014/main" id="{8B057ACE-E6C3-1778-9AB4-53E71E6D4909}"/>
                </a:ext>
              </a:extLst>
            </p:cNvPr>
            <p:cNvSpPr/>
            <p:nvPr/>
          </p:nvSpPr>
          <p:spPr>
            <a:xfrm>
              <a:off x="3724902" y="3303742"/>
              <a:ext cx="3734" cy="2801"/>
            </a:xfrm>
            <a:custGeom>
              <a:avLst/>
              <a:gdLst>
                <a:gd name="connsiteX0" fmla="*/ 0 w 3809"/>
                <a:gd name="connsiteY0" fmla="*/ 2858 h 2857"/>
                <a:gd name="connsiteX1" fmla="*/ 0 w 3809"/>
                <a:gd name="connsiteY1" fmla="*/ 2858 h 2857"/>
                <a:gd name="connsiteX2" fmla="*/ 3810 w 3809"/>
                <a:gd name="connsiteY2" fmla="*/ 0 h 2857"/>
                <a:gd name="connsiteX3" fmla="*/ 0 w 3809"/>
                <a:gd name="connsiteY3" fmla="*/ 2858 h 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09" h="2857">
                  <a:moveTo>
                    <a:pt x="0" y="2858"/>
                  </a:moveTo>
                  <a:lnTo>
                    <a:pt x="0" y="2858"/>
                  </a:lnTo>
                  <a:lnTo>
                    <a:pt x="3810" y="0"/>
                  </a:lnTo>
                  <a:lnTo>
                    <a:pt x="0" y="285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56" name="Freeform: Shape 3855">
              <a:extLst>
                <a:ext uri="{FF2B5EF4-FFF2-40B4-BE49-F238E27FC236}">
                  <a16:creationId xmlns:a16="http://schemas.microsoft.com/office/drawing/2014/main" id="{9D06426A-2103-B7B9-C0A8-8795584844F6}"/>
                </a:ext>
              </a:extLst>
            </p:cNvPr>
            <p:cNvSpPr/>
            <p:nvPr/>
          </p:nvSpPr>
          <p:spPr>
            <a:xfrm>
              <a:off x="3493338" y="3113260"/>
              <a:ext cx="20541" cy="3735"/>
            </a:xfrm>
            <a:custGeom>
              <a:avLst/>
              <a:gdLst>
                <a:gd name="connsiteX0" fmla="*/ 14288 w 20954"/>
                <a:gd name="connsiteY0" fmla="*/ 3810 h 3810"/>
                <a:gd name="connsiteX1" fmla="*/ 20955 w 20954"/>
                <a:gd name="connsiteY1" fmla="*/ 3810 h 3810"/>
                <a:gd name="connsiteX2" fmla="*/ 0 w 20954"/>
                <a:gd name="connsiteY2" fmla="*/ 0 h 3810"/>
                <a:gd name="connsiteX3" fmla="*/ 14288 w 20954"/>
                <a:gd name="connsiteY3" fmla="*/ 3810 h 3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54" h="3810">
                  <a:moveTo>
                    <a:pt x="14288" y="3810"/>
                  </a:moveTo>
                  <a:lnTo>
                    <a:pt x="20955" y="3810"/>
                  </a:lnTo>
                  <a:lnTo>
                    <a:pt x="0" y="0"/>
                  </a:lnTo>
                  <a:lnTo>
                    <a:pt x="14288" y="381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57" name="Freeform: Shape 3856">
              <a:extLst>
                <a:ext uri="{FF2B5EF4-FFF2-40B4-BE49-F238E27FC236}">
                  <a16:creationId xmlns:a16="http://schemas.microsoft.com/office/drawing/2014/main" id="{392E6FC0-1C02-3542-30EA-6DA362E3963E}"/>
                </a:ext>
              </a:extLst>
            </p:cNvPr>
            <p:cNvSpPr/>
            <p:nvPr/>
          </p:nvSpPr>
          <p:spPr>
            <a:xfrm>
              <a:off x="3469061" y="3105791"/>
              <a:ext cx="24276" cy="7469"/>
            </a:xfrm>
            <a:custGeom>
              <a:avLst/>
              <a:gdLst>
                <a:gd name="connsiteX0" fmla="*/ 18097 w 24764"/>
                <a:gd name="connsiteY0" fmla="*/ 7620 h 7619"/>
                <a:gd name="connsiteX1" fmla="*/ 24765 w 24764"/>
                <a:gd name="connsiteY1" fmla="*/ 7620 h 7619"/>
                <a:gd name="connsiteX2" fmla="*/ 0 w 24764"/>
                <a:gd name="connsiteY2" fmla="*/ 0 h 7619"/>
                <a:gd name="connsiteX3" fmla="*/ 18097 w 24764"/>
                <a:gd name="connsiteY3" fmla="*/ 7620 h 76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4" h="7619">
                  <a:moveTo>
                    <a:pt x="18097" y="7620"/>
                  </a:moveTo>
                  <a:lnTo>
                    <a:pt x="24765" y="7620"/>
                  </a:lnTo>
                  <a:lnTo>
                    <a:pt x="0" y="0"/>
                  </a:lnTo>
                  <a:lnTo>
                    <a:pt x="18097" y="762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58" name="Freeform: Shape 3857">
              <a:extLst>
                <a:ext uri="{FF2B5EF4-FFF2-40B4-BE49-F238E27FC236}">
                  <a16:creationId xmlns:a16="http://schemas.microsoft.com/office/drawing/2014/main" id="{19048C2B-AC66-4C85-3DE9-92340AF968A5}"/>
                </a:ext>
              </a:extLst>
            </p:cNvPr>
            <p:cNvSpPr/>
            <p:nvPr/>
          </p:nvSpPr>
          <p:spPr>
            <a:xfrm>
              <a:off x="3907912" y="3213170"/>
              <a:ext cx="148462" cy="31653"/>
            </a:xfrm>
            <a:custGeom>
              <a:avLst/>
              <a:gdLst>
                <a:gd name="connsiteX0" fmla="*/ 27622 w 151447"/>
                <a:gd name="connsiteY0" fmla="*/ 10382 h 32289"/>
                <a:gd name="connsiteX1" fmla="*/ 14288 w 151447"/>
                <a:gd name="connsiteY1" fmla="*/ 20955 h 32289"/>
                <a:gd name="connsiteX2" fmla="*/ 0 w 151447"/>
                <a:gd name="connsiteY2" fmla="*/ 32290 h 32289"/>
                <a:gd name="connsiteX3" fmla="*/ 27622 w 151447"/>
                <a:gd name="connsiteY3" fmla="*/ 10382 h 32289"/>
                <a:gd name="connsiteX4" fmla="*/ 130493 w 151447"/>
                <a:gd name="connsiteY4" fmla="*/ 10382 h 32289"/>
                <a:gd name="connsiteX5" fmla="*/ 151447 w 151447"/>
                <a:gd name="connsiteY5" fmla="*/ 0 h 32289"/>
                <a:gd name="connsiteX6" fmla="*/ 130493 w 151447"/>
                <a:gd name="connsiteY6" fmla="*/ 10382 h 32289"/>
                <a:gd name="connsiteX7" fmla="*/ 27622 w 151447"/>
                <a:gd name="connsiteY7" fmla="*/ 10382 h 32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1447" h="32289">
                  <a:moveTo>
                    <a:pt x="27622" y="10382"/>
                  </a:moveTo>
                  <a:lnTo>
                    <a:pt x="14288" y="20955"/>
                  </a:lnTo>
                  <a:lnTo>
                    <a:pt x="0" y="32290"/>
                  </a:lnTo>
                  <a:lnTo>
                    <a:pt x="27622" y="10382"/>
                  </a:lnTo>
                  <a:lnTo>
                    <a:pt x="130493" y="10382"/>
                  </a:lnTo>
                  <a:lnTo>
                    <a:pt x="151447" y="0"/>
                  </a:lnTo>
                  <a:lnTo>
                    <a:pt x="130493" y="10382"/>
                  </a:lnTo>
                  <a:lnTo>
                    <a:pt x="27622" y="1038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59" name="Freeform: Shape 3858">
              <a:extLst>
                <a:ext uri="{FF2B5EF4-FFF2-40B4-BE49-F238E27FC236}">
                  <a16:creationId xmlns:a16="http://schemas.microsoft.com/office/drawing/2014/main" id="{6A59F3C5-C4B1-468B-FAF4-9A64071C81B1}"/>
                </a:ext>
              </a:extLst>
            </p:cNvPr>
            <p:cNvSpPr/>
            <p:nvPr/>
          </p:nvSpPr>
          <p:spPr>
            <a:xfrm>
              <a:off x="3828545" y="3286001"/>
              <a:ext cx="2801" cy="7376"/>
            </a:xfrm>
            <a:custGeom>
              <a:avLst/>
              <a:gdLst>
                <a:gd name="connsiteX0" fmla="*/ 2858 w 2857"/>
                <a:gd name="connsiteY0" fmla="*/ 6668 h 7524"/>
                <a:gd name="connsiteX1" fmla="*/ 0 w 2857"/>
                <a:gd name="connsiteY1" fmla="*/ 0 h 7524"/>
                <a:gd name="connsiteX2" fmla="*/ 1905 w 2857"/>
                <a:gd name="connsiteY2" fmla="*/ 7525 h 7524"/>
                <a:gd name="connsiteX3" fmla="*/ 2858 w 2857"/>
                <a:gd name="connsiteY3" fmla="*/ 6668 h 7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57" h="7524">
                  <a:moveTo>
                    <a:pt x="2858" y="6668"/>
                  </a:moveTo>
                  <a:lnTo>
                    <a:pt x="0" y="0"/>
                  </a:lnTo>
                  <a:lnTo>
                    <a:pt x="1905" y="7525"/>
                  </a:lnTo>
                  <a:lnTo>
                    <a:pt x="2858" y="666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60" name="Freeform: Shape 3859">
              <a:extLst>
                <a:ext uri="{FF2B5EF4-FFF2-40B4-BE49-F238E27FC236}">
                  <a16:creationId xmlns:a16="http://schemas.microsoft.com/office/drawing/2014/main" id="{09E049A8-CEB4-4E76-3D3F-AD9F171B543E}"/>
                </a:ext>
              </a:extLst>
            </p:cNvPr>
            <p:cNvSpPr/>
            <p:nvPr/>
          </p:nvSpPr>
          <p:spPr>
            <a:xfrm>
              <a:off x="2551211" y="1986246"/>
              <a:ext cx="286653" cy="180117"/>
            </a:xfrm>
            <a:custGeom>
              <a:avLst/>
              <a:gdLst>
                <a:gd name="connsiteX0" fmla="*/ 35242 w 292417"/>
                <a:gd name="connsiteY0" fmla="*/ 147638 h 183737"/>
                <a:gd name="connsiteX1" fmla="*/ 56197 w 292417"/>
                <a:gd name="connsiteY1" fmla="*/ 161925 h 183737"/>
                <a:gd name="connsiteX2" fmla="*/ 73342 w 292417"/>
                <a:gd name="connsiteY2" fmla="*/ 183737 h 183737"/>
                <a:gd name="connsiteX3" fmla="*/ 95250 w 292417"/>
                <a:gd name="connsiteY3" fmla="*/ 176213 h 183737"/>
                <a:gd name="connsiteX4" fmla="*/ 119063 w 292417"/>
                <a:gd name="connsiteY4" fmla="*/ 161925 h 183737"/>
                <a:gd name="connsiteX5" fmla="*/ 140970 w 292417"/>
                <a:gd name="connsiteY5" fmla="*/ 161925 h 183737"/>
                <a:gd name="connsiteX6" fmla="*/ 151447 w 292417"/>
                <a:gd name="connsiteY6" fmla="*/ 144685 h 183737"/>
                <a:gd name="connsiteX7" fmla="*/ 158115 w 292417"/>
                <a:gd name="connsiteY7" fmla="*/ 126587 h 183737"/>
                <a:gd name="connsiteX8" fmla="*/ 179070 w 292417"/>
                <a:gd name="connsiteY8" fmla="*/ 116110 h 183737"/>
                <a:gd name="connsiteX9" fmla="*/ 186690 w 292417"/>
                <a:gd name="connsiteY9" fmla="*/ 101822 h 183737"/>
                <a:gd name="connsiteX10" fmla="*/ 211455 w 292417"/>
                <a:gd name="connsiteY10" fmla="*/ 88487 h 183737"/>
                <a:gd name="connsiteX11" fmla="*/ 246697 w 292417"/>
                <a:gd name="connsiteY11" fmla="*/ 70485 h 183737"/>
                <a:gd name="connsiteX12" fmla="*/ 292417 w 292417"/>
                <a:gd name="connsiteY12" fmla="*/ 56197 h 183737"/>
                <a:gd name="connsiteX13" fmla="*/ 278130 w 292417"/>
                <a:gd name="connsiteY13" fmla="*/ 45625 h 183737"/>
                <a:gd name="connsiteX14" fmla="*/ 249555 w 292417"/>
                <a:gd name="connsiteY14" fmla="*/ 28575 h 183737"/>
                <a:gd name="connsiteX15" fmla="*/ 224790 w 292417"/>
                <a:gd name="connsiteY15" fmla="*/ 14288 h 183737"/>
                <a:gd name="connsiteX16" fmla="*/ 200025 w 292417"/>
                <a:gd name="connsiteY16" fmla="*/ 18098 h 183737"/>
                <a:gd name="connsiteX17" fmla="*/ 186690 w 292417"/>
                <a:gd name="connsiteY17" fmla="*/ 28575 h 183737"/>
                <a:gd name="connsiteX18" fmla="*/ 165735 w 292417"/>
                <a:gd name="connsiteY18" fmla="*/ 24765 h 183737"/>
                <a:gd name="connsiteX19" fmla="*/ 130492 w 292417"/>
                <a:gd name="connsiteY19" fmla="*/ 10478 h 183737"/>
                <a:gd name="connsiteX20" fmla="*/ 126683 w 292417"/>
                <a:gd name="connsiteY20" fmla="*/ 0 h 183737"/>
                <a:gd name="connsiteX21" fmla="*/ 95250 w 292417"/>
                <a:gd name="connsiteY21" fmla="*/ 0 h 183737"/>
                <a:gd name="connsiteX22" fmla="*/ 91440 w 292417"/>
                <a:gd name="connsiteY22" fmla="*/ 10478 h 183737"/>
                <a:gd name="connsiteX23" fmla="*/ 60008 w 292417"/>
                <a:gd name="connsiteY23" fmla="*/ 6572 h 183737"/>
                <a:gd name="connsiteX24" fmla="*/ 35242 w 292417"/>
                <a:gd name="connsiteY24" fmla="*/ 10478 h 183737"/>
                <a:gd name="connsiteX25" fmla="*/ 35242 w 292417"/>
                <a:gd name="connsiteY25" fmla="*/ 24765 h 183737"/>
                <a:gd name="connsiteX26" fmla="*/ 48577 w 292417"/>
                <a:gd name="connsiteY26" fmla="*/ 39053 h 183737"/>
                <a:gd name="connsiteX27" fmla="*/ 48577 w 292417"/>
                <a:gd name="connsiteY27" fmla="*/ 49435 h 183737"/>
                <a:gd name="connsiteX28" fmla="*/ 41910 w 292417"/>
                <a:gd name="connsiteY28" fmla="*/ 59912 h 183737"/>
                <a:gd name="connsiteX29" fmla="*/ 35242 w 292417"/>
                <a:gd name="connsiteY29" fmla="*/ 77153 h 183737"/>
                <a:gd name="connsiteX30" fmla="*/ 20955 w 292417"/>
                <a:gd name="connsiteY30" fmla="*/ 95250 h 183737"/>
                <a:gd name="connsiteX31" fmla="*/ 14288 w 292417"/>
                <a:gd name="connsiteY31" fmla="*/ 120015 h 183737"/>
                <a:gd name="connsiteX32" fmla="*/ 0 w 292417"/>
                <a:gd name="connsiteY32" fmla="*/ 134303 h 183737"/>
                <a:gd name="connsiteX33" fmla="*/ 20955 w 292417"/>
                <a:gd name="connsiteY33" fmla="*/ 140875 h 183737"/>
                <a:gd name="connsiteX34" fmla="*/ 35242 w 292417"/>
                <a:gd name="connsiteY34" fmla="*/ 147638 h 1837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292417" h="183737">
                  <a:moveTo>
                    <a:pt x="35242" y="147638"/>
                  </a:moveTo>
                  <a:lnTo>
                    <a:pt x="56197" y="161925"/>
                  </a:lnTo>
                  <a:lnTo>
                    <a:pt x="73342" y="183737"/>
                  </a:lnTo>
                  <a:lnTo>
                    <a:pt x="95250" y="176213"/>
                  </a:lnTo>
                  <a:lnTo>
                    <a:pt x="119063" y="161925"/>
                  </a:lnTo>
                  <a:lnTo>
                    <a:pt x="140970" y="161925"/>
                  </a:lnTo>
                  <a:lnTo>
                    <a:pt x="151447" y="144685"/>
                  </a:lnTo>
                  <a:lnTo>
                    <a:pt x="158115" y="126587"/>
                  </a:lnTo>
                  <a:lnTo>
                    <a:pt x="179070" y="116110"/>
                  </a:lnTo>
                  <a:lnTo>
                    <a:pt x="186690" y="101822"/>
                  </a:lnTo>
                  <a:lnTo>
                    <a:pt x="211455" y="88487"/>
                  </a:lnTo>
                  <a:lnTo>
                    <a:pt x="246697" y="70485"/>
                  </a:lnTo>
                  <a:lnTo>
                    <a:pt x="292417" y="56197"/>
                  </a:lnTo>
                  <a:lnTo>
                    <a:pt x="278130" y="45625"/>
                  </a:lnTo>
                  <a:lnTo>
                    <a:pt x="249555" y="28575"/>
                  </a:lnTo>
                  <a:lnTo>
                    <a:pt x="224790" y="14288"/>
                  </a:lnTo>
                  <a:lnTo>
                    <a:pt x="200025" y="18098"/>
                  </a:lnTo>
                  <a:lnTo>
                    <a:pt x="186690" y="28575"/>
                  </a:lnTo>
                  <a:lnTo>
                    <a:pt x="165735" y="24765"/>
                  </a:lnTo>
                  <a:lnTo>
                    <a:pt x="130492" y="10478"/>
                  </a:lnTo>
                  <a:lnTo>
                    <a:pt x="126683" y="0"/>
                  </a:lnTo>
                  <a:lnTo>
                    <a:pt x="95250" y="0"/>
                  </a:lnTo>
                  <a:lnTo>
                    <a:pt x="91440" y="10478"/>
                  </a:lnTo>
                  <a:lnTo>
                    <a:pt x="60008" y="6572"/>
                  </a:lnTo>
                  <a:lnTo>
                    <a:pt x="35242" y="10478"/>
                  </a:lnTo>
                  <a:lnTo>
                    <a:pt x="35242" y="24765"/>
                  </a:lnTo>
                  <a:lnTo>
                    <a:pt x="48577" y="39053"/>
                  </a:lnTo>
                  <a:lnTo>
                    <a:pt x="48577" y="49435"/>
                  </a:lnTo>
                  <a:lnTo>
                    <a:pt x="41910" y="59912"/>
                  </a:lnTo>
                  <a:lnTo>
                    <a:pt x="35242" y="77153"/>
                  </a:lnTo>
                  <a:lnTo>
                    <a:pt x="20955" y="95250"/>
                  </a:lnTo>
                  <a:lnTo>
                    <a:pt x="14288" y="120015"/>
                  </a:lnTo>
                  <a:lnTo>
                    <a:pt x="0" y="134303"/>
                  </a:lnTo>
                  <a:lnTo>
                    <a:pt x="20955" y="140875"/>
                  </a:lnTo>
                  <a:lnTo>
                    <a:pt x="35242" y="14763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61" name="Freeform: Shape 3860">
              <a:extLst>
                <a:ext uri="{FF2B5EF4-FFF2-40B4-BE49-F238E27FC236}">
                  <a16:creationId xmlns:a16="http://schemas.microsoft.com/office/drawing/2014/main" id="{0EF9B5CC-FD95-951D-6618-E975A5F29C22}"/>
                </a:ext>
              </a:extLst>
            </p:cNvPr>
            <p:cNvSpPr/>
            <p:nvPr/>
          </p:nvSpPr>
          <p:spPr>
            <a:xfrm>
              <a:off x="2740756" y="2051608"/>
              <a:ext cx="490205" cy="235206"/>
            </a:xfrm>
            <a:custGeom>
              <a:avLst/>
              <a:gdLst>
                <a:gd name="connsiteX0" fmla="*/ 493395 w 500062"/>
                <a:gd name="connsiteY0" fmla="*/ 183737 h 239934"/>
                <a:gd name="connsiteX1" fmla="*/ 500063 w 500062"/>
                <a:gd name="connsiteY1" fmla="*/ 176213 h 239934"/>
                <a:gd name="connsiteX2" fmla="*/ 472440 w 500062"/>
                <a:gd name="connsiteY2" fmla="*/ 158972 h 239934"/>
                <a:gd name="connsiteX3" fmla="*/ 458152 w 500062"/>
                <a:gd name="connsiteY3" fmla="*/ 148590 h 239934"/>
                <a:gd name="connsiteX4" fmla="*/ 437197 w 500062"/>
                <a:gd name="connsiteY4" fmla="*/ 144685 h 239934"/>
                <a:gd name="connsiteX5" fmla="*/ 419100 w 500062"/>
                <a:gd name="connsiteY5" fmla="*/ 138113 h 239934"/>
                <a:gd name="connsiteX6" fmla="*/ 401955 w 500062"/>
                <a:gd name="connsiteY6" fmla="*/ 117062 h 239934"/>
                <a:gd name="connsiteX7" fmla="*/ 404813 w 500062"/>
                <a:gd name="connsiteY7" fmla="*/ 105727 h 239934"/>
                <a:gd name="connsiteX8" fmla="*/ 404813 w 500062"/>
                <a:gd name="connsiteY8" fmla="*/ 92297 h 239934"/>
                <a:gd name="connsiteX9" fmla="*/ 390525 w 500062"/>
                <a:gd name="connsiteY9" fmla="*/ 70485 h 239934"/>
                <a:gd name="connsiteX10" fmla="*/ 380047 w 500062"/>
                <a:gd name="connsiteY10" fmla="*/ 42863 h 239934"/>
                <a:gd name="connsiteX11" fmla="*/ 362902 w 500062"/>
                <a:gd name="connsiteY11" fmla="*/ 21812 h 239934"/>
                <a:gd name="connsiteX12" fmla="*/ 338138 w 500062"/>
                <a:gd name="connsiteY12" fmla="*/ 7525 h 239934"/>
                <a:gd name="connsiteX13" fmla="*/ 313372 w 500062"/>
                <a:gd name="connsiteY13" fmla="*/ 0 h 239934"/>
                <a:gd name="connsiteX14" fmla="*/ 299085 w 500062"/>
                <a:gd name="connsiteY14" fmla="*/ 7525 h 239934"/>
                <a:gd name="connsiteX15" fmla="*/ 302895 w 500062"/>
                <a:gd name="connsiteY15" fmla="*/ 28575 h 239934"/>
                <a:gd name="connsiteX16" fmla="*/ 309563 w 500062"/>
                <a:gd name="connsiteY16" fmla="*/ 59912 h 239934"/>
                <a:gd name="connsiteX17" fmla="*/ 320992 w 500062"/>
                <a:gd name="connsiteY17" fmla="*/ 78010 h 239934"/>
                <a:gd name="connsiteX18" fmla="*/ 302895 w 500062"/>
                <a:gd name="connsiteY18" fmla="*/ 84772 h 239934"/>
                <a:gd name="connsiteX19" fmla="*/ 292417 w 500062"/>
                <a:gd name="connsiteY19" fmla="*/ 67627 h 239934"/>
                <a:gd name="connsiteX20" fmla="*/ 285750 w 500062"/>
                <a:gd name="connsiteY20" fmla="*/ 45625 h 239934"/>
                <a:gd name="connsiteX21" fmla="*/ 271463 w 500062"/>
                <a:gd name="connsiteY21" fmla="*/ 28575 h 239934"/>
                <a:gd name="connsiteX22" fmla="*/ 250507 w 500062"/>
                <a:gd name="connsiteY22" fmla="*/ 18097 h 239934"/>
                <a:gd name="connsiteX23" fmla="*/ 240030 w 500062"/>
                <a:gd name="connsiteY23" fmla="*/ 21812 h 239934"/>
                <a:gd name="connsiteX24" fmla="*/ 253365 w 500062"/>
                <a:gd name="connsiteY24" fmla="*/ 32385 h 239934"/>
                <a:gd name="connsiteX25" fmla="*/ 250507 w 500062"/>
                <a:gd name="connsiteY25" fmla="*/ 45625 h 239934"/>
                <a:gd name="connsiteX26" fmla="*/ 225742 w 500062"/>
                <a:gd name="connsiteY26" fmla="*/ 45625 h 239934"/>
                <a:gd name="connsiteX27" fmla="*/ 211455 w 500062"/>
                <a:gd name="connsiteY27" fmla="*/ 49435 h 239934"/>
                <a:gd name="connsiteX28" fmla="*/ 207645 w 500062"/>
                <a:gd name="connsiteY28" fmla="*/ 42863 h 239934"/>
                <a:gd name="connsiteX29" fmla="*/ 215265 w 500062"/>
                <a:gd name="connsiteY29" fmla="*/ 32385 h 239934"/>
                <a:gd name="connsiteX30" fmla="*/ 186690 w 500062"/>
                <a:gd name="connsiteY30" fmla="*/ 21812 h 239934"/>
                <a:gd name="connsiteX31" fmla="*/ 158115 w 500062"/>
                <a:gd name="connsiteY31" fmla="*/ 14288 h 239934"/>
                <a:gd name="connsiteX32" fmla="*/ 147638 w 500062"/>
                <a:gd name="connsiteY32" fmla="*/ 39052 h 239934"/>
                <a:gd name="connsiteX33" fmla="*/ 122872 w 500062"/>
                <a:gd name="connsiteY33" fmla="*/ 32385 h 239934"/>
                <a:gd name="connsiteX34" fmla="*/ 130492 w 500062"/>
                <a:gd name="connsiteY34" fmla="*/ 21812 h 239934"/>
                <a:gd name="connsiteX35" fmla="*/ 134302 w 500062"/>
                <a:gd name="connsiteY35" fmla="*/ 14288 h 239934"/>
                <a:gd name="connsiteX36" fmla="*/ 130492 w 500062"/>
                <a:gd name="connsiteY36" fmla="*/ 0 h 239934"/>
                <a:gd name="connsiteX37" fmla="*/ 88582 w 500062"/>
                <a:gd name="connsiteY37" fmla="*/ 7525 h 239934"/>
                <a:gd name="connsiteX38" fmla="*/ 45720 w 500062"/>
                <a:gd name="connsiteY38" fmla="*/ 24765 h 239934"/>
                <a:gd name="connsiteX39" fmla="*/ 18097 w 500062"/>
                <a:gd name="connsiteY39" fmla="*/ 39052 h 239934"/>
                <a:gd name="connsiteX40" fmla="*/ 20955 w 500062"/>
                <a:gd name="connsiteY40" fmla="*/ 53340 h 239934"/>
                <a:gd name="connsiteX41" fmla="*/ 14288 w 500062"/>
                <a:gd name="connsiteY41" fmla="*/ 63722 h 239934"/>
                <a:gd name="connsiteX42" fmla="*/ 0 w 500062"/>
                <a:gd name="connsiteY42" fmla="*/ 74200 h 239934"/>
                <a:gd name="connsiteX43" fmla="*/ 0 w 500062"/>
                <a:gd name="connsiteY43" fmla="*/ 88487 h 239934"/>
                <a:gd name="connsiteX44" fmla="*/ 24765 w 500062"/>
                <a:gd name="connsiteY44" fmla="*/ 92297 h 239934"/>
                <a:gd name="connsiteX45" fmla="*/ 35242 w 500062"/>
                <a:gd name="connsiteY45" fmla="*/ 99060 h 239934"/>
                <a:gd name="connsiteX46" fmla="*/ 60007 w 500062"/>
                <a:gd name="connsiteY46" fmla="*/ 99060 h 239934"/>
                <a:gd name="connsiteX47" fmla="*/ 80963 w 500062"/>
                <a:gd name="connsiteY47" fmla="*/ 92297 h 239934"/>
                <a:gd name="connsiteX48" fmla="*/ 99060 w 500062"/>
                <a:gd name="connsiteY48" fmla="*/ 95250 h 239934"/>
                <a:gd name="connsiteX49" fmla="*/ 80963 w 500062"/>
                <a:gd name="connsiteY49" fmla="*/ 102775 h 239934"/>
                <a:gd name="connsiteX50" fmla="*/ 53340 w 500062"/>
                <a:gd name="connsiteY50" fmla="*/ 109538 h 239934"/>
                <a:gd name="connsiteX51" fmla="*/ 24765 w 500062"/>
                <a:gd name="connsiteY51" fmla="*/ 109538 h 239934"/>
                <a:gd name="connsiteX52" fmla="*/ 18097 w 500062"/>
                <a:gd name="connsiteY52" fmla="*/ 130397 h 239934"/>
                <a:gd name="connsiteX53" fmla="*/ 49530 w 500062"/>
                <a:gd name="connsiteY53" fmla="*/ 140875 h 239934"/>
                <a:gd name="connsiteX54" fmla="*/ 91440 w 500062"/>
                <a:gd name="connsiteY54" fmla="*/ 138113 h 239934"/>
                <a:gd name="connsiteX55" fmla="*/ 151447 w 500062"/>
                <a:gd name="connsiteY55" fmla="*/ 134302 h 239934"/>
                <a:gd name="connsiteX56" fmla="*/ 182880 w 500062"/>
                <a:gd name="connsiteY56" fmla="*/ 144685 h 239934"/>
                <a:gd name="connsiteX57" fmla="*/ 193357 w 500062"/>
                <a:gd name="connsiteY57" fmla="*/ 158972 h 239934"/>
                <a:gd name="connsiteX58" fmla="*/ 172402 w 500062"/>
                <a:gd name="connsiteY58" fmla="*/ 158972 h 239934"/>
                <a:gd name="connsiteX59" fmla="*/ 140970 w 500062"/>
                <a:gd name="connsiteY59" fmla="*/ 155162 h 239934"/>
                <a:gd name="connsiteX60" fmla="*/ 84772 w 500062"/>
                <a:gd name="connsiteY60" fmla="*/ 158972 h 239934"/>
                <a:gd name="connsiteX61" fmla="*/ 53340 w 500062"/>
                <a:gd name="connsiteY61" fmla="*/ 162877 h 239934"/>
                <a:gd name="connsiteX62" fmla="*/ 39052 w 500062"/>
                <a:gd name="connsiteY62" fmla="*/ 176213 h 239934"/>
                <a:gd name="connsiteX63" fmla="*/ 70485 w 500062"/>
                <a:gd name="connsiteY63" fmla="*/ 208597 h 239934"/>
                <a:gd name="connsiteX64" fmla="*/ 144780 w 500062"/>
                <a:gd name="connsiteY64" fmla="*/ 208597 h 239934"/>
                <a:gd name="connsiteX65" fmla="*/ 147638 w 500062"/>
                <a:gd name="connsiteY65" fmla="*/ 229552 h 239934"/>
                <a:gd name="connsiteX66" fmla="*/ 158115 w 500062"/>
                <a:gd name="connsiteY66" fmla="*/ 239935 h 239934"/>
                <a:gd name="connsiteX67" fmla="*/ 267652 w 500062"/>
                <a:gd name="connsiteY67" fmla="*/ 236125 h 239934"/>
                <a:gd name="connsiteX68" fmla="*/ 296227 w 500062"/>
                <a:gd name="connsiteY68" fmla="*/ 222885 h 239934"/>
                <a:gd name="connsiteX69" fmla="*/ 323850 w 500062"/>
                <a:gd name="connsiteY69" fmla="*/ 215265 h 239934"/>
                <a:gd name="connsiteX70" fmla="*/ 344805 w 500062"/>
                <a:gd name="connsiteY70" fmla="*/ 190500 h 239934"/>
                <a:gd name="connsiteX71" fmla="*/ 356235 w 500062"/>
                <a:gd name="connsiteY71" fmla="*/ 215265 h 239934"/>
                <a:gd name="connsiteX72" fmla="*/ 373380 w 500062"/>
                <a:gd name="connsiteY72" fmla="*/ 215265 h 239934"/>
                <a:gd name="connsiteX73" fmla="*/ 380047 w 500062"/>
                <a:gd name="connsiteY73" fmla="*/ 225647 h 239934"/>
                <a:gd name="connsiteX74" fmla="*/ 422910 w 500062"/>
                <a:gd name="connsiteY74" fmla="*/ 229552 h 239934"/>
                <a:gd name="connsiteX75" fmla="*/ 461010 w 500062"/>
                <a:gd name="connsiteY75" fmla="*/ 225647 h 239934"/>
                <a:gd name="connsiteX76" fmla="*/ 479107 w 500062"/>
                <a:gd name="connsiteY76" fmla="*/ 222885 h 239934"/>
                <a:gd name="connsiteX77" fmla="*/ 472440 w 500062"/>
                <a:gd name="connsiteY77" fmla="*/ 204788 h 239934"/>
                <a:gd name="connsiteX78" fmla="*/ 450532 w 500062"/>
                <a:gd name="connsiteY78" fmla="*/ 198025 h 239934"/>
                <a:gd name="connsiteX79" fmla="*/ 447675 w 500062"/>
                <a:gd name="connsiteY79" fmla="*/ 187547 h 239934"/>
                <a:gd name="connsiteX80" fmla="*/ 464820 w 500062"/>
                <a:gd name="connsiteY80" fmla="*/ 183737 h 239934"/>
                <a:gd name="connsiteX81" fmla="*/ 493395 w 500062"/>
                <a:gd name="connsiteY81" fmla="*/ 183737 h 239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500062" h="239934">
                  <a:moveTo>
                    <a:pt x="493395" y="183737"/>
                  </a:moveTo>
                  <a:lnTo>
                    <a:pt x="500063" y="176213"/>
                  </a:lnTo>
                  <a:lnTo>
                    <a:pt x="472440" y="158972"/>
                  </a:lnTo>
                  <a:lnTo>
                    <a:pt x="458152" y="148590"/>
                  </a:lnTo>
                  <a:lnTo>
                    <a:pt x="437197" y="144685"/>
                  </a:lnTo>
                  <a:lnTo>
                    <a:pt x="419100" y="138113"/>
                  </a:lnTo>
                  <a:lnTo>
                    <a:pt x="401955" y="117062"/>
                  </a:lnTo>
                  <a:lnTo>
                    <a:pt x="404813" y="105727"/>
                  </a:lnTo>
                  <a:lnTo>
                    <a:pt x="404813" y="92297"/>
                  </a:lnTo>
                  <a:lnTo>
                    <a:pt x="390525" y="70485"/>
                  </a:lnTo>
                  <a:lnTo>
                    <a:pt x="380047" y="42863"/>
                  </a:lnTo>
                  <a:lnTo>
                    <a:pt x="362902" y="21812"/>
                  </a:lnTo>
                  <a:lnTo>
                    <a:pt x="338138" y="7525"/>
                  </a:lnTo>
                  <a:lnTo>
                    <a:pt x="313372" y="0"/>
                  </a:lnTo>
                  <a:lnTo>
                    <a:pt x="299085" y="7525"/>
                  </a:lnTo>
                  <a:lnTo>
                    <a:pt x="302895" y="28575"/>
                  </a:lnTo>
                  <a:lnTo>
                    <a:pt x="309563" y="59912"/>
                  </a:lnTo>
                  <a:lnTo>
                    <a:pt x="320992" y="78010"/>
                  </a:lnTo>
                  <a:lnTo>
                    <a:pt x="302895" y="84772"/>
                  </a:lnTo>
                  <a:lnTo>
                    <a:pt x="292417" y="67627"/>
                  </a:lnTo>
                  <a:lnTo>
                    <a:pt x="285750" y="45625"/>
                  </a:lnTo>
                  <a:lnTo>
                    <a:pt x="271463" y="28575"/>
                  </a:lnTo>
                  <a:lnTo>
                    <a:pt x="250507" y="18097"/>
                  </a:lnTo>
                  <a:lnTo>
                    <a:pt x="240030" y="21812"/>
                  </a:lnTo>
                  <a:lnTo>
                    <a:pt x="253365" y="32385"/>
                  </a:lnTo>
                  <a:lnTo>
                    <a:pt x="250507" y="45625"/>
                  </a:lnTo>
                  <a:lnTo>
                    <a:pt x="225742" y="45625"/>
                  </a:lnTo>
                  <a:lnTo>
                    <a:pt x="211455" y="49435"/>
                  </a:lnTo>
                  <a:lnTo>
                    <a:pt x="207645" y="42863"/>
                  </a:lnTo>
                  <a:lnTo>
                    <a:pt x="215265" y="32385"/>
                  </a:lnTo>
                  <a:lnTo>
                    <a:pt x="186690" y="21812"/>
                  </a:lnTo>
                  <a:lnTo>
                    <a:pt x="158115" y="14288"/>
                  </a:lnTo>
                  <a:lnTo>
                    <a:pt x="147638" y="39052"/>
                  </a:lnTo>
                  <a:lnTo>
                    <a:pt x="122872" y="32385"/>
                  </a:lnTo>
                  <a:lnTo>
                    <a:pt x="130492" y="21812"/>
                  </a:lnTo>
                  <a:lnTo>
                    <a:pt x="134302" y="14288"/>
                  </a:lnTo>
                  <a:lnTo>
                    <a:pt x="130492" y="0"/>
                  </a:lnTo>
                  <a:lnTo>
                    <a:pt x="88582" y="7525"/>
                  </a:lnTo>
                  <a:lnTo>
                    <a:pt x="45720" y="24765"/>
                  </a:lnTo>
                  <a:lnTo>
                    <a:pt x="18097" y="39052"/>
                  </a:lnTo>
                  <a:lnTo>
                    <a:pt x="20955" y="53340"/>
                  </a:lnTo>
                  <a:lnTo>
                    <a:pt x="14288" y="63722"/>
                  </a:lnTo>
                  <a:lnTo>
                    <a:pt x="0" y="74200"/>
                  </a:lnTo>
                  <a:lnTo>
                    <a:pt x="0" y="88487"/>
                  </a:lnTo>
                  <a:lnTo>
                    <a:pt x="24765" y="92297"/>
                  </a:lnTo>
                  <a:lnTo>
                    <a:pt x="35242" y="99060"/>
                  </a:lnTo>
                  <a:lnTo>
                    <a:pt x="60007" y="99060"/>
                  </a:lnTo>
                  <a:lnTo>
                    <a:pt x="80963" y="92297"/>
                  </a:lnTo>
                  <a:lnTo>
                    <a:pt x="99060" y="95250"/>
                  </a:lnTo>
                  <a:lnTo>
                    <a:pt x="80963" y="102775"/>
                  </a:lnTo>
                  <a:lnTo>
                    <a:pt x="53340" y="109538"/>
                  </a:lnTo>
                  <a:lnTo>
                    <a:pt x="24765" y="109538"/>
                  </a:lnTo>
                  <a:lnTo>
                    <a:pt x="18097" y="130397"/>
                  </a:lnTo>
                  <a:lnTo>
                    <a:pt x="49530" y="140875"/>
                  </a:lnTo>
                  <a:lnTo>
                    <a:pt x="91440" y="138113"/>
                  </a:lnTo>
                  <a:lnTo>
                    <a:pt x="151447" y="134302"/>
                  </a:lnTo>
                  <a:lnTo>
                    <a:pt x="182880" y="144685"/>
                  </a:lnTo>
                  <a:lnTo>
                    <a:pt x="193357" y="158972"/>
                  </a:lnTo>
                  <a:lnTo>
                    <a:pt x="172402" y="158972"/>
                  </a:lnTo>
                  <a:lnTo>
                    <a:pt x="140970" y="155162"/>
                  </a:lnTo>
                  <a:lnTo>
                    <a:pt x="84772" y="158972"/>
                  </a:lnTo>
                  <a:lnTo>
                    <a:pt x="53340" y="162877"/>
                  </a:lnTo>
                  <a:lnTo>
                    <a:pt x="39052" y="176213"/>
                  </a:lnTo>
                  <a:lnTo>
                    <a:pt x="70485" y="208597"/>
                  </a:lnTo>
                  <a:lnTo>
                    <a:pt x="144780" y="208597"/>
                  </a:lnTo>
                  <a:lnTo>
                    <a:pt x="147638" y="229552"/>
                  </a:lnTo>
                  <a:lnTo>
                    <a:pt x="158115" y="239935"/>
                  </a:lnTo>
                  <a:lnTo>
                    <a:pt x="267652" y="236125"/>
                  </a:lnTo>
                  <a:lnTo>
                    <a:pt x="296227" y="222885"/>
                  </a:lnTo>
                  <a:lnTo>
                    <a:pt x="323850" y="215265"/>
                  </a:lnTo>
                  <a:lnTo>
                    <a:pt x="344805" y="190500"/>
                  </a:lnTo>
                  <a:lnTo>
                    <a:pt x="356235" y="215265"/>
                  </a:lnTo>
                  <a:lnTo>
                    <a:pt x="373380" y="215265"/>
                  </a:lnTo>
                  <a:lnTo>
                    <a:pt x="380047" y="225647"/>
                  </a:lnTo>
                  <a:lnTo>
                    <a:pt x="422910" y="229552"/>
                  </a:lnTo>
                  <a:lnTo>
                    <a:pt x="461010" y="225647"/>
                  </a:lnTo>
                  <a:lnTo>
                    <a:pt x="479107" y="222885"/>
                  </a:lnTo>
                  <a:lnTo>
                    <a:pt x="472440" y="204788"/>
                  </a:lnTo>
                  <a:lnTo>
                    <a:pt x="450532" y="198025"/>
                  </a:lnTo>
                  <a:lnTo>
                    <a:pt x="447675" y="187547"/>
                  </a:lnTo>
                  <a:lnTo>
                    <a:pt x="464820" y="183737"/>
                  </a:lnTo>
                  <a:lnTo>
                    <a:pt x="493395" y="18373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62" name="Freeform: Shape 3861">
              <a:extLst>
                <a:ext uri="{FF2B5EF4-FFF2-40B4-BE49-F238E27FC236}">
                  <a16:creationId xmlns:a16="http://schemas.microsoft.com/office/drawing/2014/main" id="{E1E7C28B-7565-BDBA-490E-4BBAF54B6100}"/>
                </a:ext>
              </a:extLst>
            </p:cNvPr>
            <p:cNvSpPr/>
            <p:nvPr/>
          </p:nvSpPr>
          <p:spPr>
            <a:xfrm>
              <a:off x="2779038" y="1854590"/>
              <a:ext cx="327737" cy="141927"/>
            </a:xfrm>
            <a:custGeom>
              <a:avLst/>
              <a:gdLst>
                <a:gd name="connsiteX0" fmla="*/ 31433 w 334327"/>
                <a:gd name="connsiteY0" fmla="*/ 42863 h 144780"/>
                <a:gd name="connsiteX1" fmla="*/ 27623 w 334327"/>
                <a:gd name="connsiteY1" fmla="*/ 53340 h 144780"/>
                <a:gd name="connsiteX2" fmla="*/ 60008 w 334327"/>
                <a:gd name="connsiteY2" fmla="*/ 59912 h 144780"/>
                <a:gd name="connsiteX3" fmla="*/ 17145 w 334327"/>
                <a:gd name="connsiteY3" fmla="*/ 63818 h 144780"/>
                <a:gd name="connsiteX4" fmla="*/ 6667 w 334327"/>
                <a:gd name="connsiteY4" fmla="*/ 74200 h 144780"/>
                <a:gd name="connsiteX5" fmla="*/ 31433 w 334327"/>
                <a:gd name="connsiteY5" fmla="*/ 80963 h 144780"/>
                <a:gd name="connsiteX6" fmla="*/ 0 w 334327"/>
                <a:gd name="connsiteY6" fmla="*/ 84677 h 144780"/>
                <a:gd name="connsiteX7" fmla="*/ 2858 w 334327"/>
                <a:gd name="connsiteY7" fmla="*/ 98965 h 144780"/>
                <a:gd name="connsiteX8" fmla="*/ 35242 w 334327"/>
                <a:gd name="connsiteY8" fmla="*/ 102775 h 144780"/>
                <a:gd name="connsiteX9" fmla="*/ 52388 w 334327"/>
                <a:gd name="connsiteY9" fmla="*/ 109538 h 144780"/>
                <a:gd name="connsiteX10" fmla="*/ 83820 w 334327"/>
                <a:gd name="connsiteY10" fmla="*/ 102775 h 144780"/>
                <a:gd name="connsiteX11" fmla="*/ 91440 w 334327"/>
                <a:gd name="connsiteY11" fmla="*/ 88487 h 144780"/>
                <a:gd name="connsiteX12" fmla="*/ 108585 w 334327"/>
                <a:gd name="connsiteY12" fmla="*/ 84677 h 144780"/>
                <a:gd name="connsiteX13" fmla="*/ 101917 w 334327"/>
                <a:gd name="connsiteY13" fmla="*/ 98965 h 144780"/>
                <a:gd name="connsiteX14" fmla="*/ 140970 w 334327"/>
                <a:gd name="connsiteY14" fmla="*/ 98965 h 144780"/>
                <a:gd name="connsiteX15" fmla="*/ 172403 w 334327"/>
                <a:gd name="connsiteY15" fmla="*/ 98965 h 144780"/>
                <a:gd name="connsiteX16" fmla="*/ 168592 w 334327"/>
                <a:gd name="connsiteY16" fmla="*/ 109538 h 144780"/>
                <a:gd name="connsiteX17" fmla="*/ 140970 w 334327"/>
                <a:gd name="connsiteY17" fmla="*/ 113252 h 144780"/>
                <a:gd name="connsiteX18" fmla="*/ 108585 w 334327"/>
                <a:gd name="connsiteY18" fmla="*/ 113252 h 144780"/>
                <a:gd name="connsiteX19" fmla="*/ 87630 w 334327"/>
                <a:gd name="connsiteY19" fmla="*/ 123825 h 144780"/>
                <a:gd name="connsiteX20" fmla="*/ 101917 w 334327"/>
                <a:gd name="connsiteY20" fmla="*/ 138113 h 144780"/>
                <a:gd name="connsiteX21" fmla="*/ 130492 w 334327"/>
                <a:gd name="connsiteY21" fmla="*/ 144780 h 144780"/>
                <a:gd name="connsiteX22" fmla="*/ 168592 w 334327"/>
                <a:gd name="connsiteY22" fmla="*/ 134302 h 144780"/>
                <a:gd name="connsiteX23" fmla="*/ 200978 w 334327"/>
                <a:gd name="connsiteY23" fmla="*/ 116205 h 144780"/>
                <a:gd name="connsiteX24" fmla="*/ 235267 w 334327"/>
                <a:gd name="connsiteY24" fmla="*/ 113252 h 144780"/>
                <a:gd name="connsiteX25" fmla="*/ 260033 w 334327"/>
                <a:gd name="connsiteY25" fmla="*/ 102775 h 144780"/>
                <a:gd name="connsiteX26" fmla="*/ 295275 w 334327"/>
                <a:gd name="connsiteY26" fmla="*/ 113252 h 144780"/>
                <a:gd name="connsiteX27" fmla="*/ 320040 w 334327"/>
                <a:gd name="connsiteY27" fmla="*/ 102775 h 144780"/>
                <a:gd name="connsiteX28" fmla="*/ 334328 w 334327"/>
                <a:gd name="connsiteY28" fmla="*/ 84677 h 144780"/>
                <a:gd name="connsiteX29" fmla="*/ 334328 w 334327"/>
                <a:gd name="connsiteY29" fmla="*/ 59912 h 144780"/>
                <a:gd name="connsiteX30" fmla="*/ 323850 w 334327"/>
                <a:gd name="connsiteY30" fmla="*/ 49530 h 144780"/>
                <a:gd name="connsiteX31" fmla="*/ 302895 w 334327"/>
                <a:gd name="connsiteY31" fmla="*/ 49530 h 144780"/>
                <a:gd name="connsiteX32" fmla="*/ 295275 w 334327"/>
                <a:gd name="connsiteY32" fmla="*/ 59912 h 144780"/>
                <a:gd name="connsiteX33" fmla="*/ 284798 w 334327"/>
                <a:gd name="connsiteY33" fmla="*/ 59912 h 144780"/>
                <a:gd name="connsiteX34" fmla="*/ 260033 w 334327"/>
                <a:gd name="connsiteY34" fmla="*/ 53340 h 144780"/>
                <a:gd name="connsiteX35" fmla="*/ 257175 w 334327"/>
                <a:gd name="connsiteY35" fmla="*/ 39052 h 144780"/>
                <a:gd name="connsiteX36" fmla="*/ 260033 w 334327"/>
                <a:gd name="connsiteY36" fmla="*/ 28575 h 144780"/>
                <a:gd name="connsiteX37" fmla="*/ 249555 w 334327"/>
                <a:gd name="connsiteY37" fmla="*/ 14288 h 144780"/>
                <a:gd name="connsiteX38" fmla="*/ 246698 w 334327"/>
                <a:gd name="connsiteY38" fmla="*/ 3715 h 144780"/>
                <a:gd name="connsiteX39" fmla="*/ 228600 w 334327"/>
                <a:gd name="connsiteY39" fmla="*/ 0 h 144780"/>
                <a:gd name="connsiteX40" fmla="*/ 214313 w 334327"/>
                <a:gd name="connsiteY40" fmla="*/ 18002 h 144780"/>
                <a:gd name="connsiteX41" fmla="*/ 203835 w 334327"/>
                <a:gd name="connsiteY41" fmla="*/ 35243 h 144780"/>
                <a:gd name="connsiteX42" fmla="*/ 224790 w 334327"/>
                <a:gd name="connsiteY42" fmla="*/ 42863 h 144780"/>
                <a:gd name="connsiteX43" fmla="*/ 228600 w 334327"/>
                <a:gd name="connsiteY43" fmla="*/ 49530 h 144780"/>
                <a:gd name="connsiteX44" fmla="*/ 207645 w 334327"/>
                <a:gd name="connsiteY44" fmla="*/ 59912 h 144780"/>
                <a:gd name="connsiteX45" fmla="*/ 239078 w 334327"/>
                <a:gd name="connsiteY45" fmla="*/ 67627 h 144780"/>
                <a:gd name="connsiteX46" fmla="*/ 239078 w 334327"/>
                <a:gd name="connsiteY46" fmla="*/ 78105 h 144780"/>
                <a:gd name="connsiteX47" fmla="*/ 176213 w 334327"/>
                <a:gd name="connsiteY47" fmla="*/ 78105 h 144780"/>
                <a:gd name="connsiteX48" fmla="*/ 172403 w 334327"/>
                <a:gd name="connsiteY48" fmla="*/ 74200 h 144780"/>
                <a:gd name="connsiteX49" fmla="*/ 172403 w 334327"/>
                <a:gd name="connsiteY49" fmla="*/ 70390 h 144780"/>
                <a:gd name="connsiteX50" fmla="*/ 172403 w 334327"/>
                <a:gd name="connsiteY50" fmla="*/ 63818 h 144780"/>
                <a:gd name="connsiteX51" fmla="*/ 154305 w 334327"/>
                <a:gd name="connsiteY51" fmla="*/ 49530 h 144780"/>
                <a:gd name="connsiteX52" fmla="*/ 130492 w 334327"/>
                <a:gd name="connsiteY52" fmla="*/ 35243 h 144780"/>
                <a:gd name="connsiteX53" fmla="*/ 116205 w 334327"/>
                <a:gd name="connsiteY53" fmla="*/ 35243 h 144780"/>
                <a:gd name="connsiteX54" fmla="*/ 101917 w 334327"/>
                <a:gd name="connsiteY54" fmla="*/ 39052 h 144780"/>
                <a:gd name="connsiteX55" fmla="*/ 87630 w 334327"/>
                <a:gd name="connsiteY55" fmla="*/ 24765 h 144780"/>
                <a:gd name="connsiteX56" fmla="*/ 60008 w 334327"/>
                <a:gd name="connsiteY56" fmla="*/ 28575 h 144780"/>
                <a:gd name="connsiteX57" fmla="*/ 45720 w 334327"/>
                <a:gd name="connsiteY57" fmla="*/ 35243 h 144780"/>
                <a:gd name="connsiteX58" fmla="*/ 31433 w 334327"/>
                <a:gd name="connsiteY58" fmla="*/ 42863 h 144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334327" h="144780">
                  <a:moveTo>
                    <a:pt x="31433" y="42863"/>
                  </a:moveTo>
                  <a:lnTo>
                    <a:pt x="27623" y="53340"/>
                  </a:lnTo>
                  <a:lnTo>
                    <a:pt x="60008" y="59912"/>
                  </a:lnTo>
                  <a:lnTo>
                    <a:pt x="17145" y="63818"/>
                  </a:lnTo>
                  <a:lnTo>
                    <a:pt x="6667" y="74200"/>
                  </a:lnTo>
                  <a:lnTo>
                    <a:pt x="31433" y="80963"/>
                  </a:lnTo>
                  <a:lnTo>
                    <a:pt x="0" y="84677"/>
                  </a:lnTo>
                  <a:lnTo>
                    <a:pt x="2858" y="98965"/>
                  </a:lnTo>
                  <a:lnTo>
                    <a:pt x="35242" y="102775"/>
                  </a:lnTo>
                  <a:lnTo>
                    <a:pt x="52388" y="109538"/>
                  </a:lnTo>
                  <a:lnTo>
                    <a:pt x="83820" y="102775"/>
                  </a:lnTo>
                  <a:lnTo>
                    <a:pt x="91440" y="88487"/>
                  </a:lnTo>
                  <a:lnTo>
                    <a:pt x="108585" y="84677"/>
                  </a:lnTo>
                  <a:lnTo>
                    <a:pt x="101917" y="98965"/>
                  </a:lnTo>
                  <a:lnTo>
                    <a:pt x="140970" y="98965"/>
                  </a:lnTo>
                  <a:lnTo>
                    <a:pt x="172403" y="98965"/>
                  </a:lnTo>
                  <a:lnTo>
                    <a:pt x="168592" y="109538"/>
                  </a:lnTo>
                  <a:lnTo>
                    <a:pt x="140970" y="113252"/>
                  </a:lnTo>
                  <a:lnTo>
                    <a:pt x="108585" y="113252"/>
                  </a:lnTo>
                  <a:lnTo>
                    <a:pt x="87630" y="123825"/>
                  </a:lnTo>
                  <a:lnTo>
                    <a:pt x="101917" y="138113"/>
                  </a:lnTo>
                  <a:lnTo>
                    <a:pt x="130492" y="144780"/>
                  </a:lnTo>
                  <a:lnTo>
                    <a:pt x="168592" y="134302"/>
                  </a:lnTo>
                  <a:lnTo>
                    <a:pt x="200978" y="116205"/>
                  </a:lnTo>
                  <a:lnTo>
                    <a:pt x="235267" y="113252"/>
                  </a:lnTo>
                  <a:lnTo>
                    <a:pt x="260033" y="102775"/>
                  </a:lnTo>
                  <a:lnTo>
                    <a:pt x="295275" y="113252"/>
                  </a:lnTo>
                  <a:lnTo>
                    <a:pt x="320040" y="102775"/>
                  </a:lnTo>
                  <a:lnTo>
                    <a:pt x="334328" y="84677"/>
                  </a:lnTo>
                  <a:lnTo>
                    <a:pt x="334328" y="59912"/>
                  </a:lnTo>
                  <a:lnTo>
                    <a:pt x="323850" y="49530"/>
                  </a:lnTo>
                  <a:lnTo>
                    <a:pt x="302895" y="49530"/>
                  </a:lnTo>
                  <a:lnTo>
                    <a:pt x="295275" y="59912"/>
                  </a:lnTo>
                  <a:lnTo>
                    <a:pt x="284798" y="59912"/>
                  </a:lnTo>
                  <a:lnTo>
                    <a:pt x="260033" y="53340"/>
                  </a:lnTo>
                  <a:lnTo>
                    <a:pt x="257175" y="39052"/>
                  </a:lnTo>
                  <a:lnTo>
                    <a:pt x="260033" y="28575"/>
                  </a:lnTo>
                  <a:lnTo>
                    <a:pt x="249555" y="14288"/>
                  </a:lnTo>
                  <a:lnTo>
                    <a:pt x="246698" y="3715"/>
                  </a:lnTo>
                  <a:lnTo>
                    <a:pt x="228600" y="0"/>
                  </a:lnTo>
                  <a:lnTo>
                    <a:pt x="214313" y="18002"/>
                  </a:lnTo>
                  <a:lnTo>
                    <a:pt x="203835" y="35243"/>
                  </a:lnTo>
                  <a:lnTo>
                    <a:pt x="224790" y="42863"/>
                  </a:lnTo>
                  <a:lnTo>
                    <a:pt x="228600" y="49530"/>
                  </a:lnTo>
                  <a:lnTo>
                    <a:pt x="207645" y="59912"/>
                  </a:lnTo>
                  <a:lnTo>
                    <a:pt x="239078" y="67627"/>
                  </a:lnTo>
                  <a:lnTo>
                    <a:pt x="239078" y="78105"/>
                  </a:lnTo>
                  <a:lnTo>
                    <a:pt x="176213" y="78105"/>
                  </a:lnTo>
                  <a:lnTo>
                    <a:pt x="172403" y="74200"/>
                  </a:lnTo>
                  <a:lnTo>
                    <a:pt x="172403" y="70390"/>
                  </a:lnTo>
                  <a:lnTo>
                    <a:pt x="172403" y="63818"/>
                  </a:lnTo>
                  <a:lnTo>
                    <a:pt x="154305" y="49530"/>
                  </a:lnTo>
                  <a:lnTo>
                    <a:pt x="130492" y="35243"/>
                  </a:lnTo>
                  <a:lnTo>
                    <a:pt x="116205" y="35243"/>
                  </a:lnTo>
                  <a:lnTo>
                    <a:pt x="101917" y="39052"/>
                  </a:lnTo>
                  <a:lnTo>
                    <a:pt x="87630" y="24765"/>
                  </a:lnTo>
                  <a:lnTo>
                    <a:pt x="60008" y="28575"/>
                  </a:lnTo>
                  <a:lnTo>
                    <a:pt x="45720" y="35243"/>
                  </a:lnTo>
                  <a:lnTo>
                    <a:pt x="31433" y="4286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63" name="Freeform: Shape 3862">
              <a:extLst>
                <a:ext uri="{FF2B5EF4-FFF2-40B4-BE49-F238E27FC236}">
                  <a16:creationId xmlns:a16="http://schemas.microsoft.com/office/drawing/2014/main" id="{D5EC5960-1C63-C1E3-D00E-74692D0DEC1C}"/>
                </a:ext>
              </a:extLst>
            </p:cNvPr>
            <p:cNvSpPr/>
            <p:nvPr/>
          </p:nvSpPr>
          <p:spPr>
            <a:xfrm>
              <a:off x="3106776" y="1706127"/>
              <a:ext cx="183009" cy="97108"/>
            </a:xfrm>
            <a:custGeom>
              <a:avLst/>
              <a:gdLst>
                <a:gd name="connsiteX0" fmla="*/ 45720 w 186689"/>
                <a:gd name="connsiteY0" fmla="*/ 35147 h 99060"/>
                <a:gd name="connsiteX1" fmla="*/ 60008 w 186689"/>
                <a:gd name="connsiteY1" fmla="*/ 49435 h 99060"/>
                <a:gd name="connsiteX2" fmla="*/ 56197 w 186689"/>
                <a:gd name="connsiteY2" fmla="*/ 53340 h 99060"/>
                <a:gd name="connsiteX3" fmla="*/ 31433 w 186689"/>
                <a:gd name="connsiteY3" fmla="*/ 49435 h 99060"/>
                <a:gd name="connsiteX4" fmla="*/ 17145 w 186689"/>
                <a:gd name="connsiteY4" fmla="*/ 53340 h 99060"/>
                <a:gd name="connsiteX5" fmla="*/ 14288 w 186689"/>
                <a:gd name="connsiteY5" fmla="*/ 70485 h 99060"/>
                <a:gd name="connsiteX6" fmla="*/ 35242 w 186689"/>
                <a:gd name="connsiteY6" fmla="*/ 74200 h 99060"/>
                <a:gd name="connsiteX7" fmla="*/ 60008 w 186689"/>
                <a:gd name="connsiteY7" fmla="*/ 70485 h 99060"/>
                <a:gd name="connsiteX8" fmla="*/ 87630 w 186689"/>
                <a:gd name="connsiteY8" fmla="*/ 66675 h 99060"/>
                <a:gd name="connsiteX9" fmla="*/ 116205 w 186689"/>
                <a:gd name="connsiteY9" fmla="*/ 70485 h 99060"/>
                <a:gd name="connsiteX10" fmla="*/ 130492 w 186689"/>
                <a:gd name="connsiteY10" fmla="*/ 80963 h 99060"/>
                <a:gd name="connsiteX11" fmla="*/ 144780 w 186689"/>
                <a:gd name="connsiteY11" fmla="*/ 99060 h 99060"/>
                <a:gd name="connsiteX12" fmla="*/ 172402 w 186689"/>
                <a:gd name="connsiteY12" fmla="*/ 99060 h 99060"/>
                <a:gd name="connsiteX13" fmla="*/ 186690 w 186689"/>
                <a:gd name="connsiteY13" fmla="*/ 84773 h 99060"/>
                <a:gd name="connsiteX14" fmla="*/ 165735 w 186689"/>
                <a:gd name="connsiteY14" fmla="*/ 66675 h 99060"/>
                <a:gd name="connsiteX15" fmla="*/ 158115 w 186689"/>
                <a:gd name="connsiteY15" fmla="*/ 49435 h 99060"/>
                <a:gd name="connsiteX16" fmla="*/ 140970 w 186689"/>
                <a:gd name="connsiteY16" fmla="*/ 35147 h 99060"/>
                <a:gd name="connsiteX17" fmla="*/ 122872 w 186689"/>
                <a:gd name="connsiteY17" fmla="*/ 31432 h 99060"/>
                <a:gd name="connsiteX18" fmla="*/ 112395 w 186689"/>
                <a:gd name="connsiteY18" fmla="*/ 20860 h 99060"/>
                <a:gd name="connsiteX19" fmla="*/ 87630 w 186689"/>
                <a:gd name="connsiteY19" fmla="*/ 18002 h 99060"/>
                <a:gd name="connsiteX20" fmla="*/ 77152 w 186689"/>
                <a:gd name="connsiteY20" fmla="*/ 35147 h 99060"/>
                <a:gd name="connsiteX21" fmla="*/ 74295 w 186689"/>
                <a:gd name="connsiteY21" fmla="*/ 18002 h 99060"/>
                <a:gd name="connsiteX22" fmla="*/ 70485 w 186689"/>
                <a:gd name="connsiteY22" fmla="*/ 3715 h 99060"/>
                <a:gd name="connsiteX23" fmla="*/ 31433 w 186689"/>
                <a:gd name="connsiteY23" fmla="*/ 0 h 99060"/>
                <a:gd name="connsiteX24" fmla="*/ 0 w 186689"/>
                <a:gd name="connsiteY24" fmla="*/ 3715 h 99060"/>
                <a:gd name="connsiteX25" fmla="*/ 0 w 186689"/>
                <a:gd name="connsiteY25" fmla="*/ 20860 h 99060"/>
                <a:gd name="connsiteX26" fmla="*/ 28575 w 186689"/>
                <a:gd name="connsiteY26" fmla="*/ 28575 h 99060"/>
                <a:gd name="connsiteX27" fmla="*/ 45720 w 186689"/>
                <a:gd name="connsiteY27" fmla="*/ 35147 h 9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86689" h="99060">
                  <a:moveTo>
                    <a:pt x="45720" y="35147"/>
                  </a:moveTo>
                  <a:lnTo>
                    <a:pt x="60008" y="49435"/>
                  </a:lnTo>
                  <a:lnTo>
                    <a:pt x="56197" y="53340"/>
                  </a:lnTo>
                  <a:lnTo>
                    <a:pt x="31433" y="49435"/>
                  </a:lnTo>
                  <a:lnTo>
                    <a:pt x="17145" y="53340"/>
                  </a:lnTo>
                  <a:lnTo>
                    <a:pt x="14288" y="70485"/>
                  </a:lnTo>
                  <a:lnTo>
                    <a:pt x="35242" y="74200"/>
                  </a:lnTo>
                  <a:lnTo>
                    <a:pt x="60008" y="70485"/>
                  </a:lnTo>
                  <a:lnTo>
                    <a:pt x="87630" y="66675"/>
                  </a:lnTo>
                  <a:lnTo>
                    <a:pt x="116205" y="70485"/>
                  </a:lnTo>
                  <a:lnTo>
                    <a:pt x="130492" y="80963"/>
                  </a:lnTo>
                  <a:lnTo>
                    <a:pt x="144780" y="99060"/>
                  </a:lnTo>
                  <a:lnTo>
                    <a:pt x="172402" y="99060"/>
                  </a:lnTo>
                  <a:lnTo>
                    <a:pt x="186690" y="84773"/>
                  </a:lnTo>
                  <a:lnTo>
                    <a:pt x="165735" y="66675"/>
                  </a:lnTo>
                  <a:lnTo>
                    <a:pt x="158115" y="49435"/>
                  </a:lnTo>
                  <a:lnTo>
                    <a:pt x="140970" y="35147"/>
                  </a:lnTo>
                  <a:lnTo>
                    <a:pt x="122872" y="31432"/>
                  </a:lnTo>
                  <a:lnTo>
                    <a:pt x="112395" y="20860"/>
                  </a:lnTo>
                  <a:lnTo>
                    <a:pt x="87630" y="18002"/>
                  </a:lnTo>
                  <a:lnTo>
                    <a:pt x="77152" y="35147"/>
                  </a:lnTo>
                  <a:lnTo>
                    <a:pt x="74295" y="18002"/>
                  </a:lnTo>
                  <a:lnTo>
                    <a:pt x="70485" y="3715"/>
                  </a:lnTo>
                  <a:lnTo>
                    <a:pt x="31433" y="0"/>
                  </a:lnTo>
                  <a:lnTo>
                    <a:pt x="0" y="3715"/>
                  </a:lnTo>
                  <a:lnTo>
                    <a:pt x="0" y="20860"/>
                  </a:lnTo>
                  <a:lnTo>
                    <a:pt x="28575" y="28575"/>
                  </a:lnTo>
                  <a:lnTo>
                    <a:pt x="45720" y="3514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64" name="Freeform: Shape 3863">
              <a:extLst>
                <a:ext uri="{FF2B5EF4-FFF2-40B4-BE49-F238E27FC236}">
                  <a16:creationId xmlns:a16="http://schemas.microsoft.com/office/drawing/2014/main" id="{B04E5315-097B-65C6-0363-398B8E558866}"/>
                </a:ext>
              </a:extLst>
            </p:cNvPr>
            <p:cNvSpPr/>
            <p:nvPr/>
          </p:nvSpPr>
          <p:spPr>
            <a:xfrm>
              <a:off x="3279516" y="1872238"/>
              <a:ext cx="41083" cy="10364"/>
            </a:xfrm>
            <a:custGeom>
              <a:avLst/>
              <a:gdLst>
                <a:gd name="connsiteX0" fmla="*/ 14288 w 41909"/>
                <a:gd name="connsiteY0" fmla="*/ 0 h 10572"/>
                <a:gd name="connsiteX1" fmla="*/ 35242 w 41909"/>
                <a:gd name="connsiteY1" fmla="*/ 0 h 10572"/>
                <a:gd name="connsiteX2" fmla="*/ 41910 w 41909"/>
                <a:gd name="connsiteY2" fmla="*/ 10573 h 10572"/>
                <a:gd name="connsiteX3" fmla="*/ 35242 w 41909"/>
                <a:gd name="connsiteY3" fmla="*/ 0 h 10572"/>
                <a:gd name="connsiteX4" fmla="*/ 14288 w 41909"/>
                <a:gd name="connsiteY4" fmla="*/ 0 h 10572"/>
                <a:gd name="connsiteX5" fmla="*/ 0 w 41909"/>
                <a:gd name="connsiteY5" fmla="*/ 6763 h 10572"/>
                <a:gd name="connsiteX6" fmla="*/ 14288 w 41909"/>
                <a:gd name="connsiteY6" fmla="*/ 0 h 10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1909" h="10572">
                  <a:moveTo>
                    <a:pt x="14288" y="0"/>
                  </a:moveTo>
                  <a:lnTo>
                    <a:pt x="35242" y="0"/>
                  </a:lnTo>
                  <a:lnTo>
                    <a:pt x="41910" y="10573"/>
                  </a:lnTo>
                  <a:lnTo>
                    <a:pt x="35242" y="0"/>
                  </a:lnTo>
                  <a:lnTo>
                    <a:pt x="14288" y="0"/>
                  </a:lnTo>
                  <a:lnTo>
                    <a:pt x="0" y="6763"/>
                  </a:lnTo>
                  <a:lnTo>
                    <a:pt x="1428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65" name="Freeform: Shape 3864">
              <a:extLst>
                <a:ext uri="{FF2B5EF4-FFF2-40B4-BE49-F238E27FC236}">
                  <a16:creationId xmlns:a16="http://schemas.microsoft.com/office/drawing/2014/main" id="{9DA64DD9-C971-3CD2-5599-56828279765E}"/>
                </a:ext>
              </a:extLst>
            </p:cNvPr>
            <p:cNvSpPr/>
            <p:nvPr/>
          </p:nvSpPr>
          <p:spPr>
            <a:xfrm>
              <a:off x="3134788" y="1864861"/>
              <a:ext cx="13071" cy="7376"/>
            </a:xfrm>
            <a:custGeom>
              <a:avLst/>
              <a:gdLst>
                <a:gd name="connsiteX0" fmla="*/ 0 w 13334"/>
                <a:gd name="connsiteY0" fmla="*/ 7525 h 7524"/>
                <a:gd name="connsiteX1" fmla="*/ 0 w 13334"/>
                <a:gd name="connsiteY1" fmla="*/ 7525 h 7524"/>
                <a:gd name="connsiteX2" fmla="*/ 13335 w 13334"/>
                <a:gd name="connsiteY2" fmla="*/ 0 h 7524"/>
                <a:gd name="connsiteX3" fmla="*/ 0 w 13334"/>
                <a:gd name="connsiteY3" fmla="*/ 7525 h 7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4" h="7524">
                  <a:moveTo>
                    <a:pt x="0" y="7525"/>
                  </a:moveTo>
                  <a:lnTo>
                    <a:pt x="0" y="7525"/>
                  </a:lnTo>
                  <a:lnTo>
                    <a:pt x="13335" y="0"/>
                  </a:lnTo>
                  <a:lnTo>
                    <a:pt x="0" y="752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66" name="Freeform: Shape 3865">
              <a:extLst>
                <a:ext uri="{FF2B5EF4-FFF2-40B4-BE49-F238E27FC236}">
                  <a16:creationId xmlns:a16="http://schemas.microsoft.com/office/drawing/2014/main" id="{8D2DA9A3-723C-D878-18A1-9FD1E209D236}"/>
                </a:ext>
              </a:extLst>
            </p:cNvPr>
            <p:cNvSpPr/>
            <p:nvPr/>
          </p:nvSpPr>
          <p:spPr>
            <a:xfrm>
              <a:off x="3241233" y="1864861"/>
              <a:ext cx="3735" cy="7376"/>
            </a:xfrm>
            <a:custGeom>
              <a:avLst/>
              <a:gdLst>
                <a:gd name="connsiteX0" fmla="*/ 0 w 3810"/>
                <a:gd name="connsiteY0" fmla="*/ 7525 h 7524"/>
                <a:gd name="connsiteX1" fmla="*/ 0 w 3810"/>
                <a:gd name="connsiteY1" fmla="*/ 7525 h 7524"/>
                <a:gd name="connsiteX2" fmla="*/ 3810 w 3810"/>
                <a:gd name="connsiteY2" fmla="*/ 0 h 7524"/>
                <a:gd name="connsiteX3" fmla="*/ 0 w 3810"/>
                <a:gd name="connsiteY3" fmla="*/ 7525 h 75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" h="7524">
                  <a:moveTo>
                    <a:pt x="0" y="7525"/>
                  </a:moveTo>
                  <a:lnTo>
                    <a:pt x="0" y="7525"/>
                  </a:lnTo>
                  <a:lnTo>
                    <a:pt x="3810" y="0"/>
                  </a:lnTo>
                  <a:lnTo>
                    <a:pt x="0" y="752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67" name="Freeform: Shape 3866">
              <a:extLst>
                <a:ext uri="{FF2B5EF4-FFF2-40B4-BE49-F238E27FC236}">
                  <a16:creationId xmlns:a16="http://schemas.microsoft.com/office/drawing/2014/main" id="{2CDFE634-B459-65F5-4BBE-30D10ABC645C}"/>
                </a:ext>
              </a:extLst>
            </p:cNvPr>
            <p:cNvSpPr/>
            <p:nvPr/>
          </p:nvSpPr>
          <p:spPr>
            <a:xfrm>
              <a:off x="3375689" y="1854590"/>
              <a:ext cx="466861" cy="145661"/>
            </a:xfrm>
            <a:custGeom>
              <a:avLst/>
              <a:gdLst>
                <a:gd name="connsiteX0" fmla="*/ 204788 w 476249"/>
                <a:gd name="connsiteY0" fmla="*/ 148590 h 148589"/>
                <a:gd name="connsiteX1" fmla="*/ 211455 w 476249"/>
                <a:gd name="connsiteY1" fmla="*/ 138113 h 148589"/>
                <a:gd name="connsiteX2" fmla="*/ 221932 w 476249"/>
                <a:gd name="connsiteY2" fmla="*/ 127540 h 148589"/>
                <a:gd name="connsiteX3" fmla="*/ 229552 w 476249"/>
                <a:gd name="connsiteY3" fmla="*/ 130493 h 148589"/>
                <a:gd name="connsiteX4" fmla="*/ 232410 w 476249"/>
                <a:gd name="connsiteY4" fmla="*/ 148590 h 148589"/>
                <a:gd name="connsiteX5" fmla="*/ 362902 w 476249"/>
                <a:gd name="connsiteY5" fmla="*/ 148590 h 148589"/>
                <a:gd name="connsiteX6" fmla="*/ 373380 w 476249"/>
                <a:gd name="connsiteY6" fmla="*/ 134302 h 148589"/>
                <a:gd name="connsiteX7" fmla="*/ 391477 w 476249"/>
                <a:gd name="connsiteY7" fmla="*/ 148590 h 148589"/>
                <a:gd name="connsiteX8" fmla="*/ 458152 w 476249"/>
                <a:gd name="connsiteY8" fmla="*/ 144780 h 148589"/>
                <a:gd name="connsiteX9" fmla="*/ 461962 w 476249"/>
                <a:gd name="connsiteY9" fmla="*/ 123825 h 148589"/>
                <a:gd name="connsiteX10" fmla="*/ 472440 w 476249"/>
                <a:gd name="connsiteY10" fmla="*/ 116205 h 148589"/>
                <a:gd name="connsiteX11" fmla="*/ 476250 w 476249"/>
                <a:gd name="connsiteY11" fmla="*/ 98965 h 148589"/>
                <a:gd name="connsiteX12" fmla="*/ 451485 w 476249"/>
                <a:gd name="connsiteY12" fmla="*/ 88487 h 148589"/>
                <a:gd name="connsiteX13" fmla="*/ 416242 w 476249"/>
                <a:gd name="connsiteY13" fmla="*/ 80963 h 148589"/>
                <a:gd name="connsiteX14" fmla="*/ 348615 w 476249"/>
                <a:gd name="connsiteY14" fmla="*/ 78105 h 148589"/>
                <a:gd name="connsiteX15" fmla="*/ 302895 w 476249"/>
                <a:gd name="connsiteY15" fmla="*/ 95250 h 148589"/>
                <a:gd name="connsiteX16" fmla="*/ 264795 w 476249"/>
                <a:gd name="connsiteY16" fmla="*/ 92393 h 148589"/>
                <a:gd name="connsiteX17" fmla="*/ 211455 w 476249"/>
                <a:gd name="connsiteY17" fmla="*/ 92393 h 148589"/>
                <a:gd name="connsiteX18" fmla="*/ 176213 w 476249"/>
                <a:gd name="connsiteY18" fmla="*/ 70390 h 148589"/>
                <a:gd name="connsiteX19" fmla="*/ 169545 w 476249"/>
                <a:gd name="connsiteY19" fmla="*/ 59912 h 148589"/>
                <a:gd name="connsiteX20" fmla="*/ 169545 w 476249"/>
                <a:gd name="connsiteY20" fmla="*/ 42863 h 148589"/>
                <a:gd name="connsiteX21" fmla="*/ 155257 w 476249"/>
                <a:gd name="connsiteY21" fmla="*/ 24765 h 148589"/>
                <a:gd name="connsiteX22" fmla="*/ 123825 w 476249"/>
                <a:gd name="connsiteY22" fmla="*/ 32290 h 148589"/>
                <a:gd name="connsiteX23" fmla="*/ 95250 w 476249"/>
                <a:gd name="connsiteY23" fmla="*/ 32290 h 148589"/>
                <a:gd name="connsiteX24" fmla="*/ 84772 w 476249"/>
                <a:gd name="connsiteY24" fmla="*/ 18002 h 148589"/>
                <a:gd name="connsiteX25" fmla="*/ 57150 w 476249"/>
                <a:gd name="connsiteY25" fmla="*/ 10477 h 148589"/>
                <a:gd name="connsiteX26" fmla="*/ 24765 w 476249"/>
                <a:gd name="connsiteY26" fmla="*/ 0 h 148589"/>
                <a:gd name="connsiteX27" fmla="*/ 3810 w 476249"/>
                <a:gd name="connsiteY27" fmla="*/ 7525 h 148589"/>
                <a:gd name="connsiteX28" fmla="*/ 0 w 476249"/>
                <a:gd name="connsiteY28" fmla="*/ 24765 h 148589"/>
                <a:gd name="connsiteX29" fmla="*/ 10477 w 476249"/>
                <a:gd name="connsiteY29" fmla="*/ 35243 h 148589"/>
                <a:gd name="connsiteX30" fmla="*/ 35242 w 476249"/>
                <a:gd name="connsiteY30" fmla="*/ 45625 h 148589"/>
                <a:gd name="connsiteX31" fmla="*/ 60007 w 476249"/>
                <a:gd name="connsiteY31" fmla="*/ 49530 h 148589"/>
                <a:gd name="connsiteX32" fmla="*/ 84772 w 476249"/>
                <a:gd name="connsiteY32" fmla="*/ 45625 h 148589"/>
                <a:gd name="connsiteX33" fmla="*/ 102870 w 476249"/>
                <a:gd name="connsiteY33" fmla="*/ 49530 h 148589"/>
                <a:gd name="connsiteX34" fmla="*/ 113347 w 476249"/>
                <a:gd name="connsiteY34" fmla="*/ 67627 h 148589"/>
                <a:gd name="connsiteX35" fmla="*/ 127635 w 476249"/>
                <a:gd name="connsiteY35" fmla="*/ 84677 h 148589"/>
                <a:gd name="connsiteX36" fmla="*/ 120015 w 476249"/>
                <a:gd name="connsiteY36" fmla="*/ 95250 h 148589"/>
                <a:gd name="connsiteX37" fmla="*/ 120015 w 476249"/>
                <a:gd name="connsiteY37" fmla="*/ 102775 h 148589"/>
                <a:gd name="connsiteX38" fmla="*/ 127635 w 476249"/>
                <a:gd name="connsiteY38" fmla="*/ 123825 h 148589"/>
                <a:gd name="connsiteX39" fmla="*/ 138113 w 476249"/>
                <a:gd name="connsiteY39" fmla="*/ 138113 h 148589"/>
                <a:gd name="connsiteX40" fmla="*/ 148590 w 476249"/>
                <a:gd name="connsiteY40" fmla="*/ 138113 h 148589"/>
                <a:gd name="connsiteX41" fmla="*/ 155257 w 476249"/>
                <a:gd name="connsiteY41" fmla="*/ 130493 h 148589"/>
                <a:gd name="connsiteX42" fmla="*/ 161925 w 476249"/>
                <a:gd name="connsiteY42" fmla="*/ 140875 h 148589"/>
                <a:gd name="connsiteX43" fmla="*/ 204788 w 476249"/>
                <a:gd name="connsiteY43" fmla="*/ 148590 h 148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476249" h="148589">
                  <a:moveTo>
                    <a:pt x="204788" y="148590"/>
                  </a:moveTo>
                  <a:lnTo>
                    <a:pt x="211455" y="138113"/>
                  </a:lnTo>
                  <a:lnTo>
                    <a:pt x="221932" y="127540"/>
                  </a:lnTo>
                  <a:lnTo>
                    <a:pt x="229552" y="130493"/>
                  </a:lnTo>
                  <a:lnTo>
                    <a:pt x="232410" y="148590"/>
                  </a:lnTo>
                  <a:lnTo>
                    <a:pt x="362902" y="148590"/>
                  </a:lnTo>
                  <a:lnTo>
                    <a:pt x="373380" y="134302"/>
                  </a:lnTo>
                  <a:lnTo>
                    <a:pt x="391477" y="148590"/>
                  </a:lnTo>
                  <a:lnTo>
                    <a:pt x="458152" y="144780"/>
                  </a:lnTo>
                  <a:lnTo>
                    <a:pt x="461962" y="123825"/>
                  </a:lnTo>
                  <a:lnTo>
                    <a:pt x="472440" y="116205"/>
                  </a:lnTo>
                  <a:lnTo>
                    <a:pt x="476250" y="98965"/>
                  </a:lnTo>
                  <a:lnTo>
                    <a:pt x="451485" y="88487"/>
                  </a:lnTo>
                  <a:lnTo>
                    <a:pt x="416242" y="80963"/>
                  </a:lnTo>
                  <a:lnTo>
                    <a:pt x="348615" y="78105"/>
                  </a:lnTo>
                  <a:lnTo>
                    <a:pt x="302895" y="95250"/>
                  </a:lnTo>
                  <a:lnTo>
                    <a:pt x="264795" y="92393"/>
                  </a:lnTo>
                  <a:lnTo>
                    <a:pt x="211455" y="92393"/>
                  </a:lnTo>
                  <a:lnTo>
                    <a:pt x="176213" y="70390"/>
                  </a:lnTo>
                  <a:lnTo>
                    <a:pt x="169545" y="59912"/>
                  </a:lnTo>
                  <a:lnTo>
                    <a:pt x="169545" y="42863"/>
                  </a:lnTo>
                  <a:lnTo>
                    <a:pt x="155257" y="24765"/>
                  </a:lnTo>
                  <a:lnTo>
                    <a:pt x="123825" y="32290"/>
                  </a:lnTo>
                  <a:lnTo>
                    <a:pt x="95250" y="32290"/>
                  </a:lnTo>
                  <a:lnTo>
                    <a:pt x="84772" y="18002"/>
                  </a:lnTo>
                  <a:lnTo>
                    <a:pt x="57150" y="10477"/>
                  </a:lnTo>
                  <a:lnTo>
                    <a:pt x="24765" y="0"/>
                  </a:lnTo>
                  <a:lnTo>
                    <a:pt x="3810" y="7525"/>
                  </a:lnTo>
                  <a:lnTo>
                    <a:pt x="0" y="24765"/>
                  </a:lnTo>
                  <a:lnTo>
                    <a:pt x="10477" y="35243"/>
                  </a:lnTo>
                  <a:lnTo>
                    <a:pt x="35242" y="45625"/>
                  </a:lnTo>
                  <a:lnTo>
                    <a:pt x="60007" y="49530"/>
                  </a:lnTo>
                  <a:lnTo>
                    <a:pt x="84772" y="45625"/>
                  </a:lnTo>
                  <a:lnTo>
                    <a:pt x="102870" y="49530"/>
                  </a:lnTo>
                  <a:lnTo>
                    <a:pt x="113347" y="67627"/>
                  </a:lnTo>
                  <a:lnTo>
                    <a:pt x="127635" y="84677"/>
                  </a:lnTo>
                  <a:lnTo>
                    <a:pt x="120015" y="95250"/>
                  </a:lnTo>
                  <a:lnTo>
                    <a:pt x="120015" y="102775"/>
                  </a:lnTo>
                  <a:lnTo>
                    <a:pt x="127635" y="123825"/>
                  </a:lnTo>
                  <a:lnTo>
                    <a:pt x="138113" y="138113"/>
                  </a:lnTo>
                  <a:lnTo>
                    <a:pt x="148590" y="138113"/>
                  </a:lnTo>
                  <a:lnTo>
                    <a:pt x="155257" y="130493"/>
                  </a:lnTo>
                  <a:lnTo>
                    <a:pt x="161925" y="140875"/>
                  </a:lnTo>
                  <a:lnTo>
                    <a:pt x="204788" y="14859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68" name="Freeform: Shape 3867">
              <a:extLst>
                <a:ext uri="{FF2B5EF4-FFF2-40B4-BE49-F238E27FC236}">
                  <a16:creationId xmlns:a16="http://schemas.microsoft.com/office/drawing/2014/main" id="{84F3364B-56D6-111A-9D76-EF433B944AB0}"/>
                </a:ext>
              </a:extLst>
            </p:cNvPr>
            <p:cNvSpPr/>
            <p:nvPr/>
          </p:nvSpPr>
          <p:spPr>
            <a:xfrm>
              <a:off x="3375689" y="2010523"/>
              <a:ext cx="155931" cy="110179"/>
            </a:xfrm>
            <a:custGeom>
              <a:avLst/>
              <a:gdLst>
                <a:gd name="connsiteX0" fmla="*/ 105727 w 159067"/>
                <a:gd name="connsiteY0" fmla="*/ 70485 h 112394"/>
                <a:gd name="connsiteX1" fmla="*/ 138113 w 159067"/>
                <a:gd name="connsiteY1" fmla="*/ 31432 h 112394"/>
                <a:gd name="connsiteX2" fmla="*/ 159067 w 159067"/>
                <a:gd name="connsiteY2" fmla="*/ 3810 h 112394"/>
                <a:gd name="connsiteX3" fmla="*/ 105727 w 159067"/>
                <a:gd name="connsiteY3" fmla="*/ 3810 h 112394"/>
                <a:gd name="connsiteX4" fmla="*/ 74295 w 159067"/>
                <a:gd name="connsiteY4" fmla="*/ 0 h 112394"/>
                <a:gd name="connsiteX5" fmla="*/ 35242 w 159067"/>
                <a:gd name="connsiteY5" fmla="*/ 0 h 112394"/>
                <a:gd name="connsiteX6" fmla="*/ 14288 w 159067"/>
                <a:gd name="connsiteY6" fmla="*/ 3810 h 112394"/>
                <a:gd name="connsiteX7" fmla="*/ 0 w 159067"/>
                <a:gd name="connsiteY7" fmla="*/ 24670 h 112394"/>
                <a:gd name="connsiteX8" fmla="*/ 7620 w 159067"/>
                <a:gd name="connsiteY8" fmla="*/ 63722 h 112394"/>
                <a:gd name="connsiteX9" fmla="*/ 14288 w 159067"/>
                <a:gd name="connsiteY9" fmla="*/ 87535 h 112394"/>
                <a:gd name="connsiteX10" fmla="*/ 21907 w 159067"/>
                <a:gd name="connsiteY10" fmla="*/ 109538 h 112394"/>
                <a:gd name="connsiteX11" fmla="*/ 42863 w 159067"/>
                <a:gd name="connsiteY11" fmla="*/ 112395 h 112394"/>
                <a:gd name="connsiteX12" fmla="*/ 60007 w 159067"/>
                <a:gd name="connsiteY12" fmla="*/ 91345 h 112394"/>
                <a:gd name="connsiteX13" fmla="*/ 53340 w 159067"/>
                <a:gd name="connsiteY13" fmla="*/ 74295 h 112394"/>
                <a:gd name="connsiteX14" fmla="*/ 74295 w 159067"/>
                <a:gd name="connsiteY14" fmla="*/ 70485 h 112394"/>
                <a:gd name="connsiteX15" fmla="*/ 105727 w 159067"/>
                <a:gd name="connsiteY15" fmla="*/ 70485 h 11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9067" h="112394">
                  <a:moveTo>
                    <a:pt x="105727" y="70485"/>
                  </a:moveTo>
                  <a:lnTo>
                    <a:pt x="138113" y="31432"/>
                  </a:lnTo>
                  <a:lnTo>
                    <a:pt x="159067" y="3810"/>
                  </a:lnTo>
                  <a:lnTo>
                    <a:pt x="105727" y="3810"/>
                  </a:lnTo>
                  <a:lnTo>
                    <a:pt x="74295" y="0"/>
                  </a:lnTo>
                  <a:lnTo>
                    <a:pt x="35242" y="0"/>
                  </a:lnTo>
                  <a:lnTo>
                    <a:pt x="14288" y="3810"/>
                  </a:lnTo>
                  <a:lnTo>
                    <a:pt x="0" y="24670"/>
                  </a:lnTo>
                  <a:lnTo>
                    <a:pt x="7620" y="63722"/>
                  </a:lnTo>
                  <a:lnTo>
                    <a:pt x="14288" y="87535"/>
                  </a:lnTo>
                  <a:lnTo>
                    <a:pt x="21907" y="109538"/>
                  </a:lnTo>
                  <a:lnTo>
                    <a:pt x="42863" y="112395"/>
                  </a:lnTo>
                  <a:lnTo>
                    <a:pt x="60007" y="91345"/>
                  </a:lnTo>
                  <a:lnTo>
                    <a:pt x="53340" y="74295"/>
                  </a:lnTo>
                  <a:lnTo>
                    <a:pt x="74295" y="70485"/>
                  </a:lnTo>
                  <a:lnTo>
                    <a:pt x="105727" y="7048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69" name="Freeform: Shape 3868">
              <a:extLst>
                <a:ext uri="{FF2B5EF4-FFF2-40B4-BE49-F238E27FC236}">
                  <a16:creationId xmlns:a16="http://schemas.microsoft.com/office/drawing/2014/main" id="{481B9D62-9975-AACB-3F5C-D9FF738BFF7C}"/>
                </a:ext>
              </a:extLst>
            </p:cNvPr>
            <p:cNvSpPr/>
            <p:nvPr/>
          </p:nvSpPr>
          <p:spPr>
            <a:xfrm>
              <a:off x="3479332" y="1460462"/>
              <a:ext cx="845954" cy="436145"/>
            </a:xfrm>
            <a:custGeom>
              <a:avLst/>
              <a:gdLst>
                <a:gd name="connsiteX0" fmla="*/ 35242 w 862965"/>
                <a:gd name="connsiteY0" fmla="*/ 99155 h 444912"/>
                <a:gd name="connsiteX1" fmla="*/ 49530 w 862965"/>
                <a:gd name="connsiteY1" fmla="*/ 105823 h 444912"/>
                <a:gd name="connsiteX2" fmla="*/ 39053 w 862965"/>
                <a:gd name="connsiteY2" fmla="*/ 113443 h 444912"/>
                <a:gd name="connsiteX3" fmla="*/ 35242 w 862965"/>
                <a:gd name="connsiteY3" fmla="*/ 123825 h 444912"/>
                <a:gd name="connsiteX4" fmla="*/ 56198 w 862965"/>
                <a:gd name="connsiteY4" fmla="*/ 116205 h 444912"/>
                <a:gd name="connsiteX5" fmla="*/ 70485 w 862965"/>
                <a:gd name="connsiteY5" fmla="*/ 109538 h 444912"/>
                <a:gd name="connsiteX6" fmla="*/ 91440 w 862965"/>
                <a:gd name="connsiteY6" fmla="*/ 109538 h 444912"/>
                <a:gd name="connsiteX7" fmla="*/ 105728 w 862965"/>
                <a:gd name="connsiteY7" fmla="*/ 113443 h 444912"/>
                <a:gd name="connsiteX8" fmla="*/ 84773 w 862965"/>
                <a:gd name="connsiteY8" fmla="*/ 116205 h 444912"/>
                <a:gd name="connsiteX9" fmla="*/ 60008 w 862965"/>
                <a:gd name="connsiteY9" fmla="*/ 127730 h 444912"/>
                <a:gd name="connsiteX10" fmla="*/ 45720 w 862965"/>
                <a:gd name="connsiteY10" fmla="*/ 134398 h 444912"/>
                <a:gd name="connsiteX11" fmla="*/ 67628 w 862965"/>
                <a:gd name="connsiteY11" fmla="*/ 141065 h 444912"/>
                <a:gd name="connsiteX12" fmla="*/ 109538 w 862965"/>
                <a:gd name="connsiteY12" fmla="*/ 138113 h 444912"/>
                <a:gd name="connsiteX13" fmla="*/ 140970 w 862965"/>
                <a:gd name="connsiteY13" fmla="*/ 138113 h 444912"/>
                <a:gd name="connsiteX14" fmla="*/ 169545 w 862965"/>
                <a:gd name="connsiteY14" fmla="*/ 127730 h 444912"/>
                <a:gd name="connsiteX15" fmla="*/ 183833 w 862965"/>
                <a:gd name="connsiteY15" fmla="*/ 134398 h 444912"/>
                <a:gd name="connsiteX16" fmla="*/ 173355 w 862965"/>
                <a:gd name="connsiteY16" fmla="*/ 144780 h 444912"/>
                <a:gd name="connsiteX17" fmla="*/ 159067 w 862965"/>
                <a:gd name="connsiteY17" fmla="*/ 155353 h 444912"/>
                <a:gd name="connsiteX18" fmla="*/ 148590 w 862965"/>
                <a:gd name="connsiteY18" fmla="*/ 173355 h 444912"/>
                <a:gd name="connsiteX19" fmla="*/ 194310 w 862965"/>
                <a:gd name="connsiteY19" fmla="*/ 180118 h 444912"/>
                <a:gd name="connsiteX20" fmla="*/ 225742 w 862965"/>
                <a:gd name="connsiteY20" fmla="*/ 176213 h 444912"/>
                <a:gd name="connsiteX21" fmla="*/ 232410 w 862965"/>
                <a:gd name="connsiteY21" fmla="*/ 162973 h 444912"/>
                <a:gd name="connsiteX22" fmla="*/ 242888 w 862965"/>
                <a:gd name="connsiteY22" fmla="*/ 162973 h 444912"/>
                <a:gd name="connsiteX23" fmla="*/ 254317 w 862965"/>
                <a:gd name="connsiteY23" fmla="*/ 173355 h 444912"/>
                <a:gd name="connsiteX24" fmla="*/ 285750 w 862965"/>
                <a:gd name="connsiteY24" fmla="*/ 169640 h 444912"/>
                <a:gd name="connsiteX25" fmla="*/ 320992 w 862965"/>
                <a:gd name="connsiteY25" fmla="*/ 169640 h 444912"/>
                <a:gd name="connsiteX26" fmla="*/ 345757 w 862965"/>
                <a:gd name="connsiteY26" fmla="*/ 151543 h 444912"/>
                <a:gd name="connsiteX27" fmla="*/ 362903 w 862965"/>
                <a:gd name="connsiteY27" fmla="*/ 134398 h 444912"/>
                <a:gd name="connsiteX28" fmla="*/ 398145 w 862965"/>
                <a:gd name="connsiteY28" fmla="*/ 120110 h 444912"/>
                <a:gd name="connsiteX29" fmla="*/ 408622 w 862965"/>
                <a:gd name="connsiteY29" fmla="*/ 123825 h 444912"/>
                <a:gd name="connsiteX30" fmla="*/ 394335 w 862965"/>
                <a:gd name="connsiteY30" fmla="*/ 130493 h 444912"/>
                <a:gd name="connsiteX31" fmla="*/ 381000 w 862965"/>
                <a:gd name="connsiteY31" fmla="*/ 141065 h 444912"/>
                <a:gd name="connsiteX32" fmla="*/ 366713 w 862965"/>
                <a:gd name="connsiteY32" fmla="*/ 151543 h 444912"/>
                <a:gd name="connsiteX33" fmla="*/ 381000 w 862965"/>
                <a:gd name="connsiteY33" fmla="*/ 155353 h 444912"/>
                <a:gd name="connsiteX34" fmla="*/ 362903 w 862965"/>
                <a:gd name="connsiteY34" fmla="*/ 165830 h 444912"/>
                <a:gd name="connsiteX35" fmla="*/ 341947 w 862965"/>
                <a:gd name="connsiteY35" fmla="*/ 180118 h 444912"/>
                <a:gd name="connsiteX36" fmla="*/ 296228 w 862965"/>
                <a:gd name="connsiteY36" fmla="*/ 183928 h 444912"/>
                <a:gd name="connsiteX37" fmla="*/ 257175 w 862965"/>
                <a:gd name="connsiteY37" fmla="*/ 183928 h 444912"/>
                <a:gd name="connsiteX38" fmla="*/ 246698 w 862965"/>
                <a:gd name="connsiteY38" fmla="*/ 194405 h 444912"/>
                <a:gd name="connsiteX39" fmla="*/ 275273 w 862965"/>
                <a:gd name="connsiteY39" fmla="*/ 208693 h 444912"/>
                <a:gd name="connsiteX40" fmla="*/ 292417 w 862965"/>
                <a:gd name="connsiteY40" fmla="*/ 222980 h 444912"/>
                <a:gd name="connsiteX41" fmla="*/ 317183 w 862965"/>
                <a:gd name="connsiteY41" fmla="*/ 229648 h 444912"/>
                <a:gd name="connsiteX42" fmla="*/ 292417 w 862965"/>
                <a:gd name="connsiteY42" fmla="*/ 236315 h 444912"/>
                <a:gd name="connsiteX43" fmla="*/ 275273 w 862965"/>
                <a:gd name="connsiteY43" fmla="*/ 225743 h 444912"/>
                <a:gd name="connsiteX44" fmla="*/ 254317 w 862965"/>
                <a:gd name="connsiteY44" fmla="*/ 211455 h 444912"/>
                <a:gd name="connsiteX45" fmla="*/ 229553 w 862965"/>
                <a:gd name="connsiteY45" fmla="*/ 194405 h 444912"/>
                <a:gd name="connsiteX46" fmla="*/ 190500 w 862965"/>
                <a:gd name="connsiteY46" fmla="*/ 198215 h 444912"/>
                <a:gd name="connsiteX47" fmla="*/ 159067 w 862965"/>
                <a:gd name="connsiteY47" fmla="*/ 186785 h 444912"/>
                <a:gd name="connsiteX48" fmla="*/ 151448 w 862965"/>
                <a:gd name="connsiteY48" fmla="*/ 201073 h 444912"/>
                <a:gd name="connsiteX49" fmla="*/ 151448 w 862965"/>
                <a:gd name="connsiteY49" fmla="*/ 225743 h 444912"/>
                <a:gd name="connsiteX50" fmla="*/ 165735 w 862965"/>
                <a:gd name="connsiteY50" fmla="*/ 229648 h 444912"/>
                <a:gd name="connsiteX51" fmla="*/ 186690 w 862965"/>
                <a:gd name="connsiteY51" fmla="*/ 229648 h 444912"/>
                <a:gd name="connsiteX52" fmla="*/ 200978 w 862965"/>
                <a:gd name="connsiteY52" fmla="*/ 243935 h 444912"/>
                <a:gd name="connsiteX53" fmla="*/ 221933 w 862965"/>
                <a:gd name="connsiteY53" fmla="*/ 271463 h 444912"/>
                <a:gd name="connsiteX54" fmla="*/ 250508 w 862965"/>
                <a:gd name="connsiteY54" fmla="*/ 279178 h 444912"/>
                <a:gd name="connsiteX55" fmla="*/ 271463 w 862965"/>
                <a:gd name="connsiteY55" fmla="*/ 275368 h 444912"/>
                <a:gd name="connsiteX56" fmla="*/ 281940 w 862965"/>
                <a:gd name="connsiteY56" fmla="*/ 279178 h 444912"/>
                <a:gd name="connsiteX57" fmla="*/ 264795 w 862965"/>
                <a:gd name="connsiteY57" fmla="*/ 293465 h 444912"/>
                <a:gd name="connsiteX58" fmla="*/ 242888 w 862965"/>
                <a:gd name="connsiteY58" fmla="*/ 293465 h 444912"/>
                <a:gd name="connsiteX59" fmla="*/ 221933 w 862965"/>
                <a:gd name="connsiteY59" fmla="*/ 285750 h 444912"/>
                <a:gd name="connsiteX60" fmla="*/ 200978 w 862965"/>
                <a:gd name="connsiteY60" fmla="*/ 282035 h 444912"/>
                <a:gd name="connsiteX61" fmla="*/ 183833 w 862965"/>
                <a:gd name="connsiteY61" fmla="*/ 285750 h 444912"/>
                <a:gd name="connsiteX62" fmla="*/ 151448 w 862965"/>
                <a:gd name="connsiteY62" fmla="*/ 285750 h 444912"/>
                <a:gd name="connsiteX63" fmla="*/ 138113 w 862965"/>
                <a:gd name="connsiteY63" fmla="*/ 293465 h 444912"/>
                <a:gd name="connsiteX64" fmla="*/ 120015 w 862965"/>
                <a:gd name="connsiteY64" fmla="*/ 310515 h 444912"/>
                <a:gd name="connsiteX65" fmla="*/ 134303 w 862965"/>
                <a:gd name="connsiteY65" fmla="*/ 324803 h 444912"/>
                <a:gd name="connsiteX66" fmla="*/ 155258 w 862965"/>
                <a:gd name="connsiteY66" fmla="*/ 321088 h 444912"/>
                <a:gd name="connsiteX67" fmla="*/ 176213 w 862965"/>
                <a:gd name="connsiteY67" fmla="*/ 328612 h 444912"/>
                <a:gd name="connsiteX68" fmla="*/ 186690 w 862965"/>
                <a:gd name="connsiteY68" fmla="*/ 317278 h 444912"/>
                <a:gd name="connsiteX69" fmla="*/ 200978 w 862965"/>
                <a:gd name="connsiteY69" fmla="*/ 306800 h 444912"/>
                <a:gd name="connsiteX70" fmla="*/ 204788 w 862965"/>
                <a:gd name="connsiteY70" fmla="*/ 321088 h 444912"/>
                <a:gd name="connsiteX71" fmla="*/ 207645 w 862965"/>
                <a:gd name="connsiteY71" fmla="*/ 328612 h 444912"/>
                <a:gd name="connsiteX72" fmla="*/ 190500 w 862965"/>
                <a:gd name="connsiteY72" fmla="*/ 342043 h 444912"/>
                <a:gd name="connsiteX73" fmla="*/ 183833 w 862965"/>
                <a:gd name="connsiteY73" fmla="*/ 352425 h 444912"/>
                <a:gd name="connsiteX74" fmla="*/ 215265 w 862965"/>
                <a:gd name="connsiteY74" fmla="*/ 363950 h 444912"/>
                <a:gd name="connsiteX75" fmla="*/ 232410 w 862965"/>
                <a:gd name="connsiteY75" fmla="*/ 356330 h 444912"/>
                <a:gd name="connsiteX76" fmla="*/ 246698 w 862965"/>
                <a:gd name="connsiteY76" fmla="*/ 342043 h 444912"/>
                <a:gd name="connsiteX77" fmla="*/ 260985 w 862965"/>
                <a:gd name="connsiteY77" fmla="*/ 331565 h 444912"/>
                <a:gd name="connsiteX78" fmla="*/ 267653 w 862965"/>
                <a:gd name="connsiteY78" fmla="*/ 335375 h 444912"/>
                <a:gd name="connsiteX79" fmla="*/ 257175 w 862965"/>
                <a:gd name="connsiteY79" fmla="*/ 356330 h 444912"/>
                <a:gd name="connsiteX80" fmla="*/ 232410 w 862965"/>
                <a:gd name="connsiteY80" fmla="*/ 374428 h 444912"/>
                <a:gd name="connsiteX81" fmla="*/ 211455 w 862965"/>
                <a:gd name="connsiteY81" fmla="*/ 374428 h 444912"/>
                <a:gd name="connsiteX82" fmla="*/ 180023 w 862965"/>
                <a:gd name="connsiteY82" fmla="*/ 370618 h 444912"/>
                <a:gd name="connsiteX83" fmla="*/ 165735 w 862965"/>
                <a:gd name="connsiteY83" fmla="*/ 360140 h 444912"/>
                <a:gd name="connsiteX84" fmla="*/ 155258 w 862965"/>
                <a:gd name="connsiteY84" fmla="*/ 345853 h 444912"/>
                <a:gd name="connsiteX85" fmla="*/ 109538 w 862965"/>
                <a:gd name="connsiteY85" fmla="*/ 345853 h 444912"/>
                <a:gd name="connsiteX86" fmla="*/ 109538 w 862965"/>
                <a:gd name="connsiteY86" fmla="*/ 360140 h 444912"/>
                <a:gd name="connsiteX87" fmla="*/ 123825 w 862965"/>
                <a:gd name="connsiteY87" fmla="*/ 374428 h 444912"/>
                <a:gd name="connsiteX88" fmla="*/ 140970 w 862965"/>
                <a:gd name="connsiteY88" fmla="*/ 374428 h 444912"/>
                <a:gd name="connsiteX89" fmla="*/ 148590 w 862965"/>
                <a:gd name="connsiteY89" fmla="*/ 388715 h 444912"/>
                <a:gd name="connsiteX90" fmla="*/ 126683 w 862965"/>
                <a:gd name="connsiteY90" fmla="*/ 388715 h 444912"/>
                <a:gd name="connsiteX91" fmla="*/ 99060 w 862965"/>
                <a:gd name="connsiteY91" fmla="*/ 388715 h 444912"/>
                <a:gd name="connsiteX92" fmla="*/ 74295 w 862965"/>
                <a:gd name="connsiteY92" fmla="*/ 395287 h 444912"/>
                <a:gd name="connsiteX93" fmla="*/ 67628 w 862965"/>
                <a:gd name="connsiteY93" fmla="*/ 416338 h 444912"/>
                <a:gd name="connsiteX94" fmla="*/ 80963 w 862965"/>
                <a:gd name="connsiteY94" fmla="*/ 430625 h 444912"/>
                <a:gd name="connsiteX95" fmla="*/ 99060 w 862965"/>
                <a:gd name="connsiteY95" fmla="*/ 416338 h 444912"/>
                <a:gd name="connsiteX96" fmla="*/ 109538 w 862965"/>
                <a:gd name="connsiteY96" fmla="*/ 430625 h 444912"/>
                <a:gd name="connsiteX97" fmla="*/ 120015 w 862965"/>
                <a:gd name="connsiteY97" fmla="*/ 423862 h 444912"/>
                <a:gd name="connsiteX98" fmla="*/ 126683 w 862965"/>
                <a:gd name="connsiteY98" fmla="*/ 430625 h 444912"/>
                <a:gd name="connsiteX99" fmla="*/ 144780 w 862965"/>
                <a:gd name="connsiteY99" fmla="*/ 420053 h 444912"/>
                <a:gd name="connsiteX100" fmla="*/ 155258 w 862965"/>
                <a:gd name="connsiteY100" fmla="*/ 430625 h 444912"/>
                <a:gd name="connsiteX101" fmla="*/ 211455 w 862965"/>
                <a:gd name="connsiteY101" fmla="*/ 430625 h 444912"/>
                <a:gd name="connsiteX102" fmla="*/ 219075 w 862965"/>
                <a:gd name="connsiteY102" fmla="*/ 420053 h 444912"/>
                <a:gd name="connsiteX103" fmla="*/ 232410 w 862965"/>
                <a:gd name="connsiteY103" fmla="*/ 430625 h 444912"/>
                <a:gd name="connsiteX104" fmla="*/ 242888 w 862965"/>
                <a:gd name="connsiteY104" fmla="*/ 420053 h 444912"/>
                <a:gd name="connsiteX105" fmla="*/ 264795 w 862965"/>
                <a:gd name="connsiteY105" fmla="*/ 426815 h 444912"/>
                <a:gd name="connsiteX106" fmla="*/ 285750 w 862965"/>
                <a:gd name="connsiteY106" fmla="*/ 423862 h 444912"/>
                <a:gd name="connsiteX107" fmla="*/ 302895 w 862965"/>
                <a:gd name="connsiteY107" fmla="*/ 430625 h 444912"/>
                <a:gd name="connsiteX108" fmla="*/ 302895 w 862965"/>
                <a:gd name="connsiteY108" fmla="*/ 444913 h 444912"/>
                <a:gd name="connsiteX109" fmla="*/ 331470 w 862965"/>
                <a:gd name="connsiteY109" fmla="*/ 441103 h 444912"/>
                <a:gd name="connsiteX110" fmla="*/ 359093 w 862965"/>
                <a:gd name="connsiteY110" fmla="*/ 430625 h 444912"/>
                <a:gd name="connsiteX111" fmla="*/ 383857 w 862965"/>
                <a:gd name="connsiteY111" fmla="*/ 423862 h 444912"/>
                <a:gd name="connsiteX112" fmla="*/ 394335 w 862965"/>
                <a:gd name="connsiteY112" fmla="*/ 416338 h 444912"/>
                <a:gd name="connsiteX113" fmla="*/ 391478 w 862965"/>
                <a:gd name="connsiteY113" fmla="*/ 399193 h 444912"/>
                <a:gd name="connsiteX114" fmla="*/ 383857 w 862965"/>
                <a:gd name="connsiteY114" fmla="*/ 391478 h 444912"/>
                <a:gd name="connsiteX115" fmla="*/ 377190 w 862965"/>
                <a:gd name="connsiteY115" fmla="*/ 399193 h 444912"/>
                <a:gd name="connsiteX116" fmla="*/ 362903 w 862965"/>
                <a:gd name="connsiteY116" fmla="*/ 409575 h 444912"/>
                <a:gd name="connsiteX117" fmla="*/ 359093 w 862965"/>
                <a:gd name="connsiteY117" fmla="*/ 399193 h 444912"/>
                <a:gd name="connsiteX118" fmla="*/ 356235 w 862965"/>
                <a:gd name="connsiteY118" fmla="*/ 388715 h 444912"/>
                <a:gd name="connsiteX119" fmla="*/ 317183 w 862965"/>
                <a:gd name="connsiteY119" fmla="*/ 388715 h 444912"/>
                <a:gd name="connsiteX120" fmla="*/ 289560 w 862965"/>
                <a:gd name="connsiteY120" fmla="*/ 381000 h 444912"/>
                <a:gd name="connsiteX121" fmla="*/ 292417 w 862965"/>
                <a:gd name="connsiteY121" fmla="*/ 366712 h 444912"/>
                <a:gd name="connsiteX122" fmla="*/ 327660 w 862965"/>
                <a:gd name="connsiteY122" fmla="*/ 374428 h 444912"/>
                <a:gd name="connsiteX123" fmla="*/ 370522 w 862965"/>
                <a:gd name="connsiteY123" fmla="*/ 374428 h 444912"/>
                <a:gd name="connsiteX124" fmla="*/ 387668 w 862965"/>
                <a:gd name="connsiteY124" fmla="*/ 363950 h 444912"/>
                <a:gd name="connsiteX125" fmla="*/ 394335 w 862965"/>
                <a:gd name="connsiteY125" fmla="*/ 342043 h 444912"/>
                <a:gd name="connsiteX126" fmla="*/ 447675 w 862965"/>
                <a:gd name="connsiteY126" fmla="*/ 339090 h 444912"/>
                <a:gd name="connsiteX127" fmla="*/ 454343 w 862965"/>
                <a:gd name="connsiteY127" fmla="*/ 331565 h 444912"/>
                <a:gd name="connsiteX128" fmla="*/ 458153 w 862965"/>
                <a:gd name="connsiteY128" fmla="*/ 324803 h 444912"/>
                <a:gd name="connsiteX129" fmla="*/ 468630 w 862965"/>
                <a:gd name="connsiteY129" fmla="*/ 317278 h 444912"/>
                <a:gd name="connsiteX130" fmla="*/ 447675 w 862965"/>
                <a:gd name="connsiteY130" fmla="*/ 306800 h 444912"/>
                <a:gd name="connsiteX131" fmla="*/ 441007 w 862965"/>
                <a:gd name="connsiteY131" fmla="*/ 296323 h 444912"/>
                <a:gd name="connsiteX132" fmla="*/ 472440 w 862965"/>
                <a:gd name="connsiteY132" fmla="*/ 300037 h 444912"/>
                <a:gd name="connsiteX133" fmla="*/ 479107 w 862965"/>
                <a:gd name="connsiteY133" fmla="*/ 296323 h 444912"/>
                <a:gd name="connsiteX134" fmla="*/ 479107 w 862965"/>
                <a:gd name="connsiteY134" fmla="*/ 285750 h 444912"/>
                <a:gd name="connsiteX135" fmla="*/ 451485 w 862965"/>
                <a:gd name="connsiteY135" fmla="*/ 282035 h 444912"/>
                <a:gd name="connsiteX136" fmla="*/ 447675 w 862965"/>
                <a:gd name="connsiteY136" fmla="*/ 271463 h 444912"/>
                <a:gd name="connsiteX137" fmla="*/ 472440 w 862965"/>
                <a:gd name="connsiteY137" fmla="*/ 271463 h 444912"/>
                <a:gd name="connsiteX138" fmla="*/ 486728 w 862965"/>
                <a:gd name="connsiteY138" fmla="*/ 271463 h 444912"/>
                <a:gd name="connsiteX139" fmla="*/ 479107 w 862965"/>
                <a:gd name="connsiteY139" fmla="*/ 261080 h 444912"/>
                <a:gd name="connsiteX140" fmla="*/ 447675 w 862965"/>
                <a:gd name="connsiteY140" fmla="*/ 261080 h 444912"/>
                <a:gd name="connsiteX141" fmla="*/ 422910 w 862965"/>
                <a:gd name="connsiteY141" fmla="*/ 261080 h 444912"/>
                <a:gd name="connsiteX142" fmla="*/ 412432 w 862965"/>
                <a:gd name="connsiteY142" fmla="*/ 250603 h 444912"/>
                <a:gd name="connsiteX143" fmla="*/ 433388 w 862965"/>
                <a:gd name="connsiteY143" fmla="*/ 243935 h 444912"/>
                <a:gd name="connsiteX144" fmla="*/ 464820 w 862965"/>
                <a:gd name="connsiteY144" fmla="*/ 246793 h 444912"/>
                <a:gd name="connsiteX145" fmla="*/ 486728 w 862965"/>
                <a:gd name="connsiteY145" fmla="*/ 250603 h 444912"/>
                <a:gd name="connsiteX146" fmla="*/ 503872 w 862965"/>
                <a:gd name="connsiteY146" fmla="*/ 243935 h 444912"/>
                <a:gd name="connsiteX147" fmla="*/ 518160 w 862965"/>
                <a:gd name="connsiteY147" fmla="*/ 243935 h 444912"/>
                <a:gd name="connsiteX148" fmla="*/ 521970 w 862965"/>
                <a:gd name="connsiteY148" fmla="*/ 243935 h 444912"/>
                <a:gd name="connsiteX149" fmla="*/ 521970 w 862965"/>
                <a:gd name="connsiteY149" fmla="*/ 240030 h 444912"/>
                <a:gd name="connsiteX150" fmla="*/ 521970 w 862965"/>
                <a:gd name="connsiteY150" fmla="*/ 233363 h 444912"/>
                <a:gd name="connsiteX151" fmla="*/ 507682 w 862965"/>
                <a:gd name="connsiteY151" fmla="*/ 229648 h 444912"/>
                <a:gd name="connsiteX152" fmla="*/ 493395 w 862965"/>
                <a:gd name="connsiteY152" fmla="*/ 222980 h 444912"/>
                <a:gd name="connsiteX153" fmla="*/ 503872 w 862965"/>
                <a:gd name="connsiteY153" fmla="*/ 219075 h 444912"/>
                <a:gd name="connsiteX154" fmla="*/ 528638 w 862965"/>
                <a:gd name="connsiteY154" fmla="*/ 225743 h 444912"/>
                <a:gd name="connsiteX155" fmla="*/ 542925 w 862965"/>
                <a:gd name="connsiteY155" fmla="*/ 236315 h 444912"/>
                <a:gd name="connsiteX156" fmla="*/ 570547 w 862965"/>
                <a:gd name="connsiteY156" fmla="*/ 229648 h 444912"/>
                <a:gd name="connsiteX157" fmla="*/ 591503 w 862965"/>
                <a:gd name="connsiteY157" fmla="*/ 211455 h 444912"/>
                <a:gd name="connsiteX158" fmla="*/ 599122 w 862965"/>
                <a:gd name="connsiteY158" fmla="*/ 190500 h 444912"/>
                <a:gd name="connsiteX159" fmla="*/ 620078 w 862965"/>
                <a:gd name="connsiteY159" fmla="*/ 190500 h 444912"/>
                <a:gd name="connsiteX160" fmla="*/ 651510 w 862965"/>
                <a:gd name="connsiteY160" fmla="*/ 165830 h 444912"/>
                <a:gd name="connsiteX161" fmla="*/ 697230 w 862965"/>
                <a:gd name="connsiteY161" fmla="*/ 151543 h 444912"/>
                <a:gd name="connsiteX162" fmla="*/ 725805 w 862965"/>
                <a:gd name="connsiteY162" fmla="*/ 134398 h 444912"/>
                <a:gd name="connsiteX163" fmla="*/ 764857 w 862965"/>
                <a:gd name="connsiteY163" fmla="*/ 120110 h 444912"/>
                <a:gd name="connsiteX164" fmla="*/ 761047 w 862965"/>
                <a:gd name="connsiteY164" fmla="*/ 113443 h 444912"/>
                <a:gd name="connsiteX165" fmla="*/ 736282 w 862965"/>
                <a:gd name="connsiteY165" fmla="*/ 113443 h 444912"/>
                <a:gd name="connsiteX166" fmla="*/ 701040 w 862965"/>
                <a:gd name="connsiteY166" fmla="*/ 123825 h 444912"/>
                <a:gd name="connsiteX167" fmla="*/ 648653 w 862965"/>
                <a:gd name="connsiteY167" fmla="*/ 130493 h 444912"/>
                <a:gd name="connsiteX168" fmla="*/ 683895 w 862965"/>
                <a:gd name="connsiteY168" fmla="*/ 116205 h 444912"/>
                <a:gd name="connsiteX169" fmla="*/ 701040 w 862965"/>
                <a:gd name="connsiteY169" fmla="*/ 113443 h 444912"/>
                <a:gd name="connsiteX170" fmla="*/ 661988 w 862965"/>
                <a:gd name="connsiteY170" fmla="*/ 109538 h 444912"/>
                <a:gd name="connsiteX171" fmla="*/ 673418 w 862965"/>
                <a:gd name="connsiteY171" fmla="*/ 102965 h 444912"/>
                <a:gd name="connsiteX172" fmla="*/ 778193 w 862965"/>
                <a:gd name="connsiteY172" fmla="*/ 99155 h 444912"/>
                <a:gd name="connsiteX173" fmla="*/ 806768 w 862965"/>
                <a:gd name="connsiteY173" fmla="*/ 84868 h 444912"/>
                <a:gd name="connsiteX174" fmla="*/ 848678 w 862965"/>
                <a:gd name="connsiteY174" fmla="*/ 70580 h 444912"/>
                <a:gd name="connsiteX175" fmla="*/ 862965 w 862965"/>
                <a:gd name="connsiteY175" fmla="*/ 63818 h 444912"/>
                <a:gd name="connsiteX176" fmla="*/ 852488 w 862965"/>
                <a:gd name="connsiteY176" fmla="*/ 45815 h 444912"/>
                <a:gd name="connsiteX177" fmla="*/ 810578 w 862965"/>
                <a:gd name="connsiteY177" fmla="*/ 45815 h 444912"/>
                <a:gd name="connsiteX178" fmla="*/ 796290 w 862965"/>
                <a:gd name="connsiteY178" fmla="*/ 24860 h 444912"/>
                <a:gd name="connsiteX179" fmla="*/ 764857 w 862965"/>
                <a:gd name="connsiteY179" fmla="*/ 24860 h 444912"/>
                <a:gd name="connsiteX180" fmla="*/ 721995 w 862965"/>
                <a:gd name="connsiteY180" fmla="*/ 24860 h 444912"/>
                <a:gd name="connsiteX181" fmla="*/ 683895 w 862965"/>
                <a:gd name="connsiteY181" fmla="*/ 35243 h 444912"/>
                <a:gd name="connsiteX182" fmla="*/ 683895 w 862965"/>
                <a:gd name="connsiteY182" fmla="*/ 28575 h 444912"/>
                <a:gd name="connsiteX183" fmla="*/ 711518 w 862965"/>
                <a:gd name="connsiteY183" fmla="*/ 20955 h 444912"/>
                <a:gd name="connsiteX184" fmla="*/ 715328 w 862965"/>
                <a:gd name="connsiteY184" fmla="*/ 14288 h 444912"/>
                <a:gd name="connsiteX185" fmla="*/ 644843 w 862965"/>
                <a:gd name="connsiteY185" fmla="*/ 10573 h 444912"/>
                <a:gd name="connsiteX186" fmla="*/ 616268 w 862965"/>
                <a:gd name="connsiteY186" fmla="*/ 3905 h 444912"/>
                <a:gd name="connsiteX187" fmla="*/ 581025 w 862965"/>
                <a:gd name="connsiteY187" fmla="*/ 7715 h 444912"/>
                <a:gd name="connsiteX188" fmla="*/ 574357 w 862965"/>
                <a:gd name="connsiteY188" fmla="*/ 18193 h 444912"/>
                <a:gd name="connsiteX189" fmla="*/ 560070 w 862965"/>
                <a:gd name="connsiteY189" fmla="*/ 7715 h 444912"/>
                <a:gd name="connsiteX190" fmla="*/ 524828 w 862965"/>
                <a:gd name="connsiteY190" fmla="*/ 3905 h 444912"/>
                <a:gd name="connsiteX191" fmla="*/ 521970 w 862965"/>
                <a:gd name="connsiteY191" fmla="*/ 18193 h 444912"/>
                <a:gd name="connsiteX192" fmla="*/ 535305 w 862965"/>
                <a:gd name="connsiteY192" fmla="*/ 32480 h 444912"/>
                <a:gd name="connsiteX193" fmla="*/ 500063 w 862965"/>
                <a:gd name="connsiteY193" fmla="*/ 20955 h 444912"/>
                <a:gd name="connsiteX194" fmla="*/ 489585 w 862965"/>
                <a:gd name="connsiteY194" fmla="*/ 7715 h 444912"/>
                <a:gd name="connsiteX195" fmla="*/ 416243 w 862965"/>
                <a:gd name="connsiteY195" fmla="*/ 0 h 444912"/>
                <a:gd name="connsiteX196" fmla="*/ 419100 w 862965"/>
                <a:gd name="connsiteY196" fmla="*/ 10573 h 444912"/>
                <a:gd name="connsiteX197" fmla="*/ 433388 w 862965"/>
                <a:gd name="connsiteY197" fmla="*/ 24860 h 444912"/>
                <a:gd name="connsiteX198" fmla="*/ 447675 w 862965"/>
                <a:gd name="connsiteY198" fmla="*/ 39148 h 444912"/>
                <a:gd name="connsiteX199" fmla="*/ 433388 w 862965"/>
                <a:gd name="connsiteY199" fmla="*/ 45815 h 444912"/>
                <a:gd name="connsiteX200" fmla="*/ 416243 w 862965"/>
                <a:gd name="connsiteY200" fmla="*/ 32480 h 444912"/>
                <a:gd name="connsiteX201" fmla="*/ 401955 w 862965"/>
                <a:gd name="connsiteY201" fmla="*/ 24860 h 444912"/>
                <a:gd name="connsiteX202" fmla="*/ 381000 w 862965"/>
                <a:gd name="connsiteY202" fmla="*/ 18193 h 444912"/>
                <a:gd name="connsiteX203" fmla="*/ 348615 w 862965"/>
                <a:gd name="connsiteY203" fmla="*/ 14288 h 444912"/>
                <a:gd name="connsiteX204" fmla="*/ 323850 w 862965"/>
                <a:gd name="connsiteY204" fmla="*/ 24860 h 444912"/>
                <a:gd name="connsiteX205" fmla="*/ 300038 w 862965"/>
                <a:gd name="connsiteY205" fmla="*/ 24860 h 444912"/>
                <a:gd name="connsiteX206" fmla="*/ 289560 w 862965"/>
                <a:gd name="connsiteY206" fmla="*/ 32480 h 444912"/>
                <a:gd name="connsiteX207" fmla="*/ 264795 w 862965"/>
                <a:gd name="connsiteY207" fmla="*/ 35243 h 444912"/>
                <a:gd name="connsiteX208" fmla="*/ 257175 w 862965"/>
                <a:gd name="connsiteY208" fmla="*/ 45815 h 444912"/>
                <a:gd name="connsiteX209" fmla="*/ 275273 w 862965"/>
                <a:gd name="connsiteY209" fmla="*/ 57150 h 444912"/>
                <a:gd name="connsiteX210" fmla="*/ 296228 w 862965"/>
                <a:gd name="connsiteY210" fmla="*/ 70580 h 444912"/>
                <a:gd name="connsiteX211" fmla="*/ 260985 w 862965"/>
                <a:gd name="connsiteY211" fmla="*/ 67723 h 444912"/>
                <a:gd name="connsiteX212" fmla="*/ 229553 w 862965"/>
                <a:gd name="connsiteY212" fmla="*/ 60103 h 444912"/>
                <a:gd name="connsiteX213" fmla="*/ 207645 w 862965"/>
                <a:gd name="connsiteY213" fmla="*/ 49530 h 444912"/>
                <a:gd name="connsiteX214" fmla="*/ 180023 w 862965"/>
                <a:gd name="connsiteY214" fmla="*/ 49530 h 444912"/>
                <a:gd name="connsiteX215" fmla="*/ 173355 w 862965"/>
                <a:gd name="connsiteY215" fmla="*/ 63818 h 444912"/>
                <a:gd name="connsiteX216" fmla="*/ 186690 w 862965"/>
                <a:gd name="connsiteY216" fmla="*/ 80963 h 444912"/>
                <a:gd name="connsiteX217" fmla="*/ 165735 w 862965"/>
                <a:gd name="connsiteY217" fmla="*/ 80963 h 444912"/>
                <a:gd name="connsiteX218" fmla="*/ 140970 w 862965"/>
                <a:gd name="connsiteY218" fmla="*/ 80963 h 444912"/>
                <a:gd name="connsiteX219" fmla="*/ 126683 w 862965"/>
                <a:gd name="connsiteY219" fmla="*/ 74390 h 444912"/>
                <a:gd name="connsiteX220" fmla="*/ 95250 w 862965"/>
                <a:gd name="connsiteY220" fmla="*/ 74390 h 444912"/>
                <a:gd name="connsiteX221" fmla="*/ 80963 w 862965"/>
                <a:gd name="connsiteY221" fmla="*/ 80963 h 444912"/>
                <a:gd name="connsiteX222" fmla="*/ 63817 w 862965"/>
                <a:gd name="connsiteY222" fmla="*/ 88678 h 444912"/>
                <a:gd name="connsiteX223" fmla="*/ 21908 w 862965"/>
                <a:gd name="connsiteY223" fmla="*/ 88678 h 444912"/>
                <a:gd name="connsiteX224" fmla="*/ 0 w 862965"/>
                <a:gd name="connsiteY224" fmla="*/ 105823 h 444912"/>
                <a:gd name="connsiteX225" fmla="*/ 24765 w 862965"/>
                <a:gd name="connsiteY225" fmla="*/ 105823 h 444912"/>
                <a:gd name="connsiteX226" fmla="*/ 35242 w 862965"/>
                <a:gd name="connsiteY226" fmla="*/ 99155 h 444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</a:cxnLst>
              <a:rect l="l" t="t" r="r" b="b"/>
              <a:pathLst>
                <a:path w="862965" h="444912">
                  <a:moveTo>
                    <a:pt x="35242" y="99155"/>
                  </a:moveTo>
                  <a:lnTo>
                    <a:pt x="49530" y="105823"/>
                  </a:lnTo>
                  <a:lnTo>
                    <a:pt x="39053" y="113443"/>
                  </a:lnTo>
                  <a:lnTo>
                    <a:pt x="35242" y="123825"/>
                  </a:lnTo>
                  <a:lnTo>
                    <a:pt x="56198" y="116205"/>
                  </a:lnTo>
                  <a:lnTo>
                    <a:pt x="70485" y="109538"/>
                  </a:lnTo>
                  <a:lnTo>
                    <a:pt x="91440" y="109538"/>
                  </a:lnTo>
                  <a:lnTo>
                    <a:pt x="105728" y="113443"/>
                  </a:lnTo>
                  <a:lnTo>
                    <a:pt x="84773" y="116205"/>
                  </a:lnTo>
                  <a:lnTo>
                    <a:pt x="60008" y="127730"/>
                  </a:lnTo>
                  <a:lnTo>
                    <a:pt x="45720" y="134398"/>
                  </a:lnTo>
                  <a:lnTo>
                    <a:pt x="67628" y="141065"/>
                  </a:lnTo>
                  <a:lnTo>
                    <a:pt x="109538" y="138113"/>
                  </a:lnTo>
                  <a:lnTo>
                    <a:pt x="140970" y="138113"/>
                  </a:lnTo>
                  <a:lnTo>
                    <a:pt x="169545" y="127730"/>
                  </a:lnTo>
                  <a:lnTo>
                    <a:pt x="183833" y="134398"/>
                  </a:lnTo>
                  <a:lnTo>
                    <a:pt x="173355" y="144780"/>
                  </a:lnTo>
                  <a:lnTo>
                    <a:pt x="159067" y="155353"/>
                  </a:lnTo>
                  <a:lnTo>
                    <a:pt x="148590" y="173355"/>
                  </a:lnTo>
                  <a:lnTo>
                    <a:pt x="194310" y="180118"/>
                  </a:lnTo>
                  <a:lnTo>
                    <a:pt x="225742" y="176213"/>
                  </a:lnTo>
                  <a:lnTo>
                    <a:pt x="232410" y="162973"/>
                  </a:lnTo>
                  <a:lnTo>
                    <a:pt x="242888" y="162973"/>
                  </a:lnTo>
                  <a:lnTo>
                    <a:pt x="254317" y="173355"/>
                  </a:lnTo>
                  <a:lnTo>
                    <a:pt x="285750" y="169640"/>
                  </a:lnTo>
                  <a:lnTo>
                    <a:pt x="320992" y="169640"/>
                  </a:lnTo>
                  <a:lnTo>
                    <a:pt x="345757" y="151543"/>
                  </a:lnTo>
                  <a:lnTo>
                    <a:pt x="362903" y="134398"/>
                  </a:lnTo>
                  <a:lnTo>
                    <a:pt x="398145" y="120110"/>
                  </a:lnTo>
                  <a:lnTo>
                    <a:pt x="408622" y="123825"/>
                  </a:lnTo>
                  <a:lnTo>
                    <a:pt x="394335" y="130493"/>
                  </a:lnTo>
                  <a:lnTo>
                    <a:pt x="381000" y="141065"/>
                  </a:lnTo>
                  <a:lnTo>
                    <a:pt x="366713" y="151543"/>
                  </a:lnTo>
                  <a:lnTo>
                    <a:pt x="381000" y="155353"/>
                  </a:lnTo>
                  <a:lnTo>
                    <a:pt x="362903" y="165830"/>
                  </a:lnTo>
                  <a:lnTo>
                    <a:pt x="341947" y="180118"/>
                  </a:lnTo>
                  <a:lnTo>
                    <a:pt x="296228" y="183928"/>
                  </a:lnTo>
                  <a:lnTo>
                    <a:pt x="257175" y="183928"/>
                  </a:lnTo>
                  <a:lnTo>
                    <a:pt x="246698" y="194405"/>
                  </a:lnTo>
                  <a:lnTo>
                    <a:pt x="275273" y="208693"/>
                  </a:lnTo>
                  <a:lnTo>
                    <a:pt x="292417" y="222980"/>
                  </a:lnTo>
                  <a:lnTo>
                    <a:pt x="317183" y="229648"/>
                  </a:lnTo>
                  <a:lnTo>
                    <a:pt x="292417" y="236315"/>
                  </a:lnTo>
                  <a:lnTo>
                    <a:pt x="275273" y="225743"/>
                  </a:lnTo>
                  <a:lnTo>
                    <a:pt x="254317" y="211455"/>
                  </a:lnTo>
                  <a:lnTo>
                    <a:pt x="229553" y="194405"/>
                  </a:lnTo>
                  <a:lnTo>
                    <a:pt x="190500" y="198215"/>
                  </a:lnTo>
                  <a:lnTo>
                    <a:pt x="159067" y="186785"/>
                  </a:lnTo>
                  <a:lnTo>
                    <a:pt x="151448" y="201073"/>
                  </a:lnTo>
                  <a:lnTo>
                    <a:pt x="151448" y="225743"/>
                  </a:lnTo>
                  <a:lnTo>
                    <a:pt x="165735" y="229648"/>
                  </a:lnTo>
                  <a:lnTo>
                    <a:pt x="186690" y="229648"/>
                  </a:lnTo>
                  <a:lnTo>
                    <a:pt x="200978" y="243935"/>
                  </a:lnTo>
                  <a:lnTo>
                    <a:pt x="221933" y="271463"/>
                  </a:lnTo>
                  <a:lnTo>
                    <a:pt x="250508" y="279178"/>
                  </a:lnTo>
                  <a:lnTo>
                    <a:pt x="271463" y="275368"/>
                  </a:lnTo>
                  <a:lnTo>
                    <a:pt x="281940" y="279178"/>
                  </a:lnTo>
                  <a:lnTo>
                    <a:pt x="264795" y="293465"/>
                  </a:lnTo>
                  <a:lnTo>
                    <a:pt x="242888" y="293465"/>
                  </a:lnTo>
                  <a:lnTo>
                    <a:pt x="221933" y="285750"/>
                  </a:lnTo>
                  <a:lnTo>
                    <a:pt x="200978" y="282035"/>
                  </a:lnTo>
                  <a:lnTo>
                    <a:pt x="183833" y="285750"/>
                  </a:lnTo>
                  <a:lnTo>
                    <a:pt x="151448" y="285750"/>
                  </a:lnTo>
                  <a:lnTo>
                    <a:pt x="138113" y="293465"/>
                  </a:lnTo>
                  <a:lnTo>
                    <a:pt x="120015" y="310515"/>
                  </a:lnTo>
                  <a:lnTo>
                    <a:pt x="134303" y="324803"/>
                  </a:lnTo>
                  <a:lnTo>
                    <a:pt x="155258" y="321088"/>
                  </a:lnTo>
                  <a:lnTo>
                    <a:pt x="176213" y="328612"/>
                  </a:lnTo>
                  <a:lnTo>
                    <a:pt x="186690" y="317278"/>
                  </a:lnTo>
                  <a:lnTo>
                    <a:pt x="200978" y="306800"/>
                  </a:lnTo>
                  <a:lnTo>
                    <a:pt x="204788" y="321088"/>
                  </a:lnTo>
                  <a:lnTo>
                    <a:pt x="207645" y="328612"/>
                  </a:lnTo>
                  <a:lnTo>
                    <a:pt x="190500" y="342043"/>
                  </a:lnTo>
                  <a:lnTo>
                    <a:pt x="183833" y="352425"/>
                  </a:lnTo>
                  <a:lnTo>
                    <a:pt x="215265" y="363950"/>
                  </a:lnTo>
                  <a:lnTo>
                    <a:pt x="232410" y="356330"/>
                  </a:lnTo>
                  <a:lnTo>
                    <a:pt x="246698" y="342043"/>
                  </a:lnTo>
                  <a:lnTo>
                    <a:pt x="260985" y="331565"/>
                  </a:lnTo>
                  <a:lnTo>
                    <a:pt x="267653" y="335375"/>
                  </a:lnTo>
                  <a:lnTo>
                    <a:pt x="257175" y="356330"/>
                  </a:lnTo>
                  <a:lnTo>
                    <a:pt x="232410" y="374428"/>
                  </a:lnTo>
                  <a:lnTo>
                    <a:pt x="211455" y="374428"/>
                  </a:lnTo>
                  <a:lnTo>
                    <a:pt x="180023" y="370618"/>
                  </a:lnTo>
                  <a:lnTo>
                    <a:pt x="165735" y="360140"/>
                  </a:lnTo>
                  <a:lnTo>
                    <a:pt x="155258" y="345853"/>
                  </a:lnTo>
                  <a:lnTo>
                    <a:pt x="109538" y="345853"/>
                  </a:lnTo>
                  <a:lnTo>
                    <a:pt x="109538" y="360140"/>
                  </a:lnTo>
                  <a:lnTo>
                    <a:pt x="123825" y="374428"/>
                  </a:lnTo>
                  <a:lnTo>
                    <a:pt x="140970" y="374428"/>
                  </a:lnTo>
                  <a:lnTo>
                    <a:pt x="148590" y="388715"/>
                  </a:lnTo>
                  <a:lnTo>
                    <a:pt x="126683" y="388715"/>
                  </a:lnTo>
                  <a:lnTo>
                    <a:pt x="99060" y="388715"/>
                  </a:lnTo>
                  <a:lnTo>
                    <a:pt x="74295" y="395287"/>
                  </a:lnTo>
                  <a:lnTo>
                    <a:pt x="67628" y="416338"/>
                  </a:lnTo>
                  <a:lnTo>
                    <a:pt x="80963" y="430625"/>
                  </a:lnTo>
                  <a:lnTo>
                    <a:pt x="99060" y="416338"/>
                  </a:lnTo>
                  <a:lnTo>
                    <a:pt x="109538" y="430625"/>
                  </a:lnTo>
                  <a:lnTo>
                    <a:pt x="120015" y="423862"/>
                  </a:lnTo>
                  <a:lnTo>
                    <a:pt x="126683" y="430625"/>
                  </a:lnTo>
                  <a:lnTo>
                    <a:pt x="144780" y="420053"/>
                  </a:lnTo>
                  <a:lnTo>
                    <a:pt x="155258" y="430625"/>
                  </a:lnTo>
                  <a:lnTo>
                    <a:pt x="211455" y="430625"/>
                  </a:lnTo>
                  <a:lnTo>
                    <a:pt x="219075" y="420053"/>
                  </a:lnTo>
                  <a:lnTo>
                    <a:pt x="232410" y="430625"/>
                  </a:lnTo>
                  <a:lnTo>
                    <a:pt x="242888" y="420053"/>
                  </a:lnTo>
                  <a:lnTo>
                    <a:pt x="264795" y="426815"/>
                  </a:lnTo>
                  <a:lnTo>
                    <a:pt x="285750" y="423862"/>
                  </a:lnTo>
                  <a:lnTo>
                    <a:pt x="302895" y="430625"/>
                  </a:lnTo>
                  <a:lnTo>
                    <a:pt x="302895" y="444913"/>
                  </a:lnTo>
                  <a:lnTo>
                    <a:pt x="331470" y="441103"/>
                  </a:lnTo>
                  <a:lnTo>
                    <a:pt x="359093" y="430625"/>
                  </a:lnTo>
                  <a:lnTo>
                    <a:pt x="383857" y="423862"/>
                  </a:lnTo>
                  <a:lnTo>
                    <a:pt x="394335" y="416338"/>
                  </a:lnTo>
                  <a:lnTo>
                    <a:pt x="391478" y="399193"/>
                  </a:lnTo>
                  <a:lnTo>
                    <a:pt x="383857" y="391478"/>
                  </a:lnTo>
                  <a:lnTo>
                    <a:pt x="377190" y="399193"/>
                  </a:lnTo>
                  <a:lnTo>
                    <a:pt x="362903" y="409575"/>
                  </a:lnTo>
                  <a:lnTo>
                    <a:pt x="359093" y="399193"/>
                  </a:lnTo>
                  <a:lnTo>
                    <a:pt x="356235" y="388715"/>
                  </a:lnTo>
                  <a:lnTo>
                    <a:pt x="317183" y="388715"/>
                  </a:lnTo>
                  <a:lnTo>
                    <a:pt x="289560" y="381000"/>
                  </a:lnTo>
                  <a:lnTo>
                    <a:pt x="292417" y="366712"/>
                  </a:lnTo>
                  <a:lnTo>
                    <a:pt x="327660" y="374428"/>
                  </a:lnTo>
                  <a:lnTo>
                    <a:pt x="370522" y="374428"/>
                  </a:lnTo>
                  <a:lnTo>
                    <a:pt x="387668" y="363950"/>
                  </a:lnTo>
                  <a:lnTo>
                    <a:pt x="394335" y="342043"/>
                  </a:lnTo>
                  <a:lnTo>
                    <a:pt x="447675" y="339090"/>
                  </a:lnTo>
                  <a:lnTo>
                    <a:pt x="454343" y="331565"/>
                  </a:lnTo>
                  <a:lnTo>
                    <a:pt x="458153" y="324803"/>
                  </a:lnTo>
                  <a:lnTo>
                    <a:pt x="468630" y="317278"/>
                  </a:lnTo>
                  <a:lnTo>
                    <a:pt x="447675" y="306800"/>
                  </a:lnTo>
                  <a:lnTo>
                    <a:pt x="441007" y="296323"/>
                  </a:lnTo>
                  <a:lnTo>
                    <a:pt x="472440" y="300037"/>
                  </a:lnTo>
                  <a:lnTo>
                    <a:pt x="479107" y="296323"/>
                  </a:lnTo>
                  <a:lnTo>
                    <a:pt x="479107" y="285750"/>
                  </a:lnTo>
                  <a:lnTo>
                    <a:pt x="451485" y="282035"/>
                  </a:lnTo>
                  <a:lnTo>
                    <a:pt x="447675" y="271463"/>
                  </a:lnTo>
                  <a:lnTo>
                    <a:pt x="472440" y="271463"/>
                  </a:lnTo>
                  <a:lnTo>
                    <a:pt x="486728" y="271463"/>
                  </a:lnTo>
                  <a:lnTo>
                    <a:pt x="479107" y="261080"/>
                  </a:lnTo>
                  <a:lnTo>
                    <a:pt x="447675" y="261080"/>
                  </a:lnTo>
                  <a:lnTo>
                    <a:pt x="422910" y="261080"/>
                  </a:lnTo>
                  <a:lnTo>
                    <a:pt x="412432" y="250603"/>
                  </a:lnTo>
                  <a:lnTo>
                    <a:pt x="433388" y="243935"/>
                  </a:lnTo>
                  <a:lnTo>
                    <a:pt x="464820" y="246793"/>
                  </a:lnTo>
                  <a:lnTo>
                    <a:pt x="486728" y="250603"/>
                  </a:lnTo>
                  <a:lnTo>
                    <a:pt x="503872" y="243935"/>
                  </a:lnTo>
                  <a:lnTo>
                    <a:pt x="518160" y="243935"/>
                  </a:lnTo>
                  <a:lnTo>
                    <a:pt x="521970" y="243935"/>
                  </a:lnTo>
                  <a:lnTo>
                    <a:pt x="521970" y="240030"/>
                  </a:lnTo>
                  <a:lnTo>
                    <a:pt x="521970" y="233363"/>
                  </a:lnTo>
                  <a:lnTo>
                    <a:pt x="507682" y="229648"/>
                  </a:lnTo>
                  <a:lnTo>
                    <a:pt x="493395" y="222980"/>
                  </a:lnTo>
                  <a:lnTo>
                    <a:pt x="503872" y="219075"/>
                  </a:lnTo>
                  <a:lnTo>
                    <a:pt x="528638" y="225743"/>
                  </a:lnTo>
                  <a:lnTo>
                    <a:pt x="542925" y="236315"/>
                  </a:lnTo>
                  <a:lnTo>
                    <a:pt x="570547" y="229648"/>
                  </a:lnTo>
                  <a:lnTo>
                    <a:pt x="591503" y="211455"/>
                  </a:lnTo>
                  <a:lnTo>
                    <a:pt x="599122" y="190500"/>
                  </a:lnTo>
                  <a:lnTo>
                    <a:pt x="620078" y="190500"/>
                  </a:lnTo>
                  <a:lnTo>
                    <a:pt x="651510" y="165830"/>
                  </a:lnTo>
                  <a:lnTo>
                    <a:pt x="697230" y="151543"/>
                  </a:lnTo>
                  <a:lnTo>
                    <a:pt x="725805" y="134398"/>
                  </a:lnTo>
                  <a:lnTo>
                    <a:pt x="764857" y="120110"/>
                  </a:lnTo>
                  <a:lnTo>
                    <a:pt x="761047" y="113443"/>
                  </a:lnTo>
                  <a:lnTo>
                    <a:pt x="736282" y="113443"/>
                  </a:lnTo>
                  <a:lnTo>
                    <a:pt x="701040" y="123825"/>
                  </a:lnTo>
                  <a:lnTo>
                    <a:pt x="648653" y="130493"/>
                  </a:lnTo>
                  <a:lnTo>
                    <a:pt x="683895" y="116205"/>
                  </a:lnTo>
                  <a:lnTo>
                    <a:pt x="701040" y="113443"/>
                  </a:lnTo>
                  <a:lnTo>
                    <a:pt x="661988" y="109538"/>
                  </a:lnTo>
                  <a:lnTo>
                    <a:pt x="673418" y="102965"/>
                  </a:lnTo>
                  <a:lnTo>
                    <a:pt x="778193" y="99155"/>
                  </a:lnTo>
                  <a:lnTo>
                    <a:pt x="806768" y="84868"/>
                  </a:lnTo>
                  <a:lnTo>
                    <a:pt x="848678" y="70580"/>
                  </a:lnTo>
                  <a:lnTo>
                    <a:pt x="862965" y="63818"/>
                  </a:lnTo>
                  <a:lnTo>
                    <a:pt x="852488" y="45815"/>
                  </a:lnTo>
                  <a:lnTo>
                    <a:pt x="810578" y="45815"/>
                  </a:lnTo>
                  <a:lnTo>
                    <a:pt x="796290" y="24860"/>
                  </a:lnTo>
                  <a:lnTo>
                    <a:pt x="764857" y="24860"/>
                  </a:lnTo>
                  <a:lnTo>
                    <a:pt x="721995" y="24860"/>
                  </a:lnTo>
                  <a:lnTo>
                    <a:pt x="683895" y="35243"/>
                  </a:lnTo>
                  <a:lnTo>
                    <a:pt x="683895" y="28575"/>
                  </a:lnTo>
                  <a:lnTo>
                    <a:pt x="711518" y="20955"/>
                  </a:lnTo>
                  <a:lnTo>
                    <a:pt x="715328" y="14288"/>
                  </a:lnTo>
                  <a:lnTo>
                    <a:pt x="644843" y="10573"/>
                  </a:lnTo>
                  <a:lnTo>
                    <a:pt x="616268" y="3905"/>
                  </a:lnTo>
                  <a:lnTo>
                    <a:pt x="581025" y="7715"/>
                  </a:lnTo>
                  <a:lnTo>
                    <a:pt x="574357" y="18193"/>
                  </a:lnTo>
                  <a:lnTo>
                    <a:pt x="560070" y="7715"/>
                  </a:lnTo>
                  <a:lnTo>
                    <a:pt x="524828" y="3905"/>
                  </a:lnTo>
                  <a:lnTo>
                    <a:pt x="521970" y="18193"/>
                  </a:lnTo>
                  <a:lnTo>
                    <a:pt x="535305" y="32480"/>
                  </a:lnTo>
                  <a:lnTo>
                    <a:pt x="500063" y="20955"/>
                  </a:lnTo>
                  <a:lnTo>
                    <a:pt x="489585" y="7715"/>
                  </a:lnTo>
                  <a:lnTo>
                    <a:pt x="416243" y="0"/>
                  </a:lnTo>
                  <a:lnTo>
                    <a:pt x="419100" y="10573"/>
                  </a:lnTo>
                  <a:lnTo>
                    <a:pt x="433388" y="24860"/>
                  </a:lnTo>
                  <a:lnTo>
                    <a:pt x="447675" y="39148"/>
                  </a:lnTo>
                  <a:lnTo>
                    <a:pt x="433388" y="45815"/>
                  </a:lnTo>
                  <a:lnTo>
                    <a:pt x="416243" y="32480"/>
                  </a:lnTo>
                  <a:lnTo>
                    <a:pt x="401955" y="24860"/>
                  </a:lnTo>
                  <a:lnTo>
                    <a:pt x="381000" y="18193"/>
                  </a:lnTo>
                  <a:lnTo>
                    <a:pt x="348615" y="14288"/>
                  </a:lnTo>
                  <a:lnTo>
                    <a:pt x="323850" y="24860"/>
                  </a:lnTo>
                  <a:lnTo>
                    <a:pt x="300038" y="24860"/>
                  </a:lnTo>
                  <a:lnTo>
                    <a:pt x="289560" y="32480"/>
                  </a:lnTo>
                  <a:lnTo>
                    <a:pt x="264795" y="35243"/>
                  </a:lnTo>
                  <a:lnTo>
                    <a:pt x="257175" y="45815"/>
                  </a:lnTo>
                  <a:lnTo>
                    <a:pt x="275273" y="57150"/>
                  </a:lnTo>
                  <a:lnTo>
                    <a:pt x="296228" y="70580"/>
                  </a:lnTo>
                  <a:lnTo>
                    <a:pt x="260985" y="67723"/>
                  </a:lnTo>
                  <a:lnTo>
                    <a:pt x="229553" y="60103"/>
                  </a:lnTo>
                  <a:lnTo>
                    <a:pt x="207645" y="49530"/>
                  </a:lnTo>
                  <a:lnTo>
                    <a:pt x="180023" y="49530"/>
                  </a:lnTo>
                  <a:lnTo>
                    <a:pt x="173355" y="63818"/>
                  </a:lnTo>
                  <a:lnTo>
                    <a:pt x="186690" y="80963"/>
                  </a:lnTo>
                  <a:lnTo>
                    <a:pt x="165735" y="80963"/>
                  </a:lnTo>
                  <a:lnTo>
                    <a:pt x="140970" y="80963"/>
                  </a:lnTo>
                  <a:lnTo>
                    <a:pt x="126683" y="74390"/>
                  </a:lnTo>
                  <a:lnTo>
                    <a:pt x="95250" y="74390"/>
                  </a:lnTo>
                  <a:lnTo>
                    <a:pt x="80963" y="80963"/>
                  </a:lnTo>
                  <a:lnTo>
                    <a:pt x="63817" y="88678"/>
                  </a:lnTo>
                  <a:lnTo>
                    <a:pt x="21908" y="88678"/>
                  </a:lnTo>
                  <a:lnTo>
                    <a:pt x="0" y="105823"/>
                  </a:lnTo>
                  <a:lnTo>
                    <a:pt x="24765" y="105823"/>
                  </a:lnTo>
                  <a:lnTo>
                    <a:pt x="35242" y="9915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70" name="Freeform: Shape 3869">
              <a:extLst>
                <a:ext uri="{FF2B5EF4-FFF2-40B4-BE49-F238E27FC236}">
                  <a16:creationId xmlns:a16="http://schemas.microsoft.com/office/drawing/2014/main" id="{E253DA75-88B5-A886-4F63-7932EFE06C2A}"/>
                </a:ext>
              </a:extLst>
            </p:cNvPr>
            <p:cNvSpPr/>
            <p:nvPr/>
          </p:nvSpPr>
          <p:spPr>
            <a:xfrm>
              <a:off x="2637113" y="1813505"/>
              <a:ext cx="193280" cy="99816"/>
            </a:xfrm>
            <a:custGeom>
              <a:avLst/>
              <a:gdLst>
                <a:gd name="connsiteX0" fmla="*/ 42863 w 197167"/>
                <a:gd name="connsiteY0" fmla="*/ 95250 h 101822"/>
                <a:gd name="connsiteX1" fmla="*/ 42863 w 197167"/>
                <a:gd name="connsiteY1" fmla="*/ 87535 h 101822"/>
                <a:gd name="connsiteX2" fmla="*/ 56197 w 197167"/>
                <a:gd name="connsiteY2" fmla="*/ 87535 h 101822"/>
                <a:gd name="connsiteX3" fmla="*/ 60008 w 197167"/>
                <a:gd name="connsiteY3" fmla="*/ 101822 h 101822"/>
                <a:gd name="connsiteX4" fmla="*/ 84772 w 197167"/>
                <a:gd name="connsiteY4" fmla="*/ 101822 h 101822"/>
                <a:gd name="connsiteX5" fmla="*/ 84772 w 197167"/>
                <a:gd name="connsiteY5" fmla="*/ 84773 h 101822"/>
                <a:gd name="connsiteX6" fmla="*/ 95250 w 197167"/>
                <a:gd name="connsiteY6" fmla="*/ 87535 h 101822"/>
                <a:gd name="connsiteX7" fmla="*/ 105728 w 197167"/>
                <a:gd name="connsiteY7" fmla="*/ 84773 h 101822"/>
                <a:gd name="connsiteX8" fmla="*/ 112395 w 197167"/>
                <a:gd name="connsiteY8" fmla="*/ 70485 h 101822"/>
                <a:gd name="connsiteX9" fmla="*/ 112395 w 197167"/>
                <a:gd name="connsiteY9" fmla="*/ 59912 h 101822"/>
                <a:gd name="connsiteX10" fmla="*/ 116205 w 197167"/>
                <a:gd name="connsiteY10" fmla="*/ 52388 h 101822"/>
                <a:gd name="connsiteX11" fmla="*/ 126683 w 197167"/>
                <a:gd name="connsiteY11" fmla="*/ 49435 h 101822"/>
                <a:gd name="connsiteX12" fmla="*/ 134303 w 197167"/>
                <a:gd name="connsiteY12" fmla="*/ 56198 h 101822"/>
                <a:gd name="connsiteX13" fmla="*/ 130492 w 197167"/>
                <a:gd name="connsiteY13" fmla="*/ 74200 h 101822"/>
                <a:gd name="connsiteX14" fmla="*/ 147638 w 197167"/>
                <a:gd name="connsiteY14" fmla="*/ 77153 h 101822"/>
                <a:gd name="connsiteX15" fmla="*/ 159067 w 197167"/>
                <a:gd name="connsiteY15" fmla="*/ 66675 h 101822"/>
                <a:gd name="connsiteX16" fmla="*/ 169545 w 197167"/>
                <a:gd name="connsiteY16" fmla="*/ 56198 h 101822"/>
                <a:gd name="connsiteX17" fmla="*/ 182880 w 197167"/>
                <a:gd name="connsiteY17" fmla="*/ 52388 h 101822"/>
                <a:gd name="connsiteX18" fmla="*/ 186690 w 197167"/>
                <a:gd name="connsiteY18" fmla="*/ 41910 h 101822"/>
                <a:gd name="connsiteX19" fmla="*/ 176213 w 197167"/>
                <a:gd name="connsiteY19" fmla="*/ 28575 h 101822"/>
                <a:gd name="connsiteX20" fmla="*/ 190500 w 197167"/>
                <a:gd name="connsiteY20" fmla="*/ 24765 h 101822"/>
                <a:gd name="connsiteX21" fmla="*/ 197167 w 197167"/>
                <a:gd name="connsiteY21" fmla="*/ 14288 h 101822"/>
                <a:gd name="connsiteX22" fmla="*/ 186690 w 197167"/>
                <a:gd name="connsiteY22" fmla="*/ 6572 h 101822"/>
                <a:gd name="connsiteX23" fmla="*/ 169545 w 197167"/>
                <a:gd name="connsiteY23" fmla="*/ 0 h 101822"/>
                <a:gd name="connsiteX24" fmla="*/ 161925 w 197167"/>
                <a:gd name="connsiteY24" fmla="*/ 20860 h 101822"/>
                <a:gd name="connsiteX25" fmla="*/ 151447 w 197167"/>
                <a:gd name="connsiteY25" fmla="*/ 14288 h 101822"/>
                <a:gd name="connsiteX26" fmla="*/ 134303 w 197167"/>
                <a:gd name="connsiteY26" fmla="*/ 14288 h 101822"/>
                <a:gd name="connsiteX27" fmla="*/ 101917 w 197167"/>
                <a:gd name="connsiteY27" fmla="*/ 17050 h 101822"/>
                <a:gd name="connsiteX28" fmla="*/ 88583 w 197167"/>
                <a:gd name="connsiteY28" fmla="*/ 31337 h 101822"/>
                <a:gd name="connsiteX29" fmla="*/ 63817 w 197167"/>
                <a:gd name="connsiteY29" fmla="*/ 45625 h 101822"/>
                <a:gd name="connsiteX30" fmla="*/ 45720 w 197167"/>
                <a:gd name="connsiteY30" fmla="*/ 56198 h 101822"/>
                <a:gd name="connsiteX31" fmla="*/ 28575 w 197167"/>
                <a:gd name="connsiteY31" fmla="*/ 66675 h 101822"/>
                <a:gd name="connsiteX32" fmla="*/ 7620 w 197167"/>
                <a:gd name="connsiteY32" fmla="*/ 70485 h 101822"/>
                <a:gd name="connsiteX33" fmla="*/ 0 w 197167"/>
                <a:gd name="connsiteY33" fmla="*/ 87535 h 101822"/>
                <a:gd name="connsiteX34" fmla="*/ 14288 w 197167"/>
                <a:gd name="connsiteY34" fmla="*/ 95250 h 101822"/>
                <a:gd name="connsiteX35" fmla="*/ 42863 w 197167"/>
                <a:gd name="connsiteY35" fmla="*/ 95250 h 101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97167" h="101822">
                  <a:moveTo>
                    <a:pt x="42863" y="95250"/>
                  </a:moveTo>
                  <a:lnTo>
                    <a:pt x="42863" y="87535"/>
                  </a:lnTo>
                  <a:lnTo>
                    <a:pt x="56197" y="87535"/>
                  </a:lnTo>
                  <a:lnTo>
                    <a:pt x="60008" y="101822"/>
                  </a:lnTo>
                  <a:lnTo>
                    <a:pt x="84772" y="101822"/>
                  </a:lnTo>
                  <a:lnTo>
                    <a:pt x="84772" y="84773"/>
                  </a:lnTo>
                  <a:lnTo>
                    <a:pt x="95250" y="87535"/>
                  </a:lnTo>
                  <a:lnTo>
                    <a:pt x="105728" y="84773"/>
                  </a:lnTo>
                  <a:lnTo>
                    <a:pt x="112395" y="70485"/>
                  </a:lnTo>
                  <a:lnTo>
                    <a:pt x="112395" y="59912"/>
                  </a:lnTo>
                  <a:lnTo>
                    <a:pt x="116205" y="52388"/>
                  </a:lnTo>
                  <a:lnTo>
                    <a:pt x="126683" y="49435"/>
                  </a:lnTo>
                  <a:lnTo>
                    <a:pt x="134303" y="56198"/>
                  </a:lnTo>
                  <a:lnTo>
                    <a:pt x="130492" y="74200"/>
                  </a:lnTo>
                  <a:lnTo>
                    <a:pt x="147638" y="77153"/>
                  </a:lnTo>
                  <a:lnTo>
                    <a:pt x="159067" y="66675"/>
                  </a:lnTo>
                  <a:lnTo>
                    <a:pt x="169545" y="56198"/>
                  </a:lnTo>
                  <a:lnTo>
                    <a:pt x="182880" y="52388"/>
                  </a:lnTo>
                  <a:lnTo>
                    <a:pt x="186690" y="41910"/>
                  </a:lnTo>
                  <a:lnTo>
                    <a:pt x="176213" y="28575"/>
                  </a:lnTo>
                  <a:lnTo>
                    <a:pt x="190500" y="24765"/>
                  </a:lnTo>
                  <a:lnTo>
                    <a:pt x="197167" y="14288"/>
                  </a:lnTo>
                  <a:lnTo>
                    <a:pt x="186690" y="6572"/>
                  </a:lnTo>
                  <a:lnTo>
                    <a:pt x="169545" y="0"/>
                  </a:lnTo>
                  <a:lnTo>
                    <a:pt x="161925" y="20860"/>
                  </a:lnTo>
                  <a:lnTo>
                    <a:pt x="151447" y="14288"/>
                  </a:lnTo>
                  <a:lnTo>
                    <a:pt x="134303" y="14288"/>
                  </a:lnTo>
                  <a:lnTo>
                    <a:pt x="101917" y="17050"/>
                  </a:lnTo>
                  <a:lnTo>
                    <a:pt x="88583" y="31337"/>
                  </a:lnTo>
                  <a:lnTo>
                    <a:pt x="63817" y="45625"/>
                  </a:lnTo>
                  <a:lnTo>
                    <a:pt x="45720" y="56198"/>
                  </a:lnTo>
                  <a:lnTo>
                    <a:pt x="28575" y="66675"/>
                  </a:lnTo>
                  <a:lnTo>
                    <a:pt x="7620" y="70485"/>
                  </a:lnTo>
                  <a:lnTo>
                    <a:pt x="0" y="87535"/>
                  </a:lnTo>
                  <a:lnTo>
                    <a:pt x="14288" y="95250"/>
                  </a:lnTo>
                  <a:lnTo>
                    <a:pt x="42863" y="9525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71" name="Freeform: Shape 3870">
              <a:extLst>
                <a:ext uri="{FF2B5EF4-FFF2-40B4-BE49-F238E27FC236}">
                  <a16:creationId xmlns:a16="http://schemas.microsoft.com/office/drawing/2014/main" id="{E0F8D770-9F70-2A98-E577-EC61EA56B794}"/>
                </a:ext>
              </a:extLst>
            </p:cNvPr>
            <p:cNvSpPr/>
            <p:nvPr/>
          </p:nvSpPr>
          <p:spPr>
            <a:xfrm>
              <a:off x="2730486" y="1899316"/>
              <a:ext cx="48553" cy="34641"/>
            </a:xfrm>
            <a:custGeom>
              <a:avLst/>
              <a:gdLst>
                <a:gd name="connsiteX0" fmla="*/ 6667 w 49529"/>
                <a:gd name="connsiteY0" fmla="*/ 14288 h 35337"/>
                <a:gd name="connsiteX1" fmla="*/ 0 w 49529"/>
                <a:gd name="connsiteY1" fmla="*/ 28575 h 35337"/>
                <a:gd name="connsiteX2" fmla="*/ 20955 w 49529"/>
                <a:gd name="connsiteY2" fmla="*/ 35338 h 35337"/>
                <a:gd name="connsiteX3" fmla="*/ 35242 w 49529"/>
                <a:gd name="connsiteY3" fmla="*/ 32480 h 35337"/>
                <a:gd name="connsiteX4" fmla="*/ 45720 w 49529"/>
                <a:gd name="connsiteY4" fmla="*/ 14288 h 35337"/>
                <a:gd name="connsiteX5" fmla="*/ 49530 w 49529"/>
                <a:gd name="connsiteY5" fmla="*/ 3905 h 35337"/>
                <a:gd name="connsiteX6" fmla="*/ 31433 w 49529"/>
                <a:gd name="connsiteY6" fmla="*/ 0 h 35337"/>
                <a:gd name="connsiteX7" fmla="*/ 6667 w 49529"/>
                <a:gd name="connsiteY7" fmla="*/ 14288 h 35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529" h="35337">
                  <a:moveTo>
                    <a:pt x="6667" y="14288"/>
                  </a:moveTo>
                  <a:lnTo>
                    <a:pt x="0" y="28575"/>
                  </a:lnTo>
                  <a:lnTo>
                    <a:pt x="20955" y="35338"/>
                  </a:lnTo>
                  <a:lnTo>
                    <a:pt x="35242" y="32480"/>
                  </a:lnTo>
                  <a:lnTo>
                    <a:pt x="45720" y="14288"/>
                  </a:lnTo>
                  <a:lnTo>
                    <a:pt x="49530" y="3905"/>
                  </a:lnTo>
                  <a:lnTo>
                    <a:pt x="31433" y="0"/>
                  </a:lnTo>
                  <a:lnTo>
                    <a:pt x="6667" y="1428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72" name="Freeform: Shape 3871">
              <a:extLst>
                <a:ext uri="{FF2B5EF4-FFF2-40B4-BE49-F238E27FC236}">
                  <a16:creationId xmlns:a16="http://schemas.microsoft.com/office/drawing/2014/main" id="{96311205-47E2-2C05-36C4-B71B4D1080ED}"/>
                </a:ext>
              </a:extLst>
            </p:cNvPr>
            <p:cNvSpPr/>
            <p:nvPr/>
          </p:nvSpPr>
          <p:spPr>
            <a:xfrm>
              <a:off x="2895755" y="1785493"/>
              <a:ext cx="97107" cy="44725"/>
            </a:xfrm>
            <a:custGeom>
              <a:avLst/>
              <a:gdLst>
                <a:gd name="connsiteX0" fmla="*/ 28575 w 99060"/>
                <a:gd name="connsiteY0" fmla="*/ 45625 h 45624"/>
                <a:gd name="connsiteX1" fmla="*/ 39053 w 99060"/>
                <a:gd name="connsiteY1" fmla="*/ 42863 h 45624"/>
                <a:gd name="connsiteX2" fmla="*/ 57150 w 99060"/>
                <a:gd name="connsiteY2" fmla="*/ 42863 h 45624"/>
                <a:gd name="connsiteX3" fmla="*/ 78105 w 99060"/>
                <a:gd name="connsiteY3" fmla="*/ 42863 h 45624"/>
                <a:gd name="connsiteX4" fmla="*/ 88583 w 99060"/>
                <a:gd name="connsiteY4" fmla="*/ 32385 h 45624"/>
                <a:gd name="connsiteX5" fmla="*/ 88583 w 99060"/>
                <a:gd name="connsiteY5" fmla="*/ 20860 h 45624"/>
                <a:gd name="connsiteX6" fmla="*/ 70485 w 99060"/>
                <a:gd name="connsiteY6" fmla="*/ 20860 h 45624"/>
                <a:gd name="connsiteX7" fmla="*/ 78105 w 99060"/>
                <a:gd name="connsiteY7" fmla="*/ 14288 h 45624"/>
                <a:gd name="connsiteX8" fmla="*/ 99060 w 99060"/>
                <a:gd name="connsiteY8" fmla="*/ 10478 h 45624"/>
                <a:gd name="connsiteX9" fmla="*/ 95250 w 99060"/>
                <a:gd name="connsiteY9" fmla="*/ 0 h 45624"/>
                <a:gd name="connsiteX10" fmla="*/ 57150 w 99060"/>
                <a:gd name="connsiteY10" fmla="*/ 0 h 45624"/>
                <a:gd name="connsiteX11" fmla="*/ 24765 w 99060"/>
                <a:gd name="connsiteY11" fmla="*/ 0 h 45624"/>
                <a:gd name="connsiteX12" fmla="*/ 0 w 99060"/>
                <a:gd name="connsiteY12" fmla="*/ 10478 h 45624"/>
                <a:gd name="connsiteX13" fmla="*/ 7620 w 99060"/>
                <a:gd name="connsiteY13" fmla="*/ 35147 h 45624"/>
                <a:gd name="connsiteX14" fmla="*/ 28575 w 99060"/>
                <a:gd name="connsiteY14" fmla="*/ 45625 h 45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9060" h="45624">
                  <a:moveTo>
                    <a:pt x="28575" y="45625"/>
                  </a:moveTo>
                  <a:lnTo>
                    <a:pt x="39053" y="42863"/>
                  </a:lnTo>
                  <a:lnTo>
                    <a:pt x="57150" y="42863"/>
                  </a:lnTo>
                  <a:lnTo>
                    <a:pt x="78105" y="42863"/>
                  </a:lnTo>
                  <a:lnTo>
                    <a:pt x="88583" y="32385"/>
                  </a:lnTo>
                  <a:lnTo>
                    <a:pt x="88583" y="20860"/>
                  </a:lnTo>
                  <a:lnTo>
                    <a:pt x="70485" y="20860"/>
                  </a:lnTo>
                  <a:lnTo>
                    <a:pt x="78105" y="14288"/>
                  </a:lnTo>
                  <a:lnTo>
                    <a:pt x="99060" y="10478"/>
                  </a:lnTo>
                  <a:lnTo>
                    <a:pt x="95250" y="0"/>
                  </a:lnTo>
                  <a:lnTo>
                    <a:pt x="57150" y="0"/>
                  </a:lnTo>
                  <a:lnTo>
                    <a:pt x="24765" y="0"/>
                  </a:lnTo>
                  <a:lnTo>
                    <a:pt x="0" y="10478"/>
                  </a:lnTo>
                  <a:lnTo>
                    <a:pt x="7620" y="35147"/>
                  </a:lnTo>
                  <a:lnTo>
                    <a:pt x="28575" y="4562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73" name="Freeform: Shape 3872">
              <a:extLst>
                <a:ext uri="{FF2B5EF4-FFF2-40B4-BE49-F238E27FC236}">
                  <a16:creationId xmlns:a16="http://schemas.microsoft.com/office/drawing/2014/main" id="{2A0DAB68-38CC-C05F-FA7A-DCC5EF6F0B02}"/>
                </a:ext>
              </a:extLst>
            </p:cNvPr>
            <p:cNvSpPr/>
            <p:nvPr/>
          </p:nvSpPr>
          <p:spPr>
            <a:xfrm>
              <a:off x="2895755" y="1744409"/>
              <a:ext cx="111113" cy="30813"/>
            </a:xfrm>
            <a:custGeom>
              <a:avLst/>
              <a:gdLst>
                <a:gd name="connsiteX0" fmla="*/ 60008 w 113347"/>
                <a:gd name="connsiteY0" fmla="*/ 27622 h 31432"/>
                <a:gd name="connsiteX1" fmla="*/ 92392 w 113347"/>
                <a:gd name="connsiteY1" fmla="*/ 27622 h 31432"/>
                <a:gd name="connsiteX2" fmla="*/ 109538 w 113347"/>
                <a:gd name="connsiteY2" fmla="*/ 24670 h 31432"/>
                <a:gd name="connsiteX3" fmla="*/ 113348 w 113347"/>
                <a:gd name="connsiteY3" fmla="*/ 14288 h 31432"/>
                <a:gd name="connsiteX4" fmla="*/ 99060 w 113347"/>
                <a:gd name="connsiteY4" fmla="*/ 3810 h 31432"/>
                <a:gd name="connsiteX5" fmla="*/ 74295 w 113347"/>
                <a:gd name="connsiteY5" fmla="*/ 0 h 31432"/>
                <a:gd name="connsiteX6" fmla="*/ 42863 w 113347"/>
                <a:gd name="connsiteY6" fmla="*/ 10382 h 31432"/>
                <a:gd name="connsiteX7" fmla="*/ 14288 w 113347"/>
                <a:gd name="connsiteY7" fmla="*/ 20860 h 31432"/>
                <a:gd name="connsiteX8" fmla="*/ 0 w 113347"/>
                <a:gd name="connsiteY8" fmla="*/ 31432 h 31432"/>
                <a:gd name="connsiteX9" fmla="*/ 24765 w 113347"/>
                <a:gd name="connsiteY9" fmla="*/ 31432 h 31432"/>
                <a:gd name="connsiteX10" fmla="*/ 60008 w 113347"/>
                <a:gd name="connsiteY10" fmla="*/ 27622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3347" h="31432">
                  <a:moveTo>
                    <a:pt x="60008" y="27622"/>
                  </a:moveTo>
                  <a:lnTo>
                    <a:pt x="92392" y="27622"/>
                  </a:lnTo>
                  <a:lnTo>
                    <a:pt x="109538" y="24670"/>
                  </a:lnTo>
                  <a:lnTo>
                    <a:pt x="113348" y="14288"/>
                  </a:lnTo>
                  <a:lnTo>
                    <a:pt x="99060" y="3810"/>
                  </a:lnTo>
                  <a:lnTo>
                    <a:pt x="74295" y="0"/>
                  </a:lnTo>
                  <a:lnTo>
                    <a:pt x="42863" y="10382"/>
                  </a:lnTo>
                  <a:lnTo>
                    <a:pt x="14288" y="20860"/>
                  </a:lnTo>
                  <a:lnTo>
                    <a:pt x="0" y="31432"/>
                  </a:lnTo>
                  <a:lnTo>
                    <a:pt x="24765" y="31432"/>
                  </a:lnTo>
                  <a:lnTo>
                    <a:pt x="60008" y="2762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74" name="Freeform: Shape 3873">
              <a:extLst>
                <a:ext uri="{FF2B5EF4-FFF2-40B4-BE49-F238E27FC236}">
                  <a16:creationId xmlns:a16="http://schemas.microsoft.com/office/drawing/2014/main" id="{696DB4DF-A506-AC13-26AD-427517F70759}"/>
                </a:ext>
              </a:extLst>
            </p:cNvPr>
            <p:cNvSpPr/>
            <p:nvPr/>
          </p:nvSpPr>
          <p:spPr>
            <a:xfrm>
              <a:off x="3189877" y="2024529"/>
              <a:ext cx="165269" cy="134457"/>
            </a:xfrm>
            <a:custGeom>
              <a:avLst/>
              <a:gdLst>
                <a:gd name="connsiteX0" fmla="*/ 165735 w 168592"/>
                <a:gd name="connsiteY0" fmla="*/ 49435 h 137160"/>
                <a:gd name="connsiteX1" fmla="*/ 151448 w 168592"/>
                <a:gd name="connsiteY1" fmla="*/ 60007 h 137160"/>
                <a:gd name="connsiteX2" fmla="*/ 140970 w 168592"/>
                <a:gd name="connsiteY2" fmla="*/ 45720 h 137160"/>
                <a:gd name="connsiteX3" fmla="*/ 130492 w 168592"/>
                <a:gd name="connsiteY3" fmla="*/ 45720 h 137160"/>
                <a:gd name="connsiteX4" fmla="*/ 112395 w 168592"/>
                <a:gd name="connsiteY4" fmla="*/ 45720 h 137160"/>
                <a:gd name="connsiteX5" fmla="*/ 119063 w 168592"/>
                <a:gd name="connsiteY5" fmla="*/ 35147 h 137160"/>
                <a:gd name="connsiteX6" fmla="*/ 137160 w 168592"/>
                <a:gd name="connsiteY6" fmla="*/ 24670 h 137160"/>
                <a:gd name="connsiteX7" fmla="*/ 151448 w 168592"/>
                <a:gd name="connsiteY7" fmla="*/ 10382 h 137160"/>
                <a:gd name="connsiteX8" fmla="*/ 161925 w 168592"/>
                <a:gd name="connsiteY8" fmla="*/ 2857 h 137160"/>
                <a:gd name="connsiteX9" fmla="*/ 116205 w 168592"/>
                <a:gd name="connsiteY9" fmla="*/ 0 h 137160"/>
                <a:gd name="connsiteX10" fmla="*/ 101917 w 168592"/>
                <a:gd name="connsiteY10" fmla="*/ 6572 h 137160"/>
                <a:gd name="connsiteX11" fmla="*/ 87630 w 168592"/>
                <a:gd name="connsiteY11" fmla="*/ 6572 h 137160"/>
                <a:gd name="connsiteX12" fmla="*/ 80963 w 168592"/>
                <a:gd name="connsiteY12" fmla="*/ 0 h 137160"/>
                <a:gd name="connsiteX13" fmla="*/ 56198 w 168592"/>
                <a:gd name="connsiteY13" fmla="*/ 2857 h 137160"/>
                <a:gd name="connsiteX14" fmla="*/ 35242 w 168592"/>
                <a:gd name="connsiteY14" fmla="*/ 20860 h 137160"/>
                <a:gd name="connsiteX15" fmla="*/ 60008 w 168592"/>
                <a:gd name="connsiteY15" fmla="*/ 31432 h 137160"/>
                <a:gd name="connsiteX16" fmla="*/ 66675 w 168592"/>
                <a:gd name="connsiteY16" fmla="*/ 41910 h 137160"/>
                <a:gd name="connsiteX17" fmla="*/ 49530 w 168592"/>
                <a:gd name="connsiteY17" fmla="*/ 52388 h 137160"/>
                <a:gd name="connsiteX18" fmla="*/ 31433 w 168592"/>
                <a:gd name="connsiteY18" fmla="*/ 56198 h 137160"/>
                <a:gd name="connsiteX19" fmla="*/ 20955 w 168592"/>
                <a:gd name="connsiteY19" fmla="*/ 41910 h 137160"/>
                <a:gd name="connsiteX20" fmla="*/ 6667 w 168592"/>
                <a:gd name="connsiteY20" fmla="*/ 38100 h 137160"/>
                <a:gd name="connsiteX21" fmla="*/ 0 w 168592"/>
                <a:gd name="connsiteY21" fmla="*/ 56198 h 137160"/>
                <a:gd name="connsiteX22" fmla="*/ 2858 w 168592"/>
                <a:gd name="connsiteY22" fmla="*/ 70485 h 137160"/>
                <a:gd name="connsiteX23" fmla="*/ 17145 w 168592"/>
                <a:gd name="connsiteY23" fmla="*/ 80963 h 137160"/>
                <a:gd name="connsiteX24" fmla="*/ 45720 w 168592"/>
                <a:gd name="connsiteY24" fmla="*/ 84773 h 137160"/>
                <a:gd name="connsiteX25" fmla="*/ 60008 w 168592"/>
                <a:gd name="connsiteY25" fmla="*/ 98107 h 137160"/>
                <a:gd name="connsiteX26" fmla="*/ 87630 w 168592"/>
                <a:gd name="connsiteY26" fmla="*/ 116110 h 137160"/>
                <a:gd name="connsiteX27" fmla="*/ 108585 w 168592"/>
                <a:gd name="connsiteY27" fmla="*/ 137160 h 137160"/>
                <a:gd name="connsiteX28" fmla="*/ 119063 w 168592"/>
                <a:gd name="connsiteY28" fmla="*/ 119920 h 137160"/>
                <a:gd name="connsiteX29" fmla="*/ 122873 w 168592"/>
                <a:gd name="connsiteY29" fmla="*/ 112395 h 137160"/>
                <a:gd name="connsiteX30" fmla="*/ 137160 w 168592"/>
                <a:gd name="connsiteY30" fmla="*/ 119920 h 137160"/>
                <a:gd name="connsiteX31" fmla="*/ 147638 w 168592"/>
                <a:gd name="connsiteY31" fmla="*/ 116110 h 137160"/>
                <a:gd name="connsiteX32" fmla="*/ 161925 w 168592"/>
                <a:gd name="connsiteY32" fmla="*/ 95250 h 137160"/>
                <a:gd name="connsiteX33" fmla="*/ 168592 w 168592"/>
                <a:gd name="connsiteY33" fmla="*/ 66675 h 137160"/>
                <a:gd name="connsiteX34" fmla="*/ 165735 w 168592"/>
                <a:gd name="connsiteY34" fmla="*/ 49435 h 137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68592" h="137160">
                  <a:moveTo>
                    <a:pt x="165735" y="49435"/>
                  </a:moveTo>
                  <a:lnTo>
                    <a:pt x="151448" y="60007"/>
                  </a:lnTo>
                  <a:lnTo>
                    <a:pt x="140970" y="45720"/>
                  </a:lnTo>
                  <a:lnTo>
                    <a:pt x="130492" y="45720"/>
                  </a:lnTo>
                  <a:lnTo>
                    <a:pt x="112395" y="45720"/>
                  </a:lnTo>
                  <a:lnTo>
                    <a:pt x="119063" y="35147"/>
                  </a:lnTo>
                  <a:lnTo>
                    <a:pt x="137160" y="24670"/>
                  </a:lnTo>
                  <a:lnTo>
                    <a:pt x="151448" y="10382"/>
                  </a:lnTo>
                  <a:lnTo>
                    <a:pt x="161925" y="2857"/>
                  </a:lnTo>
                  <a:lnTo>
                    <a:pt x="116205" y="0"/>
                  </a:lnTo>
                  <a:lnTo>
                    <a:pt x="101917" y="6572"/>
                  </a:lnTo>
                  <a:lnTo>
                    <a:pt x="87630" y="6572"/>
                  </a:lnTo>
                  <a:lnTo>
                    <a:pt x="80963" y="0"/>
                  </a:lnTo>
                  <a:lnTo>
                    <a:pt x="56198" y="2857"/>
                  </a:lnTo>
                  <a:lnTo>
                    <a:pt x="35242" y="20860"/>
                  </a:lnTo>
                  <a:lnTo>
                    <a:pt x="60008" y="31432"/>
                  </a:lnTo>
                  <a:lnTo>
                    <a:pt x="66675" y="41910"/>
                  </a:lnTo>
                  <a:lnTo>
                    <a:pt x="49530" y="52388"/>
                  </a:lnTo>
                  <a:lnTo>
                    <a:pt x="31433" y="56198"/>
                  </a:lnTo>
                  <a:lnTo>
                    <a:pt x="20955" y="41910"/>
                  </a:lnTo>
                  <a:lnTo>
                    <a:pt x="6667" y="38100"/>
                  </a:lnTo>
                  <a:lnTo>
                    <a:pt x="0" y="56198"/>
                  </a:lnTo>
                  <a:lnTo>
                    <a:pt x="2858" y="70485"/>
                  </a:lnTo>
                  <a:lnTo>
                    <a:pt x="17145" y="80963"/>
                  </a:lnTo>
                  <a:lnTo>
                    <a:pt x="45720" y="84773"/>
                  </a:lnTo>
                  <a:lnTo>
                    <a:pt x="60008" y="98107"/>
                  </a:lnTo>
                  <a:lnTo>
                    <a:pt x="87630" y="116110"/>
                  </a:lnTo>
                  <a:lnTo>
                    <a:pt x="108585" y="137160"/>
                  </a:lnTo>
                  <a:lnTo>
                    <a:pt x="119063" y="119920"/>
                  </a:lnTo>
                  <a:lnTo>
                    <a:pt x="122873" y="112395"/>
                  </a:lnTo>
                  <a:lnTo>
                    <a:pt x="137160" y="119920"/>
                  </a:lnTo>
                  <a:lnTo>
                    <a:pt x="147638" y="116110"/>
                  </a:lnTo>
                  <a:lnTo>
                    <a:pt x="161925" y="95250"/>
                  </a:lnTo>
                  <a:lnTo>
                    <a:pt x="168592" y="66675"/>
                  </a:lnTo>
                  <a:lnTo>
                    <a:pt x="165735" y="4943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75" name="Freeform: Shape 3874">
              <a:extLst>
                <a:ext uri="{FF2B5EF4-FFF2-40B4-BE49-F238E27FC236}">
                  <a16:creationId xmlns:a16="http://schemas.microsoft.com/office/drawing/2014/main" id="{9439377C-A78F-BF3F-AC9C-03535EA7D05C}"/>
                </a:ext>
              </a:extLst>
            </p:cNvPr>
            <p:cNvSpPr/>
            <p:nvPr/>
          </p:nvSpPr>
          <p:spPr>
            <a:xfrm>
              <a:off x="3355147" y="1917150"/>
              <a:ext cx="79366" cy="58825"/>
            </a:xfrm>
            <a:custGeom>
              <a:avLst/>
              <a:gdLst>
                <a:gd name="connsiteX0" fmla="*/ 80963 w 80962"/>
                <a:gd name="connsiteY0" fmla="*/ 60007 h 60007"/>
                <a:gd name="connsiteX1" fmla="*/ 80963 w 80962"/>
                <a:gd name="connsiteY1" fmla="*/ 38957 h 60007"/>
                <a:gd name="connsiteX2" fmla="*/ 78105 w 80962"/>
                <a:gd name="connsiteY2" fmla="*/ 24670 h 60007"/>
                <a:gd name="connsiteX3" fmla="*/ 60008 w 80962"/>
                <a:gd name="connsiteY3" fmla="*/ 10382 h 60007"/>
                <a:gd name="connsiteX4" fmla="*/ 45720 w 80962"/>
                <a:gd name="connsiteY4" fmla="*/ 0 h 60007"/>
                <a:gd name="connsiteX5" fmla="*/ 31433 w 80962"/>
                <a:gd name="connsiteY5" fmla="*/ 10382 h 60007"/>
                <a:gd name="connsiteX6" fmla="*/ 14288 w 80962"/>
                <a:gd name="connsiteY6" fmla="*/ 20860 h 60007"/>
                <a:gd name="connsiteX7" fmla="*/ 0 w 80962"/>
                <a:gd name="connsiteY7" fmla="*/ 38957 h 60007"/>
                <a:gd name="connsiteX8" fmla="*/ 20955 w 80962"/>
                <a:gd name="connsiteY8" fmla="*/ 52388 h 60007"/>
                <a:gd name="connsiteX9" fmla="*/ 49530 w 80962"/>
                <a:gd name="connsiteY9" fmla="*/ 56197 h 60007"/>
                <a:gd name="connsiteX10" fmla="*/ 80963 w 80962"/>
                <a:gd name="connsiteY10" fmla="*/ 60007 h 60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0962" h="60007">
                  <a:moveTo>
                    <a:pt x="80963" y="60007"/>
                  </a:moveTo>
                  <a:lnTo>
                    <a:pt x="80963" y="38957"/>
                  </a:lnTo>
                  <a:lnTo>
                    <a:pt x="78105" y="24670"/>
                  </a:lnTo>
                  <a:lnTo>
                    <a:pt x="60008" y="10382"/>
                  </a:lnTo>
                  <a:lnTo>
                    <a:pt x="45720" y="0"/>
                  </a:lnTo>
                  <a:lnTo>
                    <a:pt x="31433" y="10382"/>
                  </a:lnTo>
                  <a:lnTo>
                    <a:pt x="14288" y="20860"/>
                  </a:lnTo>
                  <a:lnTo>
                    <a:pt x="0" y="38957"/>
                  </a:lnTo>
                  <a:lnTo>
                    <a:pt x="20955" y="52388"/>
                  </a:lnTo>
                  <a:lnTo>
                    <a:pt x="49530" y="56197"/>
                  </a:lnTo>
                  <a:lnTo>
                    <a:pt x="80963" y="6000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76" name="Freeform: Shape 3875">
              <a:extLst>
                <a:ext uri="{FF2B5EF4-FFF2-40B4-BE49-F238E27FC236}">
                  <a16:creationId xmlns:a16="http://schemas.microsoft.com/office/drawing/2014/main" id="{F0EF55F7-887C-8C59-8E8E-A85981000F45}"/>
                </a:ext>
              </a:extLst>
            </p:cNvPr>
            <p:cNvSpPr/>
            <p:nvPr/>
          </p:nvSpPr>
          <p:spPr>
            <a:xfrm>
              <a:off x="3314063" y="1740581"/>
              <a:ext cx="55089" cy="17834"/>
            </a:xfrm>
            <a:custGeom>
              <a:avLst/>
              <a:gdLst>
                <a:gd name="connsiteX0" fmla="*/ 56197 w 56197"/>
                <a:gd name="connsiteY0" fmla="*/ 18193 h 18192"/>
                <a:gd name="connsiteX1" fmla="*/ 31433 w 56197"/>
                <a:gd name="connsiteY1" fmla="*/ 7715 h 18192"/>
                <a:gd name="connsiteX2" fmla="*/ 0 w 56197"/>
                <a:gd name="connsiteY2" fmla="*/ 0 h 18192"/>
                <a:gd name="connsiteX3" fmla="*/ 31433 w 56197"/>
                <a:gd name="connsiteY3" fmla="*/ 7715 h 18192"/>
                <a:gd name="connsiteX4" fmla="*/ 56197 w 56197"/>
                <a:gd name="connsiteY4" fmla="*/ 18193 h 18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97" h="18192">
                  <a:moveTo>
                    <a:pt x="56197" y="18193"/>
                  </a:moveTo>
                  <a:lnTo>
                    <a:pt x="31433" y="7715"/>
                  </a:lnTo>
                  <a:lnTo>
                    <a:pt x="0" y="0"/>
                  </a:lnTo>
                  <a:lnTo>
                    <a:pt x="31433" y="7715"/>
                  </a:lnTo>
                  <a:lnTo>
                    <a:pt x="56197" y="1819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77" name="Freeform: Shape 3876">
              <a:extLst>
                <a:ext uri="{FF2B5EF4-FFF2-40B4-BE49-F238E27FC236}">
                  <a16:creationId xmlns:a16="http://schemas.microsoft.com/office/drawing/2014/main" id="{230D5682-8FF8-493C-C5B4-3EC458B32361}"/>
                </a:ext>
              </a:extLst>
            </p:cNvPr>
            <p:cNvSpPr/>
            <p:nvPr/>
          </p:nvSpPr>
          <p:spPr>
            <a:xfrm>
              <a:off x="3334605" y="1778865"/>
              <a:ext cx="55089" cy="16900"/>
            </a:xfrm>
            <a:custGeom>
              <a:avLst/>
              <a:gdLst>
                <a:gd name="connsiteX0" fmla="*/ 6667 w 56197"/>
                <a:gd name="connsiteY0" fmla="*/ 17240 h 17240"/>
                <a:gd name="connsiteX1" fmla="*/ 0 w 56197"/>
                <a:gd name="connsiteY1" fmla="*/ 0 h 17240"/>
                <a:gd name="connsiteX2" fmla="*/ 6667 w 56197"/>
                <a:gd name="connsiteY2" fmla="*/ 17240 h 17240"/>
                <a:gd name="connsiteX3" fmla="*/ 35242 w 56197"/>
                <a:gd name="connsiteY3" fmla="*/ 17240 h 17240"/>
                <a:gd name="connsiteX4" fmla="*/ 56198 w 56197"/>
                <a:gd name="connsiteY4" fmla="*/ 14288 h 17240"/>
                <a:gd name="connsiteX5" fmla="*/ 35242 w 56197"/>
                <a:gd name="connsiteY5" fmla="*/ 17240 h 17240"/>
                <a:gd name="connsiteX6" fmla="*/ 6667 w 56197"/>
                <a:gd name="connsiteY6" fmla="*/ 17240 h 17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6197" h="17240">
                  <a:moveTo>
                    <a:pt x="6667" y="17240"/>
                  </a:moveTo>
                  <a:lnTo>
                    <a:pt x="0" y="0"/>
                  </a:lnTo>
                  <a:lnTo>
                    <a:pt x="6667" y="17240"/>
                  </a:lnTo>
                  <a:lnTo>
                    <a:pt x="35242" y="17240"/>
                  </a:lnTo>
                  <a:lnTo>
                    <a:pt x="56198" y="14288"/>
                  </a:lnTo>
                  <a:lnTo>
                    <a:pt x="35242" y="17240"/>
                  </a:lnTo>
                  <a:lnTo>
                    <a:pt x="6667" y="1724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78" name="Freeform: Shape 3877">
              <a:extLst>
                <a:ext uri="{FF2B5EF4-FFF2-40B4-BE49-F238E27FC236}">
                  <a16:creationId xmlns:a16="http://schemas.microsoft.com/office/drawing/2014/main" id="{39A36143-349E-7EC1-CEB9-3C3BE70A070D}"/>
                </a:ext>
              </a:extLst>
            </p:cNvPr>
            <p:cNvSpPr/>
            <p:nvPr/>
          </p:nvSpPr>
          <p:spPr>
            <a:xfrm>
              <a:off x="3306593" y="1740581"/>
              <a:ext cx="7470" cy="7563"/>
            </a:xfrm>
            <a:custGeom>
              <a:avLst/>
              <a:gdLst>
                <a:gd name="connsiteX0" fmla="*/ 0 w 7620"/>
                <a:gd name="connsiteY0" fmla="*/ 7715 h 7715"/>
                <a:gd name="connsiteX1" fmla="*/ 0 w 7620"/>
                <a:gd name="connsiteY1" fmla="*/ 7715 h 7715"/>
                <a:gd name="connsiteX2" fmla="*/ 7620 w 7620"/>
                <a:gd name="connsiteY2" fmla="*/ 0 h 7715"/>
                <a:gd name="connsiteX3" fmla="*/ 0 w 7620"/>
                <a:gd name="connsiteY3" fmla="*/ 7715 h 7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20" h="7715">
                  <a:moveTo>
                    <a:pt x="0" y="7715"/>
                  </a:moveTo>
                  <a:lnTo>
                    <a:pt x="0" y="7715"/>
                  </a:lnTo>
                  <a:lnTo>
                    <a:pt x="7620" y="0"/>
                  </a:lnTo>
                  <a:lnTo>
                    <a:pt x="0" y="771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79" name="Freeform: Shape 3878">
              <a:extLst>
                <a:ext uri="{FF2B5EF4-FFF2-40B4-BE49-F238E27FC236}">
                  <a16:creationId xmlns:a16="http://schemas.microsoft.com/office/drawing/2014/main" id="{F6A18592-9AF1-C211-63C7-9415A4682867}"/>
                </a:ext>
              </a:extLst>
            </p:cNvPr>
            <p:cNvSpPr/>
            <p:nvPr/>
          </p:nvSpPr>
          <p:spPr>
            <a:xfrm>
              <a:off x="3348610" y="1581847"/>
              <a:ext cx="313731" cy="200752"/>
            </a:xfrm>
            <a:custGeom>
              <a:avLst/>
              <a:gdLst>
                <a:gd name="connsiteX0" fmla="*/ 41910 w 320040"/>
                <a:gd name="connsiteY0" fmla="*/ 130493 h 204787"/>
                <a:gd name="connsiteX1" fmla="*/ 60008 w 320040"/>
                <a:gd name="connsiteY1" fmla="*/ 126778 h 204787"/>
                <a:gd name="connsiteX2" fmla="*/ 87630 w 320040"/>
                <a:gd name="connsiteY2" fmla="*/ 130493 h 204787"/>
                <a:gd name="connsiteX3" fmla="*/ 108585 w 320040"/>
                <a:gd name="connsiteY3" fmla="*/ 126778 h 204787"/>
                <a:gd name="connsiteX4" fmla="*/ 137160 w 320040"/>
                <a:gd name="connsiteY4" fmla="*/ 126778 h 204787"/>
                <a:gd name="connsiteX5" fmla="*/ 158115 w 320040"/>
                <a:gd name="connsiteY5" fmla="*/ 130493 h 204787"/>
                <a:gd name="connsiteX6" fmla="*/ 168592 w 320040"/>
                <a:gd name="connsiteY6" fmla="*/ 141065 h 204787"/>
                <a:gd name="connsiteX7" fmla="*/ 147638 w 320040"/>
                <a:gd name="connsiteY7" fmla="*/ 144780 h 204787"/>
                <a:gd name="connsiteX8" fmla="*/ 122873 w 320040"/>
                <a:gd name="connsiteY8" fmla="*/ 144780 h 204787"/>
                <a:gd name="connsiteX9" fmla="*/ 91440 w 320040"/>
                <a:gd name="connsiteY9" fmla="*/ 144780 h 204787"/>
                <a:gd name="connsiteX10" fmla="*/ 70485 w 320040"/>
                <a:gd name="connsiteY10" fmla="*/ 151543 h 204787"/>
                <a:gd name="connsiteX11" fmla="*/ 98108 w 320040"/>
                <a:gd name="connsiteY11" fmla="*/ 172498 h 204787"/>
                <a:gd name="connsiteX12" fmla="*/ 108585 w 320040"/>
                <a:gd name="connsiteY12" fmla="*/ 169640 h 204787"/>
                <a:gd name="connsiteX13" fmla="*/ 133350 w 320040"/>
                <a:gd name="connsiteY13" fmla="*/ 172498 h 204787"/>
                <a:gd name="connsiteX14" fmla="*/ 137160 w 320040"/>
                <a:gd name="connsiteY14" fmla="*/ 180118 h 204787"/>
                <a:gd name="connsiteX15" fmla="*/ 112395 w 320040"/>
                <a:gd name="connsiteY15" fmla="*/ 176212 h 204787"/>
                <a:gd name="connsiteX16" fmla="*/ 116205 w 320040"/>
                <a:gd name="connsiteY16" fmla="*/ 193453 h 204787"/>
                <a:gd name="connsiteX17" fmla="*/ 147638 w 320040"/>
                <a:gd name="connsiteY17" fmla="*/ 204787 h 204787"/>
                <a:gd name="connsiteX18" fmla="*/ 168592 w 320040"/>
                <a:gd name="connsiteY18" fmla="*/ 197263 h 204787"/>
                <a:gd name="connsiteX19" fmla="*/ 182880 w 320040"/>
                <a:gd name="connsiteY19" fmla="*/ 193453 h 204787"/>
                <a:gd name="connsiteX20" fmla="*/ 179070 w 320040"/>
                <a:gd name="connsiteY20" fmla="*/ 182975 h 204787"/>
                <a:gd name="connsiteX21" fmla="*/ 189548 w 320040"/>
                <a:gd name="connsiteY21" fmla="*/ 176212 h 204787"/>
                <a:gd name="connsiteX22" fmla="*/ 203835 w 320040"/>
                <a:gd name="connsiteY22" fmla="*/ 193453 h 204787"/>
                <a:gd name="connsiteX23" fmla="*/ 218123 w 320040"/>
                <a:gd name="connsiteY23" fmla="*/ 204787 h 204787"/>
                <a:gd name="connsiteX24" fmla="*/ 221933 w 320040"/>
                <a:gd name="connsiteY24" fmla="*/ 182975 h 204787"/>
                <a:gd name="connsiteX25" fmla="*/ 224790 w 320040"/>
                <a:gd name="connsiteY25" fmla="*/ 186690 h 204787"/>
                <a:gd name="connsiteX26" fmla="*/ 236220 w 320040"/>
                <a:gd name="connsiteY26" fmla="*/ 193453 h 204787"/>
                <a:gd name="connsiteX27" fmla="*/ 239078 w 320040"/>
                <a:gd name="connsiteY27" fmla="*/ 190500 h 204787"/>
                <a:gd name="connsiteX28" fmla="*/ 239078 w 320040"/>
                <a:gd name="connsiteY28" fmla="*/ 186690 h 204787"/>
                <a:gd name="connsiteX29" fmla="*/ 239078 w 320040"/>
                <a:gd name="connsiteY29" fmla="*/ 180118 h 204787"/>
                <a:gd name="connsiteX30" fmla="*/ 236220 w 320040"/>
                <a:gd name="connsiteY30" fmla="*/ 169640 h 204787"/>
                <a:gd name="connsiteX31" fmla="*/ 236220 w 320040"/>
                <a:gd name="connsiteY31" fmla="*/ 161925 h 204787"/>
                <a:gd name="connsiteX32" fmla="*/ 242888 w 320040"/>
                <a:gd name="connsiteY32" fmla="*/ 144780 h 204787"/>
                <a:gd name="connsiteX33" fmla="*/ 253365 w 320040"/>
                <a:gd name="connsiteY33" fmla="*/ 144780 h 204787"/>
                <a:gd name="connsiteX34" fmla="*/ 246698 w 320040"/>
                <a:gd name="connsiteY34" fmla="*/ 161925 h 204787"/>
                <a:gd name="connsiteX35" fmla="*/ 246698 w 320040"/>
                <a:gd name="connsiteY35" fmla="*/ 172498 h 204787"/>
                <a:gd name="connsiteX36" fmla="*/ 274320 w 320040"/>
                <a:gd name="connsiteY36" fmla="*/ 147638 h 204787"/>
                <a:gd name="connsiteX37" fmla="*/ 284798 w 320040"/>
                <a:gd name="connsiteY37" fmla="*/ 144780 h 204787"/>
                <a:gd name="connsiteX38" fmla="*/ 302895 w 320040"/>
                <a:gd name="connsiteY38" fmla="*/ 147638 h 204787"/>
                <a:gd name="connsiteX39" fmla="*/ 313373 w 320040"/>
                <a:gd name="connsiteY39" fmla="*/ 141065 h 204787"/>
                <a:gd name="connsiteX40" fmla="*/ 320040 w 320040"/>
                <a:gd name="connsiteY40" fmla="*/ 130493 h 204787"/>
                <a:gd name="connsiteX41" fmla="*/ 309563 w 320040"/>
                <a:gd name="connsiteY41" fmla="*/ 120110 h 204787"/>
                <a:gd name="connsiteX42" fmla="*/ 302895 w 320040"/>
                <a:gd name="connsiteY42" fmla="*/ 120110 h 204787"/>
                <a:gd name="connsiteX43" fmla="*/ 288608 w 320040"/>
                <a:gd name="connsiteY43" fmla="*/ 116205 h 204787"/>
                <a:gd name="connsiteX44" fmla="*/ 263842 w 320040"/>
                <a:gd name="connsiteY44" fmla="*/ 120110 h 204787"/>
                <a:gd name="connsiteX45" fmla="*/ 267653 w 320040"/>
                <a:gd name="connsiteY45" fmla="*/ 101918 h 204787"/>
                <a:gd name="connsiteX46" fmla="*/ 263842 w 320040"/>
                <a:gd name="connsiteY46" fmla="*/ 91535 h 204787"/>
                <a:gd name="connsiteX47" fmla="*/ 249555 w 320040"/>
                <a:gd name="connsiteY47" fmla="*/ 80963 h 204787"/>
                <a:gd name="connsiteX48" fmla="*/ 253365 w 320040"/>
                <a:gd name="connsiteY48" fmla="*/ 62960 h 204787"/>
                <a:gd name="connsiteX49" fmla="*/ 242888 w 320040"/>
                <a:gd name="connsiteY49" fmla="*/ 60103 h 204787"/>
                <a:gd name="connsiteX50" fmla="*/ 228600 w 320040"/>
                <a:gd name="connsiteY50" fmla="*/ 66675 h 204787"/>
                <a:gd name="connsiteX51" fmla="*/ 221933 w 320040"/>
                <a:gd name="connsiteY51" fmla="*/ 84868 h 204787"/>
                <a:gd name="connsiteX52" fmla="*/ 207645 w 320040"/>
                <a:gd name="connsiteY52" fmla="*/ 74390 h 204787"/>
                <a:gd name="connsiteX53" fmla="*/ 207645 w 320040"/>
                <a:gd name="connsiteY53" fmla="*/ 60103 h 204787"/>
                <a:gd name="connsiteX54" fmla="*/ 172403 w 320040"/>
                <a:gd name="connsiteY54" fmla="*/ 52388 h 204787"/>
                <a:gd name="connsiteX55" fmla="*/ 122873 w 320040"/>
                <a:gd name="connsiteY55" fmla="*/ 3905 h 204787"/>
                <a:gd name="connsiteX56" fmla="*/ 80963 w 320040"/>
                <a:gd name="connsiteY56" fmla="*/ 0 h 204787"/>
                <a:gd name="connsiteX57" fmla="*/ 73342 w 320040"/>
                <a:gd name="connsiteY57" fmla="*/ 6668 h 204787"/>
                <a:gd name="connsiteX58" fmla="*/ 98108 w 320040"/>
                <a:gd name="connsiteY58" fmla="*/ 10573 h 204787"/>
                <a:gd name="connsiteX59" fmla="*/ 101917 w 320040"/>
                <a:gd name="connsiteY59" fmla="*/ 17240 h 204787"/>
                <a:gd name="connsiteX60" fmla="*/ 73342 w 320040"/>
                <a:gd name="connsiteY60" fmla="*/ 20955 h 204787"/>
                <a:gd name="connsiteX61" fmla="*/ 60008 w 320040"/>
                <a:gd name="connsiteY61" fmla="*/ 17240 h 204787"/>
                <a:gd name="connsiteX62" fmla="*/ 45720 w 320040"/>
                <a:gd name="connsiteY62" fmla="*/ 17240 h 204787"/>
                <a:gd name="connsiteX63" fmla="*/ 41910 w 320040"/>
                <a:gd name="connsiteY63" fmla="*/ 31528 h 204787"/>
                <a:gd name="connsiteX64" fmla="*/ 60008 w 320040"/>
                <a:gd name="connsiteY64" fmla="*/ 39148 h 204787"/>
                <a:gd name="connsiteX65" fmla="*/ 73342 w 320040"/>
                <a:gd name="connsiteY65" fmla="*/ 45815 h 204787"/>
                <a:gd name="connsiteX66" fmla="*/ 62865 w 320040"/>
                <a:gd name="connsiteY66" fmla="*/ 52388 h 204787"/>
                <a:gd name="connsiteX67" fmla="*/ 41910 w 320040"/>
                <a:gd name="connsiteY67" fmla="*/ 49530 h 204787"/>
                <a:gd name="connsiteX68" fmla="*/ 24765 w 320040"/>
                <a:gd name="connsiteY68" fmla="*/ 49530 h 204787"/>
                <a:gd name="connsiteX69" fmla="*/ 27623 w 320040"/>
                <a:gd name="connsiteY69" fmla="*/ 66675 h 204787"/>
                <a:gd name="connsiteX70" fmla="*/ 41910 w 320040"/>
                <a:gd name="connsiteY70" fmla="*/ 70580 h 204787"/>
                <a:gd name="connsiteX71" fmla="*/ 62865 w 320040"/>
                <a:gd name="connsiteY71" fmla="*/ 74390 h 204787"/>
                <a:gd name="connsiteX72" fmla="*/ 52388 w 320040"/>
                <a:gd name="connsiteY72" fmla="*/ 87630 h 204787"/>
                <a:gd name="connsiteX73" fmla="*/ 24765 w 320040"/>
                <a:gd name="connsiteY73" fmla="*/ 84868 h 204787"/>
                <a:gd name="connsiteX74" fmla="*/ 14288 w 320040"/>
                <a:gd name="connsiteY74" fmla="*/ 77248 h 204787"/>
                <a:gd name="connsiteX75" fmla="*/ 0 w 320040"/>
                <a:gd name="connsiteY75" fmla="*/ 77248 h 204787"/>
                <a:gd name="connsiteX76" fmla="*/ 10478 w 320040"/>
                <a:gd name="connsiteY76" fmla="*/ 95250 h 204787"/>
                <a:gd name="connsiteX77" fmla="*/ 41910 w 320040"/>
                <a:gd name="connsiteY77" fmla="*/ 130493 h 204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320040" h="204787">
                  <a:moveTo>
                    <a:pt x="41910" y="130493"/>
                  </a:moveTo>
                  <a:lnTo>
                    <a:pt x="60008" y="126778"/>
                  </a:lnTo>
                  <a:lnTo>
                    <a:pt x="87630" y="130493"/>
                  </a:lnTo>
                  <a:lnTo>
                    <a:pt x="108585" y="126778"/>
                  </a:lnTo>
                  <a:lnTo>
                    <a:pt x="137160" y="126778"/>
                  </a:lnTo>
                  <a:lnTo>
                    <a:pt x="158115" y="130493"/>
                  </a:lnTo>
                  <a:lnTo>
                    <a:pt x="168592" y="141065"/>
                  </a:lnTo>
                  <a:lnTo>
                    <a:pt x="147638" y="144780"/>
                  </a:lnTo>
                  <a:lnTo>
                    <a:pt x="122873" y="144780"/>
                  </a:lnTo>
                  <a:lnTo>
                    <a:pt x="91440" y="144780"/>
                  </a:lnTo>
                  <a:lnTo>
                    <a:pt x="70485" y="151543"/>
                  </a:lnTo>
                  <a:lnTo>
                    <a:pt x="98108" y="172498"/>
                  </a:lnTo>
                  <a:lnTo>
                    <a:pt x="108585" y="169640"/>
                  </a:lnTo>
                  <a:lnTo>
                    <a:pt x="133350" y="172498"/>
                  </a:lnTo>
                  <a:lnTo>
                    <a:pt x="137160" y="180118"/>
                  </a:lnTo>
                  <a:lnTo>
                    <a:pt x="112395" y="176212"/>
                  </a:lnTo>
                  <a:lnTo>
                    <a:pt x="116205" y="193453"/>
                  </a:lnTo>
                  <a:lnTo>
                    <a:pt x="147638" y="204787"/>
                  </a:lnTo>
                  <a:lnTo>
                    <a:pt x="168592" y="197263"/>
                  </a:lnTo>
                  <a:lnTo>
                    <a:pt x="182880" y="193453"/>
                  </a:lnTo>
                  <a:lnTo>
                    <a:pt x="179070" y="182975"/>
                  </a:lnTo>
                  <a:lnTo>
                    <a:pt x="189548" y="176212"/>
                  </a:lnTo>
                  <a:lnTo>
                    <a:pt x="203835" y="193453"/>
                  </a:lnTo>
                  <a:lnTo>
                    <a:pt x="218123" y="204787"/>
                  </a:lnTo>
                  <a:lnTo>
                    <a:pt x="221933" y="182975"/>
                  </a:lnTo>
                  <a:lnTo>
                    <a:pt x="224790" y="186690"/>
                  </a:lnTo>
                  <a:lnTo>
                    <a:pt x="236220" y="193453"/>
                  </a:lnTo>
                  <a:lnTo>
                    <a:pt x="239078" y="190500"/>
                  </a:lnTo>
                  <a:lnTo>
                    <a:pt x="239078" y="186690"/>
                  </a:lnTo>
                  <a:lnTo>
                    <a:pt x="239078" y="180118"/>
                  </a:lnTo>
                  <a:lnTo>
                    <a:pt x="236220" y="169640"/>
                  </a:lnTo>
                  <a:lnTo>
                    <a:pt x="236220" y="161925"/>
                  </a:lnTo>
                  <a:lnTo>
                    <a:pt x="242888" y="144780"/>
                  </a:lnTo>
                  <a:lnTo>
                    <a:pt x="253365" y="144780"/>
                  </a:lnTo>
                  <a:lnTo>
                    <a:pt x="246698" y="161925"/>
                  </a:lnTo>
                  <a:lnTo>
                    <a:pt x="246698" y="172498"/>
                  </a:lnTo>
                  <a:lnTo>
                    <a:pt x="274320" y="147638"/>
                  </a:lnTo>
                  <a:lnTo>
                    <a:pt x="284798" y="144780"/>
                  </a:lnTo>
                  <a:lnTo>
                    <a:pt x="302895" y="147638"/>
                  </a:lnTo>
                  <a:lnTo>
                    <a:pt x="313373" y="141065"/>
                  </a:lnTo>
                  <a:lnTo>
                    <a:pt x="320040" y="130493"/>
                  </a:lnTo>
                  <a:lnTo>
                    <a:pt x="309563" y="120110"/>
                  </a:lnTo>
                  <a:lnTo>
                    <a:pt x="302895" y="120110"/>
                  </a:lnTo>
                  <a:lnTo>
                    <a:pt x="288608" y="116205"/>
                  </a:lnTo>
                  <a:lnTo>
                    <a:pt x="263842" y="120110"/>
                  </a:lnTo>
                  <a:lnTo>
                    <a:pt x="267653" y="101918"/>
                  </a:lnTo>
                  <a:lnTo>
                    <a:pt x="263842" y="91535"/>
                  </a:lnTo>
                  <a:lnTo>
                    <a:pt x="249555" y="80963"/>
                  </a:lnTo>
                  <a:lnTo>
                    <a:pt x="253365" y="62960"/>
                  </a:lnTo>
                  <a:lnTo>
                    <a:pt x="242888" y="60103"/>
                  </a:lnTo>
                  <a:lnTo>
                    <a:pt x="228600" y="66675"/>
                  </a:lnTo>
                  <a:lnTo>
                    <a:pt x="221933" y="84868"/>
                  </a:lnTo>
                  <a:lnTo>
                    <a:pt x="207645" y="74390"/>
                  </a:lnTo>
                  <a:lnTo>
                    <a:pt x="207645" y="60103"/>
                  </a:lnTo>
                  <a:lnTo>
                    <a:pt x="172403" y="52388"/>
                  </a:lnTo>
                  <a:lnTo>
                    <a:pt x="122873" y="3905"/>
                  </a:lnTo>
                  <a:lnTo>
                    <a:pt x="80963" y="0"/>
                  </a:lnTo>
                  <a:lnTo>
                    <a:pt x="73342" y="6668"/>
                  </a:lnTo>
                  <a:lnTo>
                    <a:pt x="98108" y="10573"/>
                  </a:lnTo>
                  <a:lnTo>
                    <a:pt x="101917" y="17240"/>
                  </a:lnTo>
                  <a:lnTo>
                    <a:pt x="73342" y="20955"/>
                  </a:lnTo>
                  <a:lnTo>
                    <a:pt x="60008" y="17240"/>
                  </a:lnTo>
                  <a:lnTo>
                    <a:pt x="45720" y="17240"/>
                  </a:lnTo>
                  <a:lnTo>
                    <a:pt x="41910" y="31528"/>
                  </a:lnTo>
                  <a:lnTo>
                    <a:pt x="60008" y="39148"/>
                  </a:lnTo>
                  <a:lnTo>
                    <a:pt x="73342" y="45815"/>
                  </a:lnTo>
                  <a:lnTo>
                    <a:pt x="62865" y="52388"/>
                  </a:lnTo>
                  <a:lnTo>
                    <a:pt x="41910" y="49530"/>
                  </a:lnTo>
                  <a:lnTo>
                    <a:pt x="24765" y="49530"/>
                  </a:lnTo>
                  <a:lnTo>
                    <a:pt x="27623" y="66675"/>
                  </a:lnTo>
                  <a:lnTo>
                    <a:pt x="41910" y="70580"/>
                  </a:lnTo>
                  <a:lnTo>
                    <a:pt x="62865" y="74390"/>
                  </a:lnTo>
                  <a:lnTo>
                    <a:pt x="52388" y="87630"/>
                  </a:lnTo>
                  <a:lnTo>
                    <a:pt x="24765" y="84868"/>
                  </a:lnTo>
                  <a:lnTo>
                    <a:pt x="14288" y="77248"/>
                  </a:lnTo>
                  <a:lnTo>
                    <a:pt x="0" y="77248"/>
                  </a:lnTo>
                  <a:lnTo>
                    <a:pt x="10478" y="95250"/>
                  </a:lnTo>
                  <a:lnTo>
                    <a:pt x="41910" y="13049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80" name="Freeform: Shape 3879">
              <a:extLst>
                <a:ext uri="{FF2B5EF4-FFF2-40B4-BE49-F238E27FC236}">
                  <a16:creationId xmlns:a16="http://schemas.microsoft.com/office/drawing/2014/main" id="{35836D8B-489D-9112-1A1C-D7B11C578C7E}"/>
                </a:ext>
              </a:extLst>
            </p:cNvPr>
            <p:cNvSpPr/>
            <p:nvPr/>
          </p:nvSpPr>
          <p:spPr>
            <a:xfrm>
              <a:off x="3248702" y="1657573"/>
              <a:ext cx="44819" cy="28012"/>
            </a:xfrm>
            <a:custGeom>
              <a:avLst/>
              <a:gdLst>
                <a:gd name="connsiteX0" fmla="*/ 23813 w 45720"/>
                <a:gd name="connsiteY0" fmla="*/ 21907 h 28575"/>
                <a:gd name="connsiteX1" fmla="*/ 31433 w 45720"/>
                <a:gd name="connsiteY1" fmla="*/ 28575 h 28575"/>
                <a:gd name="connsiteX2" fmla="*/ 45720 w 45720"/>
                <a:gd name="connsiteY2" fmla="*/ 28575 h 28575"/>
                <a:gd name="connsiteX3" fmla="*/ 45720 w 45720"/>
                <a:gd name="connsiteY3" fmla="*/ 10382 h 28575"/>
                <a:gd name="connsiteX4" fmla="*/ 31433 w 45720"/>
                <a:gd name="connsiteY4" fmla="*/ 0 h 28575"/>
                <a:gd name="connsiteX5" fmla="*/ 13335 w 45720"/>
                <a:gd name="connsiteY5" fmla="*/ 0 h 28575"/>
                <a:gd name="connsiteX6" fmla="*/ 0 w 45720"/>
                <a:gd name="connsiteY6" fmla="*/ 7620 h 28575"/>
                <a:gd name="connsiteX7" fmla="*/ 6667 w 45720"/>
                <a:gd name="connsiteY7" fmla="*/ 21907 h 28575"/>
                <a:gd name="connsiteX8" fmla="*/ 23813 w 45720"/>
                <a:gd name="connsiteY8" fmla="*/ 21907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5720" h="28575">
                  <a:moveTo>
                    <a:pt x="23813" y="21907"/>
                  </a:moveTo>
                  <a:lnTo>
                    <a:pt x="31433" y="28575"/>
                  </a:lnTo>
                  <a:lnTo>
                    <a:pt x="45720" y="28575"/>
                  </a:lnTo>
                  <a:lnTo>
                    <a:pt x="45720" y="10382"/>
                  </a:lnTo>
                  <a:lnTo>
                    <a:pt x="31433" y="0"/>
                  </a:lnTo>
                  <a:lnTo>
                    <a:pt x="13335" y="0"/>
                  </a:lnTo>
                  <a:lnTo>
                    <a:pt x="0" y="7620"/>
                  </a:lnTo>
                  <a:lnTo>
                    <a:pt x="6667" y="21907"/>
                  </a:lnTo>
                  <a:lnTo>
                    <a:pt x="23813" y="2190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81" name="Freeform: Shape 3880">
              <a:extLst>
                <a:ext uri="{FF2B5EF4-FFF2-40B4-BE49-F238E27FC236}">
                  <a16:creationId xmlns:a16="http://schemas.microsoft.com/office/drawing/2014/main" id="{26287BCB-B173-6CF7-3CCB-C5585820D06D}"/>
                </a:ext>
              </a:extLst>
            </p:cNvPr>
            <p:cNvSpPr/>
            <p:nvPr/>
          </p:nvSpPr>
          <p:spPr>
            <a:xfrm>
              <a:off x="3786528" y="2030971"/>
              <a:ext cx="121383" cy="48647"/>
            </a:xfrm>
            <a:custGeom>
              <a:avLst/>
              <a:gdLst>
                <a:gd name="connsiteX0" fmla="*/ 7620 w 123824"/>
                <a:gd name="connsiteY0" fmla="*/ 0 h 49625"/>
                <a:gd name="connsiteX1" fmla="*/ 0 w 123824"/>
                <a:gd name="connsiteY1" fmla="*/ 0 h 49625"/>
                <a:gd name="connsiteX2" fmla="*/ 0 w 123824"/>
                <a:gd name="connsiteY2" fmla="*/ 18098 h 49625"/>
                <a:gd name="connsiteX3" fmla="*/ 18097 w 123824"/>
                <a:gd name="connsiteY3" fmla="*/ 28575 h 49625"/>
                <a:gd name="connsiteX4" fmla="*/ 24765 w 123824"/>
                <a:gd name="connsiteY4" fmla="*/ 45815 h 49625"/>
                <a:gd name="connsiteX5" fmla="*/ 45720 w 123824"/>
                <a:gd name="connsiteY5" fmla="*/ 49625 h 49625"/>
                <a:gd name="connsiteX6" fmla="*/ 57150 w 123824"/>
                <a:gd name="connsiteY6" fmla="*/ 42863 h 49625"/>
                <a:gd name="connsiteX7" fmla="*/ 80962 w 123824"/>
                <a:gd name="connsiteY7" fmla="*/ 42863 h 49625"/>
                <a:gd name="connsiteX8" fmla="*/ 105727 w 123824"/>
                <a:gd name="connsiteY8" fmla="*/ 42863 h 49625"/>
                <a:gd name="connsiteX9" fmla="*/ 123825 w 123824"/>
                <a:gd name="connsiteY9" fmla="*/ 39148 h 49625"/>
                <a:gd name="connsiteX10" fmla="*/ 109537 w 123824"/>
                <a:gd name="connsiteY10" fmla="*/ 21050 h 49625"/>
                <a:gd name="connsiteX11" fmla="*/ 74295 w 123824"/>
                <a:gd name="connsiteY11" fmla="*/ 3810 h 49625"/>
                <a:gd name="connsiteX12" fmla="*/ 39052 w 123824"/>
                <a:gd name="connsiteY12" fmla="*/ 0 h 49625"/>
                <a:gd name="connsiteX13" fmla="*/ 7620 w 123824"/>
                <a:gd name="connsiteY13" fmla="*/ 0 h 49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23824" h="49625">
                  <a:moveTo>
                    <a:pt x="7620" y="0"/>
                  </a:moveTo>
                  <a:lnTo>
                    <a:pt x="0" y="0"/>
                  </a:lnTo>
                  <a:lnTo>
                    <a:pt x="0" y="18098"/>
                  </a:lnTo>
                  <a:lnTo>
                    <a:pt x="18097" y="28575"/>
                  </a:lnTo>
                  <a:lnTo>
                    <a:pt x="24765" y="45815"/>
                  </a:lnTo>
                  <a:lnTo>
                    <a:pt x="45720" y="49625"/>
                  </a:lnTo>
                  <a:lnTo>
                    <a:pt x="57150" y="42863"/>
                  </a:lnTo>
                  <a:lnTo>
                    <a:pt x="80962" y="42863"/>
                  </a:lnTo>
                  <a:lnTo>
                    <a:pt x="105727" y="42863"/>
                  </a:lnTo>
                  <a:lnTo>
                    <a:pt x="123825" y="39148"/>
                  </a:lnTo>
                  <a:lnTo>
                    <a:pt x="109537" y="21050"/>
                  </a:lnTo>
                  <a:lnTo>
                    <a:pt x="74295" y="3810"/>
                  </a:lnTo>
                  <a:lnTo>
                    <a:pt x="39052" y="0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82" name="Freeform: Shape 3881">
              <a:extLst>
                <a:ext uri="{FF2B5EF4-FFF2-40B4-BE49-F238E27FC236}">
                  <a16:creationId xmlns:a16="http://schemas.microsoft.com/office/drawing/2014/main" id="{8EA1E088-7256-1717-0022-E8B7969764FD}"/>
                </a:ext>
              </a:extLst>
            </p:cNvPr>
            <p:cNvSpPr/>
            <p:nvPr/>
          </p:nvSpPr>
          <p:spPr>
            <a:xfrm>
              <a:off x="3879900" y="2300820"/>
              <a:ext cx="62559" cy="51355"/>
            </a:xfrm>
            <a:custGeom>
              <a:avLst/>
              <a:gdLst>
                <a:gd name="connsiteX0" fmla="*/ 45720 w 63817"/>
                <a:gd name="connsiteY0" fmla="*/ 45815 h 52387"/>
                <a:gd name="connsiteX1" fmla="*/ 60008 w 63817"/>
                <a:gd name="connsiteY1" fmla="*/ 35338 h 52387"/>
                <a:gd name="connsiteX2" fmla="*/ 63818 w 63817"/>
                <a:gd name="connsiteY2" fmla="*/ 17240 h 52387"/>
                <a:gd name="connsiteX3" fmla="*/ 63818 w 63817"/>
                <a:gd name="connsiteY3" fmla="*/ 6763 h 52387"/>
                <a:gd name="connsiteX4" fmla="*/ 42863 w 63817"/>
                <a:gd name="connsiteY4" fmla="*/ 0 h 52387"/>
                <a:gd name="connsiteX5" fmla="*/ 20955 w 63817"/>
                <a:gd name="connsiteY5" fmla="*/ 3905 h 52387"/>
                <a:gd name="connsiteX6" fmla="*/ 10478 w 63817"/>
                <a:gd name="connsiteY6" fmla="*/ 6763 h 52387"/>
                <a:gd name="connsiteX7" fmla="*/ 3810 w 63817"/>
                <a:gd name="connsiteY7" fmla="*/ 21050 h 52387"/>
                <a:gd name="connsiteX8" fmla="*/ 0 w 63817"/>
                <a:gd name="connsiteY8" fmla="*/ 45815 h 52387"/>
                <a:gd name="connsiteX9" fmla="*/ 24765 w 63817"/>
                <a:gd name="connsiteY9" fmla="*/ 52388 h 52387"/>
                <a:gd name="connsiteX10" fmla="*/ 45720 w 63817"/>
                <a:gd name="connsiteY10" fmla="*/ 45815 h 523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7" h="52387">
                  <a:moveTo>
                    <a:pt x="45720" y="45815"/>
                  </a:moveTo>
                  <a:lnTo>
                    <a:pt x="60008" y="35338"/>
                  </a:lnTo>
                  <a:lnTo>
                    <a:pt x="63818" y="17240"/>
                  </a:lnTo>
                  <a:lnTo>
                    <a:pt x="63818" y="6763"/>
                  </a:lnTo>
                  <a:lnTo>
                    <a:pt x="42863" y="0"/>
                  </a:lnTo>
                  <a:lnTo>
                    <a:pt x="20955" y="3905"/>
                  </a:lnTo>
                  <a:lnTo>
                    <a:pt x="10478" y="6763"/>
                  </a:lnTo>
                  <a:lnTo>
                    <a:pt x="3810" y="21050"/>
                  </a:lnTo>
                  <a:lnTo>
                    <a:pt x="0" y="45815"/>
                  </a:lnTo>
                  <a:lnTo>
                    <a:pt x="24765" y="52388"/>
                  </a:lnTo>
                  <a:lnTo>
                    <a:pt x="45720" y="4581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83" name="Freeform: Shape 3882">
              <a:extLst>
                <a:ext uri="{FF2B5EF4-FFF2-40B4-BE49-F238E27FC236}">
                  <a16:creationId xmlns:a16="http://schemas.microsoft.com/office/drawing/2014/main" id="{445D7395-FB0B-E069-0EC7-967DC5FE6B1D}"/>
                </a:ext>
              </a:extLst>
            </p:cNvPr>
            <p:cNvSpPr/>
            <p:nvPr/>
          </p:nvSpPr>
          <p:spPr>
            <a:xfrm>
              <a:off x="3607252" y="2414829"/>
              <a:ext cx="189546" cy="121385"/>
            </a:xfrm>
            <a:custGeom>
              <a:avLst/>
              <a:gdLst>
                <a:gd name="connsiteX0" fmla="*/ 159068 w 193357"/>
                <a:gd name="connsiteY0" fmla="*/ 105632 h 123825"/>
                <a:gd name="connsiteX1" fmla="*/ 176213 w 193357"/>
                <a:gd name="connsiteY1" fmla="*/ 109538 h 123825"/>
                <a:gd name="connsiteX2" fmla="*/ 180023 w 193357"/>
                <a:gd name="connsiteY2" fmla="*/ 105632 h 123825"/>
                <a:gd name="connsiteX3" fmla="*/ 186690 w 193357"/>
                <a:gd name="connsiteY3" fmla="*/ 105632 h 123825"/>
                <a:gd name="connsiteX4" fmla="*/ 190500 w 193357"/>
                <a:gd name="connsiteY4" fmla="*/ 98965 h 123825"/>
                <a:gd name="connsiteX5" fmla="*/ 193358 w 193357"/>
                <a:gd name="connsiteY5" fmla="*/ 98965 h 123825"/>
                <a:gd name="connsiteX6" fmla="*/ 193358 w 193357"/>
                <a:gd name="connsiteY6" fmla="*/ 91345 h 123825"/>
                <a:gd name="connsiteX7" fmla="*/ 190500 w 193357"/>
                <a:gd name="connsiteY7" fmla="*/ 84677 h 123825"/>
                <a:gd name="connsiteX8" fmla="*/ 172403 w 193357"/>
                <a:gd name="connsiteY8" fmla="*/ 80963 h 123825"/>
                <a:gd name="connsiteX9" fmla="*/ 155258 w 193357"/>
                <a:gd name="connsiteY9" fmla="*/ 80963 h 123825"/>
                <a:gd name="connsiteX10" fmla="*/ 151448 w 193357"/>
                <a:gd name="connsiteY10" fmla="*/ 66675 h 123825"/>
                <a:gd name="connsiteX11" fmla="*/ 147638 w 193357"/>
                <a:gd name="connsiteY11" fmla="*/ 56102 h 123825"/>
                <a:gd name="connsiteX12" fmla="*/ 123825 w 193357"/>
                <a:gd name="connsiteY12" fmla="*/ 53245 h 123825"/>
                <a:gd name="connsiteX13" fmla="*/ 109538 w 193357"/>
                <a:gd name="connsiteY13" fmla="*/ 38957 h 123825"/>
                <a:gd name="connsiteX14" fmla="*/ 99060 w 193357"/>
                <a:gd name="connsiteY14" fmla="*/ 35243 h 123825"/>
                <a:gd name="connsiteX15" fmla="*/ 95250 w 193357"/>
                <a:gd name="connsiteY15" fmla="*/ 28575 h 123825"/>
                <a:gd name="connsiteX16" fmla="*/ 91440 w 193357"/>
                <a:gd name="connsiteY16" fmla="*/ 24670 h 123825"/>
                <a:gd name="connsiteX17" fmla="*/ 74295 w 193357"/>
                <a:gd name="connsiteY17" fmla="*/ 20955 h 123825"/>
                <a:gd name="connsiteX18" fmla="*/ 70485 w 193357"/>
                <a:gd name="connsiteY18" fmla="*/ 14288 h 123825"/>
                <a:gd name="connsiteX19" fmla="*/ 70485 w 193357"/>
                <a:gd name="connsiteY19" fmla="*/ 0 h 123825"/>
                <a:gd name="connsiteX20" fmla="*/ 49530 w 193357"/>
                <a:gd name="connsiteY20" fmla="*/ 0 h 123825"/>
                <a:gd name="connsiteX21" fmla="*/ 31433 w 193357"/>
                <a:gd name="connsiteY21" fmla="*/ 10382 h 123825"/>
                <a:gd name="connsiteX22" fmla="*/ 31433 w 193357"/>
                <a:gd name="connsiteY22" fmla="*/ 28575 h 123825"/>
                <a:gd name="connsiteX23" fmla="*/ 31433 w 193357"/>
                <a:gd name="connsiteY23" fmla="*/ 38957 h 123825"/>
                <a:gd name="connsiteX24" fmla="*/ 28575 w 193357"/>
                <a:gd name="connsiteY24" fmla="*/ 45720 h 123825"/>
                <a:gd name="connsiteX25" fmla="*/ 28575 w 193357"/>
                <a:gd name="connsiteY25" fmla="*/ 66675 h 123825"/>
                <a:gd name="connsiteX26" fmla="*/ 10478 w 193357"/>
                <a:gd name="connsiteY26" fmla="*/ 84677 h 123825"/>
                <a:gd name="connsiteX27" fmla="*/ 0 w 193357"/>
                <a:gd name="connsiteY27" fmla="*/ 98965 h 123825"/>
                <a:gd name="connsiteX28" fmla="*/ 10478 w 193357"/>
                <a:gd name="connsiteY28" fmla="*/ 109538 h 123825"/>
                <a:gd name="connsiteX29" fmla="*/ 18098 w 193357"/>
                <a:gd name="connsiteY29" fmla="*/ 98965 h 123825"/>
                <a:gd name="connsiteX30" fmla="*/ 24765 w 193357"/>
                <a:gd name="connsiteY30" fmla="*/ 98965 h 123825"/>
                <a:gd name="connsiteX31" fmla="*/ 45720 w 193357"/>
                <a:gd name="connsiteY31" fmla="*/ 98965 h 123825"/>
                <a:gd name="connsiteX32" fmla="*/ 42863 w 193357"/>
                <a:gd name="connsiteY32" fmla="*/ 123825 h 123825"/>
                <a:gd name="connsiteX33" fmla="*/ 70485 w 193357"/>
                <a:gd name="connsiteY33" fmla="*/ 119920 h 123825"/>
                <a:gd name="connsiteX34" fmla="*/ 91440 w 193357"/>
                <a:gd name="connsiteY34" fmla="*/ 98965 h 123825"/>
                <a:gd name="connsiteX35" fmla="*/ 101918 w 193357"/>
                <a:gd name="connsiteY35" fmla="*/ 84677 h 123825"/>
                <a:gd name="connsiteX36" fmla="*/ 105728 w 193357"/>
                <a:gd name="connsiteY36" fmla="*/ 78105 h 123825"/>
                <a:gd name="connsiteX37" fmla="*/ 112395 w 193357"/>
                <a:gd name="connsiteY37" fmla="*/ 74295 h 123825"/>
                <a:gd name="connsiteX38" fmla="*/ 120015 w 193357"/>
                <a:gd name="connsiteY38" fmla="*/ 80963 h 123825"/>
                <a:gd name="connsiteX39" fmla="*/ 134303 w 193357"/>
                <a:gd name="connsiteY39" fmla="*/ 91345 h 123825"/>
                <a:gd name="connsiteX40" fmla="*/ 147638 w 193357"/>
                <a:gd name="connsiteY40" fmla="*/ 101918 h 123825"/>
                <a:gd name="connsiteX41" fmla="*/ 159068 w 193357"/>
                <a:gd name="connsiteY41" fmla="*/ 105632 h 123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93357" h="123825">
                  <a:moveTo>
                    <a:pt x="159068" y="105632"/>
                  </a:moveTo>
                  <a:lnTo>
                    <a:pt x="176213" y="109538"/>
                  </a:lnTo>
                  <a:lnTo>
                    <a:pt x="180023" y="105632"/>
                  </a:lnTo>
                  <a:lnTo>
                    <a:pt x="186690" y="105632"/>
                  </a:lnTo>
                  <a:lnTo>
                    <a:pt x="190500" y="98965"/>
                  </a:lnTo>
                  <a:lnTo>
                    <a:pt x="193358" y="98965"/>
                  </a:lnTo>
                  <a:lnTo>
                    <a:pt x="193358" y="91345"/>
                  </a:lnTo>
                  <a:lnTo>
                    <a:pt x="190500" y="84677"/>
                  </a:lnTo>
                  <a:lnTo>
                    <a:pt x="172403" y="80963"/>
                  </a:lnTo>
                  <a:lnTo>
                    <a:pt x="155258" y="80963"/>
                  </a:lnTo>
                  <a:lnTo>
                    <a:pt x="151448" y="66675"/>
                  </a:lnTo>
                  <a:lnTo>
                    <a:pt x="147638" y="56102"/>
                  </a:lnTo>
                  <a:lnTo>
                    <a:pt x="123825" y="53245"/>
                  </a:lnTo>
                  <a:lnTo>
                    <a:pt x="109538" y="38957"/>
                  </a:lnTo>
                  <a:lnTo>
                    <a:pt x="99060" y="35243"/>
                  </a:lnTo>
                  <a:lnTo>
                    <a:pt x="95250" y="28575"/>
                  </a:lnTo>
                  <a:lnTo>
                    <a:pt x="91440" y="24670"/>
                  </a:lnTo>
                  <a:lnTo>
                    <a:pt x="74295" y="20955"/>
                  </a:lnTo>
                  <a:lnTo>
                    <a:pt x="70485" y="14288"/>
                  </a:lnTo>
                  <a:lnTo>
                    <a:pt x="70485" y="0"/>
                  </a:lnTo>
                  <a:lnTo>
                    <a:pt x="49530" y="0"/>
                  </a:lnTo>
                  <a:lnTo>
                    <a:pt x="31433" y="10382"/>
                  </a:lnTo>
                  <a:lnTo>
                    <a:pt x="31433" y="28575"/>
                  </a:lnTo>
                  <a:lnTo>
                    <a:pt x="31433" y="38957"/>
                  </a:lnTo>
                  <a:lnTo>
                    <a:pt x="28575" y="45720"/>
                  </a:lnTo>
                  <a:lnTo>
                    <a:pt x="28575" y="66675"/>
                  </a:lnTo>
                  <a:lnTo>
                    <a:pt x="10478" y="84677"/>
                  </a:lnTo>
                  <a:lnTo>
                    <a:pt x="0" y="98965"/>
                  </a:lnTo>
                  <a:lnTo>
                    <a:pt x="10478" y="109538"/>
                  </a:lnTo>
                  <a:lnTo>
                    <a:pt x="18098" y="98965"/>
                  </a:lnTo>
                  <a:lnTo>
                    <a:pt x="24765" y="98965"/>
                  </a:lnTo>
                  <a:lnTo>
                    <a:pt x="45720" y="98965"/>
                  </a:lnTo>
                  <a:lnTo>
                    <a:pt x="42863" y="123825"/>
                  </a:lnTo>
                  <a:lnTo>
                    <a:pt x="70485" y="119920"/>
                  </a:lnTo>
                  <a:lnTo>
                    <a:pt x="91440" y="98965"/>
                  </a:lnTo>
                  <a:lnTo>
                    <a:pt x="101918" y="84677"/>
                  </a:lnTo>
                  <a:lnTo>
                    <a:pt x="105728" y="78105"/>
                  </a:lnTo>
                  <a:lnTo>
                    <a:pt x="112395" y="74295"/>
                  </a:lnTo>
                  <a:lnTo>
                    <a:pt x="120015" y="80963"/>
                  </a:lnTo>
                  <a:lnTo>
                    <a:pt x="134303" y="91345"/>
                  </a:lnTo>
                  <a:lnTo>
                    <a:pt x="147638" y="101918"/>
                  </a:lnTo>
                  <a:lnTo>
                    <a:pt x="159068" y="10563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84" name="Freeform: Shape 3883">
              <a:extLst>
                <a:ext uri="{FF2B5EF4-FFF2-40B4-BE49-F238E27FC236}">
                  <a16:creationId xmlns:a16="http://schemas.microsoft.com/office/drawing/2014/main" id="{9289E916-7EE7-BD1E-1A65-0A5E69108BD4}"/>
                </a:ext>
              </a:extLst>
            </p:cNvPr>
            <p:cNvSpPr/>
            <p:nvPr/>
          </p:nvSpPr>
          <p:spPr>
            <a:xfrm>
              <a:off x="3275780" y="2228082"/>
              <a:ext cx="117649" cy="62560"/>
            </a:xfrm>
            <a:custGeom>
              <a:avLst/>
              <a:gdLst>
                <a:gd name="connsiteX0" fmla="*/ 35243 w 120015"/>
                <a:gd name="connsiteY0" fmla="*/ 0 h 63817"/>
                <a:gd name="connsiteX1" fmla="*/ 31433 w 120015"/>
                <a:gd name="connsiteY1" fmla="*/ 18002 h 63817"/>
                <a:gd name="connsiteX2" fmla="*/ 18098 w 120015"/>
                <a:gd name="connsiteY2" fmla="*/ 28575 h 63817"/>
                <a:gd name="connsiteX3" fmla="*/ 0 w 120015"/>
                <a:gd name="connsiteY3" fmla="*/ 42863 h 63817"/>
                <a:gd name="connsiteX4" fmla="*/ 10478 w 120015"/>
                <a:gd name="connsiteY4" fmla="*/ 45625 h 63817"/>
                <a:gd name="connsiteX5" fmla="*/ 31433 w 120015"/>
                <a:gd name="connsiteY5" fmla="*/ 53340 h 63817"/>
                <a:gd name="connsiteX6" fmla="*/ 49530 w 120015"/>
                <a:gd name="connsiteY6" fmla="*/ 59912 h 63817"/>
                <a:gd name="connsiteX7" fmla="*/ 78105 w 120015"/>
                <a:gd name="connsiteY7" fmla="*/ 63818 h 63817"/>
                <a:gd name="connsiteX8" fmla="*/ 99060 w 120015"/>
                <a:gd name="connsiteY8" fmla="*/ 63818 h 63817"/>
                <a:gd name="connsiteX9" fmla="*/ 112395 w 120015"/>
                <a:gd name="connsiteY9" fmla="*/ 59912 h 63817"/>
                <a:gd name="connsiteX10" fmla="*/ 120015 w 120015"/>
                <a:gd name="connsiteY10" fmla="*/ 56102 h 63817"/>
                <a:gd name="connsiteX11" fmla="*/ 116205 w 120015"/>
                <a:gd name="connsiteY11" fmla="*/ 42863 h 63817"/>
                <a:gd name="connsiteX12" fmla="*/ 105728 w 120015"/>
                <a:gd name="connsiteY12" fmla="*/ 31337 h 63817"/>
                <a:gd name="connsiteX13" fmla="*/ 84773 w 120015"/>
                <a:gd name="connsiteY13" fmla="*/ 24765 h 63817"/>
                <a:gd name="connsiteX14" fmla="*/ 66675 w 120015"/>
                <a:gd name="connsiteY14" fmla="*/ 10478 h 63817"/>
                <a:gd name="connsiteX15" fmla="*/ 49530 w 120015"/>
                <a:gd name="connsiteY15" fmla="*/ 3715 h 63817"/>
                <a:gd name="connsiteX16" fmla="*/ 35243 w 120015"/>
                <a:gd name="connsiteY16" fmla="*/ 0 h 63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0015" h="63817">
                  <a:moveTo>
                    <a:pt x="35243" y="0"/>
                  </a:moveTo>
                  <a:lnTo>
                    <a:pt x="31433" y="18002"/>
                  </a:lnTo>
                  <a:lnTo>
                    <a:pt x="18098" y="28575"/>
                  </a:lnTo>
                  <a:lnTo>
                    <a:pt x="0" y="42863"/>
                  </a:lnTo>
                  <a:lnTo>
                    <a:pt x="10478" y="45625"/>
                  </a:lnTo>
                  <a:lnTo>
                    <a:pt x="31433" y="53340"/>
                  </a:lnTo>
                  <a:lnTo>
                    <a:pt x="49530" y="59912"/>
                  </a:lnTo>
                  <a:lnTo>
                    <a:pt x="78105" y="63818"/>
                  </a:lnTo>
                  <a:lnTo>
                    <a:pt x="99060" y="63818"/>
                  </a:lnTo>
                  <a:lnTo>
                    <a:pt x="112395" y="59912"/>
                  </a:lnTo>
                  <a:lnTo>
                    <a:pt x="120015" y="56102"/>
                  </a:lnTo>
                  <a:lnTo>
                    <a:pt x="116205" y="42863"/>
                  </a:lnTo>
                  <a:lnTo>
                    <a:pt x="105728" y="31337"/>
                  </a:lnTo>
                  <a:lnTo>
                    <a:pt x="84773" y="24765"/>
                  </a:lnTo>
                  <a:lnTo>
                    <a:pt x="66675" y="10478"/>
                  </a:lnTo>
                  <a:lnTo>
                    <a:pt x="49530" y="3715"/>
                  </a:lnTo>
                  <a:lnTo>
                    <a:pt x="35243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85" name="Freeform: Shape 3884">
              <a:extLst>
                <a:ext uri="{FF2B5EF4-FFF2-40B4-BE49-F238E27FC236}">
                  <a16:creationId xmlns:a16="http://schemas.microsoft.com/office/drawing/2014/main" id="{27CDD746-45DA-F867-6B20-3C0AE271EF12}"/>
                </a:ext>
              </a:extLst>
            </p:cNvPr>
            <p:cNvSpPr/>
            <p:nvPr/>
          </p:nvSpPr>
          <p:spPr>
            <a:xfrm>
              <a:off x="3534422" y="2024529"/>
              <a:ext cx="794599" cy="566682"/>
            </a:xfrm>
            <a:custGeom>
              <a:avLst/>
              <a:gdLst>
                <a:gd name="connsiteX0" fmla="*/ 521970 w 810577"/>
                <a:gd name="connsiteY0" fmla="*/ 133350 h 578072"/>
                <a:gd name="connsiteX1" fmla="*/ 511492 w 810577"/>
                <a:gd name="connsiteY1" fmla="*/ 122873 h 578072"/>
                <a:gd name="connsiteX2" fmla="*/ 493395 w 810577"/>
                <a:gd name="connsiteY2" fmla="*/ 119920 h 578072"/>
                <a:gd name="connsiteX3" fmla="*/ 465772 w 810577"/>
                <a:gd name="connsiteY3" fmla="*/ 130397 h 578072"/>
                <a:gd name="connsiteX4" fmla="*/ 447675 w 810577"/>
                <a:gd name="connsiteY4" fmla="*/ 130397 h 578072"/>
                <a:gd name="connsiteX5" fmla="*/ 458152 w 810577"/>
                <a:gd name="connsiteY5" fmla="*/ 116110 h 578072"/>
                <a:gd name="connsiteX6" fmla="*/ 454342 w 810577"/>
                <a:gd name="connsiteY6" fmla="*/ 101822 h 578072"/>
                <a:gd name="connsiteX7" fmla="*/ 433387 w 810577"/>
                <a:gd name="connsiteY7" fmla="*/ 116110 h 578072"/>
                <a:gd name="connsiteX8" fmla="*/ 419100 w 810577"/>
                <a:gd name="connsiteY8" fmla="*/ 119920 h 578072"/>
                <a:gd name="connsiteX9" fmla="*/ 430530 w 810577"/>
                <a:gd name="connsiteY9" fmla="*/ 105632 h 578072"/>
                <a:gd name="connsiteX10" fmla="*/ 441008 w 810577"/>
                <a:gd name="connsiteY10" fmla="*/ 95250 h 578072"/>
                <a:gd name="connsiteX11" fmla="*/ 422910 w 810577"/>
                <a:gd name="connsiteY11" fmla="*/ 91345 h 578072"/>
                <a:gd name="connsiteX12" fmla="*/ 398145 w 810577"/>
                <a:gd name="connsiteY12" fmla="*/ 101822 h 578072"/>
                <a:gd name="connsiteX13" fmla="*/ 401955 w 810577"/>
                <a:gd name="connsiteY13" fmla="*/ 87535 h 578072"/>
                <a:gd name="connsiteX14" fmla="*/ 419100 w 810577"/>
                <a:gd name="connsiteY14" fmla="*/ 77057 h 578072"/>
                <a:gd name="connsiteX15" fmla="*/ 405765 w 810577"/>
                <a:gd name="connsiteY15" fmla="*/ 70485 h 578072"/>
                <a:gd name="connsiteX16" fmla="*/ 377190 w 810577"/>
                <a:gd name="connsiteY16" fmla="*/ 60007 h 578072"/>
                <a:gd name="connsiteX17" fmla="*/ 349567 w 810577"/>
                <a:gd name="connsiteY17" fmla="*/ 60007 h 578072"/>
                <a:gd name="connsiteX18" fmla="*/ 324802 w 810577"/>
                <a:gd name="connsiteY18" fmla="*/ 62770 h 578072"/>
                <a:gd name="connsiteX19" fmla="*/ 317183 w 810577"/>
                <a:gd name="connsiteY19" fmla="*/ 87535 h 578072"/>
                <a:gd name="connsiteX20" fmla="*/ 296227 w 810577"/>
                <a:gd name="connsiteY20" fmla="*/ 73247 h 578072"/>
                <a:gd name="connsiteX21" fmla="*/ 279083 w 810577"/>
                <a:gd name="connsiteY21" fmla="*/ 73247 h 578072"/>
                <a:gd name="connsiteX22" fmla="*/ 271463 w 810577"/>
                <a:gd name="connsiteY22" fmla="*/ 91345 h 578072"/>
                <a:gd name="connsiteX23" fmla="*/ 254317 w 810577"/>
                <a:gd name="connsiteY23" fmla="*/ 91345 h 578072"/>
                <a:gd name="connsiteX24" fmla="*/ 254317 w 810577"/>
                <a:gd name="connsiteY24" fmla="*/ 73247 h 578072"/>
                <a:gd name="connsiteX25" fmla="*/ 260985 w 810577"/>
                <a:gd name="connsiteY25" fmla="*/ 66675 h 578072"/>
                <a:gd name="connsiteX26" fmla="*/ 260985 w 810577"/>
                <a:gd name="connsiteY26" fmla="*/ 52388 h 578072"/>
                <a:gd name="connsiteX27" fmla="*/ 257175 w 810577"/>
                <a:gd name="connsiteY27" fmla="*/ 38100 h 578072"/>
                <a:gd name="connsiteX28" fmla="*/ 246697 w 810577"/>
                <a:gd name="connsiteY28" fmla="*/ 24670 h 578072"/>
                <a:gd name="connsiteX29" fmla="*/ 236220 w 810577"/>
                <a:gd name="connsiteY29" fmla="*/ 10382 h 578072"/>
                <a:gd name="connsiteX30" fmla="*/ 215265 w 810577"/>
                <a:gd name="connsiteY30" fmla="*/ 2857 h 578072"/>
                <a:gd name="connsiteX31" fmla="*/ 190500 w 810577"/>
                <a:gd name="connsiteY31" fmla="*/ 6572 h 578072"/>
                <a:gd name="connsiteX32" fmla="*/ 148590 w 810577"/>
                <a:gd name="connsiteY32" fmla="*/ 27623 h 578072"/>
                <a:gd name="connsiteX33" fmla="*/ 127635 w 810577"/>
                <a:gd name="connsiteY33" fmla="*/ 45720 h 578072"/>
                <a:gd name="connsiteX34" fmla="*/ 123825 w 810577"/>
                <a:gd name="connsiteY34" fmla="*/ 66675 h 578072"/>
                <a:gd name="connsiteX35" fmla="*/ 138113 w 810577"/>
                <a:gd name="connsiteY35" fmla="*/ 80963 h 578072"/>
                <a:gd name="connsiteX36" fmla="*/ 117157 w 810577"/>
                <a:gd name="connsiteY36" fmla="*/ 87535 h 578072"/>
                <a:gd name="connsiteX37" fmla="*/ 134302 w 810577"/>
                <a:gd name="connsiteY37" fmla="*/ 112395 h 578072"/>
                <a:gd name="connsiteX38" fmla="*/ 144780 w 810577"/>
                <a:gd name="connsiteY38" fmla="*/ 126682 h 578072"/>
                <a:gd name="connsiteX39" fmla="*/ 120015 w 810577"/>
                <a:gd name="connsiteY39" fmla="*/ 133350 h 578072"/>
                <a:gd name="connsiteX40" fmla="*/ 95250 w 810577"/>
                <a:gd name="connsiteY40" fmla="*/ 87535 h 578072"/>
                <a:gd name="connsiteX41" fmla="*/ 95250 w 810577"/>
                <a:gd name="connsiteY41" fmla="*/ 70485 h 578072"/>
                <a:gd name="connsiteX42" fmla="*/ 95250 w 810577"/>
                <a:gd name="connsiteY42" fmla="*/ 49435 h 578072"/>
                <a:gd name="connsiteX43" fmla="*/ 113347 w 810577"/>
                <a:gd name="connsiteY43" fmla="*/ 20860 h 578072"/>
                <a:gd name="connsiteX44" fmla="*/ 134302 w 810577"/>
                <a:gd name="connsiteY44" fmla="*/ 14288 h 578072"/>
                <a:gd name="connsiteX45" fmla="*/ 144780 w 810577"/>
                <a:gd name="connsiteY45" fmla="*/ 2857 h 578072"/>
                <a:gd name="connsiteX46" fmla="*/ 92392 w 810577"/>
                <a:gd name="connsiteY46" fmla="*/ 0 h 578072"/>
                <a:gd name="connsiteX47" fmla="*/ 67627 w 810577"/>
                <a:gd name="connsiteY47" fmla="*/ 2857 h 578072"/>
                <a:gd name="connsiteX48" fmla="*/ 35242 w 810577"/>
                <a:gd name="connsiteY48" fmla="*/ 24670 h 578072"/>
                <a:gd name="connsiteX49" fmla="*/ 14288 w 810577"/>
                <a:gd name="connsiteY49" fmla="*/ 52388 h 578072"/>
                <a:gd name="connsiteX50" fmla="*/ 0 w 810577"/>
                <a:gd name="connsiteY50" fmla="*/ 87535 h 578072"/>
                <a:gd name="connsiteX51" fmla="*/ 0 w 810577"/>
                <a:gd name="connsiteY51" fmla="*/ 126682 h 578072"/>
                <a:gd name="connsiteX52" fmla="*/ 28575 w 810577"/>
                <a:gd name="connsiteY52" fmla="*/ 137160 h 578072"/>
                <a:gd name="connsiteX53" fmla="*/ 57150 w 810577"/>
                <a:gd name="connsiteY53" fmla="*/ 133350 h 578072"/>
                <a:gd name="connsiteX54" fmla="*/ 67627 w 810577"/>
                <a:gd name="connsiteY54" fmla="*/ 144685 h 578072"/>
                <a:gd name="connsiteX55" fmla="*/ 57150 w 810577"/>
                <a:gd name="connsiteY55" fmla="*/ 151448 h 578072"/>
                <a:gd name="connsiteX56" fmla="*/ 28575 w 810577"/>
                <a:gd name="connsiteY56" fmla="*/ 147638 h 578072"/>
                <a:gd name="connsiteX57" fmla="*/ 14288 w 810577"/>
                <a:gd name="connsiteY57" fmla="*/ 147638 h 578072"/>
                <a:gd name="connsiteX58" fmla="*/ 14288 w 810577"/>
                <a:gd name="connsiteY58" fmla="*/ 165735 h 578072"/>
                <a:gd name="connsiteX59" fmla="*/ 35242 w 810577"/>
                <a:gd name="connsiteY59" fmla="*/ 180023 h 578072"/>
                <a:gd name="connsiteX60" fmla="*/ 57150 w 810577"/>
                <a:gd name="connsiteY60" fmla="*/ 186595 h 578072"/>
                <a:gd name="connsiteX61" fmla="*/ 70485 w 810577"/>
                <a:gd name="connsiteY61" fmla="*/ 176213 h 578072"/>
                <a:gd name="connsiteX62" fmla="*/ 84772 w 810577"/>
                <a:gd name="connsiteY62" fmla="*/ 182785 h 578072"/>
                <a:gd name="connsiteX63" fmla="*/ 99060 w 810577"/>
                <a:gd name="connsiteY63" fmla="*/ 193357 h 578072"/>
                <a:gd name="connsiteX64" fmla="*/ 130492 w 810577"/>
                <a:gd name="connsiteY64" fmla="*/ 193357 h 578072"/>
                <a:gd name="connsiteX65" fmla="*/ 159067 w 810577"/>
                <a:gd name="connsiteY65" fmla="*/ 200882 h 578072"/>
                <a:gd name="connsiteX66" fmla="*/ 208597 w 810577"/>
                <a:gd name="connsiteY66" fmla="*/ 207645 h 578072"/>
                <a:gd name="connsiteX67" fmla="*/ 229552 w 810577"/>
                <a:gd name="connsiteY67" fmla="*/ 203835 h 578072"/>
                <a:gd name="connsiteX68" fmla="*/ 240030 w 810577"/>
                <a:gd name="connsiteY68" fmla="*/ 193357 h 578072"/>
                <a:gd name="connsiteX69" fmla="*/ 279083 w 810577"/>
                <a:gd name="connsiteY69" fmla="*/ 203835 h 578072"/>
                <a:gd name="connsiteX70" fmla="*/ 302895 w 810577"/>
                <a:gd name="connsiteY70" fmla="*/ 203835 h 578072"/>
                <a:gd name="connsiteX71" fmla="*/ 314325 w 810577"/>
                <a:gd name="connsiteY71" fmla="*/ 197072 h 578072"/>
                <a:gd name="connsiteX72" fmla="*/ 310515 w 810577"/>
                <a:gd name="connsiteY72" fmla="*/ 186595 h 578072"/>
                <a:gd name="connsiteX73" fmla="*/ 302895 w 810577"/>
                <a:gd name="connsiteY73" fmla="*/ 176213 h 578072"/>
                <a:gd name="connsiteX74" fmla="*/ 314325 w 810577"/>
                <a:gd name="connsiteY74" fmla="*/ 172307 h 578072"/>
                <a:gd name="connsiteX75" fmla="*/ 327660 w 810577"/>
                <a:gd name="connsiteY75" fmla="*/ 186595 h 578072"/>
                <a:gd name="connsiteX76" fmla="*/ 335280 w 810577"/>
                <a:gd name="connsiteY76" fmla="*/ 197072 h 578072"/>
                <a:gd name="connsiteX77" fmla="*/ 345758 w 810577"/>
                <a:gd name="connsiteY77" fmla="*/ 211360 h 578072"/>
                <a:gd name="connsiteX78" fmla="*/ 356235 w 810577"/>
                <a:gd name="connsiteY78" fmla="*/ 200882 h 578072"/>
                <a:gd name="connsiteX79" fmla="*/ 373380 w 810577"/>
                <a:gd name="connsiteY79" fmla="*/ 218123 h 578072"/>
                <a:gd name="connsiteX80" fmla="*/ 384810 w 810577"/>
                <a:gd name="connsiteY80" fmla="*/ 225647 h 578072"/>
                <a:gd name="connsiteX81" fmla="*/ 391477 w 810577"/>
                <a:gd name="connsiteY81" fmla="*/ 236220 h 578072"/>
                <a:gd name="connsiteX82" fmla="*/ 370522 w 810577"/>
                <a:gd name="connsiteY82" fmla="*/ 250507 h 578072"/>
                <a:gd name="connsiteX83" fmla="*/ 384810 w 810577"/>
                <a:gd name="connsiteY83" fmla="*/ 263747 h 578072"/>
                <a:gd name="connsiteX84" fmla="*/ 401955 w 810577"/>
                <a:gd name="connsiteY84" fmla="*/ 250507 h 578072"/>
                <a:gd name="connsiteX85" fmla="*/ 422910 w 810577"/>
                <a:gd name="connsiteY85" fmla="*/ 250507 h 578072"/>
                <a:gd name="connsiteX86" fmla="*/ 422910 w 810577"/>
                <a:gd name="connsiteY86" fmla="*/ 260985 h 578072"/>
                <a:gd name="connsiteX87" fmla="*/ 433387 w 810577"/>
                <a:gd name="connsiteY87" fmla="*/ 274320 h 578072"/>
                <a:gd name="connsiteX88" fmla="*/ 447675 w 810577"/>
                <a:gd name="connsiteY88" fmla="*/ 267557 h 578072"/>
                <a:gd name="connsiteX89" fmla="*/ 451485 w 810577"/>
                <a:gd name="connsiteY89" fmla="*/ 281845 h 578072"/>
                <a:gd name="connsiteX90" fmla="*/ 465772 w 810577"/>
                <a:gd name="connsiteY90" fmla="*/ 281845 h 578072"/>
                <a:gd name="connsiteX91" fmla="*/ 479108 w 810577"/>
                <a:gd name="connsiteY91" fmla="*/ 302895 h 578072"/>
                <a:gd name="connsiteX92" fmla="*/ 493395 w 810577"/>
                <a:gd name="connsiteY92" fmla="*/ 334232 h 578072"/>
                <a:gd name="connsiteX93" fmla="*/ 472440 w 810577"/>
                <a:gd name="connsiteY93" fmla="*/ 356140 h 578072"/>
                <a:gd name="connsiteX94" fmla="*/ 447675 w 810577"/>
                <a:gd name="connsiteY94" fmla="*/ 369570 h 578072"/>
                <a:gd name="connsiteX95" fmla="*/ 433387 w 810577"/>
                <a:gd name="connsiteY95" fmla="*/ 391478 h 578072"/>
                <a:gd name="connsiteX96" fmla="*/ 447675 w 810577"/>
                <a:gd name="connsiteY96" fmla="*/ 401860 h 578072"/>
                <a:gd name="connsiteX97" fmla="*/ 454342 w 810577"/>
                <a:gd name="connsiteY97" fmla="*/ 408527 h 578072"/>
                <a:gd name="connsiteX98" fmla="*/ 433387 w 810577"/>
                <a:gd name="connsiteY98" fmla="*/ 416147 h 578072"/>
                <a:gd name="connsiteX99" fmla="*/ 419100 w 810577"/>
                <a:gd name="connsiteY99" fmla="*/ 422815 h 578072"/>
                <a:gd name="connsiteX100" fmla="*/ 408622 w 810577"/>
                <a:gd name="connsiteY100" fmla="*/ 433388 h 578072"/>
                <a:gd name="connsiteX101" fmla="*/ 398145 w 810577"/>
                <a:gd name="connsiteY101" fmla="*/ 426720 h 578072"/>
                <a:gd name="connsiteX102" fmla="*/ 377190 w 810577"/>
                <a:gd name="connsiteY102" fmla="*/ 419100 h 578072"/>
                <a:gd name="connsiteX103" fmla="*/ 356235 w 810577"/>
                <a:gd name="connsiteY103" fmla="*/ 416147 h 578072"/>
                <a:gd name="connsiteX104" fmla="*/ 331470 w 810577"/>
                <a:gd name="connsiteY104" fmla="*/ 433388 h 578072"/>
                <a:gd name="connsiteX105" fmla="*/ 327660 w 810577"/>
                <a:gd name="connsiteY105" fmla="*/ 454247 h 578072"/>
                <a:gd name="connsiteX106" fmla="*/ 341947 w 810577"/>
                <a:gd name="connsiteY106" fmla="*/ 472440 h 578072"/>
                <a:gd name="connsiteX107" fmla="*/ 366712 w 810577"/>
                <a:gd name="connsiteY107" fmla="*/ 476250 h 578072"/>
                <a:gd name="connsiteX108" fmla="*/ 384810 w 810577"/>
                <a:gd name="connsiteY108" fmla="*/ 468535 h 578072"/>
                <a:gd name="connsiteX109" fmla="*/ 395287 w 810577"/>
                <a:gd name="connsiteY109" fmla="*/ 461963 h 578072"/>
                <a:gd name="connsiteX110" fmla="*/ 416242 w 810577"/>
                <a:gd name="connsiteY110" fmla="*/ 461963 h 578072"/>
                <a:gd name="connsiteX111" fmla="*/ 419100 w 810577"/>
                <a:gd name="connsiteY111" fmla="*/ 458153 h 578072"/>
                <a:gd name="connsiteX112" fmla="*/ 419100 w 810577"/>
                <a:gd name="connsiteY112" fmla="*/ 454247 h 578072"/>
                <a:gd name="connsiteX113" fmla="*/ 419100 w 810577"/>
                <a:gd name="connsiteY113" fmla="*/ 439960 h 578072"/>
                <a:gd name="connsiteX114" fmla="*/ 430530 w 810577"/>
                <a:gd name="connsiteY114" fmla="*/ 447675 h 578072"/>
                <a:gd name="connsiteX115" fmla="*/ 451485 w 810577"/>
                <a:gd name="connsiteY115" fmla="*/ 454247 h 578072"/>
                <a:gd name="connsiteX116" fmla="*/ 461962 w 810577"/>
                <a:gd name="connsiteY116" fmla="*/ 464820 h 578072"/>
                <a:gd name="connsiteX117" fmla="*/ 479108 w 810577"/>
                <a:gd name="connsiteY117" fmla="*/ 482822 h 578072"/>
                <a:gd name="connsiteX118" fmla="*/ 493395 w 810577"/>
                <a:gd name="connsiteY118" fmla="*/ 497110 h 578072"/>
                <a:gd name="connsiteX119" fmla="*/ 507683 w 810577"/>
                <a:gd name="connsiteY119" fmla="*/ 493395 h 578072"/>
                <a:gd name="connsiteX120" fmla="*/ 518160 w 810577"/>
                <a:gd name="connsiteY120" fmla="*/ 503777 h 578072"/>
                <a:gd name="connsiteX121" fmla="*/ 511492 w 810577"/>
                <a:gd name="connsiteY121" fmla="*/ 511397 h 578072"/>
                <a:gd name="connsiteX122" fmla="*/ 521970 w 810577"/>
                <a:gd name="connsiteY122" fmla="*/ 524828 h 578072"/>
                <a:gd name="connsiteX123" fmla="*/ 546735 w 810577"/>
                <a:gd name="connsiteY123" fmla="*/ 553403 h 578072"/>
                <a:gd name="connsiteX124" fmla="*/ 549593 w 810577"/>
                <a:gd name="connsiteY124" fmla="*/ 535210 h 578072"/>
                <a:gd name="connsiteX125" fmla="*/ 563880 w 810577"/>
                <a:gd name="connsiteY125" fmla="*/ 535210 h 578072"/>
                <a:gd name="connsiteX126" fmla="*/ 588645 w 810577"/>
                <a:gd name="connsiteY126" fmla="*/ 553403 h 578072"/>
                <a:gd name="connsiteX127" fmla="*/ 623887 w 810577"/>
                <a:gd name="connsiteY127" fmla="*/ 567690 h 578072"/>
                <a:gd name="connsiteX128" fmla="*/ 665797 w 810577"/>
                <a:gd name="connsiteY128" fmla="*/ 578072 h 578072"/>
                <a:gd name="connsiteX129" fmla="*/ 659130 w 810577"/>
                <a:gd name="connsiteY129" fmla="*/ 563785 h 578072"/>
                <a:gd name="connsiteX130" fmla="*/ 652462 w 810577"/>
                <a:gd name="connsiteY130" fmla="*/ 549497 h 578072"/>
                <a:gd name="connsiteX131" fmla="*/ 644843 w 810577"/>
                <a:gd name="connsiteY131" fmla="*/ 539115 h 578072"/>
                <a:gd name="connsiteX132" fmla="*/ 613410 w 810577"/>
                <a:gd name="connsiteY132" fmla="*/ 514350 h 578072"/>
                <a:gd name="connsiteX133" fmla="*/ 595312 w 810577"/>
                <a:gd name="connsiteY133" fmla="*/ 497110 h 578072"/>
                <a:gd name="connsiteX134" fmla="*/ 605790 w 810577"/>
                <a:gd name="connsiteY134" fmla="*/ 489490 h 578072"/>
                <a:gd name="connsiteX135" fmla="*/ 627697 w 810577"/>
                <a:gd name="connsiteY135" fmla="*/ 511397 h 578072"/>
                <a:gd name="connsiteX136" fmla="*/ 665797 w 810577"/>
                <a:gd name="connsiteY136" fmla="*/ 532352 h 578072"/>
                <a:gd name="connsiteX137" fmla="*/ 694372 w 810577"/>
                <a:gd name="connsiteY137" fmla="*/ 546640 h 578072"/>
                <a:gd name="connsiteX138" fmla="*/ 704850 w 810577"/>
                <a:gd name="connsiteY138" fmla="*/ 535210 h 578072"/>
                <a:gd name="connsiteX139" fmla="*/ 694372 w 810577"/>
                <a:gd name="connsiteY139" fmla="*/ 511397 h 578072"/>
                <a:gd name="connsiteX140" fmla="*/ 698183 w 810577"/>
                <a:gd name="connsiteY140" fmla="*/ 507682 h 578072"/>
                <a:gd name="connsiteX141" fmla="*/ 704850 w 810577"/>
                <a:gd name="connsiteY141" fmla="*/ 507682 h 578072"/>
                <a:gd name="connsiteX142" fmla="*/ 715327 w 810577"/>
                <a:gd name="connsiteY142" fmla="*/ 511397 h 578072"/>
                <a:gd name="connsiteX143" fmla="*/ 719137 w 810577"/>
                <a:gd name="connsiteY143" fmla="*/ 500063 h 578072"/>
                <a:gd name="connsiteX144" fmla="*/ 694372 w 810577"/>
                <a:gd name="connsiteY144" fmla="*/ 476250 h 578072"/>
                <a:gd name="connsiteX145" fmla="*/ 662940 w 810577"/>
                <a:gd name="connsiteY145" fmla="*/ 451390 h 578072"/>
                <a:gd name="connsiteX146" fmla="*/ 641033 w 810577"/>
                <a:gd name="connsiteY146" fmla="*/ 429578 h 578072"/>
                <a:gd name="connsiteX147" fmla="*/ 630555 w 810577"/>
                <a:gd name="connsiteY147" fmla="*/ 404813 h 578072"/>
                <a:gd name="connsiteX148" fmla="*/ 634365 w 810577"/>
                <a:gd name="connsiteY148" fmla="*/ 391478 h 578072"/>
                <a:gd name="connsiteX149" fmla="*/ 627697 w 810577"/>
                <a:gd name="connsiteY149" fmla="*/ 373285 h 578072"/>
                <a:gd name="connsiteX150" fmla="*/ 641033 w 810577"/>
                <a:gd name="connsiteY150" fmla="*/ 366713 h 578072"/>
                <a:gd name="connsiteX151" fmla="*/ 680085 w 810577"/>
                <a:gd name="connsiteY151" fmla="*/ 391478 h 578072"/>
                <a:gd name="connsiteX152" fmla="*/ 686752 w 810577"/>
                <a:gd name="connsiteY152" fmla="*/ 404813 h 578072"/>
                <a:gd name="connsiteX153" fmla="*/ 701040 w 810577"/>
                <a:gd name="connsiteY153" fmla="*/ 422815 h 578072"/>
                <a:gd name="connsiteX154" fmla="*/ 729615 w 810577"/>
                <a:gd name="connsiteY154" fmla="*/ 437102 h 578072"/>
                <a:gd name="connsiteX155" fmla="*/ 740093 w 810577"/>
                <a:gd name="connsiteY155" fmla="*/ 422815 h 578072"/>
                <a:gd name="connsiteX156" fmla="*/ 740093 w 810577"/>
                <a:gd name="connsiteY156" fmla="*/ 408527 h 578072"/>
                <a:gd name="connsiteX157" fmla="*/ 757237 w 810577"/>
                <a:gd name="connsiteY157" fmla="*/ 408527 h 578072"/>
                <a:gd name="connsiteX158" fmla="*/ 768668 w 810577"/>
                <a:gd name="connsiteY158" fmla="*/ 398145 h 578072"/>
                <a:gd name="connsiteX159" fmla="*/ 764858 w 810577"/>
                <a:gd name="connsiteY159" fmla="*/ 381000 h 578072"/>
                <a:gd name="connsiteX160" fmla="*/ 782002 w 810577"/>
                <a:gd name="connsiteY160" fmla="*/ 381000 h 578072"/>
                <a:gd name="connsiteX161" fmla="*/ 806768 w 810577"/>
                <a:gd name="connsiteY161" fmla="*/ 377190 h 578072"/>
                <a:gd name="connsiteX162" fmla="*/ 810577 w 810577"/>
                <a:gd name="connsiteY162" fmla="*/ 373285 h 578072"/>
                <a:gd name="connsiteX163" fmla="*/ 810577 w 810577"/>
                <a:gd name="connsiteY163" fmla="*/ 366713 h 578072"/>
                <a:gd name="connsiteX164" fmla="*/ 810577 w 810577"/>
                <a:gd name="connsiteY164" fmla="*/ 358997 h 578072"/>
                <a:gd name="connsiteX165" fmla="*/ 792480 w 810577"/>
                <a:gd name="connsiteY165" fmla="*/ 345757 h 578072"/>
                <a:gd name="connsiteX166" fmla="*/ 771525 w 810577"/>
                <a:gd name="connsiteY166" fmla="*/ 341852 h 578072"/>
                <a:gd name="connsiteX167" fmla="*/ 764858 w 810577"/>
                <a:gd name="connsiteY167" fmla="*/ 334232 h 578072"/>
                <a:gd name="connsiteX168" fmla="*/ 746760 w 810577"/>
                <a:gd name="connsiteY168" fmla="*/ 320897 h 578072"/>
                <a:gd name="connsiteX169" fmla="*/ 733425 w 810577"/>
                <a:gd name="connsiteY169" fmla="*/ 317182 h 578072"/>
                <a:gd name="connsiteX170" fmla="*/ 715327 w 810577"/>
                <a:gd name="connsiteY170" fmla="*/ 317182 h 578072"/>
                <a:gd name="connsiteX171" fmla="*/ 711518 w 810577"/>
                <a:gd name="connsiteY171" fmla="*/ 306610 h 578072"/>
                <a:gd name="connsiteX172" fmla="*/ 701040 w 810577"/>
                <a:gd name="connsiteY172" fmla="*/ 299085 h 578072"/>
                <a:gd name="connsiteX173" fmla="*/ 683895 w 810577"/>
                <a:gd name="connsiteY173" fmla="*/ 296132 h 578072"/>
                <a:gd name="connsiteX174" fmla="*/ 673418 w 810577"/>
                <a:gd name="connsiteY174" fmla="*/ 292322 h 578072"/>
                <a:gd name="connsiteX175" fmla="*/ 673418 w 810577"/>
                <a:gd name="connsiteY175" fmla="*/ 281845 h 578072"/>
                <a:gd name="connsiteX176" fmla="*/ 652462 w 810577"/>
                <a:gd name="connsiteY176" fmla="*/ 271463 h 578072"/>
                <a:gd name="connsiteX177" fmla="*/ 638175 w 810577"/>
                <a:gd name="connsiteY177" fmla="*/ 274320 h 578072"/>
                <a:gd name="connsiteX178" fmla="*/ 623887 w 810577"/>
                <a:gd name="connsiteY178" fmla="*/ 274320 h 578072"/>
                <a:gd name="connsiteX179" fmla="*/ 609600 w 810577"/>
                <a:gd name="connsiteY179" fmla="*/ 263747 h 578072"/>
                <a:gd name="connsiteX180" fmla="*/ 602933 w 810577"/>
                <a:gd name="connsiteY180" fmla="*/ 253270 h 578072"/>
                <a:gd name="connsiteX181" fmla="*/ 602933 w 810577"/>
                <a:gd name="connsiteY181" fmla="*/ 246698 h 578072"/>
                <a:gd name="connsiteX182" fmla="*/ 605790 w 810577"/>
                <a:gd name="connsiteY182" fmla="*/ 242888 h 578072"/>
                <a:gd name="connsiteX183" fmla="*/ 609600 w 810577"/>
                <a:gd name="connsiteY183" fmla="*/ 238982 h 578072"/>
                <a:gd name="connsiteX184" fmla="*/ 638175 w 810577"/>
                <a:gd name="connsiteY184" fmla="*/ 242888 h 578072"/>
                <a:gd name="connsiteX185" fmla="*/ 648652 w 810577"/>
                <a:gd name="connsiteY185" fmla="*/ 242888 h 578072"/>
                <a:gd name="connsiteX186" fmla="*/ 652462 w 810577"/>
                <a:gd name="connsiteY186" fmla="*/ 242888 h 578072"/>
                <a:gd name="connsiteX187" fmla="*/ 648652 w 810577"/>
                <a:gd name="connsiteY187" fmla="*/ 236220 h 578072"/>
                <a:gd name="connsiteX188" fmla="*/ 638175 w 810577"/>
                <a:gd name="connsiteY188" fmla="*/ 225647 h 578072"/>
                <a:gd name="connsiteX189" fmla="*/ 620077 w 810577"/>
                <a:gd name="connsiteY189" fmla="*/ 225647 h 578072"/>
                <a:gd name="connsiteX190" fmla="*/ 602933 w 810577"/>
                <a:gd name="connsiteY190" fmla="*/ 225647 h 578072"/>
                <a:gd name="connsiteX191" fmla="*/ 602933 w 810577"/>
                <a:gd name="connsiteY191" fmla="*/ 215170 h 578072"/>
                <a:gd name="connsiteX192" fmla="*/ 613410 w 810577"/>
                <a:gd name="connsiteY192" fmla="*/ 215170 h 578072"/>
                <a:gd name="connsiteX193" fmla="*/ 623887 w 810577"/>
                <a:gd name="connsiteY193" fmla="*/ 215170 h 578072"/>
                <a:gd name="connsiteX194" fmla="*/ 638175 w 810577"/>
                <a:gd name="connsiteY194" fmla="*/ 215170 h 578072"/>
                <a:gd name="connsiteX195" fmla="*/ 634365 w 810577"/>
                <a:gd name="connsiteY195" fmla="*/ 203835 h 578072"/>
                <a:gd name="connsiteX196" fmla="*/ 627697 w 810577"/>
                <a:gd name="connsiteY196" fmla="*/ 193357 h 578072"/>
                <a:gd name="connsiteX197" fmla="*/ 617220 w 810577"/>
                <a:gd name="connsiteY197" fmla="*/ 190500 h 578072"/>
                <a:gd name="connsiteX198" fmla="*/ 584835 w 810577"/>
                <a:gd name="connsiteY198" fmla="*/ 197072 h 578072"/>
                <a:gd name="connsiteX199" fmla="*/ 570547 w 810577"/>
                <a:gd name="connsiteY199" fmla="*/ 190500 h 578072"/>
                <a:gd name="connsiteX200" fmla="*/ 588645 w 810577"/>
                <a:gd name="connsiteY200" fmla="*/ 182785 h 578072"/>
                <a:gd name="connsiteX201" fmla="*/ 602933 w 810577"/>
                <a:gd name="connsiteY201" fmla="*/ 176213 h 578072"/>
                <a:gd name="connsiteX202" fmla="*/ 602933 w 810577"/>
                <a:gd name="connsiteY202" fmla="*/ 168497 h 578072"/>
                <a:gd name="connsiteX203" fmla="*/ 584835 w 810577"/>
                <a:gd name="connsiteY203" fmla="*/ 161925 h 578072"/>
                <a:gd name="connsiteX204" fmla="*/ 563880 w 810577"/>
                <a:gd name="connsiteY204" fmla="*/ 161925 h 578072"/>
                <a:gd name="connsiteX205" fmla="*/ 535305 w 810577"/>
                <a:gd name="connsiteY205" fmla="*/ 172307 h 578072"/>
                <a:gd name="connsiteX206" fmla="*/ 524827 w 810577"/>
                <a:gd name="connsiteY206" fmla="*/ 172307 h 578072"/>
                <a:gd name="connsiteX207" fmla="*/ 539115 w 810577"/>
                <a:gd name="connsiteY207" fmla="*/ 158020 h 578072"/>
                <a:gd name="connsiteX208" fmla="*/ 539115 w 810577"/>
                <a:gd name="connsiteY208" fmla="*/ 147638 h 578072"/>
                <a:gd name="connsiteX209" fmla="*/ 528637 w 810577"/>
                <a:gd name="connsiteY209" fmla="*/ 151448 h 578072"/>
                <a:gd name="connsiteX210" fmla="*/ 511492 w 810577"/>
                <a:gd name="connsiteY210" fmla="*/ 158020 h 578072"/>
                <a:gd name="connsiteX211" fmla="*/ 501015 w 810577"/>
                <a:gd name="connsiteY211" fmla="*/ 151448 h 578072"/>
                <a:gd name="connsiteX212" fmla="*/ 514350 w 810577"/>
                <a:gd name="connsiteY212" fmla="*/ 140970 h 578072"/>
                <a:gd name="connsiteX213" fmla="*/ 521970 w 810577"/>
                <a:gd name="connsiteY213" fmla="*/ 133350 h 57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</a:cxnLst>
              <a:rect l="l" t="t" r="r" b="b"/>
              <a:pathLst>
                <a:path w="810577" h="578072">
                  <a:moveTo>
                    <a:pt x="521970" y="133350"/>
                  </a:moveTo>
                  <a:lnTo>
                    <a:pt x="511492" y="122873"/>
                  </a:lnTo>
                  <a:lnTo>
                    <a:pt x="493395" y="119920"/>
                  </a:lnTo>
                  <a:lnTo>
                    <a:pt x="465772" y="130397"/>
                  </a:lnTo>
                  <a:lnTo>
                    <a:pt x="447675" y="130397"/>
                  </a:lnTo>
                  <a:lnTo>
                    <a:pt x="458152" y="116110"/>
                  </a:lnTo>
                  <a:lnTo>
                    <a:pt x="454342" y="101822"/>
                  </a:lnTo>
                  <a:lnTo>
                    <a:pt x="433387" y="116110"/>
                  </a:lnTo>
                  <a:lnTo>
                    <a:pt x="419100" y="119920"/>
                  </a:lnTo>
                  <a:lnTo>
                    <a:pt x="430530" y="105632"/>
                  </a:lnTo>
                  <a:lnTo>
                    <a:pt x="441008" y="95250"/>
                  </a:lnTo>
                  <a:lnTo>
                    <a:pt x="422910" y="91345"/>
                  </a:lnTo>
                  <a:lnTo>
                    <a:pt x="398145" y="101822"/>
                  </a:lnTo>
                  <a:lnTo>
                    <a:pt x="401955" y="87535"/>
                  </a:lnTo>
                  <a:lnTo>
                    <a:pt x="419100" y="77057"/>
                  </a:lnTo>
                  <a:lnTo>
                    <a:pt x="405765" y="70485"/>
                  </a:lnTo>
                  <a:lnTo>
                    <a:pt x="377190" y="60007"/>
                  </a:lnTo>
                  <a:lnTo>
                    <a:pt x="349567" y="60007"/>
                  </a:lnTo>
                  <a:lnTo>
                    <a:pt x="324802" y="62770"/>
                  </a:lnTo>
                  <a:lnTo>
                    <a:pt x="317183" y="87535"/>
                  </a:lnTo>
                  <a:lnTo>
                    <a:pt x="296227" y="73247"/>
                  </a:lnTo>
                  <a:lnTo>
                    <a:pt x="279083" y="73247"/>
                  </a:lnTo>
                  <a:lnTo>
                    <a:pt x="271463" y="91345"/>
                  </a:lnTo>
                  <a:lnTo>
                    <a:pt x="254317" y="91345"/>
                  </a:lnTo>
                  <a:lnTo>
                    <a:pt x="254317" y="73247"/>
                  </a:lnTo>
                  <a:lnTo>
                    <a:pt x="260985" y="66675"/>
                  </a:lnTo>
                  <a:lnTo>
                    <a:pt x="260985" y="52388"/>
                  </a:lnTo>
                  <a:lnTo>
                    <a:pt x="257175" y="38100"/>
                  </a:lnTo>
                  <a:lnTo>
                    <a:pt x="246697" y="24670"/>
                  </a:lnTo>
                  <a:lnTo>
                    <a:pt x="236220" y="10382"/>
                  </a:lnTo>
                  <a:lnTo>
                    <a:pt x="215265" y="2857"/>
                  </a:lnTo>
                  <a:lnTo>
                    <a:pt x="190500" y="6572"/>
                  </a:lnTo>
                  <a:lnTo>
                    <a:pt x="148590" y="27623"/>
                  </a:lnTo>
                  <a:lnTo>
                    <a:pt x="127635" y="45720"/>
                  </a:lnTo>
                  <a:lnTo>
                    <a:pt x="123825" y="66675"/>
                  </a:lnTo>
                  <a:lnTo>
                    <a:pt x="138113" y="80963"/>
                  </a:lnTo>
                  <a:lnTo>
                    <a:pt x="117157" y="87535"/>
                  </a:lnTo>
                  <a:lnTo>
                    <a:pt x="134302" y="112395"/>
                  </a:lnTo>
                  <a:lnTo>
                    <a:pt x="144780" y="126682"/>
                  </a:lnTo>
                  <a:lnTo>
                    <a:pt x="120015" y="133350"/>
                  </a:lnTo>
                  <a:lnTo>
                    <a:pt x="95250" y="87535"/>
                  </a:lnTo>
                  <a:lnTo>
                    <a:pt x="95250" y="70485"/>
                  </a:lnTo>
                  <a:lnTo>
                    <a:pt x="95250" y="49435"/>
                  </a:lnTo>
                  <a:lnTo>
                    <a:pt x="113347" y="20860"/>
                  </a:lnTo>
                  <a:lnTo>
                    <a:pt x="134302" y="14288"/>
                  </a:lnTo>
                  <a:lnTo>
                    <a:pt x="144780" y="2857"/>
                  </a:lnTo>
                  <a:lnTo>
                    <a:pt x="92392" y="0"/>
                  </a:lnTo>
                  <a:lnTo>
                    <a:pt x="67627" y="2857"/>
                  </a:lnTo>
                  <a:lnTo>
                    <a:pt x="35242" y="24670"/>
                  </a:lnTo>
                  <a:lnTo>
                    <a:pt x="14288" y="52388"/>
                  </a:lnTo>
                  <a:lnTo>
                    <a:pt x="0" y="87535"/>
                  </a:lnTo>
                  <a:lnTo>
                    <a:pt x="0" y="126682"/>
                  </a:lnTo>
                  <a:lnTo>
                    <a:pt x="28575" y="137160"/>
                  </a:lnTo>
                  <a:lnTo>
                    <a:pt x="57150" y="133350"/>
                  </a:lnTo>
                  <a:lnTo>
                    <a:pt x="67627" y="144685"/>
                  </a:lnTo>
                  <a:lnTo>
                    <a:pt x="57150" y="151448"/>
                  </a:lnTo>
                  <a:lnTo>
                    <a:pt x="28575" y="147638"/>
                  </a:lnTo>
                  <a:lnTo>
                    <a:pt x="14288" y="147638"/>
                  </a:lnTo>
                  <a:lnTo>
                    <a:pt x="14288" y="165735"/>
                  </a:lnTo>
                  <a:lnTo>
                    <a:pt x="35242" y="180023"/>
                  </a:lnTo>
                  <a:lnTo>
                    <a:pt x="57150" y="186595"/>
                  </a:lnTo>
                  <a:lnTo>
                    <a:pt x="70485" y="176213"/>
                  </a:lnTo>
                  <a:lnTo>
                    <a:pt x="84772" y="182785"/>
                  </a:lnTo>
                  <a:lnTo>
                    <a:pt x="99060" y="193357"/>
                  </a:lnTo>
                  <a:lnTo>
                    <a:pt x="130492" y="193357"/>
                  </a:lnTo>
                  <a:lnTo>
                    <a:pt x="159067" y="200882"/>
                  </a:lnTo>
                  <a:lnTo>
                    <a:pt x="208597" y="207645"/>
                  </a:lnTo>
                  <a:lnTo>
                    <a:pt x="229552" y="203835"/>
                  </a:lnTo>
                  <a:lnTo>
                    <a:pt x="240030" y="193357"/>
                  </a:lnTo>
                  <a:lnTo>
                    <a:pt x="279083" y="203835"/>
                  </a:lnTo>
                  <a:lnTo>
                    <a:pt x="302895" y="203835"/>
                  </a:lnTo>
                  <a:lnTo>
                    <a:pt x="314325" y="197072"/>
                  </a:lnTo>
                  <a:lnTo>
                    <a:pt x="310515" y="186595"/>
                  </a:lnTo>
                  <a:lnTo>
                    <a:pt x="302895" y="176213"/>
                  </a:lnTo>
                  <a:lnTo>
                    <a:pt x="314325" y="172307"/>
                  </a:lnTo>
                  <a:lnTo>
                    <a:pt x="327660" y="186595"/>
                  </a:lnTo>
                  <a:lnTo>
                    <a:pt x="335280" y="197072"/>
                  </a:lnTo>
                  <a:lnTo>
                    <a:pt x="345758" y="211360"/>
                  </a:lnTo>
                  <a:lnTo>
                    <a:pt x="356235" y="200882"/>
                  </a:lnTo>
                  <a:lnTo>
                    <a:pt x="373380" y="218123"/>
                  </a:lnTo>
                  <a:lnTo>
                    <a:pt x="384810" y="225647"/>
                  </a:lnTo>
                  <a:lnTo>
                    <a:pt x="391477" y="236220"/>
                  </a:lnTo>
                  <a:lnTo>
                    <a:pt x="370522" y="250507"/>
                  </a:lnTo>
                  <a:lnTo>
                    <a:pt x="384810" y="263747"/>
                  </a:lnTo>
                  <a:lnTo>
                    <a:pt x="401955" y="250507"/>
                  </a:lnTo>
                  <a:lnTo>
                    <a:pt x="422910" y="250507"/>
                  </a:lnTo>
                  <a:lnTo>
                    <a:pt x="422910" y="260985"/>
                  </a:lnTo>
                  <a:lnTo>
                    <a:pt x="433387" y="274320"/>
                  </a:lnTo>
                  <a:lnTo>
                    <a:pt x="447675" y="267557"/>
                  </a:lnTo>
                  <a:lnTo>
                    <a:pt x="451485" y="281845"/>
                  </a:lnTo>
                  <a:lnTo>
                    <a:pt x="465772" y="281845"/>
                  </a:lnTo>
                  <a:lnTo>
                    <a:pt x="479108" y="302895"/>
                  </a:lnTo>
                  <a:lnTo>
                    <a:pt x="493395" y="334232"/>
                  </a:lnTo>
                  <a:lnTo>
                    <a:pt x="472440" y="356140"/>
                  </a:lnTo>
                  <a:lnTo>
                    <a:pt x="447675" y="369570"/>
                  </a:lnTo>
                  <a:lnTo>
                    <a:pt x="433387" y="391478"/>
                  </a:lnTo>
                  <a:lnTo>
                    <a:pt x="447675" y="401860"/>
                  </a:lnTo>
                  <a:lnTo>
                    <a:pt x="454342" y="408527"/>
                  </a:lnTo>
                  <a:lnTo>
                    <a:pt x="433387" y="416147"/>
                  </a:lnTo>
                  <a:lnTo>
                    <a:pt x="419100" y="422815"/>
                  </a:lnTo>
                  <a:lnTo>
                    <a:pt x="408622" y="433388"/>
                  </a:lnTo>
                  <a:lnTo>
                    <a:pt x="398145" y="426720"/>
                  </a:lnTo>
                  <a:lnTo>
                    <a:pt x="377190" y="419100"/>
                  </a:lnTo>
                  <a:lnTo>
                    <a:pt x="356235" y="416147"/>
                  </a:lnTo>
                  <a:lnTo>
                    <a:pt x="331470" y="433388"/>
                  </a:lnTo>
                  <a:lnTo>
                    <a:pt x="327660" y="454247"/>
                  </a:lnTo>
                  <a:lnTo>
                    <a:pt x="341947" y="472440"/>
                  </a:lnTo>
                  <a:lnTo>
                    <a:pt x="366712" y="476250"/>
                  </a:lnTo>
                  <a:lnTo>
                    <a:pt x="384810" y="468535"/>
                  </a:lnTo>
                  <a:lnTo>
                    <a:pt x="395287" y="461963"/>
                  </a:lnTo>
                  <a:lnTo>
                    <a:pt x="416242" y="461963"/>
                  </a:lnTo>
                  <a:lnTo>
                    <a:pt x="419100" y="458153"/>
                  </a:lnTo>
                  <a:lnTo>
                    <a:pt x="419100" y="454247"/>
                  </a:lnTo>
                  <a:lnTo>
                    <a:pt x="419100" y="439960"/>
                  </a:lnTo>
                  <a:lnTo>
                    <a:pt x="430530" y="447675"/>
                  </a:lnTo>
                  <a:lnTo>
                    <a:pt x="451485" y="454247"/>
                  </a:lnTo>
                  <a:lnTo>
                    <a:pt x="461962" y="464820"/>
                  </a:lnTo>
                  <a:lnTo>
                    <a:pt x="479108" y="482822"/>
                  </a:lnTo>
                  <a:lnTo>
                    <a:pt x="493395" y="497110"/>
                  </a:lnTo>
                  <a:lnTo>
                    <a:pt x="507683" y="493395"/>
                  </a:lnTo>
                  <a:lnTo>
                    <a:pt x="518160" y="503777"/>
                  </a:lnTo>
                  <a:lnTo>
                    <a:pt x="511492" y="511397"/>
                  </a:lnTo>
                  <a:lnTo>
                    <a:pt x="521970" y="524828"/>
                  </a:lnTo>
                  <a:lnTo>
                    <a:pt x="546735" y="553403"/>
                  </a:lnTo>
                  <a:lnTo>
                    <a:pt x="549593" y="535210"/>
                  </a:lnTo>
                  <a:lnTo>
                    <a:pt x="563880" y="535210"/>
                  </a:lnTo>
                  <a:lnTo>
                    <a:pt x="588645" y="553403"/>
                  </a:lnTo>
                  <a:lnTo>
                    <a:pt x="623887" y="567690"/>
                  </a:lnTo>
                  <a:lnTo>
                    <a:pt x="665797" y="578072"/>
                  </a:lnTo>
                  <a:lnTo>
                    <a:pt x="659130" y="563785"/>
                  </a:lnTo>
                  <a:lnTo>
                    <a:pt x="652462" y="549497"/>
                  </a:lnTo>
                  <a:lnTo>
                    <a:pt x="644843" y="539115"/>
                  </a:lnTo>
                  <a:lnTo>
                    <a:pt x="613410" y="514350"/>
                  </a:lnTo>
                  <a:lnTo>
                    <a:pt x="595312" y="497110"/>
                  </a:lnTo>
                  <a:lnTo>
                    <a:pt x="605790" y="489490"/>
                  </a:lnTo>
                  <a:lnTo>
                    <a:pt x="627697" y="511397"/>
                  </a:lnTo>
                  <a:lnTo>
                    <a:pt x="665797" y="532352"/>
                  </a:lnTo>
                  <a:lnTo>
                    <a:pt x="694372" y="546640"/>
                  </a:lnTo>
                  <a:lnTo>
                    <a:pt x="704850" y="535210"/>
                  </a:lnTo>
                  <a:lnTo>
                    <a:pt x="694372" y="511397"/>
                  </a:lnTo>
                  <a:lnTo>
                    <a:pt x="698183" y="507682"/>
                  </a:lnTo>
                  <a:lnTo>
                    <a:pt x="704850" y="507682"/>
                  </a:lnTo>
                  <a:lnTo>
                    <a:pt x="715327" y="511397"/>
                  </a:lnTo>
                  <a:lnTo>
                    <a:pt x="719137" y="500063"/>
                  </a:lnTo>
                  <a:lnTo>
                    <a:pt x="694372" y="476250"/>
                  </a:lnTo>
                  <a:lnTo>
                    <a:pt x="662940" y="451390"/>
                  </a:lnTo>
                  <a:lnTo>
                    <a:pt x="641033" y="429578"/>
                  </a:lnTo>
                  <a:lnTo>
                    <a:pt x="630555" y="404813"/>
                  </a:lnTo>
                  <a:lnTo>
                    <a:pt x="634365" y="391478"/>
                  </a:lnTo>
                  <a:lnTo>
                    <a:pt x="627697" y="373285"/>
                  </a:lnTo>
                  <a:lnTo>
                    <a:pt x="641033" y="366713"/>
                  </a:lnTo>
                  <a:lnTo>
                    <a:pt x="680085" y="391478"/>
                  </a:lnTo>
                  <a:lnTo>
                    <a:pt x="686752" y="404813"/>
                  </a:lnTo>
                  <a:lnTo>
                    <a:pt x="701040" y="422815"/>
                  </a:lnTo>
                  <a:lnTo>
                    <a:pt x="729615" y="437102"/>
                  </a:lnTo>
                  <a:lnTo>
                    <a:pt x="740093" y="422815"/>
                  </a:lnTo>
                  <a:lnTo>
                    <a:pt x="740093" y="408527"/>
                  </a:lnTo>
                  <a:lnTo>
                    <a:pt x="757237" y="408527"/>
                  </a:lnTo>
                  <a:lnTo>
                    <a:pt x="768668" y="398145"/>
                  </a:lnTo>
                  <a:lnTo>
                    <a:pt x="764858" y="381000"/>
                  </a:lnTo>
                  <a:lnTo>
                    <a:pt x="782002" y="381000"/>
                  </a:lnTo>
                  <a:lnTo>
                    <a:pt x="806768" y="377190"/>
                  </a:lnTo>
                  <a:lnTo>
                    <a:pt x="810577" y="373285"/>
                  </a:lnTo>
                  <a:lnTo>
                    <a:pt x="810577" y="366713"/>
                  </a:lnTo>
                  <a:lnTo>
                    <a:pt x="810577" y="358997"/>
                  </a:lnTo>
                  <a:lnTo>
                    <a:pt x="792480" y="345757"/>
                  </a:lnTo>
                  <a:lnTo>
                    <a:pt x="771525" y="341852"/>
                  </a:lnTo>
                  <a:lnTo>
                    <a:pt x="764858" y="334232"/>
                  </a:lnTo>
                  <a:lnTo>
                    <a:pt x="746760" y="320897"/>
                  </a:lnTo>
                  <a:lnTo>
                    <a:pt x="733425" y="317182"/>
                  </a:lnTo>
                  <a:lnTo>
                    <a:pt x="715327" y="317182"/>
                  </a:lnTo>
                  <a:lnTo>
                    <a:pt x="711518" y="306610"/>
                  </a:lnTo>
                  <a:lnTo>
                    <a:pt x="701040" y="299085"/>
                  </a:lnTo>
                  <a:lnTo>
                    <a:pt x="683895" y="296132"/>
                  </a:lnTo>
                  <a:lnTo>
                    <a:pt x="673418" y="292322"/>
                  </a:lnTo>
                  <a:lnTo>
                    <a:pt x="673418" y="281845"/>
                  </a:lnTo>
                  <a:lnTo>
                    <a:pt x="652462" y="271463"/>
                  </a:lnTo>
                  <a:lnTo>
                    <a:pt x="638175" y="274320"/>
                  </a:lnTo>
                  <a:lnTo>
                    <a:pt x="623887" y="274320"/>
                  </a:lnTo>
                  <a:lnTo>
                    <a:pt x="609600" y="263747"/>
                  </a:lnTo>
                  <a:lnTo>
                    <a:pt x="602933" y="253270"/>
                  </a:lnTo>
                  <a:lnTo>
                    <a:pt x="602933" y="246698"/>
                  </a:lnTo>
                  <a:lnTo>
                    <a:pt x="605790" y="242888"/>
                  </a:lnTo>
                  <a:lnTo>
                    <a:pt x="609600" y="238982"/>
                  </a:lnTo>
                  <a:lnTo>
                    <a:pt x="638175" y="242888"/>
                  </a:lnTo>
                  <a:lnTo>
                    <a:pt x="648652" y="242888"/>
                  </a:lnTo>
                  <a:lnTo>
                    <a:pt x="652462" y="242888"/>
                  </a:lnTo>
                  <a:lnTo>
                    <a:pt x="648652" y="236220"/>
                  </a:lnTo>
                  <a:lnTo>
                    <a:pt x="638175" y="225647"/>
                  </a:lnTo>
                  <a:lnTo>
                    <a:pt x="620077" y="225647"/>
                  </a:lnTo>
                  <a:lnTo>
                    <a:pt x="602933" y="225647"/>
                  </a:lnTo>
                  <a:lnTo>
                    <a:pt x="602933" y="215170"/>
                  </a:lnTo>
                  <a:lnTo>
                    <a:pt x="613410" y="215170"/>
                  </a:lnTo>
                  <a:lnTo>
                    <a:pt x="623887" y="215170"/>
                  </a:lnTo>
                  <a:lnTo>
                    <a:pt x="638175" y="215170"/>
                  </a:lnTo>
                  <a:lnTo>
                    <a:pt x="634365" y="203835"/>
                  </a:lnTo>
                  <a:lnTo>
                    <a:pt x="627697" y="193357"/>
                  </a:lnTo>
                  <a:lnTo>
                    <a:pt x="617220" y="190500"/>
                  </a:lnTo>
                  <a:lnTo>
                    <a:pt x="584835" y="197072"/>
                  </a:lnTo>
                  <a:lnTo>
                    <a:pt x="570547" y="190500"/>
                  </a:lnTo>
                  <a:lnTo>
                    <a:pt x="588645" y="182785"/>
                  </a:lnTo>
                  <a:lnTo>
                    <a:pt x="602933" y="176213"/>
                  </a:lnTo>
                  <a:lnTo>
                    <a:pt x="602933" y="168497"/>
                  </a:lnTo>
                  <a:lnTo>
                    <a:pt x="584835" y="161925"/>
                  </a:lnTo>
                  <a:lnTo>
                    <a:pt x="563880" y="161925"/>
                  </a:lnTo>
                  <a:lnTo>
                    <a:pt x="535305" y="172307"/>
                  </a:lnTo>
                  <a:lnTo>
                    <a:pt x="524827" y="172307"/>
                  </a:lnTo>
                  <a:lnTo>
                    <a:pt x="539115" y="158020"/>
                  </a:lnTo>
                  <a:lnTo>
                    <a:pt x="539115" y="147638"/>
                  </a:lnTo>
                  <a:lnTo>
                    <a:pt x="528637" y="151448"/>
                  </a:lnTo>
                  <a:lnTo>
                    <a:pt x="511492" y="158020"/>
                  </a:lnTo>
                  <a:lnTo>
                    <a:pt x="501015" y="151448"/>
                  </a:lnTo>
                  <a:lnTo>
                    <a:pt x="514350" y="140970"/>
                  </a:lnTo>
                  <a:lnTo>
                    <a:pt x="521970" y="13335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86" name="Freeform: Shape 3885">
              <a:extLst>
                <a:ext uri="{FF2B5EF4-FFF2-40B4-BE49-F238E27FC236}">
                  <a16:creationId xmlns:a16="http://schemas.microsoft.com/office/drawing/2014/main" id="{75264C9A-077B-E372-0B4F-ED6433866798}"/>
                </a:ext>
              </a:extLst>
            </p:cNvPr>
            <p:cNvSpPr/>
            <p:nvPr/>
          </p:nvSpPr>
          <p:spPr>
            <a:xfrm>
              <a:off x="3690354" y="2542751"/>
              <a:ext cx="61625" cy="38283"/>
            </a:xfrm>
            <a:custGeom>
              <a:avLst/>
              <a:gdLst>
                <a:gd name="connsiteX0" fmla="*/ 14288 w 62864"/>
                <a:gd name="connsiteY0" fmla="*/ 10477 h 39052"/>
                <a:gd name="connsiteX1" fmla="*/ 6667 w 62864"/>
                <a:gd name="connsiteY1" fmla="*/ 18002 h 39052"/>
                <a:gd name="connsiteX2" fmla="*/ 3810 w 62864"/>
                <a:gd name="connsiteY2" fmla="*/ 20860 h 39052"/>
                <a:gd name="connsiteX3" fmla="*/ 0 w 62864"/>
                <a:gd name="connsiteY3" fmla="*/ 24765 h 39052"/>
                <a:gd name="connsiteX4" fmla="*/ 10477 w 62864"/>
                <a:gd name="connsiteY4" fmla="*/ 31432 h 39052"/>
                <a:gd name="connsiteX5" fmla="*/ 17145 w 62864"/>
                <a:gd name="connsiteY5" fmla="*/ 39052 h 39052"/>
                <a:gd name="connsiteX6" fmla="*/ 39052 w 62864"/>
                <a:gd name="connsiteY6" fmla="*/ 31432 h 39052"/>
                <a:gd name="connsiteX7" fmla="*/ 52388 w 62864"/>
                <a:gd name="connsiteY7" fmla="*/ 20860 h 39052"/>
                <a:gd name="connsiteX8" fmla="*/ 62865 w 62864"/>
                <a:gd name="connsiteY8" fmla="*/ 6572 h 39052"/>
                <a:gd name="connsiteX9" fmla="*/ 60008 w 62864"/>
                <a:gd name="connsiteY9" fmla="*/ 0 h 39052"/>
                <a:gd name="connsiteX10" fmla="*/ 39052 w 62864"/>
                <a:gd name="connsiteY10" fmla="*/ 0 h 39052"/>
                <a:gd name="connsiteX11" fmla="*/ 14288 w 62864"/>
                <a:gd name="connsiteY11" fmla="*/ 10477 h 39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2864" h="39052">
                  <a:moveTo>
                    <a:pt x="14288" y="10477"/>
                  </a:moveTo>
                  <a:lnTo>
                    <a:pt x="6667" y="18002"/>
                  </a:lnTo>
                  <a:lnTo>
                    <a:pt x="3810" y="20860"/>
                  </a:lnTo>
                  <a:lnTo>
                    <a:pt x="0" y="24765"/>
                  </a:lnTo>
                  <a:lnTo>
                    <a:pt x="10477" y="31432"/>
                  </a:lnTo>
                  <a:lnTo>
                    <a:pt x="17145" y="39052"/>
                  </a:lnTo>
                  <a:lnTo>
                    <a:pt x="39052" y="31432"/>
                  </a:lnTo>
                  <a:lnTo>
                    <a:pt x="52388" y="20860"/>
                  </a:lnTo>
                  <a:lnTo>
                    <a:pt x="62865" y="6572"/>
                  </a:lnTo>
                  <a:lnTo>
                    <a:pt x="60008" y="0"/>
                  </a:lnTo>
                  <a:lnTo>
                    <a:pt x="39052" y="0"/>
                  </a:lnTo>
                  <a:lnTo>
                    <a:pt x="14288" y="1047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87" name="Freeform: Shape 3886">
              <a:extLst>
                <a:ext uri="{FF2B5EF4-FFF2-40B4-BE49-F238E27FC236}">
                  <a16:creationId xmlns:a16="http://schemas.microsoft.com/office/drawing/2014/main" id="{D4CD2D4E-2116-D92B-E27F-FB578882CD7D}"/>
                </a:ext>
              </a:extLst>
            </p:cNvPr>
            <p:cNvSpPr/>
            <p:nvPr/>
          </p:nvSpPr>
          <p:spPr>
            <a:xfrm>
              <a:off x="3796798" y="2567028"/>
              <a:ext cx="28012" cy="38189"/>
            </a:xfrm>
            <a:custGeom>
              <a:avLst/>
              <a:gdLst>
                <a:gd name="connsiteX0" fmla="*/ 28575 w 28575"/>
                <a:gd name="connsiteY0" fmla="*/ 3810 h 38957"/>
                <a:gd name="connsiteX1" fmla="*/ 14288 w 28575"/>
                <a:gd name="connsiteY1" fmla="*/ 0 h 38957"/>
                <a:gd name="connsiteX2" fmla="*/ 3810 w 28575"/>
                <a:gd name="connsiteY2" fmla="*/ 10382 h 38957"/>
                <a:gd name="connsiteX3" fmla="*/ 0 w 28575"/>
                <a:gd name="connsiteY3" fmla="*/ 24670 h 38957"/>
                <a:gd name="connsiteX4" fmla="*/ 14288 w 28575"/>
                <a:gd name="connsiteY4" fmla="*/ 38957 h 38957"/>
                <a:gd name="connsiteX5" fmla="*/ 28575 w 28575"/>
                <a:gd name="connsiteY5" fmla="*/ 3810 h 38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38957">
                  <a:moveTo>
                    <a:pt x="28575" y="3810"/>
                  </a:moveTo>
                  <a:lnTo>
                    <a:pt x="14288" y="0"/>
                  </a:lnTo>
                  <a:lnTo>
                    <a:pt x="3810" y="10382"/>
                  </a:lnTo>
                  <a:lnTo>
                    <a:pt x="0" y="24670"/>
                  </a:lnTo>
                  <a:lnTo>
                    <a:pt x="14288" y="38957"/>
                  </a:lnTo>
                  <a:lnTo>
                    <a:pt x="28575" y="381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88" name="Freeform: Shape 3887">
              <a:extLst>
                <a:ext uri="{FF2B5EF4-FFF2-40B4-BE49-F238E27FC236}">
                  <a16:creationId xmlns:a16="http://schemas.microsoft.com/office/drawing/2014/main" id="{7A022430-17FD-E3F7-1717-E6804E513D26}"/>
                </a:ext>
              </a:extLst>
            </p:cNvPr>
            <p:cNvSpPr/>
            <p:nvPr/>
          </p:nvSpPr>
          <p:spPr>
            <a:xfrm>
              <a:off x="2848135" y="1785493"/>
              <a:ext cx="37349" cy="24277"/>
            </a:xfrm>
            <a:custGeom>
              <a:avLst/>
              <a:gdLst>
                <a:gd name="connsiteX0" fmla="*/ 17145 w 38100"/>
                <a:gd name="connsiteY0" fmla="*/ 24765 h 24765"/>
                <a:gd name="connsiteX1" fmla="*/ 38100 w 38100"/>
                <a:gd name="connsiteY1" fmla="*/ 14288 h 24765"/>
                <a:gd name="connsiteX2" fmla="*/ 27622 w 38100"/>
                <a:gd name="connsiteY2" fmla="*/ 3810 h 24765"/>
                <a:gd name="connsiteX3" fmla="*/ 13335 w 38100"/>
                <a:gd name="connsiteY3" fmla="*/ 0 h 24765"/>
                <a:gd name="connsiteX4" fmla="*/ 0 w 38100"/>
                <a:gd name="connsiteY4" fmla="*/ 3810 h 24765"/>
                <a:gd name="connsiteX5" fmla="*/ 2857 w 38100"/>
                <a:gd name="connsiteY5" fmla="*/ 14288 h 24765"/>
                <a:gd name="connsiteX6" fmla="*/ 17145 w 38100"/>
                <a:gd name="connsiteY6" fmla="*/ 24765 h 24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100" h="24765">
                  <a:moveTo>
                    <a:pt x="17145" y="24765"/>
                  </a:moveTo>
                  <a:lnTo>
                    <a:pt x="38100" y="14288"/>
                  </a:lnTo>
                  <a:lnTo>
                    <a:pt x="27622" y="3810"/>
                  </a:lnTo>
                  <a:lnTo>
                    <a:pt x="13335" y="0"/>
                  </a:lnTo>
                  <a:lnTo>
                    <a:pt x="0" y="3810"/>
                  </a:lnTo>
                  <a:lnTo>
                    <a:pt x="2857" y="14288"/>
                  </a:lnTo>
                  <a:lnTo>
                    <a:pt x="17145" y="2476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89" name="Freeform: Shape 3888">
              <a:extLst>
                <a:ext uri="{FF2B5EF4-FFF2-40B4-BE49-F238E27FC236}">
                  <a16:creationId xmlns:a16="http://schemas.microsoft.com/office/drawing/2014/main" id="{B041F239-0960-D687-173D-5B7E49FF1D3A}"/>
                </a:ext>
              </a:extLst>
            </p:cNvPr>
            <p:cNvSpPr/>
            <p:nvPr/>
          </p:nvSpPr>
          <p:spPr>
            <a:xfrm>
              <a:off x="3952731" y="2304648"/>
              <a:ext cx="34547" cy="27078"/>
            </a:xfrm>
            <a:custGeom>
              <a:avLst/>
              <a:gdLst>
                <a:gd name="connsiteX0" fmla="*/ 27622 w 35242"/>
                <a:gd name="connsiteY0" fmla="*/ 27623 h 27622"/>
                <a:gd name="connsiteX1" fmla="*/ 35242 w 35242"/>
                <a:gd name="connsiteY1" fmla="*/ 20860 h 27622"/>
                <a:gd name="connsiteX2" fmla="*/ 27622 w 35242"/>
                <a:gd name="connsiteY2" fmla="*/ 10382 h 27622"/>
                <a:gd name="connsiteX3" fmla="*/ 14288 w 35242"/>
                <a:gd name="connsiteY3" fmla="*/ 0 h 27622"/>
                <a:gd name="connsiteX4" fmla="*/ 0 w 35242"/>
                <a:gd name="connsiteY4" fmla="*/ 2857 h 27622"/>
                <a:gd name="connsiteX5" fmla="*/ 0 w 35242"/>
                <a:gd name="connsiteY5" fmla="*/ 17145 h 27622"/>
                <a:gd name="connsiteX6" fmla="*/ 10477 w 35242"/>
                <a:gd name="connsiteY6" fmla="*/ 24670 h 27622"/>
                <a:gd name="connsiteX7" fmla="*/ 27622 w 35242"/>
                <a:gd name="connsiteY7" fmla="*/ 27623 h 27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42" h="27622">
                  <a:moveTo>
                    <a:pt x="27622" y="27623"/>
                  </a:moveTo>
                  <a:lnTo>
                    <a:pt x="35242" y="20860"/>
                  </a:lnTo>
                  <a:lnTo>
                    <a:pt x="27622" y="10382"/>
                  </a:lnTo>
                  <a:lnTo>
                    <a:pt x="14288" y="0"/>
                  </a:lnTo>
                  <a:lnTo>
                    <a:pt x="0" y="2857"/>
                  </a:lnTo>
                  <a:lnTo>
                    <a:pt x="0" y="17145"/>
                  </a:lnTo>
                  <a:lnTo>
                    <a:pt x="10477" y="24670"/>
                  </a:lnTo>
                  <a:lnTo>
                    <a:pt x="27622" y="2762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90" name="Freeform: Shape 3889">
              <a:extLst>
                <a:ext uri="{FF2B5EF4-FFF2-40B4-BE49-F238E27FC236}">
                  <a16:creationId xmlns:a16="http://schemas.microsoft.com/office/drawing/2014/main" id="{FA3A2C40-5E01-678D-BC2C-C325F58300D3}"/>
                </a:ext>
              </a:extLst>
            </p:cNvPr>
            <p:cNvSpPr/>
            <p:nvPr/>
          </p:nvSpPr>
          <p:spPr>
            <a:xfrm>
              <a:off x="4239383" y="3054436"/>
              <a:ext cx="65361" cy="30813"/>
            </a:xfrm>
            <a:custGeom>
              <a:avLst/>
              <a:gdLst>
                <a:gd name="connsiteX0" fmla="*/ 14288 w 66675"/>
                <a:gd name="connsiteY0" fmla="*/ 0 h 31432"/>
                <a:gd name="connsiteX1" fmla="*/ 0 w 66675"/>
                <a:gd name="connsiteY1" fmla="*/ 3715 h 31432"/>
                <a:gd name="connsiteX2" fmla="*/ 14288 w 66675"/>
                <a:gd name="connsiteY2" fmla="*/ 14288 h 31432"/>
                <a:gd name="connsiteX3" fmla="*/ 31433 w 66675"/>
                <a:gd name="connsiteY3" fmla="*/ 24670 h 31432"/>
                <a:gd name="connsiteX4" fmla="*/ 60008 w 66675"/>
                <a:gd name="connsiteY4" fmla="*/ 31432 h 31432"/>
                <a:gd name="connsiteX5" fmla="*/ 66675 w 66675"/>
                <a:gd name="connsiteY5" fmla="*/ 20955 h 31432"/>
                <a:gd name="connsiteX6" fmla="*/ 38100 w 66675"/>
                <a:gd name="connsiteY6" fmla="*/ 3715 h 31432"/>
                <a:gd name="connsiteX7" fmla="*/ 24765 w 66675"/>
                <a:gd name="connsiteY7" fmla="*/ 0 h 31432"/>
                <a:gd name="connsiteX8" fmla="*/ 14288 w 66675"/>
                <a:gd name="connsiteY8" fmla="*/ 0 h 31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6675" h="31432">
                  <a:moveTo>
                    <a:pt x="14288" y="0"/>
                  </a:moveTo>
                  <a:lnTo>
                    <a:pt x="0" y="3715"/>
                  </a:lnTo>
                  <a:lnTo>
                    <a:pt x="14288" y="14288"/>
                  </a:lnTo>
                  <a:lnTo>
                    <a:pt x="31433" y="24670"/>
                  </a:lnTo>
                  <a:lnTo>
                    <a:pt x="60008" y="31432"/>
                  </a:lnTo>
                  <a:lnTo>
                    <a:pt x="66675" y="20955"/>
                  </a:lnTo>
                  <a:lnTo>
                    <a:pt x="38100" y="3715"/>
                  </a:lnTo>
                  <a:lnTo>
                    <a:pt x="24765" y="0"/>
                  </a:lnTo>
                  <a:lnTo>
                    <a:pt x="14288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91" name="Freeform: Shape 3890">
              <a:extLst>
                <a:ext uri="{FF2B5EF4-FFF2-40B4-BE49-F238E27FC236}">
                  <a16:creationId xmlns:a16="http://schemas.microsoft.com/office/drawing/2014/main" id="{3A7EAE3B-EBE6-33E3-B42E-7DC2C355CA5F}"/>
                </a:ext>
              </a:extLst>
            </p:cNvPr>
            <p:cNvSpPr/>
            <p:nvPr/>
          </p:nvSpPr>
          <p:spPr>
            <a:xfrm>
              <a:off x="2488651" y="3019887"/>
              <a:ext cx="124185" cy="85903"/>
            </a:xfrm>
            <a:custGeom>
              <a:avLst/>
              <a:gdLst>
                <a:gd name="connsiteX0" fmla="*/ 99060 w 126682"/>
                <a:gd name="connsiteY0" fmla="*/ 87630 h 87630"/>
                <a:gd name="connsiteX1" fmla="*/ 116205 w 126682"/>
                <a:gd name="connsiteY1" fmla="*/ 84773 h 87630"/>
                <a:gd name="connsiteX2" fmla="*/ 126682 w 126682"/>
                <a:gd name="connsiteY2" fmla="*/ 80963 h 87630"/>
                <a:gd name="connsiteX3" fmla="*/ 123825 w 126682"/>
                <a:gd name="connsiteY3" fmla="*/ 74200 h 87630"/>
                <a:gd name="connsiteX4" fmla="*/ 116205 w 126682"/>
                <a:gd name="connsiteY4" fmla="*/ 63818 h 87630"/>
                <a:gd name="connsiteX5" fmla="*/ 99060 w 126682"/>
                <a:gd name="connsiteY5" fmla="*/ 52388 h 87630"/>
                <a:gd name="connsiteX6" fmla="*/ 88583 w 126682"/>
                <a:gd name="connsiteY6" fmla="*/ 45625 h 87630"/>
                <a:gd name="connsiteX7" fmla="*/ 74295 w 126682"/>
                <a:gd name="connsiteY7" fmla="*/ 28575 h 87630"/>
                <a:gd name="connsiteX8" fmla="*/ 56198 w 126682"/>
                <a:gd name="connsiteY8" fmla="*/ 17050 h 87630"/>
                <a:gd name="connsiteX9" fmla="*/ 42863 w 126682"/>
                <a:gd name="connsiteY9" fmla="*/ 10382 h 87630"/>
                <a:gd name="connsiteX10" fmla="*/ 20955 w 126682"/>
                <a:gd name="connsiteY10" fmla="*/ 3810 h 87630"/>
                <a:gd name="connsiteX11" fmla="*/ 0 w 126682"/>
                <a:gd name="connsiteY11" fmla="*/ 0 h 87630"/>
                <a:gd name="connsiteX12" fmla="*/ 0 w 126682"/>
                <a:gd name="connsiteY12" fmla="*/ 17050 h 87630"/>
                <a:gd name="connsiteX13" fmla="*/ 10477 w 126682"/>
                <a:gd name="connsiteY13" fmla="*/ 24670 h 87630"/>
                <a:gd name="connsiteX14" fmla="*/ 24765 w 126682"/>
                <a:gd name="connsiteY14" fmla="*/ 31337 h 87630"/>
                <a:gd name="connsiteX15" fmla="*/ 35243 w 126682"/>
                <a:gd name="connsiteY15" fmla="*/ 31337 h 87630"/>
                <a:gd name="connsiteX16" fmla="*/ 39052 w 126682"/>
                <a:gd name="connsiteY16" fmla="*/ 41910 h 87630"/>
                <a:gd name="connsiteX17" fmla="*/ 49530 w 126682"/>
                <a:gd name="connsiteY17" fmla="*/ 41910 h 87630"/>
                <a:gd name="connsiteX18" fmla="*/ 60008 w 126682"/>
                <a:gd name="connsiteY18" fmla="*/ 56198 h 87630"/>
                <a:gd name="connsiteX19" fmla="*/ 70485 w 126682"/>
                <a:gd name="connsiteY19" fmla="*/ 66675 h 87630"/>
                <a:gd name="connsiteX20" fmla="*/ 80963 w 126682"/>
                <a:gd name="connsiteY20" fmla="*/ 66675 h 87630"/>
                <a:gd name="connsiteX21" fmla="*/ 80963 w 126682"/>
                <a:gd name="connsiteY21" fmla="*/ 80963 h 87630"/>
                <a:gd name="connsiteX22" fmla="*/ 99060 w 126682"/>
                <a:gd name="connsiteY22" fmla="*/ 87630 h 87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26682" h="87630">
                  <a:moveTo>
                    <a:pt x="99060" y="87630"/>
                  </a:moveTo>
                  <a:lnTo>
                    <a:pt x="116205" y="84773"/>
                  </a:lnTo>
                  <a:lnTo>
                    <a:pt x="126682" y="80963"/>
                  </a:lnTo>
                  <a:lnTo>
                    <a:pt x="123825" y="74200"/>
                  </a:lnTo>
                  <a:lnTo>
                    <a:pt x="116205" y="63818"/>
                  </a:lnTo>
                  <a:lnTo>
                    <a:pt x="99060" y="52388"/>
                  </a:lnTo>
                  <a:lnTo>
                    <a:pt x="88583" y="45625"/>
                  </a:lnTo>
                  <a:lnTo>
                    <a:pt x="74295" y="28575"/>
                  </a:lnTo>
                  <a:lnTo>
                    <a:pt x="56198" y="17050"/>
                  </a:lnTo>
                  <a:lnTo>
                    <a:pt x="42863" y="10382"/>
                  </a:lnTo>
                  <a:lnTo>
                    <a:pt x="20955" y="3810"/>
                  </a:lnTo>
                  <a:lnTo>
                    <a:pt x="0" y="0"/>
                  </a:lnTo>
                  <a:lnTo>
                    <a:pt x="0" y="17050"/>
                  </a:lnTo>
                  <a:lnTo>
                    <a:pt x="10477" y="24670"/>
                  </a:lnTo>
                  <a:lnTo>
                    <a:pt x="24765" y="31337"/>
                  </a:lnTo>
                  <a:lnTo>
                    <a:pt x="35243" y="31337"/>
                  </a:lnTo>
                  <a:lnTo>
                    <a:pt x="39052" y="41910"/>
                  </a:lnTo>
                  <a:lnTo>
                    <a:pt x="49530" y="41910"/>
                  </a:lnTo>
                  <a:lnTo>
                    <a:pt x="60008" y="56198"/>
                  </a:lnTo>
                  <a:lnTo>
                    <a:pt x="70485" y="66675"/>
                  </a:lnTo>
                  <a:lnTo>
                    <a:pt x="80963" y="66675"/>
                  </a:lnTo>
                  <a:lnTo>
                    <a:pt x="80963" y="80963"/>
                  </a:lnTo>
                  <a:lnTo>
                    <a:pt x="99060" y="8763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92" name="Freeform: Shape 3891">
              <a:extLst>
                <a:ext uri="{FF2B5EF4-FFF2-40B4-BE49-F238E27FC236}">
                  <a16:creationId xmlns:a16="http://schemas.microsoft.com/office/drawing/2014/main" id="{F4C56740-087D-4C95-685F-C96C39FBE3B5}"/>
                </a:ext>
              </a:extLst>
            </p:cNvPr>
            <p:cNvSpPr/>
            <p:nvPr/>
          </p:nvSpPr>
          <p:spPr>
            <a:xfrm>
              <a:off x="1766881" y="2746304"/>
              <a:ext cx="66294" cy="45659"/>
            </a:xfrm>
            <a:custGeom>
              <a:avLst/>
              <a:gdLst>
                <a:gd name="connsiteX0" fmla="*/ 49530 w 67627"/>
                <a:gd name="connsiteY0" fmla="*/ 3715 h 46577"/>
                <a:gd name="connsiteX1" fmla="*/ 35243 w 67627"/>
                <a:gd name="connsiteY1" fmla="*/ 7620 h 46577"/>
                <a:gd name="connsiteX2" fmla="*/ 24765 w 67627"/>
                <a:gd name="connsiteY2" fmla="*/ 11430 h 46577"/>
                <a:gd name="connsiteX3" fmla="*/ 24765 w 67627"/>
                <a:gd name="connsiteY3" fmla="*/ 24670 h 46577"/>
                <a:gd name="connsiteX4" fmla="*/ 14288 w 67627"/>
                <a:gd name="connsiteY4" fmla="*/ 21907 h 46577"/>
                <a:gd name="connsiteX5" fmla="*/ 7620 w 67627"/>
                <a:gd name="connsiteY5" fmla="*/ 14288 h 46577"/>
                <a:gd name="connsiteX6" fmla="*/ 0 w 67627"/>
                <a:gd name="connsiteY6" fmla="*/ 21907 h 46577"/>
                <a:gd name="connsiteX7" fmla="*/ 3810 w 67627"/>
                <a:gd name="connsiteY7" fmla="*/ 35242 h 46577"/>
                <a:gd name="connsiteX8" fmla="*/ 14288 w 67627"/>
                <a:gd name="connsiteY8" fmla="*/ 46577 h 46577"/>
                <a:gd name="connsiteX9" fmla="*/ 45720 w 67627"/>
                <a:gd name="connsiteY9" fmla="*/ 42863 h 46577"/>
                <a:gd name="connsiteX10" fmla="*/ 57150 w 67627"/>
                <a:gd name="connsiteY10" fmla="*/ 28575 h 46577"/>
                <a:gd name="connsiteX11" fmla="*/ 67627 w 67627"/>
                <a:gd name="connsiteY11" fmla="*/ 18002 h 46577"/>
                <a:gd name="connsiteX12" fmla="*/ 60007 w 67627"/>
                <a:gd name="connsiteY12" fmla="*/ 0 h 46577"/>
                <a:gd name="connsiteX13" fmla="*/ 49530 w 67627"/>
                <a:gd name="connsiteY13" fmla="*/ 3715 h 46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7627" h="46577">
                  <a:moveTo>
                    <a:pt x="49530" y="3715"/>
                  </a:moveTo>
                  <a:lnTo>
                    <a:pt x="35243" y="7620"/>
                  </a:lnTo>
                  <a:lnTo>
                    <a:pt x="24765" y="11430"/>
                  </a:lnTo>
                  <a:lnTo>
                    <a:pt x="24765" y="24670"/>
                  </a:lnTo>
                  <a:lnTo>
                    <a:pt x="14288" y="21907"/>
                  </a:lnTo>
                  <a:lnTo>
                    <a:pt x="7620" y="14288"/>
                  </a:lnTo>
                  <a:lnTo>
                    <a:pt x="0" y="21907"/>
                  </a:lnTo>
                  <a:lnTo>
                    <a:pt x="3810" y="35242"/>
                  </a:lnTo>
                  <a:lnTo>
                    <a:pt x="14288" y="46577"/>
                  </a:lnTo>
                  <a:lnTo>
                    <a:pt x="45720" y="42863"/>
                  </a:lnTo>
                  <a:lnTo>
                    <a:pt x="57150" y="28575"/>
                  </a:lnTo>
                  <a:lnTo>
                    <a:pt x="67627" y="18002"/>
                  </a:lnTo>
                  <a:lnTo>
                    <a:pt x="60007" y="0"/>
                  </a:lnTo>
                  <a:lnTo>
                    <a:pt x="49530" y="371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93" name="Freeform: Shape 3892">
              <a:extLst>
                <a:ext uri="{FF2B5EF4-FFF2-40B4-BE49-F238E27FC236}">
                  <a16:creationId xmlns:a16="http://schemas.microsoft.com/office/drawing/2014/main" id="{27205853-C86F-CD9D-4004-C1476D9F3C6E}"/>
                </a:ext>
              </a:extLst>
            </p:cNvPr>
            <p:cNvSpPr/>
            <p:nvPr/>
          </p:nvSpPr>
          <p:spPr>
            <a:xfrm>
              <a:off x="1422337" y="2653771"/>
              <a:ext cx="44818" cy="27171"/>
            </a:xfrm>
            <a:custGeom>
              <a:avLst/>
              <a:gdLst>
                <a:gd name="connsiteX0" fmla="*/ 13335 w 45719"/>
                <a:gd name="connsiteY0" fmla="*/ 0 h 27717"/>
                <a:gd name="connsiteX1" fmla="*/ 2857 w 45719"/>
                <a:gd name="connsiteY1" fmla="*/ 0 h 27717"/>
                <a:gd name="connsiteX2" fmla="*/ 0 w 45719"/>
                <a:gd name="connsiteY2" fmla="*/ 10573 h 27717"/>
                <a:gd name="connsiteX3" fmla="*/ 6668 w 45719"/>
                <a:gd name="connsiteY3" fmla="*/ 17145 h 27717"/>
                <a:gd name="connsiteX4" fmla="*/ 17145 w 45719"/>
                <a:gd name="connsiteY4" fmla="*/ 27718 h 27717"/>
                <a:gd name="connsiteX5" fmla="*/ 24765 w 45719"/>
                <a:gd name="connsiteY5" fmla="*/ 23813 h 27717"/>
                <a:gd name="connsiteX6" fmla="*/ 38100 w 45719"/>
                <a:gd name="connsiteY6" fmla="*/ 27718 h 27717"/>
                <a:gd name="connsiteX7" fmla="*/ 45720 w 45719"/>
                <a:gd name="connsiteY7" fmla="*/ 13430 h 27717"/>
                <a:gd name="connsiteX8" fmla="*/ 45720 w 45719"/>
                <a:gd name="connsiteY8" fmla="*/ 6763 h 27717"/>
                <a:gd name="connsiteX9" fmla="*/ 38100 w 45719"/>
                <a:gd name="connsiteY9" fmla="*/ 0 h 27717"/>
                <a:gd name="connsiteX10" fmla="*/ 13335 w 45719"/>
                <a:gd name="connsiteY10" fmla="*/ 0 h 27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719" h="27717">
                  <a:moveTo>
                    <a:pt x="13335" y="0"/>
                  </a:moveTo>
                  <a:lnTo>
                    <a:pt x="2857" y="0"/>
                  </a:lnTo>
                  <a:lnTo>
                    <a:pt x="0" y="10573"/>
                  </a:lnTo>
                  <a:lnTo>
                    <a:pt x="6668" y="17145"/>
                  </a:lnTo>
                  <a:lnTo>
                    <a:pt x="17145" y="27718"/>
                  </a:lnTo>
                  <a:lnTo>
                    <a:pt x="24765" y="23813"/>
                  </a:lnTo>
                  <a:lnTo>
                    <a:pt x="38100" y="27718"/>
                  </a:lnTo>
                  <a:lnTo>
                    <a:pt x="45720" y="13430"/>
                  </a:lnTo>
                  <a:lnTo>
                    <a:pt x="45720" y="6763"/>
                  </a:lnTo>
                  <a:lnTo>
                    <a:pt x="38100" y="0"/>
                  </a:lnTo>
                  <a:lnTo>
                    <a:pt x="13335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94" name="Freeform: Shape 3893">
              <a:extLst>
                <a:ext uri="{FF2B5EF4-FFF2-40B4-BE49-F238E27FC236}">
                  <a16:creationId xmlns:a16="http://schemas.microsoft.com/office/drawing/2014/main" id="{9A32CD23-5A32-9284-CF9E-A46F70279208}"/>
                </a:ext>
              </a:extLst>
            </p:cNvPr>
            <p:cNvSpPr/>
            <p:nvPr/>
          </p:nvSpPr>
          <p:spPr>
            <a:xfrm>
              <a:off x="2268292" y="2743502"/>
              <a:ext cx="41084" cy="69002"/>
            </a:xfrm>
            <a:custGeom>
              <a:avLst/>
              <a:gdLst>
                <a:gd name="connsiteX0" fmla="*/ 27623 w 41910"/>
                <a:gd name="connsiteY0" fmla="*/ 10477 h 70389"/>
                <a:gd name="connsiteX1" fmla="*/ 17145 w 41910"/>
                <a:gd name="connsiteY1" fmla="*/ 2858 h 70389"/>
                <a:gd name="connsiteX2" fmla="*/ 0 w 41910"/>
                <a:gd name="connsiteY2" fmla="*/ 0 h 70389"/>
                <a:gd name="connsiteX3" fmla="*/ 0 w 41910"/>
                <a:gd name="connsiteY3" fmla="*/ 14288 h 70389"/>
                <a:gd name="connsiteX4" fmla="*/ 6667 w 41910"/>
                <a:gd name="connsiteY4" fmla="*/ 27527 h 70389"/>
                <a:gd name="connsiteX5" fmla="*/ 13335 w 41910"/>
                <a:gd name="connsiteY5" fmla="*/ 38100 h 70389"/>
                <a:gd name="connsiteX6" fmla="*/ 27623 w 41910"/>
                <a:gd name="connsiteY6" fmla="*/ 56102 h 70389"/>
                <a:gd name="connsiteX7" fmla="*/ 41910 w 41910"/>
                <a:gd name="connsiteY7" fmla="*/ 70390 h 70389"/>
                <a:gd name="connsiteX8" fmla="*/ 41910 w 41910"/>
                <a:gd name="connsiteY8" fmla="*/ 52388 h 70389"/>
                <a:gd name="connsiteX9" fmla="*/ 31433 w 41910"/>
                <a:gd name="connsiteY9" fmla="*/ 35147 h 70389"/>
                <a:gd name="connsiteX10" fmla="*/ 27623 w 41910"/>
                <a:gd name="connsiteY10" fmla="*/ 10477 h 703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910" h="70389">
                  <a:moveTo>
                    <a:pt x="27623" y="10477"/>
                  </a:moveTo>
                  <a:lnTo>
                    <a:pt x="17145" y="2858"/>
                  </a:lnTo>
                  <a:lnTo>
                    <a:pt x="0" y="0"/>
                  </a:lnTo>
                  <a:lnTo>
                    <a:pt x="0" y="14288"/>
                  </a:lnTo>
                  <a:lnTo>
                    <a:pt x="6667" y="27527"/>
                  </a:lnTo>
                  <a:lnTo>
                    <a:pt x="13335" y="38100"/>
                  </a:lnTo>
                  <a:lnTo>
                    <a:pt x="27623" y="56102"/>
                  </a:lnTo>
                  <a:lnTo>
                    <a:pt x="41910" y="70390"/>
                  </a:lnTo>
                  <a:lnTo>
                    <a:pt x="41910" y="52388"/>
                  </a:lnTo>
                  <a:lnTo>
                    <a:pt x="31433" y="35147"/>
                  </a:lnTo>
                  <a:lnTo>
                    <a:pt x="27623" y="1047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95" name="Freeform: Shape 3894">
              <a:extLst>
                <a:ext uri="{FF2B5EF4-FFF2-40B4-BE49-F238E27FC236}">
                  <a16:creationId xmlns:a16="http://schemas.microsoft.com/office/drawing/2014/main" id="{351BAD04-6754-51A2-801B-DC350A35D668}"/>
                </a:ext>
              </a:extLst>
            </p:cNvPr>
            <p:cNvSpPr/>
            <p:nvPr/>
          </p:nvSpPr>
          <p:spPr>
            <a:xfrm>
              <a:off x="2343923" y="2812506"/>
              <a:ext cx="38282" cy="65361"/>
            </a:xfrm>
            <a:custGeom>
              <a:avLst/>
              <a:gdLst>
                <a:gd name="connsiteX0" fmla="*/ 10477 w 39052"/>
                <a:gd name="connsiteY0" fmla="*/ 42005 h 66675"/>
                <a:gd name="connsiteX1" fmla="*/ 20955 w 39052"/>
                <a:gd name="connsiteY1" fmla="*/ 52388 h 66675"/>
                <a:gd name="connsiteX2" fmla="*/ 31433 w 39052"/>
                <a:gd name="connsiteY2" fmla="*/ 66675 h 66675"/>
                <a:gd name="connsiteX3" fmla="*/ 39052 w 39052"/>
                <a:gd name="connsiteY3" fmla="*/ 56293 h 66675"/>
                <a:gd name="connsiteX4" fmla="*/ 39052 w 39052"/>
                <a:gd name="connsiteY4" fmla="*/ 42005 h 66675"/>
                <a:gd name="connsiteX5" fmla="*/ 24765 w 39052"/>
                <a:gd name="connsiteY5" fmla="*/ 24860 h 66675"/>
                <a:gd name="connsiteX6" fmla="*/ 14288 w 39052"/>
                <a:gd name="connsiteY6" fmla="*/ 3905 h 66675"/>
                <a:gd name="connsiteX7" fmla="*/ 0 w 39052"/>
                <a:gd name="connsiteY7" fmla="*/ 0 h 66675"/>
                <a:gd name="connsiteX8" fmla="*/ 0 w 39052"/>
                <a:gd name="connsiteY8" fmla="*/ 14288 h 66675"/>
                <a:gd name="connsiteX9" fmla="*/ 6668 w 39052"/>
                <a:gd name="connsiteY9" fmla="*/ 27718 h 66675"/>
                <a:gd name="connsiteX10" fmla="*/ 10477 w 39052"/>
                <a:gd name="connsiteY10" fmla="*/ 42005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9052" h="66675">
                  <a:moveTo>
                    <a:pt x="10477" y="42005"/>
                  </a:moveTo>
                  <a:lnTo>
                    <a:pt x="20955" y="52388"/>
                  </a:lnTo>
                  <a:lnTo>
                    <a:pt x="31433" y="66675"/>
                  </a:lnTo>
                  <a:lnTo>
                    <a:pt x="39052" y="56293"/>
                  </a:lnTo>
                  <a:lnTo>
                    <a:pt x="39052" y="42005"/>
                  </a:lnTo>
                  <a:lnTo>
                    <a:pt x="24765" y="24860"/>
                  </a:lnTo>
                  <a:lnTo>
                    <a:pt x="14288" y="3905"/>
                  </a:lnTo>
                  <a:lnTo>
                    <a:pt x="0" y="0"/>
                  </a:lnTo>
                  <a:lnTo>
                    <a:pt x="0" y="14288"/>
                  </a:lnTo>
                  <a:lnTo>
                    <a:pt x="6668" y="27718"/>
                  </a:lnTo>
                  <a:lnTo>
                    <a:pt x="10477" y="4200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96" name="Freeform: Shape 3895">
              <a:extLst>
                <a:ext uri="{FF2B5EF4-FFF2-40B4-BE49-F238E27FC236}">
                  <a16:creationId xmlns:a16="http://schemas.microsoft.com/office/drawing/2014/main" id="{524BE507-26FB-79C4-6EC8-3B5C94338075}"/>
                </a:ext>
              </a:extLst>
            </p:cNvPr>
            <p:cNvSpPr/>
            <p:nvPr/>
          </p:nvSpPr>
          <p:spPr>
            <a:xfrm>
              <a:off x="2350459" y="2898502"/>
              <a:ext cx="44818" cy="58731"/>
            </a:xfrm>
            <a:custGeom>
              <a:avLst/>
              <a:gdLst>
                <a:gd name="connsiteX0" fmla="*/ 32385 w 45719"/>
                <a:gd name="connsiteY0" fmla="*/ 28575 h 59912"/>
                <a:gd name="connsiteX1" fmla="*/ 35242 w 45719"/>
                <a:gd name="connsiteY1" fmla="*/ 14288 h 59912"/>
                <a:gd name="connsiteX2" fmla="*/ 32385 w 45719"/>
                <a:gd name="connsiteY2" fmla="*/ 7525 h 59912"/>
                <a:gd name="connsiteX3" fmla="*/ 18097 w 45719"/>
                <a:gd name="connsiteY3" fmla="*/ 7525 h 59912"/>
                <a:gd name="connsiteX4" fmla="*/ 0 w 45719"/>
                <a:gd name="connsiteY4" fmla="*/ 0 h 59912"/>
                <a:gd name="connsiteX5" fmla="*/ 3810 w 45719"/>
                <a:gd name="connsiteY5" fmla="*/ 21812 h 59912"/>
                <a:gd name="connsiteX6" fmla="*/ 14288 w 45719"/>
                <a:gd name="connsiteY6" fmla="*/ 35243 h 59912"/>
                <a:gd name="connsiteX7" fmla="*/ 32385 w 45719"/>
                <a:gd name="connsiteY7" fmla="*/ 57150 h 59912"/>
                <a:gd name="connsiteX8" fmla="*/ 45720 w 45719"/>
                <a:gd name="connsiteY8" fmla="*/ 59912 h 59912"/>
                <a:gd name="connsiteX9" fmla="*/ 39052 w 45719"/>
                <a:gd name="connsiteY9" fmla="*/ 38957 h 59912"/>
                <a:gd name="connsiteX10" fmla="*/ 32385 w 45719"/>
                <a:gd name="connsiteY10" fmla="*/ 28575 h 59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719" h="59912">
                  <a:moveTo>
                    <a:pt x="32385" y="28575"/>
                  </a:moveTo>
                  <a:lnTo>
                    <a:pt x="35242" y="14288"/>
                  </a:lnTo>
                  <a:lnTo>
                    <a:pt x="32385" y="7525"/>
                  </a:lnTo>
                  <a:lnTo>
                    <a:pt x="18097" y="7525"/>
                  </a:lnTo>
                  <a:lnTo>
                    <a:pt x="0" y="0"/>
                  </a:lnTo>
                  <a:lnTo>
                    <a:pt x="3810" y="21812"/>
                  </a:lnTo>
                  <a:lnTo>
                    <a:pt x="14288" y="35243"/>
                  </a:lnTo>
                  <a:lnTo>
                    <a:pt x="32385" y="57150"/>
                  </a:lnTo>
                  <a:lnTo>
                    <a:pt x="45720" y="59912"/>
                  </a:lnTo>
                  <a:lnTo>
                    <a:pt x="39052" y="38957"/>
                  </a:lnTo>
                  <a:lnTo>
                    <a:pt x="32385" y="2857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97" name="Freeform: Shape 3896">
              <a:extLst>
                <a:ext uri="{FF2B5EF4-FFF2-40B4-BE49-F238E27FC236}">
                  <a16:creationId xmlns:a16="http://schemas.microsoft.com/office/drawing/2014/main" id="{0CE47DEF-1001-2876-29E2-F84FF992683F}"/>
                </a:ext>
              </a:extLst>
            </p:cNvPr>
            <p:cNvSpPr/>
            <p:nvPr/>
          </p:nvSpPr>
          <p:spPr>
            <a:xfrm>
              <a:off x="1481162" y="2857325"/>
              <a:ext cx="55089" cy="34548"/>
            </a:xfrm>
            <a:custGeom>
              <a:avLst/>
              <a:gdLst>
                <a:gd name="connsiteX0" fmla="*/ 23813 w 56197"/>
                <a:gd name="connsiteY0" fmla="*/ 6667 h 35242"/>
                <a:gd name="connsiteX1" fmla="*/ 10477 w 56197"/>
                <a:gd name="connsiteY1" fmla="*/ 14288 h 35242"/>
                <a:gd name="connsiteX2" fmla="*/ 0 w 56197"/>
                <a:gd name="connsiteY2" fmla="*/ 31528 h 35242"/>
                <a:gd name="connsiteX3" fmla="*/ 10477 w 56197"/>
                <a:gd name="connsiteY3" fmla="*/ 35242 h 35242"/>
                <a:gd name="connsiteX4" fmla="*/ 20955 w 56197"/>
                <a:gd name="connsiteY4" fmla="*/ 24860 h 35242"/>
                <a:gd name="connsiteX5" fmla="*/ 38100 w 56197"/>
                <a:gd name="connsiteY5" fmla="*/ 20955 h 35242"/>
                <a:gd name="connsiteX6" fmla="*/ 48578 w 56197"/>
                <a:gd name="connsiteY6" fmla="*/ 17240 h 35242"/>
                <a:gd name="connsiteX7" fmla="*/ 56198 w 56197"/>
                <a:gd name="connsiteY7" fmla="*/ 6667 h 35242"/>
                <a:gd name="connsiteX8" fmla="*/ 45720 w 56197"/>
                <a:gd name="connsiteY8" fmla="*/ 0 h 35242"/>
                <a:gd name="connsiteX9" fmla="*/ 23813 w 56197"/>
                <a:gd name="connsiteY9" fmla="*/ 6667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6197" h="35242">
                  <a:moveTo>
                    <a:pt x="23813" y="6667"/>
                  </a:moveTo>
                  <a:lnTo>
                    <a:pt x="10477" y="14288"/>
                  </a:lnTo>
                  <a:lnTo>
                    <a:pt x="0" y="31528"/>
                  </a:lnTo>
                  <a:lnTo>
                    <a:pt x="10477" y="35242"/>
                  </a:lnTo>
                  <a:lnTo>
                    <a:pt x="20955" y="24860"/>
                  </a:lnTo>
                  <a:lnTo>
                    <a:pt x="38100" y="20955"/>
                  </a:lnTo>
                  <a:lnTo>
                    <a:pt x="48578" y="17240"/>
                  </a:lnTo>
                  <a:lnTo>
                    <a:pt x="56198" y="6667"/>
                  </a:lnTo>
                  <a:lnTo>
                    <a:pt x="45720" y="0"/>
                  </a:lnTo>
                  <a:lnTo>
                    <a:pt x="23813" y="6667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98" name="Freeform: Shape 3897">
              <a:extLst>
                <a:ext uri="{FF2B5EF4-FFF2-40B4-BE49-F238E27FC236}">
                  <a16:creationId xmlns:a16="http://schemas.microsoft.com/office/drawing/2014/main" id="{0A022E6E-FDA7-933B-35F3-68C8A7B0E7B3}"/>
                </a:ext>
              </a:extLst>
            </p:cNvPr>
            <p:cNvSpPr/>
            <p:nvPr/>
          </p:nvSpPr>
          <p:spPr>
            <a:xfrm>
              <a:off x="2302839" y="2739768"/>
              <a:ext cx="27078" cy="52195"/>
            </a:xfrm>
            <a:custGeom>
              <a:avLst/>
              <a:gdLst>
                <a:gd name="connsiteX0" fmla="*/ 17145 w 27622"/>
                <a:gd name="connsiteY0" fmla="*/ 6668 h 53244"/>
                <a:gd name="connsiteX1" fmla="*/ 0 w 27622"/>
                <a:gd name="connsiteY1" fmla="*/ 0 h 53244"/>
                <a:gd name="connsiteX2" fmla="*/ 0 w 27622"/>
                <a:gd name="connsiteY2" fmla="*/ 14288 h 53244"/>
                <a:gd name="connsiteX3" fmla="*/ 6668 w 27622"/>
                <a:gd name="connsiteY3" fmla="*/ 28575 h 53244"/>
                <a:gd name="connsiteX4" fmla="*/ 6668 w 27622"/>
                <a:gd name="connsiteY4" fmla="*/ 38957 h 53244"/>
                <a:gd name="connsiteX5" fmla="*/ 17145 w 27622"/>
                <a:gd name="connsiteY5" fmla="*/ 53245 h 53244"/>
                <a:gd name="connsiteX6" fmla="*/ 23813 w 27622"/>
                <a:gd name="connsiteY6" fmla="*/ 41910 h 53244"/>
                <a:gd name="connsiteX7" fmla="*/ 27623 w 27622"/>
                <a:gd name="connsiteY7" fmla="*/ 28575 h 53244"/>
                <a:gd name="connsiteX8" fmla="*/ 17145 w 27622"/>
                <a:gd name="connsiteY8" fmla="*/ 6668 h 5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622" h="53244">
                  <a:moveTo>
                    <a:pt x="17145" y="6668"/>
                  </a:moveTo>
                  <a:lnTo>
                    <a:pt x="0" y="0"/>
                  </a:lnTo>
                  <a:lnTo>
                    <a:pt x="0" y="14288"/>
                  </a:lnTo>
                  <a:lnTo>
                    <a:pt x="6668" y="28575"/>
                  </a:lnTo>
                  <a:lnTo>
                    <a:pt x="6668" y="38957"/>
                  </a:lnTo>
                  <a:lnTo>
                    <a:pt x="17145" y="53245"/>
                  </a:lnTo>
                  <a:lnTo>
                    <a:pt x="23813" y="41910"/>
                  </a:lnTo>
                  <a:lnTo>
                    <a:pt x="27623" y="28575"/>
                  </a:lnTo>
                  <a:lnTo>
                    <a:pt x="17145" y="666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899" name="Freeform: Shape 3898">
              <a:extLst>
                <a:ext uri="{FF2B5EF4-FFF2-40B4-BE49-F238E27FC236}">
                  <a16:creationId xmlns:a16="http://schemas.microsoft.com/office/drawing/2014/main" id="{C0248B43-D4BF-BB98-A2CB-58FD6E16D61F}"/>
                </a:ext>
              </a:extLst>
            </p:cNvPr>
            <p:cNvSpPr/>
            <p:nvPr/>
          </p:nvSpPr>
          <p:spPr>
            <a:xfrm>
              <a:off x="2385008" y="2829313"/>
              <a:ext cx="24276" cy="34548"/>
            </a:xfrm>
            <a:custGeom>
              <a:avLst/>
              <a:gdLst>
                <a:gd name="connsiteX0" fmla="*/ 24765 w 24764"/>
                <a:gd name="connsiteY0" fmla="*/ 10573 h 35242"/>
                <a:gd name="connsiteX1" fmla="*/ 10477 w 24764"/>
                <a:gd name="connsiteY1" fmla="*/ 7715 h 35242"/>
                <a:gd name="connsiteX2" fmla="*/ 0 w 24764"/>
                <a:gd name="connsiteY2" fmla="*/ 0 h 35242"/>
                <a:gd name="connsiteX3" fmla="*/ 0 w 24764"/>
                <a:gd name="connsiteY3" fmla="*/ 22003 h 35242"/>
                <a:gd name="connsiteX4" fmla="*/ 10477 w 24764"/>
                <a:gd name="connsiteY4" fmla="*/ 35242 h 35242"/>
                <a:gd name="connsiteX5" fmla="*/ 20955 w 24764"/>
                <a:gd name="connsiteY5" fmla="*/ 28575 h 35242"/>
                <a:gd name="connsiteX6" fmla="*/ 24765 w 24764"/>
                <a:gd name="connsiteY6" fmla="*/ 10573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4" h="35242">
                  <a:moveTo>
                    <a:pt x="24765" y="10573"/>
                  </a:moveTo>
                  <a:lnTo>
                    <a:pt x="10477" y="7715"/>
                  </a:lnTo>
                  <a:lnTo>
                    <a:pt x="0" y="0"/>
                  </a:lnTo>
                  <a:lnTo>
                    <a:pt x="0" y="22003"/>
                  </a:lnTo>
                  <a:lnTo>
                    <a:pt x="10477" y="35242"/>
                  </a:lnTo>
                  <a:lnTo>
                    <a:pt x="20955" y="28575"/>
                  </a:lnTo>
                  <a:lnTo>
                    <a:pt x="24765" y="1057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00" name="Freeform: Shape 3899">
              <a:extLst>
                <a:ext uri="{FF2B5EF4-FFF2-40B4-BE49-F238E27FC236}">
                  <a16:creationId xmlns:a16="http://schemas.microsoft.com/office/drawing/2014/main" id="{EB26776B-6FE3-C0B2-C71F-6F134B5A20EC}"/>
                </a:ext>
              </a:extLst>
            </p:cNvPr>
            <p:cNvSpPr/>
            <p:nvPr/>
          </p:nvSpPr>
          <p:spPr>
            <a:xfrm>
              <a:off x="2329918" y="2788322"/>
              <a:ext cx="24276" cy="24183"/>
            </a:xfrm>
            <a:custGeom>
              <a:avLst/>
              <a:gdLst>
                <a:gd name="connsiteX0" fmla="*/ 24765 w 24764"/>
                <a:gd name="connsiteY0" fmla="*/ 10382 h 24669"/>
                <a:gd name="connsiteX1" fmla="*/ 14288 w 24764"/>
                <a:gd name="connsiteY1" fmla="*/ 0 h 24669"/>
                <a:gd name="connsiteX2" fmla="*/ 6668 w 24764"/>
                <a:gd name="connsiteY2" fmla="*/ 0 h 24669"/>
                <a:gd name="connsiteX3" fmla="*/ 0 w 24764"/>
                <a:gd name="connsiteY3" fmla="*/ 10382 h 24669"/>
                <a:gd name="connsiteX4" fmla="*/ 3810 w 24764"/>
                <a:gd name="connsiteY4" fmla="*/ 24670 h 24669"/>
                <a:gd name="connsiteX5" fmla="*/ 14288 w 24764"/>
                <a:gd name="connsiteY5" fmla="*/ 17145 h 24669"/>
                <a:gd name="connsiteX6" fmla="*/ 24765 w 24764"/>
                <a:gd name="connsiteY6" fmla="*/ 10382 h 24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764" h="24669">
                  <a:moveTo>
                    <a:pt x="24765" y="10382"/>
                  </a:moveTo>
                  <a:lnTo>
                    <a:pt x="14288" y="0"/>
                  </a:lnTo>
                  <a:lnTo>
                    <a:pt x="6668" y="0"/>
                  </a:lnTo>
                  <a:lnTo>
                    <a:pt x="0" y="10382"/>
                  </a:lnTo>
                  <a:lnTo>
                    <a:pt x="3810" y="24670"/>
                  </a:lnTo>
                  <a:lnTo>
                    <a:pt x="14288" y="17145"/>
                  </a:lnTo>
                  <a:lnTo>
                    <a:pt x="24765" y="1038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01" name="Freeform: Shape 3900">
              <a:extLst>
                <a:ext uri="{FF2B5EF4-FFF2-40B4-BE49-F238E27FC236}">
                  <a16:creationId xmlns:a16="http://schemas.microsoft.com/office/drawing/2014/main" id="{95A575A3-479E-25EB-6099-B5776AF90F39}"/>
                </a:ext>
              </a:extLst>
            </p:cNvPr>
            <p:cNvSpPr/>
            <p:nvPr/>
          </p:nvSpPr>
          <p:spPr>
            <a:xfrm>
              <a:off x="6454178" y="5162803"/>
              <a:ext cx="450055" cy="377227"/>
            </a:xfrm>
            <a:custGeom>
              <a:avLst/>
              <a:gdLst>
                <a:gd name="connsiteX0" fmla="*/ 429578 w 459105"/>
                <a:gd name="connsiteY0" fmla="*/ 120015 h 384809"/>
                <a:gd name="connsiteX1" fmla="*/ 429578 w 459105"/>
                <a:gd name="connsiteY1" fmla="*/ 56197 h 384809"/>
                <a:gd name="connsiteX2" fmla="*/ 415290 w 459105"/>
                <a:gd name="connsiteY2" fmla="*/ 14288 h 384809"/>
                <a:gd name="connsiteX3" fmla="*/ 401003 w 459105"/>
                <a:gd name="connsiteY3" fmla="*/ 3810 h 384809"/>
                <a:gd name="connsiteX4" fmla="*/ 348615 w 459105"/>
                <a:gd name="connsiteY4" fmla="*/ 0 h 384809"/>
                <a:gd name="connsiteX5" fmla="*/ 344805 w 459105"/>
                <a:gd name="connsiteY5" fmla="*/ 10478 h 384809"/>
                <a:gd name="connsiteX6" fmla="*/ 327660 w 459105"/>
                <a:gd name="connsiteY6" fmla="*/ 10478 h 384809"/>
                <a:gd name="connsiteX7" fmla="*/ 260985 w 459105"/>
                <a:gd name="connsiteY7" fmla="*/ 80963 h 384809"/>
                <a:gd name="connsiteX8" fmla="*/ 246698 w 459105"/>
                <a:gd name="connsiteY8" fmla="*/ 105728 h 384809"/>
                <a:gd name="connsiteX9" fmla="*/ 211455 w 459105"/>
                <a:gd name="connsiteY9" fmla="*/ 109538 h 384809"/>
                <a:gd name="connsiteX10" fmla="*/ 194310 w 459105"/>
                <a:gd name="connsiteY10" fmla="*/ 95250 h 384809"/>
                <a:gd name="connsiteX11" fmla="*/ 177165 w 459105"/>
                <a:gd name="connsiteY11" fmla="*/ 95250 h 384809"/>
                <a:gd name="connsiteX12" fmla="*/ 170498 w 459105"/>
                <a:gd name="connsiteY12" fmla="*/ 116205 h 384809"/>
                <a:gd name="connsiteX13" fmla="*/ 145733 w 459105"/>
                <a:gd name="connsiteY13" fmla="*/ 137160 h 384809"/>
                <a:gd name="connsiteX14" fmla="*/ 117158 w 459105"/>
                <a:gd name="connsiteY14" fmla="*/ 137160 h 384809"/>
                <a:gd name="connsiteX15" fmla="*/ 117158 w 459105"/>
                <a:gd name="connsiteY15" fmla="*/ 101918 h 384809"/>
                <a:gd name="connsiteX16" fmla="*/ 96203 w 459105"/>
                <a:gd name="connsiteY16" fmla="*/ 80963 h 384809"/>
                <a:gd name="connsiteX17" fmla="*/ 96203 w 459105"/>
                <a:gd name="connsiteY17" fmla="*/ 182880 h 384809"/>
                <a:gd name="connsiteX18" fmla="*/ 67628 w 459105"/>
                <a:gd name="connsiteY18" fmla="*/ 200978 h 384809"/>
                <a:gd name="connsiteX19" fmla="*/ 39053 w 459105"/>
                <a:gd name="connsiteY19" fmla="*/ 200978 h 384809"/>
                <a:gd name="connsiteX20" fmla="*/ 24765 w 459105"/>
                <a:gd name="connsiteY20" fmla="*/ 194310 h 384809"/>
                <a:gd name="connsiteX21" fmla="*/ 14288 w 459105"/>
                <a:gd name="connsiteY21" fmla="*/ 180022 h 384809"/>
                <a:gd name="connsiteX22" fmla="*/ 10478 w 459105"/>
                <a:gd name="connsiteY22" fmla="*/ 180022 h 384809"/>
                <a:gd name="connsiteX23" fmla="*/ 3810 w 459105"/>
                <a:gd name="connsiteY23" fmla="*/ 183833 h 384809"/>
                <a:gd name="connsiteX24" fmla="*/ 0 w 459105"/>
                <a:gd name="connsiteY24" fmla="*/ 190500 h 384809"/>
                <a:gd name="connsiteX25" fmla="*/ 10478 w 459105"/>
                <a:gd name="connsiteY25" fmla="*/ 215265 h 384809"/>
                <a:gd name="connsiteX26" fmla="*/ 20955 w 459105"/>
                <a:gd name="connsiteY26" fmla="*/ 254318 h 384809"/>
                <a:gd name="connsiteX27" fmla="*/ 38100 w 459105"/>
                <a:gd name="connsiteY27" fmla="*/ 279083 h 384809"/>
                <a:gd name="connsiteX28" fmla="*/ 52388 w 459105"/>
                <a:gd name="connsiteY28" fmla="*/ 303847 h 384809"/>
                <a:gd name="connsiteX29" fmla="*/ 35243 w 459105"/>
                <a:gd name="connsiteY29" fmla="*/ 324803 h 384809"/>
                <a:gd name="connsiteX30" fmla="*/ 49530 w 459105"/>
                <a:gd name="connsiteY30" fmla="*/ 349568 h 384809"/>
                <a:gd name="connsiteX31" fmla="*/ 60008 w 459105"/>
                <a:gd name="connsiteY31" fmla="*/ 370522 h 384809"/>
                <a:gd name="connsiteX32" fmla="*/ 88583 w 459105"/>
                <a:gd name="connsiteY32" fmla="*/ 384810 h 384809"/>
                <a:gd name="connsiteX33" fmla="*/ 123825 w 459105"/>
                <a:gd name="connsiteY33" fmla="*/ 374333 h 384809"/>
                <a:gd name="connsiteX34" fmla="*/ 155258 w 459105"/>
                <a:gd name="connsiteY34" fmla="*/ 363855 h 384809"/>
                <a:gd name="connsiteX35" fmla="*/ 194310 w 459105"/>
                <a:gd name="connsiteY35" fmla="*/ 363855 h 384809"/>
                <a:gd name="connsiteX36" fmla="*/ 225743 w 459105"/>
                <a:gd name="connsiteY36" fmla="*/ 367665 h 384809"/>
                <a:gd name="connsiteX37" fmla="*/ 250508 w 459105"/>
                <a:gd name="connsiteY37" fmla="*/ 357188 h 384809"/>
                <a:gd name="connsiteX38" fmla="*/ 289560 w 459105"/>
                <a:gd name="connsiteY38" fmla="*/ 350520 h 384809"/>
                <a:gd name="connsiteX39" fmla="*/ 331470 w 459105"/>
                <a:gd name="connsiteY39" fmla="*/ 311468 h 384809"/>
                <a:gd name="connsiteX40" fmla="*/ 370523 w 459105"/>
                <a:gd name="connsiteY40" fmla="*/ 282893 h 384809"/>
                <a:gd name="connsiteX41" fmla="*/ 395288 w 459105"/>
                <a:gd name="connsiteY41" fmla="*/ 251460 h 384809"/>
                <a:gd name="connsiteX42" fmla="*/ 405765 w 459105"/>
                <a:gd name="connsiteY42" fmla="*/ 230505 h 384809"/>
                <a:gd name="connsiteX43" fmla="*/ 434340 w 459105"/>
                <a:gd name="connsiteY43" fmla="*/ 195263 h 384809"/>
                <a:gd name="connsiteX44" fmla="*/ 448628 w 459105"/>
                <a:gd name="connsiteY44" fmla="*/ 184785 h 384809"/>
                <a:gd name="connsiteX45" fmla="*/ 448628 w 459105"/>
                <a:gd name="connsiteY45" fmla="*/ 160020 h 384809"/>
                <a:gd name="connsiteX46" fmla="*/ 459105 w 459105"/>
                <a:gd name="connsiteY46" fmla="*/ 141922 h 384809"/>
                <a:gd name="connsiteX47" fmla="*/ 430530 w 459105"/>
                <a:gd name="connsiteY47" fmla="*/ 138113 h 384809"/>
                <a:gd name="connsiteX48" fmla="*/ 429578 w 459105"/>
                <a:gd name="connsiteY48" fmla="*/ 120015 h 384809"/>
                <a:gd name="connsiteX49" fmla="*/ 429578 w 459105"/>
                <a:gd name="connsiteY49" fmla="*/ 120015 h 384809"/>
                <a:gd name="connsiteX50" fmla="*/ 360998 w 459105"/>
                <a:gd name="connsiteY50" fmla="*/ 227647 h 384809"/>
                <a:gd name="connsiteX51" fmla="*/ 353378 w 459105"/>
                <a:gd name="connsiteY51" fmla="*/ 231458 h 384809"/>
                <a:gd name="connsiteX52" fmla="*/ 344805 w 459105"/>
                <a:gd name="connsiteY52" fmla="*/ 240983 h 384809"/>
                <a:gd name="connsiteX53" fmla="*/ 331470 w 459105"/>
                <a:gd name="connsiteY53" fmla="*/ 222885 h 384809"/>
                <a:gd name="connsiteX54" fmla="*/ 342900 w 459105"/>
                <a:gd name="connsiteY54" fmla="*/ 206693 h 384809"/>
                <a:gd name="connsiteX55" fmla="*/ 359093 w 459105"/>
                <a:gd name="connsiteY55" fmla="*/ 204788 h 384809"/>
                <a:gd name="connsiteX56" fmla="*/ 366713 w 459105"/>
                <a:gd name="connsiteY56" fmla="*/ 220980 h 384809"/>
                <a:gd name="connsiteX57" fmla="*/ 360998 w 459105"/>
                <a:gd name="connsiteY57" fmla="*/ 227647 h 384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459105" h="384809">
                  <a:moveTo>
                    <a:pt x="429578" y="120015"/>
                  </a:moveTo>
                  <a:lnTo>
                    <a:pt x="429578" y="56197"/>
                  </a:lnTo>
                  <a:lnTo>
                    <a:pt x="415290" y="14288"/>
                  </a:lnTo>
                  <a:lnTo>
                    <a:pt x="401003" y="3810"/>
                  </a:lnTo>
                  <a:lnTo>
                    <a:pt x="348615" y="0"/>
                  </a:lnTo>
                  <a:lnTo>
                    <a:pt x="344805" y="10478"/>
                  </a:lnTo>
                  <a:lnTo>
                    <a:pt x="327660" y="10478"/>
                  </a:lnTo>
                  <a:lnTo>
                    <a:pt x="260985" y="80963"/>
                  </a:lnTo>
                  <a:lnTo>
                    <a:pt x="246698" y="105728"/>
                  </a:lnTo>
                  <a:lnTo>
                    <a:pt x="211455" y="109538"/>
                  </a:lnTo>
                  <a:lnTo>
                    <a:pt x="194310" y="95250"/>
                  </a:lnTo>
                  <a:lnTo>
                    <a:pt x="177165" y="95250"/>
                  </a:lnTo>
                  <a:lnTo>
                    <a:pt x="170498" y="116205"/>
                  </a:lnTo>
                  <a:lnTo>
                    <a:pt x="145733" y="137160"/>
                  </a:lnTo>
                  <a:lnTo>
                    <a:pt x="117158" y="137160"/>
                  </a:lnTo>
                  <a:lnTo>
                    <a:pt x="117158" y="101918"/>
                  </a:lnTo>
                  <a:lnTo>
                    <a:pt x="96203" y="80963"/>
                  </a:lnTo>
                  <a:lnTo>
                    <a:pt x="96203" y="182880"/>
                  </a:lnTo>
                  <a:lnTo>
                    <a:pt x="67628" y="200978"/>
                  </a:lnTo>
                  <a:lnTo>
                    <a:pt x="39053" y="200978"/>
                  </a:lnTo>
                  <a:lnTo>
                    <a:pt x="24765" y="194310"/>
                  </a:lnTo>
                  <a:lnTo>
                    <a:pt x="14288" y="180022"/>
                  </a:lnTo>
                  <a:lnTo>
                    <a:pt x="10478" y="180022"/>
                  </a:lnTo>
                  <a:lnTo>
                    <a:pt x="3810" y="183833"/>
                  </a:lnTo>
                  <a:lnTo>
                    <a:pt x="0" y="190500"/>
                  </a:lnTo>
                  <a:lnTo>
                    <a:pt x="10478" y="215265"/>
                  </a:lnTo>
                  <a:lnTo>
                    <a:pt x="20955" y="254318"/>
                  </a:lnTo>
                  <a:lnTo>
                    <a:pt x="38100" y="279083"/>
                  </a:lnTo>
                  <a:lnTo>
                    <a:pt x="52388" y="303847"/>
                  </a:lnTo>
                  <a:lnTo>
                    <a:pt x="35243" y="324803"/>
                  </a:lnTo>
                  <a:lnTo>
                    <a:pt x="49530" y="349568"/>
                  </a:lnTo>
                  <a:lnTo>
                    <a:pt x="60008" y="370522"/>
                  </a:lnTo>
                  <a:lnTo>
                    <a:pt x="88583" y="384810"/>
                  </a:lnTo>
                  <a:lnTo>
                    <a:pt x="123825" y="374333"/>
                  </a:lnTo>
                  <a:lnTo>
                    <a:pt x="155258" y="363855"/>
                  </a:lnTo>
                  <a:lnTo>
                    <a:pt x="194310" y="363855"/>
                  </a:lnTo>
                  <a:lnTo>
                    <a:pt x="225743" y="367665"/>
                  </a:lnTo>
                  <a:lnTo>
                    <a:pt x="250508" y="357188"/>
                  </a:lnTo>
                  <a:lnTo>
                    <a:pt x="289560" y="350520"/>
                  </a:lnTo>
                  <a:lnTo>
                    <a:pt x="331470" y="311468"/>
                  </a:lnTo>
                  <a:lnTo>
                    <a:pt x="370523" y="282893"/>
                  </a:lnTo>
                  <a:lnTo>
                    <a:pt x="395288" y="251460"/>
                  </a:lnTo>
                  <a:lnTo>
                    <a:pt x="405765" y="230505"/>
                  </a:lnTo>
                  <a:lnTo>
                    <a:pt x="434340" y="195263"/>
                  </a:lnTo>
                  <a:lnTo>
                    <a:pt x="448628" y="184785"/>
                  </a:lnTo>
                  <a:lnTo>
                    <a:pt x="448628" y="160020"/>
                  </a:lnTo>
                  <a:lnTo>
                    <a:pt x="459105" y="141922"/>
                  </a:lnTo>
                  <a:lnTo>
                    <a:pt x="430530" y="138113"/>
                  </a:lnTo>
                  <a:lnTo>
                    <a:pt x="429578" y="120015"/>
                  </a:lnTo>
                  <a:lnTo>
                    <a:pt x="429578" y="120015"/>
                  </a:lnTo>
                  <a:close/>
                  <a:moveTo>
                    <a:pt x="360998" y="227647"/>
                  </a:moveTo>
                  <a:lnTo>
                    <a:pt x="353378" y="231458"/>
                  </a:lnTo>
                  <a:lnTo>
                    <a:pt x="344805" y="240983"/>
                  </a:lnTo>
                  <a:lnTo>
                    <a:pt x="331470" y="222885"/>
                  </a:lnTo>
                  <a:lnTo>
                    <a:pt x="342900" y="206693"/>
                  </a:lnTo>
                  <a:lnTo>
                    <a:pt x="359093" y="204788"/>
                  </a:lnTo>
                  <a:lnTo>
                    <a:pt x="366713" y="220980"/>
                  </a:lnTo>
                  <a:lnTo>
                    <a:pt x="360998" y="227647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02" name="Freeform: Shape 3901">
              <a:extLst>
                <a:ext uri="{FF2B5EF4-FFF2-40B4-BE49-F238E27FC236}">
                  <a16:creationId xmlns:a16="http://schemas.microsoft.com/office/drawing/2014/main" id="{85F5EC89-4B96-B172-C2BB-E6381EDF0508}"/>
                </a:ext>
              </a:extLst>
            </p:cNvPr>
            <p:cNvSpPr/>
            <p:nvPr/>
          </p:nvSpPr>
          <p:spPr>
            <a:xfrm>
              <a:off x="8707255" y="3901330"/>
              <a:ext cx="18674" cy="9337"/>
            </a:xfrm>
            <a:custGeom>
              <a:avLst/>
              <a:gdLst>
                <a:gd name="connsiteX0" fmla="*/ 0 w 19050"/>
                <a:gd name="connsiteY0" fmla="*/ 0 h 9525"/>
                <a:gd name="connsiteX1" fmla="*/ 19050 w 19050"/>
                <a:gd name="connsiteY1" fmla="*/ 0 h 9525"/>
                <a:gd name="connsiteX2" fmla="*/ 19050 w 19050"/>
                <a:gd name="connsiteY2" fmla="*/ 0 h 9525"/>
                <a:gd name="connsiteX3" fmla="*/ 0 w 19050"/>
                <a:gd name="connsiteY3" fmla="*/ 0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9525">
                  <a:moveTo>
                    <a:pt x="0" y="0"/>
                  </a:moveTo>
                  <a:lnTo>
                    <a:pt x="19050" y="0"/>
                  </a:lnTo>
                  <a:lnTo>
                    <a:pt x="1905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03" name="Freeform: Shape 3902">
              <a:extLst>
                <a:ext uri="{FF2B5EF4-FFF2-40B4-BE49-F238E27FC236}">
                  <a16:creationId xmlns:a16="http://schemas.microsoft.com/office/drawing/2014/main" id="{CA4E53A7-619F-78C3-1D84-E5DB0AE18465}"/>
                </a:ext>
              </a:extLst>
            </p:cNvPr>
            <p:cNvSpPr/>
            <p:nvPr/>
          </p:nvSpPr>
          <p:spPr>
            <a:xfrm>
              <a:off x="8942554" y="4616569"/>
              <a:ext cx="28012" cy="24277"/>
            </a:xfrm>
            <a:custGeom>
              <a:avLst/>
              <a:gdLst>
                <a:gd name="connsiteX0" fmla="*/ 28575 w 28575"/>
                <a:gd name="connsiteY0" fmla="*/ 7525 h 24765"/>
                <a:gd name="connsiteX1" fmla="*/ 11430 w 28575"/>
                <a:gd name="connsiteY1" fmla="*/ 0 h 24765"/>
                <a:gd name="connsiteX2" fmla="*/ 0 w 28575"/>
                <a:gd name="connsiteY2" fmla="*/ 10478 h 24765"/>
                <a:gd name="connsiteX3" fmla="*/ 11430 w 28575"/>
                <a:gd name="connsiteY3" fmla="*/ 24765 h 24765"/>
                <a:gd name="connsiteX4" fmla="*/ 24765 w 28575"/>
                <a:gd name="connsiteY4" fmla="*/ 21812 h 24765"/>
                <a:gd name="connsiteX5" fmla="*/ 28575 w 28575"/>
                <a:gd name="connsiteY5" fmla="*/ 7525 h 24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575" h="24765">
                  <a:moveTo>
                    <a:pt x="28575" y="7525"/>
                  </a:moveTo>
                  <a:lnTo>
                    <a:pt x="11430" y="0"/>
                  </a:lnTo>
                  <a:lnTo>
                    <a:pt x="0" y="10478"/>
                  </a:lnTo>
                  <a:lnTo>
                    <a:pt x="11430" y="24765"/>
                  </a:lnTo>
                  <a:lnTo>
                    <a:pt x="24765" y="21812"/>
                  </a:lnTo>
                  <a:lnTo>
                    <a:pt x="28575" y="752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04" name="Freeform: Shape 3903">
              <a:extLst>
                <a:ext uri="{FF2B5EF4-FFF2-40B4-BE49-F238E27FC236}">
                  <a16:creationId xmlns:a16="http://schemas.microsoft.com/office/drawing/2014/main" id="{756767C4-9839-B302-7659-9B12D54CEE24}"/>
                </a:ext>
              </a:extLst>
            </p:cNvPr>
            <p:cNvSpPr/>
            <p:nvPr/>
          </p:nvSpPr>
          <p:spPr>
            <a:xfrm>
              <a:off x="8884663" y="4589491"/>
              <a:ext cx="44818" cy="48460"/>
            </a:xfrm>
            <a:custGeom>
              <a:avLst/>
              <a:gdLst>
                <a:gd name="connsiteX0" fmla="*/ 24765 w 45719"/>
                <a:gd name="connsiteY0" fmla="*/ 41910 h 49434"/>
                <a:gd name="connsiteX1" fmla="*/ 35242 w 45719"/>
                <a:gd name="connsiteY1" fmla="*/ 49435 h 49434"/>
                <a:gd name="connsiteX2" fmla="*/ 45720 w 45719"/>
                <a:gd name="connsiteY2" fmla="*/ 45720 h 49434"/>
                <a:gd name="connsiteX3" fmla="*/ 41910 w 45719"/>
                <a:gd name="connsiteY3" fmla="*/ 31432 h 49434"/>
                <a:gd name="connsiteX4" fmla="*/ 31432 w 45719"/>
                <a:gd name="connsiteY4" fmla="*/ 27622 h 49434"/>
                <a:gd name="connsiteX5" fmla="*/ 24765 w 45719"/>
                <a:gd name="connsiteY5" fmla="*/ 17145 h 49434"/>
                <a:gd name="connsiteX6" fmla="*/ 20955 w 45719"/>
                <a:gd name="connsiteY6" fmla="*/ 0 h 49434"/>
                <a:gd name="connsiteX7" fmla="*/ 0 w 45719"/>
                <a:gd name="connsiteY7" fmla="*/ 0 h 49434"/>
                <a:gd name="connsiteX8" fmla="*/ 0 w 45719"/>
                <a:gd name="connsiteY8" fmla="*/ 14288 h 49434"/>
                <a:gd name="connsiteX9" fmla="*/ 10477 w 45719"/>
                <a:gd name="connsiteY9" fmla="*/ 17145 h 49434"/>
                <a:gd name="connsiteX10" fmla="*/ 20955 w 45719"/>
                <a:gd name="connsiteY10" fmla="*/ 27622 h 49434"/>
                <a:gd name="connsiteX11" fmla="*/ 24765 w 45719"/>
                <a:gd name="connsiteY11" fmla="*/ 41910 h 49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719" h="49434">
                  <a:moveTo>
                    <a:pt x="24765" y="41910"/>
                  </a:moveTo>
                  <a:lnTo>
                    <a:pt x="35242" y="49435"/>
                  </a:lnTo>
                  <a:lnTo>
                    <a:pt x="45720" y="45720"/>
                  </a:lnTo>
                  <a:lnTo>
                    <a:pt x="41910" y="31432"/>
                  </a:lnTo>
                  <a:lnTo>
                    <a:pt x="31432" y="27622"/>
                  </a:lnTo>
                  <a:lnTo>
                    <a:pt x="24765" y="17145"/>
                  </a:lnTo>
                  <a:lnTo>
                    <a:pt x="20955" y="0"/>
                  </a:lnTo>
                  <a:lnTo>
                    <a:pt x="0" y="0"/>
                  </a:lnTo>
                  <a:lnTo>
                    <a:pt x="0" y="14288"/>
                  </a:lnTo>
                  <a:lnTo>
                    <a:pt x="10477" y="17145"/>
                  </a:lnTo>
                  <a:lnTo>
                    <a:pt x="20955" y="27622"/>
                  </a:lnTo>
                  <a:lnTo>
                    <a:pt x="24765" y="4191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05" name="Freeform: Shape 3904">
              <a:extLst>
                <a:ext uri="{FF2B5EF4-FFF2-40B4-BE49-F238E27FC236}">
                  <a16:creationId xmlns:a16="http://schemas.microsoft.com/office/drawing/2014/main" id="{0A6698F9-89F6-0877-0E20-A29D50FE16CD}"/>
                </a:ext>
              </a:extLst>
            </p:cNvPr>
            <p:cNvSpPr/>
            <p:nvPr/>
          </p:nvSpPr>
          <p:spPr>
            <a:xfrm>
              <a:off x="5868733" y="3009617"/>
              <a:ext cx="352014" cy="296927"/>
            </a:xfrm>
            <a:custGeom>
              <a:avLst/>
              <a:gdLst>
                <a:gd name="connsiteX0" fmla="*/ 327660 w 359092"/>
                <a:gd name="connsiteY0" fmla="*/ 246602 h 302895"/>
                <a:gd name="connsiteX1" fmla="*/ 323850 w 359092"/>
                <a:gd name="connsiteY1" fmla="*/ 218027 h 302895"/>
                <a:gd name="connsiteX2" fmla="*/ 330517 w 359092"/>
                <a:gd name="connsiteY2" fmla="*/ 204788 h 302895"/>
                <a:gd name="connsiteX3" fmla="*/ 327660 w 359092"/>
                <a:gd name="connsiteY3" fmla="*/ 197072 h 302895"/>
                <a:gd name="connsiteX4" fmla="*/ 327660 w 359092"/>
                <a:gd name="connsiteY4" fmla="*/ 186690 h 302895"/>
                <a:gd name="connsiteX5" fmla="*/ 327660 w 359092"/>
                <a:gd name="connsiteY5" fmla="*/ 169545 h 302895"/>
                <a:gd name="connsiteX6" fmla="*/ 299085 w 359092"/>
                <a:gd name="connsiteY6" fmla="*/ 169545 h 302895"/>
                <a:gd name="connsiteX7" fmla="*/ 313372 w 359092"/>
                <a:gd name="connsiteY7" fmla="*/ 147638 h 302895"/>
                <a:gd name="connsiteX8" fmla="*/ 330517 w 359092"/>
                <a:gd name="connsiteY8" fmla="*/ 130397 h 302895"/>
                <a:gd name="connsiteX9" fmla="*/ 338138 w 359092"/>
                <a:gd name="connsiteY9" fmla="*/ 130397 h 302895"/>
                <a:gd name="connsiteX10" fmla="*/ 341947 w 359092"/>
                <a:gd name="connsiteY10" fmla="*/ 122777 h 302895"/>
                <a:gd name="connsiteX11" fmla="*/ 341947 w 359092"/>
                <a:gd name="connsiteY11" fmla="*/ 112395 h 302895"/>
                <a:gd name="connsiteX12" fmla="*/ 348615 w 359092"/>
                <a:gd name="connsiteY12" fmla="*/ 98108 h 302895"/>
                <a:gd name="connsiteX13" fmla="*/ 359092 w 359092"/>
                <a:gd name="connsiteY13" fmla="*/ 77152 h 302895"/>
                <a:gd name="connsiteX14" fmla="*/ 355283 w 359092"/>
                <a:gd name="connsiteY14" fmla="*/ 70390 h 302895"/>
                <a:gd name="connsiteX15" fmla="*/ 323850 w 359092"/>
                <a:gd name="connsiteY15" fmla="*/ 70390 h 302895"/>
                <a:gd name="connsiteX16" fmla="*/ 317183 w 359092"/>
                <a:gd name="connsiteY16" fmla="*/ 62865 h 302895"/>
                <a:gd name="connsiteX17" fmla="*/ 306705 w 359092"/>
                <a:gd name="connsiteY17" fmla="*/ 56102 h 302895"/>
                <a:gd name="connsiteX18" fmla="*/ 296228 w 359092"/>
                <a:gd name="connsiteY18" fmla="*/ 56102 h 302895"/>
                <a:gd name="connsiteX19" fmla="*/ 284797 w 359092"/>
                <a:gd name="connsiteY19" fmla="*/ 56102 h 302895"/>
                <a:gd name="connsiteX20" fmla="*/ 271463 w 359092"/>
                <a:gd name="connsiteY20" fmla="*/ 49435 h 302895"/>
                <a:gd name="connsiteX21" fmla="*/ 267653 w 359092"/>
                <a:gd name="connsiteY21" fmla="*/ 41815 h 302895"/>
                <a:gd name="connsiteX22" fmla="*/ 246697 w 359092"/>
                <a:gd name="connsiteY22" fmla="*/ 35147 h 302895"/>
                <a:gd name="connsiteX23" fmla="*/ 221933 w 359092"/>
                <a:gd name="connsiteY23" fmla="*/ 14288 h 302895"/>
                <a:gd name="connsiteX24" fmla="*/ 203835 w 359092"/>
                <a:gd name="connsiteY24" fmla="*/ 0 h 302895"/>
                <a:gd name="connsiteX25" fmla="*/ 186690 w 359092"/>
                <a:gd name="connsiteY25" fmla="*/ 6572 h 302895"/>
                <a:gd name="connsiteX26" fmla="*/ 186690 w 359092"/>
                <a:gd name="connsiteY26" fmla="*/ 31433 h 302895"/>
                <a:gd name="connsiteX27" fmla="*/ 168593 w 359092"/>
                <a:gd name="connsiteY27" fmla="*/ 39052 h 302895"/>
                <a:gd name="connsiteX28" fmla="*/ 147638 w 359092"/>
                <a:gd name="connsiteY28" fmla="*/ 49435 h 302895"/>
                <a:gd name="connsiteX29" fmla="*/ 133350 w 359092"/>
                <a:gd name="connsiteY29" fmla="*/ 60008 h 302895"/>
                <a:gd name="connsiteX30" fmla="*/ 109538 w 359092"/>
                <a:gd name="connsiteY30" fmla="*/ 62865 h 302895"/>
                <a:gd name="connsiteX31" fmla="*/ 95250 w 359092"/>
                <a:gd name="connsiteY31" fmla="*/ 52388 h 302895"/>
                <a:gd name="connsiteX32" fmla="*/ 84772 w 359092"/>
                <a:gd name="connsiteY32" fmla="*/ 52388 h 302895"/>
                <a:gd name="connsiteX33" fmla="*/ 87630 w 359092"/>
                <a:gd name="connsiteY33" fmla="*/ 62865 h 302895"/>
                <a:gd name="connsiteX34" fmla="*/ 95250 w 359092"/>
                <a:gd name="connsiteY34" fmla="*/ 80963 h 302895"/>
                <a:gd name="connsiteX35" fmla="*/ 84772 w 359092"/>
                <a:gd name="connsiteY35" fmla="*/ 91440 h 302895"/>
                <a:gd name="connsiteX36" fmla="*/ 70485 w 359092"/>
                <a:gd name="connsiteY36" fmla="*/ 87535 h 302895"/>
                <a:gd name="connsiteX37" fmla="*/ 56197 w 359092"/>
                <a:gd name="connsiteY37" fmla="*/ 95250 h 302895"/>
                <a:gd name="connsiteX38" fmla="*/ 45720 w 359092"/>
                <a:gd name="connsiteY38" fmla="*/ 84677 h 302895"/>
                <a:gd name="connsiteX39" fmla="*/ 31433 w 359092"/>
                <a:gd name="connsiteY39" fmla="*/ 84677 h 302895"/>
                <a:gd name="connsiteX40" fmla="*/ 14288 w 359092"/>
                <a:gd name="connsiteY40" fmla="*/ 87535 h 302895"/>
                <a:gd name="connsiteX41" fmla="*/ 3810 w 359092"/>
                <a:gd name="connsiteY41" fmla="*/ 91440 h 302895"/>
                <a:gd name="connsiteX42" fmla="*/ 0 w 359092"/>
                <a:gd name="connsiteY42" fmla="*/ 105727 h 302895"/>
                <a:gd name="connsiteX43" fmla="*/ 10478 w 359092"/>
                <a:gd name="connsiteY43" fmla="*/ 116110 h 302895"/>
                <a:gd name="connsiteX44" fmla="*/ 31433 w 359092"/>
                <a:gd name="connsiteY44" fmla="*/ 116110 h 302895"/>
                <a:gd name="connsiteX45" fmla="*/ 45720 w 359092"/>
                <a:gd name="connsiteY45" fmla="*/ 122777 h 302895"/>
                <a:gd name="connsiteX46" fmla="*/ 62865 w 359092"/>
                <a:gd name="connsiteY46" fmla="*/ 134302 h 302895"/>
                <a:gd name="connsiteX47" fmla="*/ 74295 w 359092"/>
                <a:gd name="connsiteY47" fmla="*/ 144685 h 302895"/>
                <a:gd name="connsiteX48" fmla="*/ 77153 w 359092"/>
                <a:gd name="connsiteY48" fmla="*/ 158115 h 302895"/>
                <a:gd name="connsiteX49" fmla="*/ 98108 w 359092"/>
                <a:gd name="connsiteY49" fmla="*/ 172402 h 302895"/>
                <a:gd name="connsiteX50" fmla="*/ 112395 w 359092"/>
                <a:gd name="connsiteY50" fmla="*/ 204788 h 302895"/>
                <a:gd name="connsiteX51" fmla="*/ 98108 w 359092"/>
                <a:gd name="connsiteY51" fmla="*/ 204788 h 302895"/>
                <a:gd name="connsiteX52" fmla="*/ 98108 w 359092"/>
                <a:gd name="connsiteY52" fmla="*/ 225647 h 302895"/>
                <a:gd name="connsiteX53" fmla="*/ 87630 w 359092"/>
                <a:gd name="connsiteY53" fmla="*/ 253365 h 302895"/>
                <a:gd name="connsiteX54" fmla="*/ 87630 w 359092"/>
                <a:gd name="connsiteY54" fmla="*/ 275177 h 302895"/>
                <a:gd name="connsiteX55" fmla="*/ 112395 w 359092"/>
                <a:gd name="connsiteY55" fmla="*/ 285750 h 302895"/>
                <a:gd name="connsiteX56" fmla="*/ 140970 w 359092"/>
                <a:gd name="connsiteY56" fmla="*/ 296227 h 302895"/>
                <a:gd name="connsiteX57" fmla="*/ 161925 w 359092"/>
                <a:gd name="connsiteY57" fmla="*/ 292322 h 302895"/>
                <a:gd name="connsiteX58" fmla="*/ 186690 w 359092"/>
                <a:gd name="connsiteY58" fmla="*/ 302895 h 302895"/>
                <a:gd name="connsiteX59" fmla="*/ 214313 w 359092"/>
                <a:gd name="connsiteY59" fmla="*/ 302895 h 302895"/>
                <a:gd name="connsiteX60" fmla="*/ 214313 w 359092"/>
                <a:gd name="connsiteY60" fmla="*/ 285750 h 302895"/>
                <a:gd name="connsiteX61" fmla="*/ 225743 w 359092"/>
                <a:gd name="connsiteY61" fmla="*/ 275177 h 302895"/>
                <a:gd name="connsiteX62" fmla="*/ 242888 w 359092"/>
                <a:gd name="connsiteY62" fmla="*/ 267652 h 302895"/>
                <a:gd name="connsiteX63" fmla="*/ 263843 w 359092"/>
                <a:gd name="connsiteY63" fmla="*/ 271463 h 302895"/>
                <a:gd name="connsiteX64" fmla="*/ 281940 w 359092"/>
                <a:gd name="connsiteY64" fmla="*/ 275177 h 302895"/>
                <a:gd name="connsiteX65" fmla="*/ 302895 w 359092"/>
                <a:gd name="connsiteY65" fmla="*/ 285750 h 302895"/>
                <a:gd name="connsiteX66" fmla="*/ 320040 w 359092"/>
                <a:gd name="connsiteY66" fmla="*/ 278035 h 302895"/>
                <a:gd name="connsiteX67" fmla="*/ 327660 w 359092"/>
                <a:gd name="connsiteY67" fmla="*/ 263747 h 302895"/>
                <a:gd name="connsiteX68" fmla="*/ 341947 w 359092"/>
                <a:gd name="connsiteY68" fmla="*/ 260890 h 302895"/>
                <a:gd name="connsiteX69" fmla="*/ 341947 w 359092"/>
                <a:gd name="connsiteY69" fmla="*/ 246602 h 302895"/>
                <a:gd name="connsiteX70" fmla="*/ 327660 w 359092"/>
                <a:gd name="connsiteY70" fmla="*/ 246602 h 302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</a:cxnLst>
              <a:rect l="l" t="t" r="r" b="b"/>
              <a:pathLst>
                <a:path w="359092" h="302895">
                  <a:moveTo>
                    <a:pt x="327660" y="246602"/>
                  </a:moveTo>
                  <a:lnTo>
                    <a:pt x="323850" y="218027"/>
                  </a:lnTo>
                  <a:lnTo>
                    <a:pt x="330517" y="204788"/>
                  </a:lnTo>
                  <a:lnTo>
                    <a:pt x="327660" y="197072"/>
                  </a:lnTo>
                  <a:lnTo>
                    <a:pt x="327660" y="186690"/>
                  </a:lnTo>
                  <a:lnTo>
                    <a:pt x="327660" y="169545"/>
                  </a:lnTo>
                  <a:lnTo>
                    <a:pt x="299085" y="169545"/>
                  </a:lnTo>
                  <a:lnTo>
                    <a:pt x="313372" y="147638"/>
                  </a:lnTo>
                  <a:lnTo>
                    <a:pt x="330517" y="130397"/>
                  </a:lnTo>
                  <a:lnTo>
                    <a:pt x="338138" y="130397"/>
                  </a:lnTo>
                  <a:lnTo>
                    <a:pt x="341947" y="122777"/>
                  </a:lnTo>
                  <a:lnTo>
                    <a:pt x="341947" y="112395"/>
                  </a:lnTo>
                  <a:lnTo>
                    <a:pt x="348615" y="98108"/>
                  </a:lnTo>
                  <a:lnTo>
                    <a:pt x="359092" y="77152"/>
                  </a:lnTo>
                  <a:lnTo>
                    <a:pt x="355283" y="70390"/>
                  </a:lnTo>
                  <a:lnTo>
                    <a:pt x="323850" y="70390"/>
                  </a:lnTo>
                  <a:lnTo>
                    <a:pt x="317183" y="62865"/>
                  </a:lnTo>
                  <a:lnTo>
                    <a:pt x="306705" y="56102"/>
                  </a:lnTo>
                  <a:lnTo>
                    <a:pt x="296228" y="56102"/>
                  </a:lnTo>
                  <a:lnTo>
                    <a:pt x="284797" y="56102"/>
                  </a:lnTo>
                  <a:lnTo>
                    <a:pt x="271463" y="49435"/>
                  </a:lnTo>
                  <a:lnTo>
                    <a:pt x="267653" y="41815"/>
                  </a:lnTo>
                  <a:lnTo>
                    <a:pt x="246697" y="35147"/>
                  </a:lnTo>
                  <a:lnTo>
                    <a:pt x="221933" y="14288"/>
                  </a:lnTo>
                  <a:lnTo>
                    <a:pt x="203835" y="0"/>
                  </a:lnTo>
                  <a:lnTo>
                    <a:pt x="186690" y="6572"/>
                  </a:lnTo>
                  <a:lnTo>
                    <a:pt x="186690" y="31433"/>
                  </a:lnTo>
                  <a:lnTo>
                    <a:pt x="168593" y="39052"/>
                  </a:lnTo>
                  <a:lnTo>
                    <a:pt x="147638" y="49435"/>
                  </a:lnTo>
                  <a:lnTo>
                    <a:pt x="133350" y="60008"/>
                  </a:lnTo>
                  <a:lnTo>
                    <a:pt x="109538" y="62865"/>
                  </a:lnTo>
                  <a:lnTo>
                    <a:pt x="95250" y="52388"/>
                  </a:lnTo>
                  <a:lnTo>
                    <a:pt x="84772" y="52388"/>
                  </a:lnTo>
                  <a:lnTo>
                    <a:pt x="87630" y="62865"/>
                  </a:lnTo>
                  <a:lnTo>
                    <a:pt x="95250" y="80963"/>
                  </a:lnTo>
                  <a:lnTo>
                    <a:pt x="84772" y="91440"/>
                  </a:lnTo>
                  <a:lnTo>
                    <a:pt x="70485" y="87535"/>
                  </a:lnTo>
                  <a:lnTo>
                    <a:pt x="56197" y="95250"/>
                  </a:lnTo>
                  <a:lnTo>
                    <a:pt x="45720" y="84677"/>
                  </a:lnTo>
                  <a:lnTo>
                    <a:pt x="31433" y="84677"/>
                  </a:lnTo>
                  <a:lnTo>
                    <a:pt x="14288" y="87535"/>
                  </a:lnTo>
                  <a:lnTo>
                    <a:pt x="3810" y="91440"/>
                  </a:lnTo>
                  <a:lnTo>
                    <a:pt x="0" y="105727"/>
                  </a:lnTo>
                  <a:lnTo>
                    <a:pt x="10478" y="116110"/>
                  </a:lnTo>
                  <a:lnTo>
                    <a:pt x="31433" y="116110"/>
                  </a:lnTo>
                  <a:lnTo>
                    <a:pt x="45720" y="122777"/>
                  </a:lnTo>
                  <a:lnTo>
                    <a:pt x="62865" y="134302"/>
                  </a:lnTo>
                  <a:lnTo>
                    <a:pt x="74295" y="144685"/>
                  </a:lnTo>
                  <a:lnTo>
                    <a:pt x="77153" y="158115"/>
                  </a:lnTo>
                  <a:lnTo>
                    <a:pt x="98108" y="172402"/>
                  </a:lnTo>
                  <a:lnTo>
                    <a:pt x="112395" y="204788"/>
                  </a:lnTo>
                  <a:lnTo>
                    <a:pt x="98108" y="204788"/>
                  </a:lnTo>
                  <a:lnTo>
                    <a:pt x="98108" y="225647"/>
                  </a:lnTo>
                  <a:lnTo>
                    <a:pt x="87630" y="253365"/>
                  </a:lnTo>
                  <a:lnTo>
                    <a:pt x="87630" y="275177"/>
                  </a:lnTo>
                  <a:lnTo>
                    <a:pt x="112395" y="285750"/>
                  </a:lnTo>
                  <a:lnTo>
                    <a:pt x="140970" y="296227"/>
                  </a:lnTo>
                  <a:lnTo>
                    <a:pt x="161925" y="292322"/>
                  </a:lnTo>
                  <a:lnTo>
                    <a:pt x="186690" y="302895"/>
                  </a:lnTo>
                  <a:lnTo>
                    <a:pt x="214313" y="302895"/>
                  </a:lnTo>
                  <a:lnTo>
                    <a:pt x="214313" y="285750"/>
                  </a:lnTo>
                  <a:lnTo>
                    <a:pt x="225743" y="275177"/>
                  </a:lnTo>
                  <a:lnTo>
                    <a:pt x="242888" y="267652"/>
                  </a:lnTo>
                  <a:lnTo>
                    <a:pt x="263843" y="271463"/>
                  </a:lnTo>
                  <a:lnTo>
                    <a:pt x="281940" y="275177"/>
                  </a:lnTo>
                  <a:lnTo>
                    <a:pt x="302895" y="285750"/>
                  </a:lnTo>
                  <a:lnTo>
                    <a:pt x="320040" y="278035"/>
                  </a:lnTo>
                  <a:lnTo>
                    <a:pt x="327660" y="263747"/>
                  </a:lnTo>
                  <a:lnTo>
                    <a:pt x="341947" y="260890"/>
                  </a:lnTo>
                  <a:lnTo>
                    <a:pt x="341947" y="246602"/>
                  </a:lnTo>
                  <a:lnTo>
                    <a:pt x="327660" y="24660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06" name="Freeform: Shape 3905">
              <a:extLst>
                <a:ext uri="{FF2B5EF4-FFF2-40B4-BE49-F238E27FC236}">
                  <a16:creationId xmlns:a16="http://schemas.microsoft.com/office/drawing/2014/main" id="{472C1E61-432F-4093-FEDC-6D2B1D83FACE}"/>
                </a:ext>
              </a:extLst>
            </p:cNvPr>
            <p:cNvSpPr/>
            <p:nvPr/>
          </p:nvSpPr>
          <p:spPr>
            <a:xfrm>
              <a:off x="5744548" y="3265366"/>
              <a:ext cx="338007" cy="245571"/>
            </a:xfrm>
            <a:custGeom>
              <a:avLst/>
              <a:gdLst>
                <a:gd name="connsiteX0" fmla="*/ 288607 w 344804"/>
                <a:gd name="connsiteY0" fmla="*/ 31433 h 250507"/>
                <a:gd name="connsiteX1" fmla="*/ 267653 w 344804"/>
                <a:gd name="connsiteY1" fmla="*/ 35338 h 250507"/>
                <a:gd name="connsiteX2" fmla="*/ 239078 w 344804"/>
                <a:gd name="connsiteY2" fmla="*/ 24860 h 250507"/>
                <a:gd name="connsiteX3" fmla="*/ 214313 w 344804"/>
                <a:gd name="connsiteY3" fmla="*/ 14288 h 250507"/>
                <a:gd name="connsiteX4" fmla="*/ 200978 w 344804"/>
                <a:gd name="connsiteY4" fmla="*/ 14288 h 250507"/>
                <a:gd name="connsiteX5" fmla="*/ 168592 w 344804"/>
                <a:gd name="connsiteY5" fmla="*/ 10573 h 250507"/>
                <a:gd name="connsiteX6" fmla="*/ 137160 w 344804"/>
                <a:gd name="connsiteY6" fmla="*/ 14288 h 250507"/>
                <a:gd name="connsiteX7" fmla="*/ 116205 w 344804"/>
                <a:gd name="connsiteY7" fmla="*/ 6763 h 250507"/>
                <a:gd name="connsiteX8" fmla="*/ 80963 w 344804"/>
                <a:gd name="connsiteY8" fmla="*/ 2858 h 250507"/>
                <a:gd name="connsiteX9" fmla="*/ 41910 w 344804"/>
                <a:gd name="connsiteY9" fmla="*/ 0 h 250507"/>
                <a:gd name="connsiteX10" fmla="*/ 27622 w 344804"/>
                <a:gd name="connsiteY10" fmla="*/ 6763 h 250507"/>
                <a:gd name="connsiteX11" fmla="*/ 6667 w 344804"/>
                <a:gd name="connsiteY11" fmla="*/ 14288 h 250507"/>
                <a:gd name="connsiteX12" fmla="*/ 0 w 344804"/>
                <a:gd name="connsiteY12" fmla="*/ 21050 h 250507"/>
                <a:gd name="connsiteX13" fmla="*/ 10478 w 344804"/>
                <a:gd name="connsiteY13" fmla="*/ 39148 h 250507"/>
                <a:gd name="connsiteX14" fmla="*/ 17145 w 344804"/>
                <a:gd name="connsiteY14" fmla="*/ 49625 h 250507"/>
                <a:gd name="connsiteX15" fmla="*/ 27622 w 344804"/>
                <a:gd name="connsiteY15" fmla="*/ 52388 h 250507"/>
                <a:gd name="connsiteX16" fmla="*/ 39053 w 344804"/>
                <a:gd name="connsiteY16" fmla="*/ 62960 h 250507"/>
                <a:gd name="connsiteX17" fmla="*/ 77153 w 344804"/>
                <a:gd name="connsiteY17" fmla="*/ 60008 h 250507"/>
                <a:gd name="connsiteX18" fmla="*/ 87630 w 344804"/>
                <a:gd name="connsiteY18" fmla="*/ 74295 h 250507"/>
                <a:gd name="connsiteX19" fmla="*/ 84772 w 344804"/>
                <a:gd name="connsiteY19" fmla="*/ 84868 h 250507"/>
                <a:gd name="connsiteX20" fmla="*/ 66675 w 344804"/>
                <a:gd name="connsiteY20" fmla="*/ 87725 h 250507"/>
                <a:gd name="connsiteX21" fmla="*/ 66675 w 344804"/>
                <a:gd name="connsiteY21" fmla="*/ 130588 h 250507"/>
                <a:gd name="connsiteX22" fmla="*/ 62865 w 344804"/>
                <a:gd name="connsiteY22" fmla="*/ 137255 h 250507"/>
                <a:gd name="connsiteX23" fmla="*/ 52388 w 344804"/>
                <a:gd name="connsiteY23" fmla="*/ 144875 h 250507"/>
                <a:gd name="connsiteX24" fmla="*/ 52388 w 344804"/>
                <a:gd name="connsiteY24" fmla="*/ 151543 h 250507"/>
                <a:gd name="connsiteX25" fmla="*/ 62865 w 344804"/>
                <a:gd name="connsiteY25" fmla="*/ 165830 h 250507"/>
                <a:gd name="connsiteX26" fmla="*/ 52388 w 344804"/>
                <a:gd name="connsiteY26" fmla="*/ 172498 h 250507"/>
                <a:gd name="connsiteX27" fmla="*/ 60007 w 344804"/>
                <a:gd name="connsiteY27" fmla="*/ 193358 h 250507"/>
                <a:gd name="connsiteX28" fmla="*/ 49530 w 344804"/>
                <a:gd name="connsiteY28" fmla="*/ 201073 h 250507"/>
                <a:gd name="connsiteX29" fmla="*/ 56197 w 344804"/>
                <a:gd name="connsiteY29" fmla="*/ 218218 h 250507"/>
                <a:gd name="connsiteX30" fmla="*/ 66675 w 344804"/>
                <a:gd name="connsiteY30" fmla="*/ 218218 h 250507"/>
                <a:gd name="connsiteX31" fmla="*/ 77153 w 344804"/>
                <a:gd name="connsiteY31" fmla="*/ 225838 h 250507"/>
                <a:gd name="connsiteX32" fmla="*/ 80963 w 344804"/>
                <a:gd name="connsiteY32" fmla="*/ 240125 h 250507"/>
                <a:gd name="connsiteX33" fmla="*/ 98107 w 344804"/>
                <a:gd name="connsiteY33" fmla="*/ 250508 h 250507"/>
                <a:gd name="connsiteX34" fmla="*/ 108585 w 344804"/>
                <a:gd name="connsiteY34" fmla="*/ 246793 h 250507"/>
                <a:gd name="connsiteX35" fmla="*/ 130492 w 344804"/>
                <a:gd name="connsiteY35" fmla="*/ 236220 h 250507"/>
                <a:gd name="connsiteX36" fmla="*/ 151447 w 344804"/>
                <a:gd name="connsiteY36" fmla="*/ 232505 h 250507"/>
                <a:gd name="connsiteX37" fmla="*/ 179070 w 344804"/>
                <a:gd name="connsiteY37" fmla="*/ 232505 h 250507"/>
                <a:gd name="connsiteX38" fmla="*/ 203835 w 344804"/>
                <a:gd name="connsiteY38" fmla="*/ 221933 h 250507"/>
                <a:gd name="connsiteX39" fmla="*/ 214313 w 344804"/>
                <a:gd name="connsiteY39" fmla="*/ 204788 h 250507"/>
                <a:gd name="connsiteX40" fmla="*/ 232410 w 344804"/>
                <a:gd name="connsiteY40" fmla="*/ 201073 h 250507"/>
                <a:gd name="connsiteX41" fmla="*/ 246697 w 344804"/>
                <a:gd name="connsiteY41" fmla="*/ 180118 h 250507"/>
                <a:gd name="connsiteX42" fmla="*/ 257175 w 344804"/>
                <a:gd name="connsiteY42" fmla="*/ 168688 h 250507"/>
                <a:gd name="connsiteX43" fmla="*/ 249555 w 344804"/>
                <a:gd name="connsiteY43" fmla="*/ 151543 h 250507"/>
                <a:gd name="connsiteX44" fmla="*/ 253365 w 344804"/>
                <a:gd name="connsiteY44" fmla="*/ 133350 h 250507"/>
                <a:gd name="connsiteX45" fmla="*/ 263842 w 344804"/>
                <a:gd name="connsiteY45" fmla="*/ 120110 h 250507"/>
                <a:gd name="connsiteX46" fmla="*/ 281940 w 344804"/>
                <a:gd name="connsiteY46" fmla="*/ 102013 h 250507"/>
                <a:gd name="connsiteX47" fmla="*/ 292417 w 344804"/>
                <a:gd name="connsiteY47" fmla="*/ 84868 h 250507"/>
                <a:gd name="connsiteX48" fmla="*/ 313372 w 344804"/>
                <a:gd name="connsiteY48" fmla="*/ 84868 h 250507"/>
                <a:gd name="connsiteX49" fmla="*/ 330517 w 344804"/>
                <a:gd name="connsiteY49" fmla="*/ 74295 h 250507"/>
                <a:gd name="connsiteX50" fmla="*/ 340995 w 344804"/>
                <a:gd name="connsiteY50" fmla="*/ 66675 h 250507"/>
                <a:gd name="connsiteX51" fmla="*/ 344805 w 344804"/>
                <a:gd name="connsiteY51" fmla="*/ 49625 h 250507"/>
                <a:gd name="connsiteX52" fmla="*/ 340995 w 344804"/>
                <a:gd name="connsiteY52" fmla="*/ 42005 h 250507"/>
                <a:gd name="connsiteX53" fmla="*/ 313372 w 344804"/>
                <a:gd name="connsiteY53" fmla="*/ 42005 h 250507"/>
                <a:gd name="connsiteX54" fmla="*/ 288607 w 344804"/>
                <a:gd name="connsiteY54" fmla="*/ 31433 h 250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344804" h="250507">
                  <a:moveTo>
                    <a:pt x="288607" y="31433"/>
                  </a:moveTo>
                  <a:lnTo>
                    <a:pt x="267653" y="35338"/>
                  </a:lnTo>
                  <a:lnTo>
                    <a:pt x="239078" y="24860"/>
                  </a:lnTo>
                  <a:lnTo>
                    <a:pt x="214313" y="14288"/>
                  </a:lnTo>
                  <a:lnTo>
                    <a:pt x="200978" y="14288"/>
                  </a:lnTo>
                  <a:lnTo>
                    <a:pt x="168592" y="10573"/>
                  </a:lnTo>
                  <a:lnTo>
                    <a:pt x="137160" y="14288"/>
                  </a:lnTo>
                  <a:lnTo>
                    <a:pt x="116205" y="6763"/>
                  </a:lnTo>
                  <a:lnTo>
                    <a:pt x="80963" y="2858"/>
                  </a:lnTo>
                  <a:lnTo>
                    <a:pt x="41910" y="0"/>
                  </a:lnTo>
                  <a:lnTo>
                    <a:pt x="27622" y="6763"/>
                  </a:lnTo>
                  <a:lnTo>
                    <a:pt x="6667" y="14288"/>
                  </a:lnTo>
                  <a:lnTo>
                    <a:pt x="0" y="21050"/>
                  </a:lnTo>
                  <a:lnTo>
                    <a:pt x="10478" y="39148"/>
                  </a:lnTo>
                  <a:lnTo>
                    <a:pt x="17145" y="49625"/>
                  </a:lnTo>
                  <a:lnTo>
                    <a:pt x="27622" y="52388"/>
                  </a:lnTo>
                  <a:lnTo>
                    <a:pt x="39053" y="62960"/>
                  </a:lnTo>
                  <a:lnTo>
                    <a:pt x="77153" y="60008"/>
                  </a:lnTo>
                  <a:lnTo>
                    <a:pt x="87630" y="74295"/>
                  </a:lnTo>
                  <a:lnTo>
                    <a:pt x="84772" y="84868"/>
                  </a:lnTo>
                  <a:lnTo>
                    <a:pt x="66675" y="87725"/>
                  </a:lnTo>
                  <a:lnTo>
                    <a:pt x="66675" y="130588"/>
                  </a:lnTo>
                  <a:lnTo>
                    <a:pt x="62865" y="137255"/>
                  </a:lnTo>
                  <a:lnTo>
                    <a:pt x="52388" y="144875"/>
                  </a:lnTo>
                  <a:lnTo>
                    <a:pt x="52388" y="151543"/>
                  </a:lnTo>
                  <a:lnTo>
                    <a:pt x="62865" y="165830"/>
                  </a:lnTo>
                  <a:lnTo>
                    <a:pt x="52388" y="172498"/>
                  </a:lnTo>
                  <a:lnTo>
                    <a:pt x="60007" y="193358"/>
                  </a:lnTo>
                  <a:lnTo>
                    <a:pt x="49530" y="201073"/>
                  </a:lnTo>
                  <a:lnTo>
                    <a:pt x="56197" y="218218"/>
                  </a:lnTo>
                  <a:lnTo>
                    <a:pt x="66675" y="218218"/>
                  </a:lnTo>
                  <a:lnTo>
                    <a:pt x="77153" y="225838"/>
                  </a:lnTo>
                  <a:lnTo>
                    <a:pt x="80963" y="240125"/>
                  </a:lnTo>
                  <a:lnTo>
                    <a:pt x="98107" y="250508"/>
                  </a:lnTo>
                  <a:lnTo>
                    <a:pt x="108585" y="246793"/>
                  </a:lnTo>
                  <a:lnTo>
                    <a:pt x="130492" y="236220"/>
                  </a:lnTo>
                  <a:lnTo>
                    <a:pt x="151447" y="232505"/>
                  </a:lnTo>
                  <a:lnTo>
                    <a:pt x="179070" y="232505"/>
                  </a:lnTo>
                  <a:lnTo>
                    <a:pt x="203835" y="221933"/>
                  </a:lnTo>
                  <a:lnTo>
                    <a:pt x="214313" y="204788"/>
                  </a:lnTo>
                  <a:lnTo>
                    <a:pt x="232410" y="201073"/>
                  </a:lnTo>
                  <a:lnTo>
                    <a:pt x="246697" y="180118"/>
                  </a:lnTo>
                  <a:lnTo>
                    <a:pt x="257175" y="168688"/>
                  </a:lnTo>
                  <a:lnTo>
                    <a:pt x="249555" y="151543"/>
                  </a:lnTo>
                  <a:lnTo>
                    <a:pt x="253365" y="133350"/>
                  </a:lnTo>
                  <a:lnTo>
                    <a:pt x="263842" y="120110"/>
                  </a:lnTo>
                  <a:lnTo>
                    <a:pt x="281940" y="102013"/>
                  </a:lnTo>
                  <a:lnTo>
                    <a:pt x="292417" y="84868"/>
                  </a:lnTo>
                  <a:lnTo>
                    <a:pt x="313372" y="84868"/>
                  </a:lnTo>
                  <a:lnTo>
                    <a:pt x="330517" y="74295"/>
                  </a:lnTo>
                  <a:lnTo>
                    <a:pt x="340995" y="66675"/>
                  </a:lnTo>
                  <a:lnTo>
                    <a:pt x="344805" y="49625"/>
                  </a:lnTo>
                  <a:lnTo>
                    <a:pt x="340995" y="42005"/>
                  </a:lnTo>
                  <a:lnTo>
                    <a:pt x="313372" y="42005"/>
                  </a:lnTo>
                  <a:lnTo>
                    <a:pt x="288607" y="3143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07" name="Freeform: Shape 3906">
              <a:extLst>
                <a:ext uri="{FF2B5EF4-FFF2-40B4-BE49-F238E27FC236}">
                  <a16:creationId xmlns:a16="http://schemas.microsoft.com/office/drawing/2014/main" id="{2829B0AE-F2FD-0964-0F8F-8637EF02D8F9}"/>
                </a:ext>
              </a:extLst>
            </p:cNvPr>
            <p:cNvSpPr/>
            <p:nvPr/>
          </p:nvSpPr>
          <p:spPr>
            <a:xfrm>
              <a:off x="6068550" y="2999252"/>
              <a:ext cx="103643" cy="65361"/>
            </a:xfrm>
            <a:custGeom>
              <a:avLst/>
              <a:gdLst>
                <a:gd name="connsiteX0" fmla="*/ 42863 w 105727"/>
                <a:gd name="connsiteY0" fmla="*/ 45720 h 66675"/>
                <a:gd name="connsiteX1" fmla="*/ 63818 w 105727"/>
                <a:gd name="connsiteY1" fmla="*/ 52388 h 66675"/>
                <a:gd name="connsiteX2" fmla="*/ 67628 w 105727"/>
                <a:gd name="connsiteY2" fmla="*/ 60008 h 66675"/>
                <a:gd name="connsiteX3" fmla="*/ 80963 w 105727"/>
                <a:gd name="connsiteY3" fmla="*/ 66675 h 66675"/>
                <a:gd name="connsiteX4" fmla="*/ 92393 w 105727"/>
                <a:gd name="connsiteY4" fmla="*/ 66675 h 66675"/>
                <a:gd name="connsiteX5" fmla="*/ 92393 w 105727"/>
                <a:gd name="connsiteY5" fmla="*/ 45720 h 66675"/>
                <a:gd name="connsiteX6" fmla="*/ 102870 w 105727"/>
                <a:gd name="connsiteY6" fmla="*/ 45720 h 66675"/>
                <a:gd name="connsiteX7" fmla="*/ 105728 w 105727"/>
                <a:gd name="connsiteY7" fmla="*/ 35338 h 66675"/>
                <a:gd name="connsiteX8" fmla="*/ 99060 w 105727"/>
                <a:gd name="connsiteY8" fmla="*/ 21050 h 66675"/>
                <a:gd name="connsiteX9" fmla="*/ 88583 w 105727"/>
                <a:gd name="connsiteY9" fmla="*/ 6763 h 66675"/>
                <a:gd name="connsiteX10" fmla="*/ 88583 w 105727"/>
                <a:gd name="connsiteY10" fmla="*/ 6763 h 66675"/>
                <a:gd name="connsiteX11" fmla="*/ 67628 w 105727"/>
                <a:gd name="connsiteY11" fmla="*/ 0 h 66675"/>
                <a:gd name="connsiteX12" fmla="*/ 45720 w 105727"/>
                <a:gd name="connsiteY12" fmla="*/ 2858 h 66675"/>
                <a:gd name="connsiteX13" fmla="*/ 21908 w 105727"/>
                <a:gd name="connsiteY13" fmla="*/ 2858 h 66675"/>
                <a:gd name="connsiteX14" fmla="*/ 0 w 105727"/>
                <a:gd name="connsiteY14" fmla="*/ 10573 h 66675"/>
                <a:gd name="connsiteX15" fmla="*/ 18098 w 105727"/>
                <a:gd name="connsiteY15" fmla="*/ 24860 h 66675"/>
                <a:gd name="connsiteX16" fmla="*/ 42863 w 105727"/>
                <a:gd name="connsiteY16" fmla="*/ 4572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727" h="66675">
                  <a:moveTo>
                    <a:pt x="42863" y="45720"/>
                  </a:moveTo>
                  <a:lnTo>
                    <a:pt x="63818" y="52388"/>
                  </a:lnTo>
                  <a:lnTo>
                    <a:pt x="67628" y="60008"/>
                  </a:lnTo>
                  <a:lnTo>
                    <a:pt x="80963" y="66675"/>
                  </a:lnTo>
                  <a:lnTo>
                    <a:pt x="92393" y="66675"/>
                  </a:lnTo>
                  <a:lnTo>
                    <a:pt x="92393" y="45720"/>
                  </a:lnTo>
                  <a:lnTo>
                    <a:pt x="102870" y="45720"/>
                  </a:lnTo>
                  <a:lnTo>
                    <a:pt x="105728" y="35338"/>
                  </a:lnTo>
                  <a:lnTo>
                    <a:pt x="99060" y="21050"/>
                  </a:lnTo>
                  <a:lnTo>
                    <a:pt x="88583" y="6763"/>
                  </a:lnTo>
                  <a:lnTo>
                    <a:pt x="88583" y="6763"/>
                  </a:lnTo>
                  <a:lnTo>
                    <a:pt x="67628" y="0"/>
                  </a:lnTo>
                  <a:lnTo>
                    <a:pt x="45720" y="2858"/>
                  </a:lnTo>
                  <a:lnTo>
                    <a:pt x="21908" y="2858"/>
                  </a:lnTo>
                  <a:lnTo>
                    <a:pt x="0" y="10573"/>
                  </a:lnTo>
                  <a:lnTo>
                    <a:pt x="18098" y="24860"/>
                  </a:lnTo>
                  <a:lnTo>
                    <a:pt x="42863" y="4572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08" name="Freeform: Shape 3907">
              <a:extLst>
                <a:ext uri="{FF2B5EF4-FFF2-40B4-BE49-F238E27FC236}">
                  <a16:creationId xmlns:a16="http://schemas.microsoft.com/office/drawing/2014/main" id="{7B555420-3D28-DA5A-EBE0-FE4587F4A7A2}"/>
                </a:ext>
              </a:extLst>
            </p:cNvPr>
            <p:cNvSpPr/>
            <p:nvPr/>
          </p:nvSpPr>
          <p:spPr>
            <a:xfrm>
              <a:off x="6090026" y="2919885"/>
              <a:ext cx="102709" cy="96174"/>
            </a:xfrm>
            <a:custGeom>
              <a:avLst/>
              <a:gdLst>
                <a:gd name="connsiteX0" fmla="*/ 45720 w 104774"/>
                <a:gd name="connsiteY0" fmla="*/ 80963 h 98107"/>
                <a:gd name="connsiteX1" fmla="*/ 59055 w 104774"/>
                <a:gd name="connsiteY1" fmla="*/ 83820 h 98107"/>
                <a:gd name="connsiteX2" fmla="*/ 66675 w 104774"/>
                <a:gd name="connsiteY2" fmla="*/ 87725 h 98107"/>
                <a:gd name="connsiteX3" fmla="*/ 66675 w 104774"/>
                <a:gd name="connsiteY3" fmla="*/ 87725 h 98107"/>
                <a:gd name="connsiteX4" fmla="*/ 77153 w 104774"/>
                <a:gd name="connsiteY4" fmla="*/ 98108 h 98107"/>
                <a:gd name="connsiteX5" fmla="*/ 77153 w 104774"/>
                <a:gd name="connsiteY5" fmla="*/ 80963 h 98107"/>
                <a:gd name="connsiteX6" fmla="*/ 77153 w 104774"/>
                <a:gd name="connsiteY6" fmla="*/ 66675 h 98107"/>
                <a:gd name="connsiteX7" fmla="*/ 87630 w 104774"/>
                <a:gd name="connsiteY7" fmla="*/ 60008 h 98107"/>
                <a:gd name="connsiteX8" fmla="*/ 98107 w 104774"/>
                <a:gd name="connsiteY8" fmla="*/ 52388 h 98107"/>
                <a:gd name="connsiteX9" fmla="*/ 98107 w 104774"/>
                <a:gd name="connsiteY9" fmla="*/ 35338 h 98107"/>
                <a:gd name="connsiteX10" fmla="*/ 104775 w 104774"/>
                <a:gd name="connsiteY10" fmla="*/ 23813 h 98107"/>
                <a:gd name="connsiteX11" fmla="*/ 94297 w 104774"/>
                <a:gd name="connsiteY11" fmla="*/ 0 h 98107"/>
                <a:gd name="connsiteX12" fmla="*/ 73342 w 104774"/>
                <a:gd name="connsiteY12" fmla="*/ 2858 h 98107"/>
                <a:gd name="connsiteX13" fmla="*/ 59055 w 104774"/>
                <a:gd name="connsiteY13" fmla="*/ 13430 h 98107"/>
                <a:gd name="connsiteX14" fmla="*/ 66675 w 104774"/>
                <a:gd name="connsiteY14" fmla="*/ 35338 h 98107"/>
                <a:gd name="connsiteX15" fmla="*/ 56197 w 104774"/>
                <a:gd name="connsiteY15" fmla="*/ 42005 h 98107"/>
                <a:gd name="connsiteX16" fmla="*/ 52388 w 104774"/>
                <a:gd name="connsiteY16" fmla="*/ 31433 h 98107"/>
                <a:gd name="connsiteX17" fmla="*/ 45720 w 104774"/>
                <a:gd name="connsiteY17" fmla="*/ 21050 h 98107"/>
                <a:gd name="connsiteX18" fmla="*/ 31432 w 104774"/>
                <a:gd name="connsiteY18" fmla="*/ 27718 h 98107"/>
                <a:gd name="connsiteX19" fmla="*/ 27622 w 104774"/>
                <a:gd name="connsiteY19" fmla="*/ 38100 h 98107"/>
                <a:gd name="connsiteX20" fmla="*/ 27622 w 104774"/>
                <a:gd name="connsiteY20" fmla="*/ 56293 h 98107"/>
                <a:gd name="connsiteX21" fmla="*/ 17145 w 104774"/>
                <a:gd name="connsiteY21" fmla="*/ 70580 h 98107"/>
                <a:gd name="connsiteX22" fmla="*/ 0 w 104774"/>
                <a:gd name="connsiteY22" fmla="*/ 83820 h 98107"/>
                <a:gd name="connsiteX23" fmla="*/ 23813 w 104774"/>
                <a:gd name="connsiteY23" fmla="*/ 83820 h 98107"/>
                <a:gd name="connsiteX24" fmla="*/ 45720 w 104774"/>
                <a:gd name="connsiteY24" fmla="*/ 80963 h 981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4774" h="98107">
                  <a:moveTo>
                    <a:pt x="45720" y="80963"/>
                  </a:moveTo>
                  <a:lnTo>
                    <a:pt x="59055" y="83820"/>
                  </a:lnTo>
                  <a:lnTo>
                    <a:pt x="66675" y="87725"/>
                  </a:lnTo>
                  <a:lnTo>
                    <a:pt x="66675" y="87725"/>
                  </a:lnTo>
                  <a:lnTo>
                    <a:pt x="77153" y="98108"/>
                  </a:lnTo>
                  <a:lnTo>
                    <a:pt x="77153" y="80963"/>
                  </a:lnTo>
                  <a:lnTo>
                    <a:pt x="77153" y="66675"/>
                  </a:lnTo>
                  <a:lnTo>
                    <a:pt x="87630" y="60008"/>
                  </a:lnTo>
                  <a:lnTo>
                    <a:pt x="98107" y="52388"/>
                  </a:lnTo>
                  <a:lnTo>
                    <a:pt x="98107" y="35338"/>
                  </a:lnTo>
                  <a:lnTo>
                    <a:pt x="104775" y="23813"/>
                  </a:lnTo>
                  <a:lnTo>
                    <a:pt x="94297" y="0"/>
                  </a:lnTo>
                  <a:lnTo>
                    <a:pt x="73342" y="2858"/>
                  </a:lnTo>
                  <a:lnTo>
                    <a:pt x="59055" y="13430"/>
                  </a:lnTo>
                  <a:lnTo>
                    <a:pt x="66675" y="35338"/>
                  </a:lnTo>
                  <a:lnTo>
                    <a:pt x="56197" y="42005"/>
                  </a:lnTo>
                  <a:lnTo>
                    <a:pt x="52388" y="31433"/>
                  </a:lnTo>
                  <a:lnTo>
                    <a:pt x="45720" y="21050"/>
                  </a:lnTo>
                  <a:lnTo>
                    <a:pt x="31432" y="27718"/>
                  </a:lnTo>
                  <a:lnTo>
                    <a:pt x="27622" y="38100"/>
                  </a:lnTo>
                  <a:lnTo>
                    <a:pt x="27622" y="56293"/>
                  </a:lnTo>
                  <a:lnTo>
                    <a:pt x="17145" y="70580"/>
                  </a:lnTo>
                  <a:lnTo>
                    <a:pt x="0" y="83820"/>
                  </a:lnTo>
                  <a:lnTo>
                    <a:pt x="23813" y="83820"/>
                  </a:lnTo>
                  <a:lnTo>
                    <a:pt x="45720" y="8096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09" name="Freeform: Shape 3908">
              <a:extLst>
                <a:ext uri="{FF2B5EF4-FFF2-40B4-BE49-F238E27FC236}">
                  <a16:creationId xmlns:a16="http://schemas.microsoft.com/office/drawing/2014/main" id="{744E61A9-7EA4-9C6D-AE75-C003231503EC}"/>
                </a:ext>
              </a:extLst>
            </p:cNvPr>
            <p:cNvSpPr/>
            <p:nvPr/>
          </p:nvSpPr>
          <p:spPr>
            <a:xfrm>
              <a:off x="6134844" y="2999252"/>
              <a:ext cx="20542" cy="6629"/>
            </a:xfrm>
            <a:custGeom>
              <a:avLst/>
              <a:gdLst>
                <a:gd name="connsiteX0" fmla="*/ 0 w 20955"/>
                <a:gd name="connsiteY0" fmla="*/ 0 h 6762"/>
                <a:gd name="connsiteX1" fmla="*/ 20955 w 20955"/>
                <a:gd name="connsiteY1" fmla="*/ 6763 h 6762"/>
                <a:gd name="connsiteX2" fmla="*/ 13335 w 20955"/>
                <a:gd name="connsiteY2" fmla="*/ 2858 h 6762"/>
                <a:gd name="connsiteX3" fmla="*/ 0 w 20955"/>
                <a:gd name="connsiteY3" fmla="*/ 0 h 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55" h="6762">
                  <a:moveTo>
                    <a:pt x="0" y="0"/>
                  </a:moveTo>
                  <a:lnTo>
                    <a:pt x="20955" y="6763"/>
                  </a:lnTo>
                  <a:lnTo>
                    <a:pt x="13335" y="285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10" name="Freeform: Shape 3909">
              <a:extLst>
                <a:ext uri="{FF2B5EF4-FFF2-40B4-BE49-F238E27FC236}">
                  <a16:creationId xmlns:a16="http://schemas.microsoft.com/office/drawing/2014/main" id="{353DA454-94F9-6D4C-FA6D-56BD914C6F91}"/>
                </a:ext>
              </a:extLst>
            </p:cNvPr>
            <p:cNvSpPr/>
            <p:nvPr/>
          </p:nvSpPr>
          <p:spPr>
            <a:xfrm>
              <a:off x="6186199" y="3151451"/>
              <a:ext cx="323069" cy="303462"/>
            </a:xfrm>
            <a:custGeom>
              <a:avLst/>
              <a:gdLst>
                <a:gd name="connsiteX0" fmla="*/ 280035 w 329565"/>
                <a:gd name="connsiteY0" fmla="*/ 278130 h 309562"/>
                <a:gd name="connsiteX1" fmla="*/ 294322 w 329565"/>
                <a:gd name="connsiteY1" fmla="*/ 274415 h 309562"/>
                <a:gd name="connsiteX2" fmla="*/ 290513 w 329565"/>
                <a:gd name="connsiteY2" fmla="*/ 267748 h 309562"/>
                <a:gd name="connsiteX3" fmla="*/ 283845 w 329565"/>
                <a:gd name="connsiteY3" fmla="*/ 261080 h 309562"/>
                <a:gd name="connsiteX4" fmla="*/ 273367 w 329565"/>
                <a:gd name="connsiteY4" fmla="*/ 246793 h 309562"/>
                <a:gd name="connsiteX5" fmla="*/ 280035 w 329565"/>
                <a:gd name="connsiteY5" fmla="*/ 232505 h 309562"/>
                <a:gd name="connsiteX6" fmla="*/ 294322 w 329565"/>
                <a:gd name="connsiteY6" fmla="*/ 228600 h 309562"/>
                <a:gd name="connsiteX7" fmla="*/ 308610 w 329565"/>
                <a:gd name="connsiteY7" fmla="*/ 239173 h 309562"/>
                <a:gd name="connsiteX8" fmla="*/ 319088 w 329565"/>
                <a:gd name="connsiteY8" fmla="*/ 249555 h 309562"/>
                <a:gd name="connsiteX9" fmla="*/ 329565 w 329565"/>
                <a:gd name="connsiteY9" fmla="*/ 242888 h 309562"/>
                <a:gd name="connsiteX10" fmla="*/ 321945 w 329565"/>
                <a:gd name="connsiteY10" fmla="*/ 232505 h 309562"/>
                <a:gd name="connsiteX11" fmla="*/ 308610 w 329565"/>
                <a:gd name="connsiteY11" fmla="*/ 218218 h 309562"/>
                <a:gd name="connsiteX12" fmla="*/ 283845 w 329565"/>
                <a:gd name="connsiteY12" fmla="*/ 207740 h 309562"/>
                <a:gd name="connsiteX13" fmla="*/ 265747 w 329565"/>
                <a:gd name="connsiteY13" fmla="*/ 201073 h 309562"/>
                <a:gd name="connsiteX14" fmla="*/ 255270 w 329565"/>
                <a:gd name="connsiteY14" fmla="*/ 190500 h 309562"/>
                <a:gd name="connsiteX15" fmla="*/ 262890 w 329565"/>
                <a:gd name="connsiteY15" fmla="*/ 186785 h 309562"/>
                <a:gd name="connsiteX16" fmla="*/ 255270 w 329565"/>
                <a:gd name="connsiteY16" fmla="*/ 179165 h 309562"/>
                <a:gd name="connsiteX17" fmla="*/ 227647 w 329565"/>
                <a:gd name="connsiteY17" fmla="*/ 179165 h 309562"/>
                <a:gd name="connsiteX18" fmla="*/ 209550 w 329565"/>
                <a:gd name="connsiteY18" fmla="*/ 165830 h 309562"/>
                <a:gd name="connsiteX19" fmla="*/ 199072 w 329565"/>
                <a:gd name="connsiteY19" fmla="*/ 147638 h 309562"/>
                <a:gd name="connsiteX20" fmla="*/ 195263 w 329565"/>
                <a:gd name="connsiteY20" fmla="*/ 126778 h 309562"/>
                <a:gd name="connsiteX21" fmla="*/ 178117 w 329565"/>
                <a:gd name="connsiteY21" fmla="*/ 116205 h 309562"/>
                <a:gd name="connsiteX22" fmla="*/ 160020 w 329565"/>
                <a:gd name="connsiteY22" fmla="*/ 105823 h 309562"/>
                <a:gd name="connsiteX23" fmla="*/ 146685 w 329565"/>
                <a:gd name="connsiteY23" fmla="*/ 91535 h 309562"/>
                <a:gd name="connsiteX24" fmla="*/ 146685 w 329565"/>
                <a:gd name="connsiteY24" fmla="*/ 73342 h 309562"/>
                <a:gd name="connsiteX25" fmla="*/ 146685 w 329565"/>
                <a:gd name="connsiteY25" fmla="*/ 56293 h 309562"/>
                <a:gd name="connsiteX26" fmla="*/ 167640 w 329565"/>
                <a:gd name="connsiteY26" fmla="*/ 45815 h 309562"/>
                <a:gd name="connsiteX27" fmla="*/ 178117 w 329565"/>
                <a:gd name="connsiteY27" fmla="*/ 42005 h 309562"/>
                <a:gd name="connsiteX28" fmla="*/ 181928 w 329565"/>
                <a:gd name="connsiteY28" fmla="*/ 27718 h 309562"/>
                <a:gd name="connsiteX29" fmla="*/ 192405 w 329565"/>
                <a:gd name="connsiteY29" fmla="*/ 13430 h 309562"/>
                <a:gd name="connsiteX30" fmla="*/ 163830 w 329565"/>
                <a:gd name="connsiteY30" fmla="*/ 17240 h 309562"/>
                <a:gd name="connsiteX31" fmla="*/ 146685 w 329565"/>
                <a:gd name="connsiteY31" fmla="*/ 10573 h 309562"/>
                <a:gd name="connsiteX32" fmla="*/ 146685 w 329565"/>
                <a:gd name="connsiteY32" fmla="*/ 0 h 309562"/>
                <a:gd name="connsiteX33" fmla="*/ 120015 w 329565"/>
                <a:gd name="connsiteY33" fmla="*/ 0 h 309562"/>
                <a:gd name="connsiteX34" fmla="*/ 116205 w 329565"/>
                <a:gd name="connsiteY34" fmla="*/ 10573 h 309562"/>
                <a:gd name="connsiteX35" fmla="*/ 99060 w 329565"/>
                <a:gd name="connsiteY35" fmla="*/ 10573 h 309562"/>
                <a:gd name="connsiteX36" fmla="*/ 91440 w 329565"/>
                <a:gd name="connsiteY36" fmla="*/ 24860 h 309562"/>
                <a:gd name="connsiteX37" fmla="*/ 74295 w 329565"/>
                <a:gd name="connsiteY37" fmla="*/ 27718 h 309562"/>
                <a:gd name="connsiteX38" fmla="*/ 63817 w 329565"/>
                <a:gd name="connsiteY38" fmla="*/ 17240 h 309562"/>
                <a:gd name="connsiteX39" fmla="*/ 63817 w 329565"/>
                <a:gd name="connsiteY39" fmla="*/ 35242 h 309562"/>
                <a:gd name="connsiteX40" fmla="*/ 56197 w 329565"/>
                <a:gd name="connsiteY40" fmla="*/ 38100 h 309562"/>
                <a:gd name="connsiteX41" fmla="*/ 56197 w 329565"/>
                <a:gd name="connsiteY41" fmla="*/ 38100 h 309562"/>
                <a:gd name="connsiteX42" fmla="*/ 56197 w 329565"/>
                <a:gd name="connsiteY42" fmla="*/ 38100 h 309562"/>
                <a:gd name="connsiteX43" fmla="*/ 45720 w 329565"/>
                <a:gd name="connsiteY43" fmla="*/ 35242 h 309562"/>
                <a:gd name="connsiteX44" fmla="*/ 35242 w 329565"/>
                <a:gd name="connsiteY44" fmla="*/ 27718 h 309562"/>
                <a:gd name="connsiteX45" fmla="*/ 28575 w 329565"/>
                <a:gd name="connsiteY45" fmla="*/ 31528 h 309562"/>
                <a:gd name="connsiteX46" fmla="*/ 28575 w 329565"/>
                <a:gd name="connsiteY46" fmla="*/ 38100 h 309562"/>
                <a:gd name="connsiteX47" fmla="*/ 3810 w 329565"/>
                <a:gd name="connsiteY47" fmla="*/ 42005 h 309562"/>
                <a:gd name="connsiteX48" fmla="*/ 3810 w 329565"/>
                <a:gd name="connsiteY48" fmla="*/ 52388 h 309562"/>
                <a:gd name="connsiteX49" fmla="*/ 6667 w 329565"/>
                <a:gd name="connsiteY49" fmla="*/ 60103 h 309562"/>
                <a:gd name="connsiteX50" fmla="*/ 0 w 329565"/>
                <a:gd name="connsiteY50" fmla="*/ 73342 h 309562"/>
                <a:gd name="connsiteX51" fmla="*/ 3810 w 329565"/>
                <a:gd name="connsiteY51" fmla="*/ 101917 h 309562"/>
                <a:gd name="connsiteX52" fmla="*/ 18097 w 329565"/>
                <a:gd name="connsiteY52" fmla="*/ 101917 h 309562"/>
                <a:gd name="connsiteX53" fmla="*/ 18097 w 329565"/>
                <a:gd name="connsiteY53" fmla="*/ 116205 h 309562"/>
                <a:gd name="connsiteX54" fmla="*/ 31433 w 329565"/>
                <a:gd name="connsiteY54" fmla="*/ 112490 h 309562"/>
                <a:gd name="connsiteX55" fmla="*/ 35242 w 329565"/>
                <a:gd name="connsiteY55" fmla="*/ 101917 h 309562"/>
                <a:gd name="connsiteX56" fmla="*/ 45720 w 329565"/>
                <a:gd name="connsiteY56" fmla="*/ 91535 h 309562"/>
                <a:gd name="connsiteX57" fmla="*/ 70485 w 329565"/>
                <a:gd name="connsiteY57" fmla="*/ 98203 h 309562"/>
                <a:gd name="connsiteX58" fmla="*/ 91440 w 329565"/>
                <a:gd name="connsiteY58" fmla="*/ 105823 h 309562"/>
                <a:gd name="connsiteX59" fmla="*/ 95250 w 329565"/>
                <a:gd name="connsiteY59" fmla="*/ 119063 h 309562"/>
                <a:gd name="connsiteX60" fmla="*/ 99060 w 329565"/>
                <a:gd name="connsiteY60" fmla="*/ 147638 h 309562"/>
                <a:gd name="connsiteX61" fmla="*/ 132397 w 329565"/>
                <a:gd name="connsiteY61" fmla="*/ 161925 h 309562"/>
                <a:gd name="connsiteX62" fmla="*/ 146685 w 329565"/>
                <a:gd name="connsiteY62" fmla="*/ 168592 h 309562"/>
                <a:gd name="connsiteX63" fmla="*/ 167640 w 329565"/>
                <a:gd name="connsiteY63" fmla="*/ 197167 h 309562"/>
                <a:gd name="connsiteX64" fmla="*/ 192405 w 329565"/>
                <a:gd name="connsiteY64" fmla="*/ 197167 h 309562"/>
                <a:gd name="connsiteX65" fmla="*/ 209550 w 329565"/>
                <a:gd name="connsiteY65" fmla="*/ 222028 h 309562"/>
                <a:gd name="connsiteX66" fmla="*/ 227647 w 329565"/>
                <a:gd name="connsiteY66" fmla="*/ 222028 h 309562"/>
                <a:gd name="connsiteX67" fmla="*/ 230505 w 329565"/>
                <a:gd name="connsiteY67" fmla="*/ 232505 h 309562"/>
                <a:gd name="connsiteX68" fmla="*/ 251460 w 329565"/>
                <a:gd name="connsiteY68" fmla="*/ 239173 h 309562"/>
                <a:gd name="connsiteX69" fmla="*/ 259080 w 329565"/>
                <a:gd name="connsiteY69" fmla="*/ 261080 h 309562"/>
                <a:gd name="connsiteX70" fmla="*/ 251460 w 329565"/>
                <a:gd name="connsiteY70" fmla="*/ 284893 h 309562"/>
                <a:gd name="connsiteX71" fmla="*/ 248603 w 329565"/>
                <a:gd name="connsiteY71" fmla="*/ 299180 h 309562"/>
                <a:gd name="connsiteX72" fmla="*/ 255270 w 329565"/>
                <a:gd name="connsiteY72" fmla="*/ 309563 h 309562"/>
                <a:gd name="connsiteX73" fmla="*/ 265747 w 329565"/>
                <a:gd name="connsiteY73" fmla="*/ 302990 h 309562"/>
                <a:gd name="connsiteX74" fmla="*/ 276225 w 329565"/>
                <a:gd name="connsiteY74" fmla="*/ 288703 h 309562"/>
                <a:gd name="connsiteX75" fmla="*/ 280035 w 329565"/>
                <a:gd name="connsiteY75" fmla="*/ 278130 h 3095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329565" h="309562">
                  <a:moveTo>
                    <a:pt x="280035" y="278130"/>
                  </a:moveTo>
                  <a:lnTo>
                    <a:pt x="294322" y="274415"/>
                  </a:lnTo>
                  <a:lnTo>
                    <a:pt x="290513" y="267748"/>
                  </a:lnTo>
                  <a:lnTo>
                    <a:pt x="283845" y="261080"/>
                  </a:lnTo>
                  <a:lnTo>
                    <a:pt x="273367" y="246793"/>
                  </a:lnTo>
                  <a:lnTo>
                    <a:pt x="280035" y="232505"/>
                  </a:lnTo>
                  <a:lnTo>
                    <a:pt x="294322" y="228600"/>
                  </a:lnTo>
                  <a:lnTo>
                    <a:pt x="308610" y="239173"/>
                  </a:lnTo>
                  <a:lnTo>
                    <a:pt x="319088" y="249555"/>
                  </a:lnTo>
                  <a:lnTo>
                    <a:pt x="329565" y="242888"/>
                  </a:lnTo>
                  <a:lnTo>
                    <a:pt x="321945" y="232505"/>
                  </a:lnTo>
                  <a:lnTo>
                    <a:pt x="308610" y="218218"/>
                  </a:lnTo>
                  <a:lnTo>
                    <a:pt x="283845" y="207740"/>
                  </a:lnTo>
                  <a:lnTo>
                    <a:pt x="265747" y="201073"/>
                  </a:lnTo>
                  <a:lnTo>
                    <a:pt x="255270" y="190500"/>
                  </a:lnTo>
                  <a:lnTo>
                    <a:pt x="262890" y="186785"/>
                  </a:lnTo>
                  <a:lnTo>
                    <a:pt x="255270" y="179165"/>
                  </a:lnTo>
                  <a:lnTo>
                    <a:pt x="227647" y="179165"/>
                  </a:lnTo>
                  <a:lnTo>
                    <a:pt x="209550" y="165830"/>
                  </a:lnTo>
                  <a:lnTo>
                    <a:pt x="199072" y="147638"/>
                  </a:lnTo>
                  <a:lnTo>
                    <a:pt x="195263" y="126778"/>
                  </a:lnTo>
                  <a:lnTo>
                    <a:pt x="178117" y="116205"/>
                  </a:lnTo>
                  <a:lnTo>
                    <a:pt x="160020" y="105823"/>
                  </a:lnTo>
                  <a:lnTo>
                    <a:pt x="146685" y="91535"/>
                  </a:lnTo>
                  <a:lnTo>
                    <a:pt x="146685" y="73342"/>
                  </a:lnTo>
                  <a:lnTo>
                    <a:pt x="146685" y="56293"/>
                  </a:lnTo>
                  <a:lnTo>
                    <a:pt x="167640" y="45815"/>
                  </a:lnTo>
                  <a:lnTo>
                    <a:pt x="178117" y="42005"/>
                  </a:lnTo>
                  <a:lnTo>
                    <a:pt x="181928" y="27718"/>
                  </a:lnTo>
                  <a:lnTo>
                    <a:pt x="192405" y="13430"/>
                  </a:lnTo>
                  <a:lnTo>
                    <a:pt x="163830" y="17240"/>
                  </a:lnTo>
                  <a:lnTo>
                    <a:pt x="146685" y="10573"/>
                  </a:lnTo>
                  <a:lnTo>
                    <a:pt x="146685" y="0"/>
                  </a:lnTo>
                  <a:lnTo>
                    <a:pt x="120015" y="0"/>
                  </a:lnTo>
                  <a:lnTo>
                    <a:pt x="116205" y="10573"/>
                  </a:lnTo>
                  <a:lnTo>
                    <a:pt x="99060" y="10573"/>
                  </a:lnTo>
                  <a:lnTo>
                    <a:pt x="91440" y="24860"/>
                  </a:lnTo>
                  <a:lnTo>
                    <a:pt x="74295" y="27718"/>
                  </a:lnTo>
                  <a:lnTo>
                    <a:pt x="63817" y="17240"/>
                  </a:lnTo>
                  <a:lnTo>
                    <a:pt x="63817" y="35242"/>
                  </a:lnTo>
                  <a:lnTo>
                    <a:pt x="56197" y="38100"/>
                  </a:lnTo>
                  <a:lnTo>
                    <a:pt x="56197" y="38100"/>
                  </a:lnTo>
                  <a:lnTo>
                    <a:pt x="56197" y="38100"/>
                  </a:lnTo>
                  <a:lnTo>
                    <a:pt x="45720" y="35242"/>
                  </a:lnTo>
                  <a:lnTo>
                    <a:pt x="35242" y="27718"/>
                  </a:lnTo>
                  <a:lnTo>
                    <a:pt x="28575" y="31528"/>
                  </a:lnTo>
                  <a:lnTo>
                    <a:pt x="28575" y="38100"/>
                  </a:lnTo>
                  <a:lnTo>
                    <a:pt x="3810" y="42005"/>
                  </a:lnTo>
                  <a:lnTo>
                    <a:pt x="3810" y="52388"/>
                  </a:lnTo>
                  <a:lnTo>
                    <a:pt x="6667" y="60103"/>
                  </a:lnTo>
                  <a:lnTo>
                    <a:pt x="0" y="73342"/>
                  </a:lnTo>
                  <a:lnTo>
                    <a:pt x="3810" y="101917"/>
                  </a:lnTo>
                  <a:lnTo>
                    <a:pt x="18097" y="101917"/>
                  </a:lnTo>
                  <a:lnTo>
                    <a:pt x="18097" y="116205"/>
                  </a:lnTo>
                  <a:lnTo>
                    <a:pt x="31433" y="112490"/>
                  </a:lnTo>
                  <a:lnTo>
                    <a:pt x="35242" y="101917"/>
                  </a:lnTo>
                  <a:lnTo>
                    <a:pt x="45720" y="91535"/>
                  </a:lnTo>
                  <a:lnTo>
                    <a:pt x="70485" y="98203"/>
                  </a:lnTo>
                  <a:lnTo>
                    <a:pt x="91440" y="105823"/>
                  </a:lnTo>
                  <a:lnTo>
                    <a:pt x="95250" y="119063"/>
                  </a:lnTo>
                  <a:lnTo>
                    <a:pt x="99060" y="147638"/>
                  </a:lnTo>
                  <a:lnTo>
                    <a:pt x="132397" y="161925"/>
                  </a:lnTo>
                  <a:lnTo>
                    <a:pt x="146685" y="168592"/>
                  </a:lnTo>
                  <a:lnTo>
                    <a:pt x="167640" y="197167"/>
                  </a:lnTo>
                  <a:lnTo>
                    <a:pt x="192405" y="197167"/>
                  </a:lnTo>
                  <a:lnTo>
                    <a:pt x="209550" y="222028"/>
                  </a:lnTo>
                  <a:lnTo>
                    <a:pt x="227647" y="222028"/>
                  </a:lnTo>
                  <a:lnTo>
                    <a:pt x="230505" y="232505"/>
                  </a:lnTo>
                  <a:lnTo>
                    <a:pt x="251460" y="239173"/>
                  </a:lnTo>
                  <a:lnTo>
                    <a:pt x="259080" y="261080"/>
                  </a:lnTo>
                  <a:lnTo>
                    <a:pt x="251460" y="284893"/>
                  </a:lnTo>
                  <a:lnTo>
                    <a:pt x="248603" y="299180"/>
                  </a:lnTo>
                  <a:lnTo>
                    <a:pt x="255270" y="309563"/>
                  </a:lnTo>
                  <a:lnTo>
                    <a:pt x="265747" y="302990"/>
                  </a:lnTo>
                  <a:lnTo>
                    <a:pt x="276225" y="288703"/>
                  </a:lnTo>
                  <a:lnTo>
                    <a:pt x="280035" y="27813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11" name="Freeform: Shape 3910">
              <a:extLst>
                <a:ext uri="{FF2B5EF4-FFF2-40B4-BE49-F238E27FC236}">
                  <a16:creationId xmlns:a16="http://schemas.microsoft.com/office/drawing/2014/main" id="{B8722DA8-D2DD-35B8-FAB5-4813D830A496}"/>
                </a:ext>
              </a:extLst>
            </p:cNvPr>
            <p:cNvSpPr/>
            <p:nvPr/>
          </p:nvSpPr>
          <p:spPr>
            <a:xfrm>
              <a:off x="6231018" y="3185998"/>
              <a:ext cx="10270" cy="2801"/>
            </a:xfrm>
            <a:custGeom>
              <a:avLst/>
              <a:gdLst>
                <a:gd name="connsiteX0" fmla="*/ 10477 w 10477"/>
                <a:gd name="connsiteY0" fmla="*/ 2858 h 2857"/>
                <a:gd name="connsiteX1" fmla="*/ 10477 w 10477"/>
                <a:gd name="connsiteY1" fmla="*/ 2858 h 2857"/>
                <a:gd name="connsiteX2" fmla="*/ 0 w 10477"/>
                <a:gd name="connsiteY2" fmla="*/ 0 h 2857"/>
                <a:gd name="connsiteX3" fmla="*/ 10477 w 10477"/>
                <a:gd name="connsiteY3" fmla="*/ 2858 h 28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" h="2857">
                  <a:moveTo>
                    <a:pt x="10477" y="2858"/>
                  </a:moveTo>
                  <a:lnTo>
                    <a:pt x="10477" y="2858"/>
                  </a:lnTo>
                  <a:lnTo>
                    <a:pt x="0" y="0"/>
                  </a:lnTo>
                  <a:lnTo>
                    <a:pt x="10477" y="285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12" name="Freeform: Shape 3911">
              <a:extLst>
                <a:ext uri="{FF2B5EF4-FFF2-40B4-BE49-F238E27FC236}">
                  <a16:creationId xmlns:a16="http://schemas.microsoft.com/office/drawing/2014/main" id="{E34F3BE8-2026-525B-447E-1D178FB405CB}"/>
                </a:ext>
              </a:extLst>
            </p:cNvPr>
            <p:cNvSpPr/>
            <p:nvPr/>
          </p:nvSpPr>
          <p:spPr>
            <a:xfrm>
              <a:off x="9122763" y="5159908"/>
              <a:ext cx="10270" cy="10271"/>
            </a:xfrm>
            <a:custGeom>
              <a:avLst/>
              <a:gdLst>
                <a:gd name="connsiteX0" fmla="*/ 0 w 10477"/>
                <a:gd name="connsiteY0" fmla="*/ 0 h 10477"/>
                <a:gd name="connsiteX1" fmla="*/ 0 w 10477"/>
                <a:gd name="connsiteY1" fmla="*/ 0 h 10477"/>
                <a:gd name="connsiteX2" fmla="*/ 10477 w 10477"/>
                <a:gd name="connsiteY2" fmla="*/ 10478 h 10477"/>
                <a:gd name="connsiteX3" fmla="*/ 0 w 10477"/>
                <a:gd name="connsiteY3" fmla="*/ 0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" h="10477">
                  <a:moveTo>
                    <a:pt x="0" y="0"/>
                  </a:moveTo>
                  <a:lnTo>
                    <a:pt x="0" y="0"/>
                  </a:lnTo>
                  <a:lnTo>
                    <a:pt x="10477" y="104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13" name="Freeform: Shape 3912">
              <a:extLst>
                <a:ext uri="{FF2B5EF4-FFF2-40B4-BE49-F238E27FC236}">
                  <a16:creationId xmlns:a16="http://schemas.microsoft.com/office/drawing/2014/main" id="{E6BC46F8-4E46-CC87-8811-24A989935F93}"/>
                </a:ext>
              </a:extLst>
            </p:cNvPr>
            <p:cNvSpPr/>
            <p:nvPr/>
          </p:nvSpPr>
          <p:spPr>
            <a:xfrm>
              <a:off x="9478511" y="4931143"/>
              <a:ext cx="16806" cy="10271"/>
            </a:xfrm>
            <a:custGeom>
              <a:avLst/>
              <a:gdLst>
                <a:gd name="connsiteX0" fmla="*/ 0 w 17144"/>
                <a:gd name="connsiteY0" fmla="*/ 0 h 10477"/>
                <a:gd name="connsiteX1" fmla="*/ 0 w 17144"/>
                <a:gd name="connsiteY1" fmla="*/ 0 h 10477"/>
                <a:gd name="connsiteX2" fmla="*/ 17145 w 17144"/>
                <a:gd name="connsiteY2" fmla="*/ 10478 h 10477"/>
                <a:gd name="connsiteX3" fmla="*/ 0 w 17144"/>
                <a:gd name="connsiteY3" fmla="*/ 0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4" h="10477">
                  <a:moveTo>
                    <a:pt x="0" y="0"/>
                  </a:moveTo>
                  <a:lnTo>
                    <a:pt x="0" y="0"/>
                  </a:lnTo>
                  <a:lnTo>
                    <a:pt x="17145" y="104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14" name="Freeform: Shape 3913">
              <a:extLst>
                <a:ext uri="{FF2B5EF4-FFF2-40B4-BE49-F238E27FC236}">
                  <a16:creationId xmlns:a16="http://schemas.microsoft.com/office/drawing/2014/main" id="{6D496C3A-DE1A-324D-97E1-A0660C00AB4E}"/>
                </a:ext>
              </a:extLst>
            </p:cNvPr>
            <p:cNvSpPr/>
            <p:nvPr/>
          </p:nvSpPr>
          <p:spPr>
            <a:xfrm>
              <a:off x="9785707" y="5529666"/>
              <a:ext cx="13071" cy="24370"/>
            </a:xfrm>
            <a:custGeom>
              <a:avLst/>
              <a:gdLst>
                <a:gd name="connsiteX0" fmla="*/ 0 w 13334"/>
                <a:gd name="connsiteY0" fmla="*/ 0 h 24860"/>
                <a:gd name="connsiteX1" fmla="*/ 13335 w 13334"/>
                <a:gd name="connsiteY1" fmla="*/ 6763 h 24860"/>
                <a:gd name="connsiteX2" fmla="*/ 2857 w 13334"/>
                <a:gd name="connsiteY2" fmla="*/ 24860 h 24860"/>
                <a:gd name="connsiteX3" fmla="*/ 13335 w 13334"/>
                <a:gd name="connsiteY3" fmla="*/ 6763 h 24860"/>
                <a:gd name="connsiteX4" fmla="*/ 0 w 13334"/>
                <a:gd name="connsiteY4" fmla="*/ 0 h 2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334" h="24860">
                  <a:moveTo>
                    <a:pt x="0" y="0"/>
                  </a:moveTo>
                  <a:lnTo>
                    <a:pt x="13335" y="6763"/>
                  </a:lnTo>
                  <a:lnTo>
                    <a:pt x="2857" y="24860"/>
                  </a:lnTo>
                  <a:lnTo>
                    <a:pt x="13335" y="67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15" name="Freeform: Shape 3914">
              <a:extLst>
                <a:ext uri="{FF2B5EF4-FFF2-40B4-BE49-F238E27FC236}">
                  <a16:creationId xmlns:a16="http://schemas.microsoft.com/office/drawing/2014/main" id="{3B3C1096-526E-9054-FFD6-A52C8BEF850F}"/>
                </a:ext>
              </a:extLst>
            </p:cNvPr>
            <p:cNvSpPr/>
            <p:nvPr/>
          </p:nvSpPr>
          <p:spPr>
            <a:xfrm>
              <a:off x="10006065" y="5664123"/>
              <a:ext cx="14005" cy="6629"/>
            </a:xfrm>
            <a:custGeom>
              <a:avLst/>
              <a:gdLst>
                <a:gd name="connsiteX0" fmla="*/ 0 w 14287"/>
                <a:gd name="connsiteY0" fmla="*/ 6763 h 6762"/>
                <a:gd name="connsiteX1" fmla="*/ 10477 w 14287"/>
                <a:gd name="connsiteY1" fmla="*/ 3905 h 6762"/>
                <a:gd name="connsiteX2" fmla="*/ 14288 w 14287"/>
                <a:gd name="connsiteY2" fmla="*/ 0 h 6762"/>
                <a:gd name="connsiteX3" fmla="*/ 10477 w 14287"/>
                <a:gd name="connsiteY3" fmla="*/ 3905 h 6762"/>
                <a:gd name="connsiteX4" fmla="*/ 0 w 14287"/>
                <a:gd name="connsiteY4" fmla="*/ 6763 h 6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87" h="6762">
                  <a:moveTo>
                    <a:pt x="0" y="6763"/>
                  </a:moveTo>
                  <a:lnTo>
                    <a:pt x="10477" y="3905"/>
                  </a:lnTo>
                  <a:lnTo>
                    <a:pt x="14288" y="0"/>
                  </a:lnTo>
                  <a:lnTo>
                    <a:pt x="10477" y="3905"/>
                  </a:lnTo>
                  <a:lnTo>
                    <a:pt x="0" y="676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16" name="Freeform: Shape 3915">
              <a:extLst>
                <a:ext uri="{FF2B5EF4-FFF2-40B4-BE49-F238E27FC236}">
                  <a16:creationId xmlns:a16="http://schemas.microsoft.com/office/drawing/2014/main" id="{AEC51594-813B-BA3E-0FC6-E73DD8D99B0A}"/>
                </a:ext>
              </a:extLst>
            </p:cNvPr>
            <p:cNvSpPr/>
            <p:nvPr/>
          </p:nvSpPr>
          <p:spPr>
            <a:xfrm>
              <a:off x="10006065" y="5062800"/>
              <a:ext cx="31747" cy="24370"/>
            </a:xfrm>
            <a:custGeom>
              <a:avLst/>
              <a:gdLst>
                <a:gd name="connsiteX0" fmla="*/ 32385 w 32385"/>
                <a:gd name="connsiteY0" fmla="*/ 24860 h 24860"/>
                <a:gd name="connsiteX1" fmla="*/ 10477 w 32385"/>
                <a:gd name="connsiteY1" fmla="*/ 17240 h 24860"/>
                <a:gd name="connsiteX2" fmla="*/ 0 w 32385"/>
                <a:gd name="connsiteY2" fmla="*/ 0 h 24860"/>
                <a:gd name="connsiteX3" fmla="*/ 10477 w 32385"/>
                <a:gd name="connsiteY3" fmla="*/ 17240 h 24860"/>
                <a:gd name="connsiteX4" fmla="*/ 32385 w 32385"/>
                <a:gd name="connsiteY4" fmla="*/ 24860 h 24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385" h="24860">
                  <a:moveTo>
                    <a:pt x="32385" y="24860"/>
                  </a:moveTo>
                  <a:lnTo>
                    <a:pt x="10477" y="17240"/>
                  </a:lnTo>
                  <a:lnTo>
                    <a:pt x="0" y="0"/>
                  </a:lnTo>
                  <a:lnTo>
                    <a:pt x="10477" y="17240"/>
                  </a:lnTo>
                  <a:lnTo>
                    <a:pt x="32385" y="2486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17" name="Freeform: Shape 3916">
              <a:extLst>
                <a:ext uri="{FF2B5EF4-FFF2-40B4-BE49-F238E27FC236}">
                  <a16:creationId xmlns:a16="http://schemas.microsoft.com/office/drawing/2014/main" id="{DB677D3C-43E3-4217-B175-1B2710698A0F}"/>
                </a:ext>
              </a:extLst>
            </p:cNvPr>
            <p:cNvSpPr/>
            <p:nvPr/>
          </p:nvSpPr>
          <p:spPr>
            <a:xfrm>
              <a:off x="10192810" y="5335542"/>
              <a:ext cx="10270" cy="69095"/>
            </a:xfrm>
            <a:custGeom>
              <a:avLst/>
              <a:gdLst>
                <a:gd name="connsiteX0" fmla="*/ 10477 w 10477"/>
                <a:gd name="connsiteY0" fmla="*/ 32385 h 70484"/>
                <a:gd name="connsiteX1" fmla="*/ 0 w 10477"/>
                <a:gd name="connsiteY1" fmla="*/ 70485 h 70484"/>
                <a:gd name="connsiteX2" fmla="*/ 10477 w 10477"/>
                <a:gd name="connsiteY2" fmla="*/ 32385 h 70484"/>
                <a:gd name="connsiteX3" fmla="*/ 6668 w 10477"/>
                <a:gd name="connsiteY3" fmla="*/ 0 h 70484"/>
                <a:gd name="connsiteX4" fmla="*/ 10477 w 10477"/>
                <a:gd name="connsiteY4" fmla="*/ 32385 h 70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" h="70484">
                  <a:moveTo>
                    <a:pt x="10477" y="32385"/>
                  </a:moveTo>
                  <a:lnTo>
                    <a:pt x="0" y="70485"/>
                  </a:lnTo>
                  <a:lnTo>
                    <a:pt x="10477" y="32385"/>
                  </a:lnTo>
                  <a:lnTo>
                    <a:pt x="6668" y="0"/>
                  </a:lnTo>
                  <a:lnTo>
                    <a:pt x="10477" y="3238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18" name="Freeform: Shape 3917">
              <a:extLst>
                <a:ext uri="{FF2B5EF4-FFF2-40B4-BE49-F238E27FC236}">
                  <a16:creationId xmlns:a16="http://schemas.microsoft.com/office/drawing/2014/main" id="{766B4387-A2E6-5366-CF50-287603FAFB2E}"/>
                </a:ext>
              </a:extLst>
            </p:cNvPr>
            <p:cNvSpPr/>
            <p:nvPr/>
          </p:nvSpPr>
          <p:spPr>
            <a:xfrm>
              <a:off x="9592426" y="4882683"/>
              <a:ext cx="16806" cy="3734"/>
            </a:xfrm>
            <a:custGeom>
              <a:avLst/>
              <a:gdLst>
                <a:gd name="connsiteX0" fmla="*/ 0 w 17144"/>
                <a:gd name="connsiteY0" fmla="*/ 0 h 3809"/>
                <a:gd name="connsiteX1" fmla="*/ 0 w 17144"/>
                <a:gd name="connsiteY1" fmla="*/ 0 h 3809"/>
                <a:gd name="connsiteX2" fmla="*/ 17145 w 17144"/>
                <a:gd name="connsiteY2" fmla="*/ 3810 h 3809"/>
                <a:gd name="connsiteX3" fmla="*/ 0 w 17144"/>
                <a:gd name="connsiteY3" fmla="*/ 0 h 38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44" h="3809">
                  <a:moveTo>
                    <a:pt x="0" y="0"/>
                  </a:moveTo>
                  <a:lnTo>
                    <a:pt x="0" y="0"/>
                  </a:lnTo>
                  <a:lnTo>
                    <a:pt x="17145" y="3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19" name="Freeform: Shape 3918">
              <a:extLst>
                <a:ext uri="{FF2B5EF4-FFF2-40B4-BE49-F238E27FC236}">
                  <a16:creationId xmlns:a16="http://schemas.microsoft.com/office/drawing/2014/main" id="{F44FD9CC-4107-B1FE-E122-490EE84D4494}"/>
                </a:ext>
              </a:extLst>
            </p:cNvPr>
            <p:cNvSpPr/>
            <p:nvPr/>
          </p:nvSpPr>
          <p:spPr>
            <a:xfrm>
              <a:off x="9381404" y="5484940"/>
              <a:ext cx="34547" cy="30720"/>
            </a:xfrm>
            <a:custGeom>
              <a:avLst/>
              <a:gdLst>
                <a:gd name="connsiteX0" fmla="*/ 10478 w 35242"/>
                <a:gd name="connsiteY0" fmla="*/ 20860 h 31337"/>
                <a:gd name="connsiteX1" fmla="*/ 0 w 35242"/>
                <a:gd name="connsiteY1" fmla="*/ 31337 h 31337"/>
                <a:gd name="connsiteX2" fmla="*/ 10478 w 35242"/>
                <a:gd name="connsiteY2" fmla="*/ 20860 h 31337"/>
                <a:gd name="connsiteX3" fmla="*/ 14288 w 35242"/>
                <a:gd name="connsiteY3" fmla="*/ 6572 h 31337"/>
                <a:gd name="connsiteX4" fmla="*/ 35243 w 35242"/>
                <a:gd name="connsiteY4" fmla="*/ 0 h 31337"/>
                <a:gd name="connsiteX5" fmla="*/ 14288 w 35242"/>
                <a:gd name="connsiteY5" fmla="*/ 6572 h 31337"/>
                <a:gd name="connsiteX6" fmla="*/ 10478 w 35242"/>
                <a:gd name="connsiteY6" fmla="*/ 20860 h 31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242" h="31337">
                  <a:moveTo>
                    <a:pt x="10478" y="20860"/>
                  </a:moveTo>
                  <a:lnTo>
                    <a:pt x="0" y="31337"/>
                  </a:lnTo>
                  <a:lnTo>
                    <a:pt x="10478" y="20860"/>
                  </a:lnTo>
                  <a:lnTo>
                    <a:pt x="14288" y="6572"/>
                  </a:lnTo>
                  <a:lnTo>
                    <a:pt x="35243" y="0"/>
                  </a:lnTo>
                  <a:lnTo>
                    <a:pt x="14288" y="6572"/>
                  </a:lnTo>
                  <a:lnTo>
                    <a:pt x="10478" y="2086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20" name="Freeform: Shape 3919">
              <a:extLst>
                <a:ext uri="{FF2B5EF4-FFF2-40B4-BE49-F238E27FC236}">
                  <a16:creationId xmlns:a16="http://schemas.microsoft.com/office/drawing/2014/main" id="{4464FC10-19B0-3D1A-0316-D3E67524B4AF}"/>
                </a:ext>
              </a:extLst>
            </p:cNvPr>
            <p:cNvSpPr/>
            <p:nvPr/>
          </p:nvSpPr>
          <p:spPr>
            <a:xfrm>
              <a:off x="9505590" y="4951779"/>
              <a:ext cx="10270" cy="11205"/>
            </a:xfrm>
            <a:custGeom>
              <a:avLst/>
              <a:gdLst>
                <a:gd name="connsiteX0" fmla="*/ 10477 w 10477"/>
                <a:gd name="connsiteY0" fmla="*/ 11430 h 11430"/>
                <a:gd name="connsiteX1" fmla="*/ 0 w 10477"/>
                <a:gd name="connsiteY1" fmla="*/ 0 h 11430"/>
                <a:gd name="connsiteX2" fmla="*/ 10477 w 10477"/>
                <a:gd name="connsiteY2" fmla="*/ 11430 h 11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77" h="11430">
                  <a:moveTo>
                    <a:pt x="10477" y="11430"/>
                  </a:moveTo>
                  <a:lnTo>
                    <a:pt x="0" y="0"/>
                  </a:lnTo>
                  <a:lnTo>
                    <a:pt x="10477" y="1143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21" name="Freeform: Shape 3920">
              <a:extLst>
                <a:ext uri="{FF2B5EF4-FFF2-40B4-BE49-F238E27FC236}">
                  <a16:creationId xmlns:a16="http://schemas.microsoft.com/office/drawing/2014/main" id="{185395F9-5DA0-C4DE-2FE3-51CB8ADB3402}"/>
                </a:ext>
              </a:extLst>
            </p:cNvPr>
            <p:cNvSpPr/>
            <p:nvPr/>
          </p:nvSpPr>
          <p:spPr>
            <a:xfrm>
              <a:off x="9147039" y="4419552"/>
              <a:ext cx="27078" cy="26050"/>
            </a:xfrm>
            <a:custGeom>
              <a:avLst/>
              <a:gdLst>
                <a:gd name="connsiteX0" fmla="*/ 10477 w 27622"/>
                <a:gd name="connsiteY0" fmla="*/ 0 h 26574"/>
                <a:gd name="connsiteX1" fmla="*/ 2857 w 27622"/>
                <a:gd name="connsiteY1" fmla="*/ 3715 h 26574"/>
                <a:gd name="connsiteX2" fmla="*/ 0 w 27622"/>
                <a:gd name="connsiteY2" fmla="*/ 18002 h 26574"/>
                <a:gd name="connsiteX3" fmla="*/ 20955 w 27622"/>
                <a:gd name="connsiteY3" fmla="*/ 26575 h 26574"/>
                <a:gd name="connsiteX4" fmla="*/ 27623 w 27622"/>
                <a:gd name="connsiteY4" fmla="*/ 3715 h 26574"/>
                <a:gd name="connsiteX5" fmla="*/ 10477 w 27622"/>
                <a:gd name="connsiteY5" fmla="*/ 0 h 26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622" h="26574">
                  <a:moveTo>
                    <a:pt x="10477" y="0"/>
                  </a:moveTo>
                  <a:lnTo>
                    <a:pt x="2857" y="3715"/>
                  </a:lnTo>
                  <a:lnTo>
                    <a:pt x="0" y="18002"/>
                  </a:lnTo>
                  <a:lnTo>
                    <a:pt x="20955" y="26575"/>
                  </a:lnTo>
                  <a:lnTo>
                    <a:pt x="27623" y="3715"/>
                  </a:lnTo>
                  <a:lnTo>
                    <a:pt x="10477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22" name="Freeform: Shape 3921">
              <a:extLst>
                <a:ext uri="{FF2B5EF4-FFF2-40B4-BE49-F238E27FC236}">
                  <a16:creationId xmlns:a16="http://schemas.microsoft.com/office/drawing/2014/main" id="{C5991067-4963-9890-2C82-6BCCD5D58A18}"/>
                </a:ext>
              </a:extLst>
            </p:cNvPr>
            <p:cNvSpPr/>
            <p:nvPr/>
          </p:nvSpPr>
          <p:spPr>
            <a:xfrm>
              <a:off x="9005113" y="4357832"/>
              <a:ext cx="266111" cy="162468"/>
            </a:xfrm>
            <a:custGeom>
              <a:avLst/>
              <a:gdLst>
                <a:gd name="connsiteX0" fmla="*/ 144780 w 271462"/>
                <a:gd name="connsiteY0" fmla="*/ 80963 h 165734"/>
                <a:gd name="connsiteX1" fmla="*/ 134303 w 271462"/>
                <a:gd name="connsiteY1" fmla="*/ 80963 h 165734"/>
                <a:gd name="connsiteX2" fmla="*/ 120015 w 271462"/>
                <a:gd name="connsiteY2" fmla="*/ 70485 h 165734"/>
                <a:gd name="connsiteX3" fmla="*/ 105728 w 271462"/>
                <a:gd name="connsiteY3" fmla="*/ 95250 h 165734"/>
                <a:gd name="connsiteX4" fmla="*/ 91440 w 271462"/>
                <a:gd name="connsiteY4" fmla="*/ 112490 h 165734"/>
                <a:gd name="connsiteX5" fmla="*/ 70485 w 271462"/>
                <a:gd name="connsiteY5" fmla="*/ 108585 h 165734"/>
                <a:gd name="connsiteX6" fmla="*/ 49530 w 271462"/>
                <a:gd name="connsiteY6" fmla="*/ 116300 h 165734"/>
                <a:gd name="connsiteX7" fmla="*/ 39053 w 271462"/>
                <a:gd name="connsiteY7" fmla="*/ 137160 h 165734"/>
                <a:gd name="connsiteX8" fmla="*/ 45720 w 271462"/>
                <a:gd name="connsiteY8" fmla="*/ 147638 h 165734"/>
                <a:gd name="connsiteX9" fmla="*/ 49530 w 271462"/>
                <a:gd name="connsiteY9" fmla="*/ 155353 h 165734"/>
                <a:gd name="connsiteX10" fmla="*/ 35243 w 271462"/>
                <a:gd name="connsiteY10" fmla="*/ 161925 h 165734"/>
                <a:gd name="connsiteX11" fmla="*/ 24765 w 271462"/>
                <a:gd name="connsiteY11" fmla="*/ 147638 h 165734"/>
                <a:gd name="connsiteX12" fmla="*/ 18098 w 271462"/>
                <a:gd name="connsiteY12" fmla="*/ 141065 h 165734"/>
                <a:gd name="connsiteX13" fmla="*/ 0 w 271462"/>
                <a:gd name="connsiteY13" fmla="*/ 147638 h 165734"/>
                <a:gd name="connsiteX14" fmla="*/ 18098 w 271462"/>
                <a:gd name="connsiteY14" fmla="*/ 165735 h 165734"/>
                <a:gd name="connsiteX15" fmla="*/ 39053 w 271462"/>
                <a:gd name="connsiteY15" fmla="*/ 165735 h 165734"/>
                <a:gd name="connsiteX16" fmla="*/ 53340 w 271462"/>
                <a:gd name="connsiteY16" fmla="*/ 161925 h 165734"/>
                <a:gd name="connsiteX17" fmla="*/ 77153 w 271462"/>
                <a:gd name="connsiteY17" fmla="*/ 151447 h 165734"/>
                <a:gd name="connsiteX18" fmla="*/ 91440 w 271462"/>
                <a:gd name="connsiteY18" fmla="*/ 147638 h 165734"/>
                <a:gd name="connsiteX19" fmla="*/ 105728 w 271462"/>
                <a:gd name="connsiteY19" fmla="*/ 161925 h 165734"/>
                <a:gd name="connsiteX20" fmla="*/ 126682 w 271462"/>
                <a:gd name="connsiteY20" fmla="*/ 151447 h 165734"/>
                <a:gd name="connsiteX21" fmla="*/ 147638 w 271462"/>
                <a:gd name="connsiteY21" fmla="*/ 130588 h 165734"/>
                <a:gd name="connsiteX22" fmla="*/ 167640 w 271462"/>
                <a:gd name="connsiteY22" fmla="*/ 105823 h 165734"/>
                <a:gd name="connsiteX23" fmla="*/ 179070 w 271462"/>
                <a:gd name="connsiteY23" fmla="*/ 89535 h 165734"/>
                <a:gd name="connsiteX24" fmla="*/ 183832 w 271462"/>
                <a:gd name="connsiteY24" fmla="*/ 70485 h 165734"/>
                <a:gd name="connsiteX25" fmla="*/ 207645 w 271462"/>
                <a:gd name="connsiteY25" fmla="*/ 66675 h 165734"/>
                <a:gd name="connsiteX26" fmla="*/ 221932 w 271462"/>
                <a:gd name="connsiteY26" fmla="*/ 77248 h 165734"/>
                <a:gd name="connsiteX27" fmla="*/ 242888 w 271462"/>
                <a:gd name="connsiteY27" fmla="*/ 77248 h 165734"/>
                <a:gd name="connsiteX28" fmla="*/ 250507 w 271462"/>
                <a:gd name="connsiteY28" fmla="*/ 70485 h 165734"/>
                <a:gd name="connsiteX29" fmla="*/ 236220 w 271462"/>
                <a:gd name="connsiteY29" fmla="*/ 60103 h 165734"/>
                <a:gd name="connsiteX30" fmla="*/ 246698 w 271462"/>
                <a:gd name="connsiteY30" fmla="*/ 52388 h 165734"/>
                <a:gd name="connsiteX31" fmla="*/ 260985 w 271462"/>
                <a:gd name="connsiteY31" fmla="*/ 52388 h 165734"/>
                <a:gd name="connsiteX32" fmla="*/ 271463 w 271462"/>
                <a:gd name="connsiteY32" fmla="*/ 49625 h 165734"/>
                <a:gd name="connsiteX33" fmla="*/ 246698 w 271462"/>
                <a:gd name="connsiteY33" fmla="*/ 35338 h 165734"/>
                <a:gd name="connsiteX34" fmla="*/ 232410 w 271462"/>
                <a:gd name="connsiteY34" fmla="*/ 27622 h 165734"/>
                <a:gd name="connsiteX35" fmla="*/ 218123 w 271462"/>
                <a:gd name="connsiteY35" fmla="*/ 13335 h 165734"/>
                <a:gd name="connsiteX36" fmla="*/ 211455 w 271462"/>
                <a:gd name="connsiteY36" fmla="*/ 2953 h 165734"/>
                <a:gd name="connsiteX37" fmla="*/ 193357 w 271462"/>
                <a:gd name="connsiteY37" fmla="*/ 0 h 165734"/>
                <a:gd name="connsiteX38" fmla="*/ 180023 w 271462"/>
                <a:gd name="connsiteY38" fmla="*/ 17240 h 165734"/>
                <a:gd name="connsiteX39" fmla="*/ 169545 w 271462"/>
                <a:gd name="connsiteY39" fmla="*/ 31528 h 165734"/>
                <a:gd name="connsiteX40" fmla="*/ 161925 w 271462"/>
                <a:gd name="connsiteY40" fmla="*/ 38100 h 165734"/>
                <a:gd name="connsiteX41" fmla="*/ 155257 w 271462"/>
                <a:gd name="connsiteY41" fmla="*/ 49625 h 165734"/>
                <a:gd name="connsiteX42" fmla="*/ 172403 w 271462"/>
                <a:gd name="connsiteY42" fmla="*/ 62960 h 165734"/>
                <a:gd name="connsiteX43" fmla="*/ 169545 w 271462"/>
                <a:gd name="connsiteY43" fmla="*/ 77248 h 165734"/>
                <a:gd name="connsiteX44" fmla="*/ 165735 w 271462"/>
                <a:gd name="connsiteY44" fmla="*/ 89535 h 165734"/>
                <a:gd name="connsiteX45" fmla="*/ 144780 w 271462"/>
                <a:gd name="connsiteY45" fmla="*/ 80963 h 1657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71462" h="165734">
                  <a:moveTo>
                    <a:pt x="144780" y="80963"/>
                  </a:moveTo>
                  <a:lnTo>
                    <a:pt x="134303" y="80963"/>
                  </a:lnTo>
                  <a:lnTo>
                    <a:pt x="120015" y="70485"/>
                  </a:lnTo>
                  <a:lnTo>
                    <a:pt x="105728" y="95250"/>
                  </a:lnTo>
                  <a:lnTo>
                    <a:pt x="91440" y="112490"/>
                  </a:lnTo>
                  <a:lnTo>
                    <a:pt x="70485" y="108585"/>
                  </a:lnTo>
                  <a:lnTo>
                    <a:pt x="49530" y="116300"/>
                  </a:lnTo>
                  <a:lnTo>
                    <a:pt x="39053" y="137160"/>
                  </a:lnTo>
                  <a:lnTo>
                    <a:pt x="45720" y="147638"/>
                  </a:lnTo>
                  <a:lnTo>
                    <a:pt x="49530" y="155353"/>
                  </a:lnTo>
                  <a:lnTo>
                    <a:pt x="35243" y="161925"/>
                  </a:lnTo>
                  <a:lnTo>
                    <a:pt x="24765" y="147638"/>
                  </a:lnTo>
                  <a:lnTo>
                    <a:pt x="18098" y="141065"/>
                  </a:lnTo>
                  <a:lnTo>
                    <a:pt x="0" y="147638"/>
                  </a:lnTo>
                  <a:lnTo>
                    <a:pt x="18098" y="165735"/>
                  </a:lnTo>
                  <a:lnTo>
                    <a:pt x="39053" y="165735"/>
                  </a:lnTo>
                  <a:lnTo>
                    <a:pt x="53340" y="161925"/>
                  </a:lnTo>
                  <a:lnTo>
                    <a:pt x="77153" y="151447"/>
                  </a:lnTo>
                  <a:lnTo>
                    <a:pt x="91440" y="147638"/>
                  </a:lnTo>
                  <a:lnTo>
                    <a:pt x="105728" y="161925"/>
                  </a:lnTo>
                  <a:lnTo>
                    <a:pt x="126682" y="151447"/>
                  </a:lnTo>
                  <a:lnTo>
                    <a:pt x="147638" y="130588"/>
                  </a:lnTo>
                  <a:lnTo>
                    <a:pt x="167640" y="105823"/>
                  </a:lnTo>
                  <a:lnTo>
                    <a:pt x="179070" y="89535"/>
                  </a:lnTo>
                  <a:lnTo>
                    <a:pt x="183832" y="70485"/>
                  </a:lnTo>
                  <a:lnTo>
                    <a:pt x="207645" y="66675"/>
                  </a:lnTo>
                  <a:lnTo>
                    <a:pt x="221932" y="77248"/>
                  </a:lnTo>
                  <a:lnTo>
                    <a:pt x="242888" y="77248"/>
                  </a:lnTo>
                  <a:lnTo>
                    <a:pt x="250507" y="70485"/>
                  </a:lnTo>
                  <a:lnTo>
                    <a:pt x="236220" y="60103"/>
                  </a:lnTo>
                  <a:lnTo>
                    <a:pt x="246698" y="52388"/>
                  </a:lnTo>
                  <a:lnTo>
                    <a:pt x="260985" y="52388"/>
                  </a:lnTo>
                  <a:lnTo>
                    <a:pt x="271463" y="49625"/>
                  </a:lnTo>
                  <a:lnTo>
                    <a:pt x="246698" y="35338"/>
                  </a:lnTo>
                  <a:lnTo>
                    <a:pt x="232410" y="27622"/>
                  </a:lnTo>
                  <a:lnTo>
                    <a:pt x="218123" y="13335"/>
                  </a:lnTo>
                  <a:lnTo>
                    <a:pt x="211455" y="2953"/>
                  </a:lnTo>
                  <a:lnTo>
                    <a:pt x="193357" y="0"/>
                  </a:lnTo>
                  <a:lnTo>
                    <a:pt x="180023" y="17240"/>
                  </a:lnTo>
                  <a:lnTo>
                    <a:pt x="169545" y="31528"/>
                  </a:lnTo>
                  <a:lnTo>
                    <a:pt x="161925" y="38100"/>
                  </a:lnTo>
                  <a:lnTo>
                    <a:pt x="155257" y="49625"/>
                  </a:lnTo>
                  <a:lnTo>
                    <a:pt x="172403" y="62960"/>
                  </a:lnTo>
                  <a:lnTo>
                    <a:pt x="169545" y="77248"/>
                  </a:lnTo>
                  <a:lnTo>
                    <a:pt x="165735" y="89535"/>
                  </a:lnTo>
                  <a:lnTo>
                    <a:pt x="144780" y="8096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23" name="Freeform: Shape 3922">
              <a:extLst>
                <a:ext uri="{FF2B5EF4-FFF2-40B4-BE49-F238E27FC236}">
                  <a16:creationId xmlns:a16="http://schemas.microsoft.com/office/drawing/2014/main" id="{12F6D07A-A189-09D5-CD4F-4AD0F7CAD52E}"/>
                </a:ext>
              </a:extLst>
            </p:cNvPr>
            <p:cNvSpPr/>
            <p:nvPr/>
          </p:nvSpPr>
          <p:spPr>
            <a:xfrm>
              <a:off x="6643724" y="2684585"/>
              <a:ext cx="120450" cy="75725"/>
            </a:xfrm>
            <a:custGeom>
              <a:avLst/>
              <a:gdLst>
                <a:gd name="connsiteX0" fmla="*/ 122872 w 122872"/>
                <a:gd name="connsiteY0" fmla="*/ 6667 h 77247"/>
                <a:gd name="connsiteX1" fmla="*/ 95250 w 122872"/>
                <a:gd name="connsiteY1" fmla="*/ 10573 h 77247"/>
                <a:gd name="connsiteX2" fmla="*/ 70485 w 122872"/>
                <a:gd name="connsiteY2" fmla="*/ 0 h 77247"/>
                <a:gd name="connsiteX3" fmla="*/ 31432 w 122872"/>
                <a:gd name="connsiteY3" fmla="*/ 6667 h 77247"/>
                <a:gd name="connsiteX4" fmla="*/ 3810 w 122872"/>
                <a:gd name="connsiteY4" fmla="*/ 14288 h 77247"/>
                <a:gd name="connsiteX5" fmla="*/ 0 w 122872"/>
                <a:gd name="connsiteY5" fmla="*/ 35242 h 77247"/>
                <a:gd name="connsiteX6" fmla="*/ 10477 w 122872"/>
                <a:gd name="connsiteY6" fmla="*/ 52388 h 77247"/>
                <a:gd name="connsiteX7" fmla="*/ 24765 w 122872"/>
                <a:gd name="connsiteY7" fmla="*/ 52388 h 77247"/>
                <a:gd name="connsiteX8" fmla="*/ 28575 w 122872"/>
                <a:gd name="connsiteY8" fmla="*/ 62960 h 77247"/>
                <a:gd name="connsiteX9" fmla="*/ 49530 w 122872"/>
                <a:gd name="connsiteY9" fmla="*/ 62960 h 77247"/>
                <a:gd name="connsiteX10" fmla="*/ 70485 w 122872"/>
                <a:gd name="connsiteY10" fmla="*/ 70580 h 77247"/>
                <a:gd name="connsiteX11" fmla="*/ 91440 w 122872"/>
                <a:gd name="connsiteY11" fmla="*/ 77248 h 77247"/>
                <a:gd name="connsiteX12" fmla="*/ 109538 w 122872"/>
                <a:gd name="connsiteY12" fmla="*/ 77248 h 77247"/>
                <a:gd name="connsiteX13" fmla="*/ 112395 w 122872"/>
                <a:gd name="connsiteY13" fmla="*/ 56293 h 77247"/>
                <a:gd name="connsiteX14" fmla="*/ 112395 w 122872"/>
                <a:gd name="connsiteY14" fmla="*/ 27718 h 77247"/>
                <a:gd name="connsiteX15" fmla="*/ 122872 w 122872"/>
                <a:gd name="connsiteY15" fmla="*/ 6667 h 77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872" h="77247">
                  <a:moveTo>
                    <a:pt x="122872" y="6667"/>
                  </a:moveTo>
                  <a:lnTo>
                    <a:pt x="95250" y="10573"/>
                  </a:lnTo>
                  <a:lnTo>
                    <a:pt x="70485" y="0"/>
                  </a:lnTo>
                  <a:lnTo>
                    <a:pt x="31432" y="6667"/>
                  </a:lnTo>
                  <a:lnTo>
                    <a:pt x="3810" y="14288"/>
                  </a:lnTo>
                  <a:lnTo>
                    <a:pt x="0" y="35242"/>
                  </a:lnTo>
                  <a:lnTo>
                    <a:pt x="10477" y="52388"/>
                  </a:lnTo>
                  <a:lnTo>
                    <a:pt x="24765" y="52388"/>
                  </a:lnTo>
                  <a:lnTo>
                    <a:pt x="28575" y="62960"/>
                  </a:lnTo>
                  <a:lnTo>
                    <a:pt x="49530" y="62960"/>
                  </a:lnTo>
                  <a:lnTo>
                    <a:pt x="70485" y="70580"/>
                  </a:lnTo>
                  <a:lnTo>
                    <a:pt x="91440" y="77248"/>
                  </a:lnTo>
                  <a:lnTo>
                    <a:pt x="109538" y="77248"/>
                  </a:lnTo>
                  <a:lnTo>
                    <a:pt x="112395" y="56293"/>
                  </a:lnTo>
                  <a:lnTo>
                    <a:pt x="112395" y="27718"/>
                  </a:lnTo>
                  <a:lnTo>
                    <a:pt x="122872" y="6667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24" name="Freeform: Shape 3923">
              <a:extLst>
                <a:ext uri="{FF2B5EF4-FFF2-40B4-BE49-F238E27FC236}">
                  <a16:creationId xmlns:a16="http://schemas.microsoft.com/office/drawing/2014/main" id="{AA1B1CC3-A7B6-A525-E455-DACB0CC300A3}"/>
                </a:ext>
              </a:extLst>
            </p:cNvPr>
            <p:cNvSpPr/>
            <p:nvPr/>
          </p:nvSpPr>
          <p:spPr>
            <a:xfrm>
              <a:off x="8742737" y="4364461"/>
              <a:ext cx="110178" cy="141833"/>
            </a:xfrm>
            <a:custGeom>
              <a:avLst/>
              <a:gdLst>
                <a:gd name="connsiteX0" fmla="*/ 18097 w 112394"/>
                <a:gd name="connsiteY0" fmla="*/ 3810 h 144684"/>
                <a:gd name="connsiteX1" fmla="*/ 0 w 112394"/>
                <a:gd name="connsiteY1" fmla="*/ 0 h 144684"/>
                <a:gd name="connsiteX2" fmla="*/ 6668 w 112394"/>
                <a:gd name="connsiteY2" fmla="*/ 18097 h 144684"/>
                <a:gd name="connsiteX3" fmla="*/ 6668 w 112394"/>
                <a:gd name="connsiteY3" fmla="*/ 45625 h 144684"/>
                <a:gd name="connsiteX4" fmla="*/ 18097 w 112394"/>
                <a:gd name="connsiteY4" fmla="*/ 74200 h 144684"/>
                <a:gd name="connsiteX5" fmla="*/ 31432 w 112394"/>
                <a:gd name="connsiteY5" fmla="*/ 91440 h 144684"/>
                <a:gd name="connsiteX6" fmla="*/ 28575 w 112394"/>
                <a:gd name="connsiteY6" fmla="*/ 105728 h 144684"/>
                <a:gd name="connsiteX7" fmla="*/ 63818 w 112394"/>
                <a:gd name="connsiteY7" fmla="*/ 126587 h 144684"/>
                <a:gd name="connsiteX8" fmla="*/ 95250 w 112394"/>
                <a:gd name="connsiteY8" fmla="*/ 144685 h 144684"/>
                <a:gd name="connsiteX9" fmla="*/ 112395 w 112394"/>
                <a:gd name="connsiteY9" fmla="*/ 144685 h 144684"/>
                <a:gd name="connsiteX10" fmla="*/ 112395 w 112394"/>
                <a:gd name="connsiteY10" fmla="*/ 137160 h 144684"/>
                <a:gd name="connsiteX11" fmla="*/ 105727 w 112394"/>
                <a:gd name="connsiteY11" fmla="*/ 123825 h 144684"/>
                <a:gd name="connsiteX12" fmla="*/ 95250 w 112394"/>
                <a:gd name="connsiteY12" fmla="*/ 109538 h 144684"/>
                <a:gd name="connsiteX13" fmla="*/ 91440 w 112394"/>
                <a:gd name="connsiteY13" fmla="*/ 70485 h 144684"/>
                <a:gd name="connsiteX14" fmla="*/ 91440 w 112394"/>
                <a:gd name="connsiteY14" fmla="*/ 53340 h 144684"/>
                <a:gd name="connsiteX15" fmla="*/ 70485 w 112394"/>
                <a:gd name="connsiteY15" fmla="*/ 24765 h 144684"/>
                <a:gd name="connsiteX16" fmla="*/ 53340 w 112394"/>
                <a:gd name="connsiteY16" fmla="*/ 10478 h 144684"/>
                <a:gd name="connsiteX17" fmla="*/ 45720 w 112394"/>
                <a:gd name="connsiteY17" fmla="*/ 18097 h 144684"/>
                <a:gd name="connsiteX18" fmla="*/ 41910 w 112394"/>
                <a:gd name="connsiteY18" fmla="*/ 28575 h 144684"/>
                <a:gd name="connsiteX19" fmla="*/ 24765 w 112394"/>
                <a:gd name="connsiteY19" fmla="*/ 24765 h 144684"/>
                <a:gd name="connsiteX20" fmla="*/ 28575 w 112394"/>
                <a:gd name="connsiteY20" fmla="*/ 10478 h 144684"/>
                <a:gd name="connsiteX21" fmla="*/ 18097 w 112394"/>
                <a:gd name="connsiteY21" fmla="*/ 3810 h 144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2394" h="144684">
                  <a:moveTo>
                    <a:pt x="18097" y="3810"/>
                  </a:moveTo>
                  <a:lnTo>
                    <a:pt x="0" y="0"/>
                  </a:lnTo>
                  <a:lnTo>
                    <a:pt x="6668" y="18097"/>
                  </a:lnTo>
                  <a:lnTo>
                    <a:pt x="6668" y="45625"/>
                  </a:lnTo>
                  <a:lnTo>
                    <a:pt x="18097" y="74200"/>
                  </a:lnTo>
                  <a:lnTo>
                    <a:pt x="31432" y="91440"/>
                  </a:lnTo>
                  <a:lnTo>
                    <a:pt x="28575" y="105728"/>
                  </a:lnTo>
                  <a:lnTo>
                    <a:pt x="63818" y="126587"/>
                  </a:lnTo>
                  <a:lnTo>
                    <a:pt x="95250" y="144685"/>
                  </a:lnTo>
                  <a:lnTo>
                    <a:pt x="112395" y="144685"/>
                  </a:lnTo>
                  <a:lnTo>
                    <a:pt x="112395" y="137160"/>
                  </a:lnTo>
                  <a:lnTo>
                    <a:pt x="105727" y="123825"/>
                  </a:lnTo>
                  <a:lnTo>
                    <a:pt x="95250" y="109538"/>
                  </a:lnTo>
                  <a:lnTo>
                    <a:pt x="91440" y="70485"/>
                  </a:lnTo>
                  <a:lnTo>
                    <a:pt x="91440" y="53340"/>
                  </a:lnTo>
                  <a:lnTo>
                    <a:pt x="70485" y="24765"/>
                  </a:lnTo>
                  <a:lnTo>
                    <a:pt x="53340" y="10478"/>
                  </a:lnTo>
                  <a:lnTo>
                    <a:pt x="45720" y="18097"/>
                  </a:lnTo>
                  <a:lnTo>
                    <a:pt x="41910" y="28575"/>
                  </a:lnTo>
                  <a:lnTo>
                    <a:pt x="24765" y="24765"/>
                  </a:lnTo>
                  <a:lnTo>
                    <a:pt x="28575" y="10478"/>
                  </a:lnTo>
                  <a:lnTo>
                    <a:pt x="18097" y="381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25" name="Freeform: Shape 3924">
              <a:extLst>
                <a:ext uri="{FF2B5EF4-FFF2-40B4-BE49-F238E27FC236}">
                  <a16:creationId xmlns:a16="http://schemas.microsoft.com/office/drawing/2014/main" id="{E34F588D-ABD0-A40D-B660-977600ACBC64}"/>
                </a:ext>
              </a:extLst>
            </p:cNvPr>
            <p:cNvSpPr/>
            <p:nvPr/>
          </p:nvSpPr>
          <p:spPr>
            <a:xfrm>
              <a:off x="3134788" y="1872238"/>
              <a:ext cx="13071" cy="27078"/>
            </a:xfrm>
            <a:custGeom>
              <a:avLst/>
              <a:gdLst>
                <a:gd name="connsiteX0" fmla="*/ 0 w 13334"/>
                <a:gd name="connsiteY0" fmla="*/ 0 h 27622"/>
                <a:gd name="connsiteX1" fmla="*/ 13335 w 13334"/>
                <a:gd name="connsiteY1" fmla="*/ 27622 h 27622"/>
                <a:gd name="connsiteX2" fmla="*/ 0 w 13334"/>
                <a:gd name="connsiteY2" fmla="*/ 0 h 27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334" h="27622">
                  <a:moveTo>
                    <a:pt x="0" y="0"/>
                  </a:moveTo>
                  <a:lnTo>
                    <a:pt x="13335" y="276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26" name="Freeform: Shape 3925">
              <a:extLst>
                <a:ext uri="{FF2B5EF4-FFF2-40B4-BE49-F238E27FC236}">
                  <a16:creationId xmlns:a16="http://schemas.microsoft.com/office/drawing/2014/main" id="{084F986F-99A5-A791-DDCD-8C049C590AE9}"/>
                </a:ext>
              </a:extLst>
            </p:cNvPr>
            <p:cNvSpPr/>
            <p:nvPr/>
          </p:nvSpPr>
          <p:spPr>
            <a:xfrm>
              <a:off x="3244967" y="1864861"/>
              <a:ext cx="34547" cy="14005"/>
            </a:xfrm>
            <a:custGeom>
              <a:avLst/>
              <a:gdLst>
                <a:gd name="connsiteX0" fmla="*/ 35242 w 35242"/>
                <a:gd name="connsiteY0" fmla="*/ 14288 h 14287"/>
                <a:gd name="connsiteX1" fmla="*/ 24765 w 35242"/>
                <a:gd name="connsiteY1" fmla="*/ 3810 h 14287"/>
                <a:gd name="connsiteX2" fmla="*/ 0 w 35242"/>
                <a:gd name="connsiteY2" fmla="*/ 0 h 14287"/>
                <a:gd name="connsiteX3" fmla="*/ 24765 w 35242"/>
                <a:gd name="connsiteY3" fmla="*/ 3810 h 14287"/>
                <a:gd name="connsiteX4" fmla="*/ 35242 w 35242"/>
                <a:gd name="connsiteY4" fmla="*/ 1428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242" h="14287">
                  <a:moveTo>
                    <a:pt x="35242" y="14288"/>
                  </a:moveTo>
                  <a:lnTo>
                    <a:pt x="24765" y="3810"/>
                  </a:lnTo>
                  <a:lnTo>
                    <a:pt x="0" y="0"/>
                  </a:lnTo>
                  <a:lnTo>
                    <a:pt x="24765" y="3810"/>
                  </a:lnTo>
                  <a:lnTo>
                    <a:pt x="35242" y="1428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27" name="Freeform: Shape 3926">
              <a:extLst>
                <a:ext uri="{FF2B5EF4-FFF2-40B4-BE49-F238E27FC236}">
                  <a16:creationId xmlns:a16="http://schemas.microsoft.com/office/drawing/2014/main" id="{ACF3C2A5-5037-9962-8E08-3E0462497502}"/>
                </a:ext>
              </a:extLst>
            </p:cNvPr>
            <p:cNvSpPr/>
            <p:nvPr/>
          </p:nvSpPr>
          <p:spPr>
            <a:xfrm>
              <a:off x="3241233" y="1872238"/>
              <a:ext cx="10270" cy="14005"/>
            </a:xfrm>
            <a:custGeom>
              <a:avLst/>
              <a:gdLst>
                <a:gd name="connsiteX0" fmla="*/ 0 w 10477"/>
                <a:gd name="connsiteY0" fmla="*/ 0 h 14287"/>
                <a:gd name="connsiteX1" fmla="*/ 10478 w 10477"/>
                <a:gd name="connsiteY1" fmla="*/ 14288 h 14287"/>
                <a:gd name="connsiteX2" fmla="*/ 0 w 10477"/>
                <a:gd name="connsiteY2" fmla="*/ 0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77" h="14287">
                  <a:moveTo>
                    <a:pt x="0" y="0"/>
                  </a:moveTo>
                  <a:lnTo>
                    <a:pt x="10478" y="142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28" name="Freeform: Shape 3927">
              <a:extLst>
                <a:ext uri="{FF2B5EF4-FFF2-40B4-BE49-F238E27FC236}">
                  <a16:creationId xmlns:a16="http://schemas.microsoft.com/office/drawing/2014/main" id="{E136B5B2-C823-DB09-45E4-E7F67E229BBF}"/>
                </a:ext>
              </a:extLst>
            </p:cNvPr>
            <p:cNvSpPr/>
            <p:nvPr/>
          </p:nvSpPr>
          <p:spPr>
            <a:xfrm>
              <a:off x="3134788" y="1864861"/>
              <a:ext cx="193280" cy="97108"/>
            </a:xfrm>
            <a:custGeom>
              <a:avLst/>
              <a:gdLst>
                <a:gd name="connsiteX0" fmla="*/ 161925 w 197167"/>
                <a:gd name="connsiteY0" fmla="*/ 7525 h 99060"/>
                <a:gd name="connsiteX1" fmla="*/ 147638 w 197167"/>
                <a:gd name="connsiteY1" fmla="*/ 14288 h 99060"/>
                <a:gd name="connsiteX2" fmla="*/ 137160 w 197167"/>
                <a:gd name="connsiteY2" fmla="*/ 3810 h 99060"/>
                <a:gd name="connsiteX3" fmla="*/ 112395 w 197167"/>
                <a:gd name="connsiteY3" fmla="*/ 0 h 99060"/>
                <a:gd name="connsiteX4" fmla="*/ 108585 w 197167"/>
                <a:gd name="connsiteY4" fmla="*/ 7525 h 99060"/>
                <a:gd name="connsiteX5" fmla="*/ 119063 w 197167"/>
                <a:gd name="connsiteY5" fmla="*/ 21812 h 99060"/>
                <a:gd name="connsiteX6" fmla="*/ 129540 w 197167"/>
                <a:gd name="connsiteY6" fmla="*/ 35147 h 99060"/>
                <a:gd name="connsiteX7" fmla="*/ 122872 w 197167"/>
                <a:gd name="connsiteY7" fmla="*/ 46673 h 99060"/>
                <a:gd name="connsiteX8" fmla="*/ 101917 w 197167"/>
                <a:gd name="connsiteY8" fmla="*/ 28575 h 99060"/>
                <a:gd name="connsiteX9" fmla="*/ 83820 w 197167"/>
                <a:gd name="connsiteY9" fmla="*/ 14288 h 99060"/>
                <a:gd name="connsiteX10" fmla="*/ 70485 w 197167"/>
                <a:gd name="connsiteY10" fmla="*/ 18098 h 99060"/>
                <a:gd name="connsiteX11" fmla="*/ 70485 w 197167"/>
                <a:gd name="connsiteY11" fmla="*/ 28575 h 99060"/>
                <a:gd name="connsiteX12" fmla="*/ 83820 w 197167"/>
                <a:gd name="connsiteY12" fmla="*/ 42863 h 99060"/>
                <a:gd name="connsiteX13" fmla="*/ 70485 w 197167"/>
                <a:gd name="connsiteY13" fmla="*/ 46673 h 99060"/>
                <a:gd name="connsiteX14" fmla="*/ 45720 w 197167"/>
                <a:gd name="connsiteY14" fmla="*/ 24765 h 99060"/>
                <a:gd name="connsiteX15" fmla="*/ 31433 w 197167"/>
                <a:gd name="connsiteY15" fmla="*/ 11335 h 99060"/>
                <a:gd name="connsiteX16" fmla="*/ 13335 w 197167"/>
                <a:gd name="connsiteY16" fmla="*/ 0 h 99060"/>
                <a:gd name="connsiteX17" fmla="*/ 0 w 197167"/>
                <a:gd name="connsiteY17" fmla="*/ 7525 h 99060"/>
                <a:gd name="connsiteX18" fmla="*/ 13335 w 197167"/>
                <a:gd name="connsiteY18" fmla="*/ 35147 h 99060"/>
                <a:gd name="connsiteX19" fmla="*/ 45720 w 197167"/>
                <a:gd name="connsiteY19" fmla="*/ 59912 h 99060"/>
                <a:gd name="connsiteX20" fmla="*/ 62865 w 197167"/>
                <a:gd name="connsiteY20" fmla="*/ 67628 h 99060"/>
                <a:gd name="connsiteX21" fmla="*/ 83820 w 197167"/>
                <a:gd name="connsiteY21" fmla="*/ 59912 h 99060"/>
                <a:gd name="connsiteX22" fmla="*/ 101917 w 197167"/>
                <a:gd name="connsiteY22" fmla="*/ 59912 h 99060"/>
                <a:gd name="connsiteX23" fmla="*/ 119063 w 197167"/>
                <a:gd name="connsiteY23" fmla="*/ 63722 h 99060"/>
                <a:gd name="connsiteX24" fmla="*/ 129540 w 197167"/>
                <a:gd name="connsiteY24" fmla="*/ 63722 h 99060"/>
                <a:gd name="connsiteX25" fmla="*/ 116205 w 197167"/>
                <a:gd name="connsiteY25" fmla="*/ 78010 h 99060"/>
                <a:gd name="connsiteX26" fmla="*/ 122872 w 197167"/>
                <a:gd name="connsiteY26" fmla="*/ 99060 h 99060"/>
                <a:gd name="connsiteX27" fmla="*/ 161925 w 197167"/>
                <a:gd name="connsiteY27" fmla="*/ 95250 h 99060"/>
                <a:gd name="connsiteX28" fmla="*/ 182880 w 197167"/>
                <a:gd name="connsiteY28" fmla="*/ 92297 h 99060"/>
                <a:gd name="connsiteX29" fmla="*/ 182880 w 197167"/>
                <a:gd name="connsiteY29" fmla="*/ 70485 h 99060"/>
                <a:gd name="connsiteX30" fmla="*/ 197167 w 197167"/>
                <a:gd name="connsiteY30" fmla="*/ 63722 h 99060"/>
                <a:gd name="connsiteX31" fmla="*/ 193358 w 197167"/>
                <a:gd name="connsiteY31" fmla="*/ 49435 h 99060"/>
                <a:gd name="connsiteX32" fmla="*/ 189547 w 197167"/>
                <a:gd name="connsiteY32" fmla="*/ 18098 h 99060"/>
                <a:gd name="connsiteX33" fmla="*/ 182880 w 197167"/>
                <a:gd name="connsiteY33" fmla="*/ 7525 h 99060"/>
                <a:gd name="connsiteX34" fmla="*/ 161925 w 197167"/>
                <a:gd name="connsiteY34" fmla="*/ 7525 h 99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197167" h="99060">
                  <a:moveTo>
                    <a:pt x="161925" y="7525"/>
                  </a:moveTo>
                  <a:lnTo>
                    <a:pt x="147638" y="14288"/>
                  </a:lnTo>
                  <a:lnTo>
                    <a:pt x="137160" y="3810"/>
                  </a:lnTo>
                  <a:lnTo>
                    <a:pt x="112395" y="0"/>
                  </a:lnTo>
                  <a:lnTo>
                    <a:pt x="108585" y="7525"/>
                  </a:lnTo>
                  <a:lnTo>
                    <a:pt x="119063" y="21812"/>
                  </a:lnTo>
                  <a:lnTo>
                    <a:pt x="129540" y="35147"/>
                  </a:lnTo>
                  <a:lnTo>
                    <a:pt x="122872" y="46673"/>
                  </a:lnTo>
                  <a:lnTo>
                    <a:pt x="101917" y="28575"/>
                  </a:lnTo>
                  <a:lnTo>
                    <a:pt x="83820" y="14288"/>
                  </a:lnTo>
                  <a:lnTo>
                    <a:pt x="70485" y="18098"/>
                  </a:lnTo>
                  <a:lnTo>
                    <a:pt x="70485" y="28575"/>
                  </a:lnTo>
                  <a:lnTo>
                    <a:pt x="83820" y="42863"/>
                  </a:lnTo>
                  <a:lnTo>
                    <a:pt x="70485" y="46673"/>
                  </a:lnTo>
                  <a:lnTo>
                    <a:pt x="45720" y="24765"/>
                  </a:lnTo>
                  <a:lnTo>
                    <a:pt x="31433" y="11335"/>
                  </a:lnTo>
                  <a:lnTo>
                    <a:pt x="13335" y="0"/>
                  </a:lnTo>
                  <a:lnTo>
                    <a:pt x="0" y="7525"/>
                  </a:lnTo>
                  <a:lnTo>
                    <a:pt x="13335" y="35147"/>
                  </a:lnTo>
                  <a:lnTo>
                    <a:pt x="45720" y="59912"/>
                  </a:lnTo>
                  <a:lnTo>
                    <a:pt x="62865" y="67628"/>
                  </a:lnTo>
                  <a:lnTo>
                    <a:pt x="83820" y="59912"/>
                  </a:lnTo>
                  <a:lnTo>
                    <a:pt x="101917" y="59912"/>
                  </a:lnTo>
                  <a:lnTo>
                    <a:pt x="119063" y="63722"/>
                  </a:lnTo>
                  <a:lnTo>
                    <a:pt x="129540" y="63722"/>
                  </a:lnTo>
                  <a:lnTo>
                    <a:pt x="116205" y="78010"/>
                  </a:lnTo>
                  <a:lnTo>
                    <a:pt x="122872" y="99060"/>
                  </a:lnTo>
                  <a:lnTo>
                    <a:pt x="161925" y="95250"/>
                  </a:lnTo>
                  <a:lnTo>
                    <a:pt x="182880" y="92297"/>
                  </a:lnTo>
                  <a:lnTo>
                    <a:pt x="182880" y="70485"/>
                  </a:lnTo>
                  <a:lnTo>
                    <a:pt x="197167" y="63722"/>
                  </a:lnTo>
                  <a:lnTo>
                    <a:pt x="193358" y="49435"/>
                  </a:lnTo>
                  <a:lnTo>
                    <a:pt x="189547" y="18098"/>
                  </a:lnTo>
                  <a:lnTo>
                    <a:pt x="182880" y="7525"/>
                  </a:lnTo>
                  <a:lnTo>
                    <a:pt x="161925" y="752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29" name="Freeform: Shape 3928">
              <a:extLst>
                <a:ext uri="{FF2B5EF4-FFF2-40B4-BE49-F238E27FC236}">
                  <a16:creationId xmlns:a16="http://schemas.microsoft.com/office/drawing/2014/main" id="{D722390E-C25D-2154-6A04-920FFC115453}"/>
                </a:ext>
              </a:extLst>
            </p:cNvPr>
            <p:cNvSpPr/>
            <p:nvPr/>
          </p:nvSpPr>
          <p:spPr>
            <a:xfrm>
              <a:off x="4363569" y="2995610"/>
              <a:ext cx="189546" cy="172740"/>
            </a:xfrm>
            <a:custGeom>
              <a:avLst/>
              <a:gdLst>
                <a:gd name="connsiteX0" fmla="*/ 116205 w 193357"/>
                <a:gd name="connsiteY0" fmla="*/ 0 h 176212"/>
                <a:gd name="connsiteX1" fmla="*/ 95250 w 193357"/>
                <a:gd name="connsiteY1" fmla="*/ 10477 h 176212"/>
                <a:gd name="connsiteX2" fmla="*/ 70485 w 193357"/>
                <a:gd name="connsiteY2" fmla="*/ 35147 h 176212"/>
                <a:gd name="connsiteX3" fmla="*/ 52388 w 193357"/>
                <a:gd name="connsiteY3" fmla="*/ 63722 h 176212"/>
                <a:gd name="connsiteX4" fmla="*/ 39052 w 193357"/>
                <a:gd name="connsiteY4" fmla="*/ 77152 h 176212"/>
                <a:gd name="connsiteX5" fmla="*/ 27622 w 193357"/>
                <a:gd name="connsiteY5" fmla="*/ 91440 h 176212"/>
                <a:gd name="connsiteX6" fmla="*/ 3810 w 193357"/>
                <a:gd name="connsiteY6" fmla="*/ 116110 h 176212"/>
                <a:gd name="connsiteX7" fmla="*/ 0 w 193357"/>
                <a:gd name="connsiteY7" fmla="*/ 140970 h 176212"/>
                <a:gd name="connsiteX8" fmla="*/ 52388 w 193357"/>
                <a:gd name="connsiteY8" fmla="*/ 144685 h 176212"/>
                <a:gd name="connsiteX9" fmla="*/ 101917 w 193357"/>
                <a:gd name="connsiteY9" fmla="*/ 137065 h 176212"/>
                <a:gd name="connsiteX10" fmla="*/ 105727 w 193357"/>
                <a:gd name="connsiteY10" fmla="*/ 158972 h 176212"/>
                <a:gd name="connsiteX11" fmla="*/ 122872 w 193357"/>
                <a:gd name="connsiteY11" fmla="*/ 165640 h 176212"/>
                <a:gd name="connsiteX12" fmla="*/ 126682 w 193357"/>
                <a:gd name="connsiteY12" fmla="*/ 155258 h 176212"/>
                <a:gd name="connsiteX13" fmla="*/ 137160 w 193357"/>
                <a:gd name="connsiteY13" fmla="*/ 144685 h 176212"/>
                <a:gd name="connsiteX14" fmla="*/ 151447 w 193357"/>
                <a:gd name="connsiteY14" fmla="*/ 158972 h 176212"/>
                <a:gd name="connsiteX15" fmla="*/ 161925 w 193357"/>
                <a:gd name="connsiteY15" fmla="*/ 176213 h 176212"/>
                <a:gd name="connsiteX16" fmla="*/ 186690 w 193357"/>
                <a:gd name="connsiteY16" fmla="*/ 169545 h 176212"/>
                <a:gd name="connsiteX17" fmla="*/ 193357 w 193357"/>
                <a:gd name="connsiteY17" fmla="*/ 151352 h 176212"/>
                <a:gd name="connsiteX18" fmla="*/ 190500 w 193357"/>
                <a:gd name="connsiteY18" fmla="*/ 130397 h 176212"/>
                <a:gd name="connsiteX19" fmla="*/ 186690 w 193357"/>
                <a:gd name="connsiteY19" fmla="*/ 116110 h 176212"/>
                <a:gd name="connsiteX20" fmla="*/ 176213 w 193357"/>
                <a:gd name="connsiteY20" fmla="*/ 112395 h 176212"/>
                <a:gd name="connsiteX21" fmla="*/ 158115 w 193357"/>
                <a:gd name="connsiteY21" fmla="*/ 95250 h 176212"/>
                <a:gd name="connsiteX22" fmla="*/ 165735 w 193357"/>
                <a:gd name="connsiteY22" fmla="*/ 80963 h 176212"/>
                <a:gd name="connsiteX23" fmla="*/ 151447 w 193357"/>
                <a:gd name="connsiteY23" fmla="*/ 77152 h 176212"/>
                <a:gd name="connsiteX24" fmla="*/ 143827 w 193357"/>
                <a:gd name="connsiteY24" fmla="*/ 66675 h 176212"/>
                <a:gd name="connsiteX25" fmla="*/ 126682 w 193357"/>
                <a:gd name="connsiteY25" fmla="*/ 77152 h 176212"/>
                <a:gd name="connsiteX26" fmla="*/ 108585 w 193357"/>
                <a:gd name="connsiteY26" fmla="*/ 60008 h 176212"/>
                <a:gd name="connsiteX27" fmla="*/ 101917 w 193357"/>
                <a:gd name="connsiteY27" fmla="*/ 35147 h 176212"/>
                <a:gd name="connsiteX28" fmla="*/ 108585 w 193357"/>
                <a:gd name="connsiteY28" fmla="*/ 14288 h 176212"/>
                <a:gd name="connsiteX29" fmla="*/ 116205 w 193357"/>
                <a:gd name="connsiteY29" fmla="*/ 0 h 176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93357" h="176212">
                  <a:moveTo>
                    <a:pt x="116205" y="0"/>
                  </a:moveTo>
                  <a:lnTo>
                    <a:pt x="95250" y="10477"/>
                  </a:lnTo>
                  <a:lnTo>
                    <a:pt x="70485" y="35147"/>
                  </a:lnTo>
                  <a:lnTo>
                    <a:pt x="52388" y="63722"/>
                  </a:lnTo>
                  <a:lnTo>
                    <a:pt x="39052" y="77152"/>
                  </a:lnTo>
                  <a:lnTo>
                    <a:pt x="27622" y="91440"/>
                  </a:lnTo>
                  <a:lnTo>
                    <a:pt x="3810" y="116110"/>
                  </a:lnTo>
                  <a:lnTo>
                    <a:pt x="0" y="140970"/>
                  </a:lnTo>
                  <a:lnTo>
                    <a:pt x="52388" y="144685"/>
                  </a:lnTo>
                  <a:lnTo>
                    <a:pt x="101917" y="137065"/>
                  </a:lnTo>
                  <a:lnTo>
                    <a:pt x="105727" y="158972"/>
                  </a:lnTo>
                  <a:lnTo>
                    <a:pt x="122872" y="165640"/>
                  </a:lnTo>
                  <a:lnTo>
                    <a:pt x="126682" y="155258"/>
                  </a:lnTo>
                  <a:lnTo>
                    <a:pt x="137160" y="144685"/>
                  </a:lnTo>
                  <a:lnTo>
                    <a:pt x="151447" y="158972"/>
                  </a:lnTo>
                  <a:lnTo>
                    <a:pt x="161925" y="176213"/>
                  </a:lnTo>
                  <a:lnTo>
                    <a:pt x="186690" y="169545"/>
                  </a:lnTo>
                  <a:lnTo>
                    <a:pt x="193357" y="151352"/>
                  </a:lnTo>
                  <a:lnTo>
                    <a:pt x="190500" y="130397"/>
                  </a:lnTo>
                  <a:lnTo>
                    <a:pt x="186690" y="116110"/>
                  </a:lnTo>
                  <a:lnTo>
                    <a:pt x="176213" y="112395"/>
                  </a:lnTo>
                  <a:lnTo>
                    <a:pt x="158115" y="95250"/>
                  </a:lnTo>
                  <a:lnTo>
                    <a:pt x="165735" y="80963"/>
                  </a:lnTo>
                  <a:lnTo>
                    <a:pt x="151447" y="77152"/>
                  </a:lnTo>
                  <a:lnTo>
                    <a:pt x="143827" y="66675"/>
                  </a:lnTo>
                  <a:lnTo>
                    <a:pt x="126682" y="77152"/>
                  </a:lnTo>
                  <a:lnTo>
                    <a:pt x="108585" y="60008"/>
                  </a:lnTo>
                  <a:lnTo>
                    <a:pt x="101917" y="35147"/>
                  </a:lnTo>
                  <a:lnTo>
                    <a:pt x="108585" y="14288"/>
                  </a:lnTo>
                  <a:lnTo>
                    <a:pt x="116205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30" name="Freeform: Shape 3929">
              <a:extLst>
                <a:ext uri="{FF2B5EF4-FFF2-40B4-BE49-F238E27FC236}">
                  <a16:creationId xmlns:a16="http://schemas.microsoft.com/office/drawing/2014/main" id="{7221D4D3-05B3-6E94-5065-718C026491B6}"/>
                </a:ext>
              </a:extLst>
            </p:cNvPr>
            <p:cNvSpPr/>
            <p:nvPr/>
          </p:nvSpPr>
          <p:spPr>
            <a:xfrm>
              <a:off x="3068493" y="2027331"/>
              <a:ext cx="66294" cy="48554"/>
            </a:xfrm>
            <a:custGeom>
              <a:avLst/>
              <a:gdLst>
                <a:gd name="connsiteX0" fmla="*/ 24765 w 67627"/>
                <a:gd name="connsiteY0" fmla="*/ 24765 h 49530"/>
                <a:gd name="connsiteX1" fmla="*/ 39053 w 67627"/>
                <a:gd name="connsiteY1" fmla="*/ 42863 h 49530"/>
                <a:gd name="connsiteX2" fmla="*/ 49530 w 67627"/>
                <a:gd name="connsiteY2" fmla="*/ 49530 h 49530"/>
                <a:gd name="connsiteX3" fmla="*/ 60008 w 67627"/>
                <a:gd name="connsiteY3" fmla="*/ 35243 h 49530"/>
                <a:gd name="connsiteX4" fmla="*/ 67628 w 67627"/>
                <a:gd name="connsiteY4" fmla="*/ 14288 h 49530"/>
                <a:gd name="connsiteX5" fmla="*/ 63817 w 67627"/>
                <a:gd name="connsiteY5" fmla="*/ 0 h 49530"/>
                <a:gd name="connsiteX6" fmla="*/ 39053 w 67627"/>
                <a:gd name="connsiteY6" fmla="*/ 0 h 49530"/>
                <a:gd name="connsiteX7" fmla="*/ 10478 w 67627"/>
                <a:gd name="connsiteY7" fmla="*/ 0 h 49530"/>
                <a:gd name="connsiteX8" fmla="*/ 0 w 67627"/>
                <a:gd name="connsiteY8" fmla="*/ 7525 h 49530"/>
                <a:gd name="connsiteX9" fmla="*/ 10478 w 67627"/>
                <a:gd name="connsiteY9" fmla="*/ 18002 h 49530"/>
                <a:gd name="connsiteX10" fmla="*/ 24765 w 67627"/>
                <a:gd name="connsiteY10" fmla="*/ 24765 h 4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7627" h="49530">
                  <a:moveTo>
                    <a:pt x="24765" y="24765"/>
                  </a:moveTo>
                  <a:lnTo>
                    <a:pt x="39053" y="42863"/>
                  </a:lnTo>
                  <a:lnTo>
                    <a:pt x="49530" y="49530"/>
                  </a:lnTo>
                  <a:lnTo>
                    <a:pt x="60008" y="35243"/>
                  </a:lnTo>
                  <a:lnTo>
                    <a:pt x="67628" y="14288"/>
                  </a:lnTo>
                  <a:lnTo>
                    <a:pt x="63817" y="0"/>
                  </a:lnTo>
                  <a:lnTo>
                    <a:pt x="39053" y="0"/>
                  </a:lnTo>
                  <a:lnTo>
                    <a:pt x="10478" y="0"/>
                  </a:lnTo>
                  <a:lnTo>
                    <a:pt x="0" y="7525"/>
                  </a:lnTo>
                  <a:lnTo>
                    <a:pt x="10478" y="18002"/>
                  </a:lnTo>
                  <a:lnTo>
                    <a:pt x="24765" y="2476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31" name="Freeform: Shape 3930">
              <a:extLst>
                <a:ext uri="{FF2B5EF4-FFF2-40B4-BE49-F238E27FC236}">
                  <a16:creationId xmlns:a16="http://schemas.microsoft.com/office/drawing/2014/main" id="{F74E3D15-BC3D-D406-5CBC-0C9D41394BC0}"/>
                </a:ext>
              </a:extLst>
            </p:cNvPr>
            <p:cNvSpPr/>
            <p:nvPr/>
          </p:nvSpPr>
          <p:spPr>
            <a:xfrm>
              <a:off x="2737021" y="1899316"/>
              <a:ext cx="24277" cy="14005"/>
            </a:xfrm>
            <a:custGeom>
              <a:avLst/>
              <a:gdLst>
                <a:gd name="connsiteX0" fmla="*/ 18098 w 24765"/>
                <a:gd name="connsiteY0" fmla="*/ 3905 h 14287"/>
                <a:gd name="connsiteX1" fmla="*/ 0 w 24765"/>
                <a:gd name="connsiteY1" fmla="*/ 14288 h 14287"/>
                <a:gd name="connsiteX2" fmla="*/ 24765 w 24765"/>
                <a:gd name="connsiteY2" fmla="*/ 0 h 14287"/>
                <a:gd name="connsiteX3" fmla="*/ 18098 w 24765"/>
                <a:gd name="connsiteY3" fmla="*/ 3905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765" h="14287">
                  <a:moveTo>
                    <a:pt x="18098" y="3905"/>
                  </a:moveTo>
                  <a:lnTo>
                    <a:pt x="0" y="14288"/>
                  </a:lnTo>
                  <a:lnTo>
                    <a:pt x="24765" y="0"/>
                  </a:lnTo>
                  <a:lnTo>
                    <a:pt x="18098" y="390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32" name="Freeform: Shape 3931">
              <a:extLst>
                <a:ext uri="{FF2B5EF4-FFF2-40B4-BE49-F238E27FC236}">
                  <a16:creationId xmlns:a16="http://schemas.microsoft.com/office/drawing/2014/main" id="{1A03EA31-06DB-A7D3-5DCC-B96A0EDFD4D4}"/>
                </a:ext>
              </a:extLst>
            </p:cNvPr>
            <p:cNvSpPr/>
            <p:nvPr/>
          </p:nvSpPr>
          <p:spPr>
            <a:xfrm>
              <a:off x="3389695" y="1764858"/>
              <a:ext cx="10270" cy="28012"/>
            </a:xfrm>
            <a:custGeom>
              <a:avLst/>
              <a:gdLst>
                <a:gd name="connsiteX0" fmla="*/ 0 w 10477"/>
                <a:gd name="connsiteY0" fmla="*/ 28575 h 28575"/>
                <a:gd name="connsiteX1" fmla="*/ 10477 w 10477"/>
                <a:gd name="connsiteY1" fmla="*/ 10573 h 28575"/>
                <a:gd name="connsiteX2" fmla="*/ 0 w 10477"/>
                <a:gd name="connsiteY2" fmla="*/ 0 h 28575"/>
                <a:gd name="connsiteX3" fmla="*/ 10477 w 10477"/>
                <a:gd name="connsiteY3" fmla="*/ 10573 h 28575"/>
                <a:gd name="connsiteX4" fmla="*/ 0 w 10477"/>
                <a:gd name="connsiteY4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7" h="28575">
                  <a:moveTo>
                    <a:pt x="0" y="28575"/>
                  </a:moveTo>
                  <a:lnTo>
                    <a:pt x="10477" y="10573"/>
                  </a:lnTo>
                  <a:lnTo>
                    <a:pt x="0" y="0"/>
                  </a:lnTo>
                  <a:lnTo>
                    <a:pt x="10477" y="10573"/>
                  </a:lnTo>
                  <a:lnTo>
                    <a:pt x="0" y="2857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33" name="Freeform: Shape 3932">
              <a:extLst>
                <a:ext uri="{FF2B5EF4-FFF2-40B4-BE49-F238E27FC236}">
                  <a16:creationId xmlns:a16="http://schemas.microsoft.com/office/drawing/2014/main" id="{D78FA90F-5065-D85F-FFD4-7F33802A7149}"/>
                </a:ext>
              </a:extLst>
            </p:cNvPr>
            <p:cNvSpPr/>
            <p:nvPr/>
          </p:nvSpPr>
          <p:spPr>
            <a:xfrm>
              <a:off x="3306593" y="1740581"/>
              <a:ext cx="93372" cy="55183"/>
            </a:xfrm>
            <a:custGeom>
              <a:avLst/>
              <a:gdLst>
                <a:gd name="connsiteX0" fmla="*/ 28575 w 95250"/>
                <a:gd name="connsiteY0" fmla="*/ 39053 h 56292"/>
                <a:gd name="connsiteX1" fmla="*/ 35242 w 95250"/>
                <a:gd name="connsiteY1" fmla="*/ 56293 h 56292"/>
                <a:gd name="connsiteX2" fmla="*/ 63817 w 95250"/>
                <a:gd name="connsiteY2" fmla="*/ 56293 h 56292"/>
                <a:gd name="connsiteX3" fmla="*/ 84773 w 95250"/>
                <a:gd name="connsiteY3" fmla="*/ 53340 h 56292"/>
                <a:gd name="connsiteX4" fmla="*/ 95250 w 95250"/>
                <a:gd name="connsiteY4" fmla="*/ 35338 h 56292"/>
                <a:gd name="connsiteX5" fmla="*/ 84773 w 95250"/>
                <a:gd name="connsiteY5" fmla="*/ 24765 h 56292"/>
                <a:gd name="connsiteX6" fmla="*/ 63817 w 95250"/>
                <a:gd name="connsiteY6" fmla="*/ 18193 h 56292"/>
                <a:gd name="connsiteX7" fmla="*/ 39053 w 95250"/>
                <a:gd name="connsiteY7" fmla="*/ 7715 h 56292"/>
                <a:gd name="connsiteX8" fmla="*/ 7620 w 95250"/>
                <a:gd name="connsiteY8" fmla="*/ 0 h 56292"/>
                <a:gd name="connsiteX9" fmla="*/ 0 w 95250"/>
                <a:gd name="connsiteY9" fmla="*/ 7715 h 56292"/>
                <a:gd name="connsiteX10" fmla="*/ 0 w 95250"/>
                <a:gd name="connsiteY10" fmla="*/ 21050 h 56292"/>
                <a:gd name="connsiteX11" fmla="*/ 11430 w 95250"/>
                <a:gd name="connsiteY11" fmla="*/ 31528 h 56292"/>
                <a:gd name="connsiteX12" fmla="*/ 28575 w 95250"/>
                <a:gd name="connsiteY12" fmla="*/ 39053 h 56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5250" h="56292">
                  <a:moveTo>
                    <a:pt x="28575" y="39053"/>
                  </a:moveTo>
                  <a:lnTo>
                    <a:pt x="35242" y="56293"/>
                  </a:lnTo>
                  <a:lnTo>
                    <a:pt x="63817" y="56293"/>
                  </a:lnTo>
                  <a:lnTo>
                    <a:pt x="84773" y="53340"/>
                  </a:lnTo>
                  <a:lnTo>
                    <a:pt x="95250" y="35338"/>
                  </a:lnTo>
                  <a:lnTo>
                    <a:pt x="84773" y="24765"/>
                  </a:lnTo>
                  <a:lnTo>
                    <a:pt x="63817" y="18193"/>
                  </a:lnTo>
                  <a:lnTo>
                    <a:pt x="39053" y="7715"/>
                  </a:lnTo>
                  <a:lnTo>
                    <a:pt x="7620" y="0"/>
                  </a:lnTo>
                  <a:lnTo>
                    <a:pt x="0" y="7715"/>
                  </a:lnTo>
                  <a:lnTo>
                    <a:pt x="0" y="21050"/>
                  </a:lnTo>
                  <a:lnTo>
                    <a:pt x="11430" y="31528"/>
                  </a:lnTo>
                  <a:lnTo>
                    <a:pt x="28575" y="3905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34" name="Freeform: Shape 3933">
              <a:extLst>
                <a:ext uri="{FF2B5EF4-FFF2-40B4-BE49-F238E27FC236}">
                  <a16:creationId xmlns:a16="http://schemas.microsoft.com/office/drawing/2014/main" id="{DBFD779D-A2CC-8898-21F1-850964BDAC51}"/>
                </a:ext>
              </a:extLst>
            </p:cNvPr>
            <p:cNvSpPr/>
            <p:nvPr/>
          </p:nvSpPr>
          <p:spPr>
            <a:xfrm>
              <a:off x="3810804" y="2570763"/>
              <a:ext cx="17740" cy="34454"/>
            </a:xfrm>
            <a:custGeom>
              <a:avLst/>
              <a:gdLst>
                <a:gd name="connsiteX0" fmla="*/ 18097 w 18097"/>
                <a:gd name="connsiteY0" fmla="*/ 13240 h 35147"/>
                <a:gd name="connsiteX1" fmla="*/ 14288 w 18097"/>
                <a:gd name="connsiteY1" fmla="*/ 0 h 35147"/>
                <a:gd name="connsiteX2" fmla="*/ 0 w 18097"/>
                <a:gd name="connsiteY2" fmla="*/ 35147 h 35147"/>
                <a:gd name="connsiteX3" fmla="*/ 18097 w 18097"/>
                <a:gd name="connsiteY3" fmla="*/ 13240 h 35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" h="35147">
                  <a:moveTo>
                    <a:pt x="18097" y="13240"/>
                  </a:moveTo>
                  <a:lnTo>
                    <a:pt x="14288" y="0"/>
                  </a:lnTo>
                  <a:lnTo>
                    <a:pt x="0" y="35147"/>
                  </a:lnTo>
                  <a:lnTo>
                    <a:pt x="18097" y="1324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35" name="Freeform: Shape 3934">
              <a:extLst>
                <a:ext uri="{FF2B5EF4-FFF2-40B4-BE49-F238E27FC236}">
                  <a16:creationId xmlns:a16="http://schemas.microsoft.com/office/drawing/2014/main" id="{3CE93376-3703-2519-0381-67B6B8A4BE88}"/>
                </a:ext>
              </a:extLst>
            </p:cNvPr>
            <p:cNvSpPr/>
            <p:nvPr/>
          </p:nvSpPr>
          <p:spPr>
            <a:xfrm>
              <a:off x="2864941" y="1799500"/>
              <a:ext cx="20542" cy="10271"/>
            </a:xfrm>
            <a:custGeom>
              <a:avLst/>
              <a:gdLst>
                <a:gd name="connsiteX0" fmla="*/ 18098 w 20955"/>
                <a:gd name="connsiteY0" fmla="*/ 6572 h 10477"/>
                <a:gd name="connsiteX1" fmla="*/ 20955 w 20955"/>
                <a:gd name="connsiteY1" fmla="*/ 0 h 10477"/>
                <a:gd name="connsiteX2" fmla="*/ 0 w 20955"/>
                <a:gd name="connsiteY2" fmla="*/ 10478 h 10477"/>
                <a:gd name="connsiteX3" fmla="*/ 18098 w 20955"/>
                <a:gd name="connsiteY3" fmla="*/ 6572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55" h="10477">
                  <a:moveTo>
                    <a:pt x="18098" y="6572"/>
                  </a:moveTo>
                  <a:lnTo>
                    <a:pt x="20955" y="0"/>
                  </a:lnTo>
                  <a:lnTo>
                    <a:pt x="0" y="10478"/>
                  </a:lnTo>
                  <a:lnTo>
                    <a:pt x="18098" y="657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36" name="Freeform: Shape 3935">
              <a:extLst>
                <a:ext uri="{FF2B5EF4-FFF2-40B4-BE49-F238E27FC236}">
                  <a16:creationId xmlns:a16="http://schemas.microsoft.com/office/drawing/2014/main" id="{B2EF71F7-AA2D-539D-BE9F-ABA8CEB7FECF}"/>
                </a:ext>
              </a:extLst>
            </p:cNvPr>
            <p:cNvSpPr/>
            <p:nvPr/>
          </p:nvSpPr>
          <p:spPr>
            <a:xfrm>
              <a:off x="2785575" y="3617476"/>
              <a:ext cx="831948" cy="529332"/>
            </a:xfrm>
            <a:custGeom>
              <a:avLst/>
              <a:gdLst>
                <a:gd name="connsiteX0" fmla="*/ 510540 w 848677"/>
                <a:gd name="connsiteY0" fmla="*/ 190500 h 539972"/>
                <a:gd name="connsiteX1" fmla="*/ 496253 w 848677"/>
                <a:gd name="connsiteY1" fmla="*/ 169450 h 539972"/>
                <a:gd name="connsiteX2" fmla="*/ 482918 w 848677"/>
                <a:gd name="connsiteY2" fmla="*/ 148590 h 539972"/>
                <a:gd name="connsiteX3" fmla="*/ 464820 w 848677"/>
                <a:gd name="connsiteY3" fmla="*/ 127635 h 539972"/>
                <a:gd name="connsiteX4" fmla="*/ 454343 w 848677"/>
                <a:gd name="connsiteY4" fmla="*/ 102775 h 539972"/>
                <a:gd name="connsiteX5" fmla="*/ 429578 w 848677"/>
                <a:gd name="connsiteY5" fmla="*/ 92297 h 539972"/>
                <a:gd name="connsiteX6" fmla="*/ 415290 w 848677"/>
                <a:gd name="connsiteY6" fmla="*/ 84773 h 539972"/>
                <a:gd name="connsiteX7" fmla="*/ 401955 w 848677"/>
                <a:gd name="connsiteY7" fmla="*/ 92297 h 539972"/>
                <a:gd name="connsiteX8" fmla="*/ 398145 w 848677"/>
                <a:gd name="connsiteY8" fmla="*/ 109538 h 539972"/>
                <a:gd name="connsiteX9" fmla="*/ 377190 w 848677"/>
                <a:gd name="connsiteY9" fmla="*/ 113348 h 539972"/>
                <a:gd name="connsiteX10" fmla="*/ 348615 w 848677"/>
                <a:gd name="connsiteY10" fmla="*/ 95250 h 539972"/>
                <a:gd name="connsiteX11" fmla="*/ 344805 w 848677"/>
                <a:gd name="connsiteY11" fmla="*/ 67628 h 539972"/>
                <a:gd name="connsiteX12" fmla="*/ 327660 w 848677"/>
                <a:gd name="connsiteY12" fmla="*/ 53340 h 539972"/>
                <a:gd name="connsiteX13" fmla="*/ 292418 w 848677"/>
                <a:gd name="connsiteY13" fmla="*/ 24765 h 539972"/>
                <a:gd name="connsiteX14" fmla="*/ 257175 w 848677"/>
                <a:gd name="connsiteY14" fmla="*/ 32385 h 539972"/>
                <a:gd name="connsiteX15" fmla="*/ 242888 w 848677"/>
                <a:gd name="connsiteY15" fmla="*/ 42863 h 539972"/>
                <a:gd name="connsiteX16" fmla="*/ 161925 w 848677"/>
                <a:gd name="connsiteY16" fmla="*/ 42863 h 539972"/>
                <a:gd name="connsiteX17" fmla="*/ 134303 w 848677"/>
                <a:gd name="connsiteY17" fmla="*/ 32385 h 539972"/>
                <a:gd name="connsiteX18" fmla="*/ 88583 w 848677"/>
                <a:gd name="connsiteY18" fmla="*/ 11335 h 539972"/>
                <a:gd name="connsiteX19" fmla="*/ 56198 w 848677"/>
                <a:gd name="connsiteY19" fmla="*/ 0 h 539972"/>
                <a:gd name="connsiteX20" fmla="*/ 0 w 848677"/>
                <a:gd name="connsiteY20" fmla="*/ 3810 h 539972"/>
                <a:gd name="connsiteX21" fmla="*/ 14288 w 848677"/>
                <a:gd name="connsiteY21" fmla="*/ 24765 h 539972"/>
                <a:gd name="connsiteX22" fmla="*/ 20955 w 848677"/>
                <a:gd name="connsiteY22" fmla="*/ 42863 h 539972"/>
                <a:gd name="connsiteX23" fmla="*/ 28575 w 848677"/>
                <a:gd name="connsiteY23" fmla="*/ 57150 h 539972"/>
                <a:gd name="connsiteX24" fmla="*/ 39053 w 848677"/>
                <a:gd name="connsiteY24" fmla="*/ 81915 h 539972"/>
                <a:gd name="connsiteX25" fmla="*/ 53340 w 848677"/>
                <a:gd name="connsiteY25" fmla="*/ 99060 h 539972"/>
                <a:gd name="connsiteX26" fmla="*/ 66675 w 848677"/>
                <a:gd name="connsiteY26" fmla="*/ 105728 h 539972"/>
                <a:gd name="connsiteX27" fmla="*/ 74295 w 848677"/>
                <a:gd name="connsiteY27" fmla="*/ 113348 h 539972"/>
                <a:gd name="connsiteX28" fmla="*/ 80963 w 848677"/>
                <a:gd name="connsiteY28" fmla="*/ 130397 h 539972"/>
                <a:gd name="connsiteX29" fmla="*/ 84773 w 848677"/>
                <a:gd name="connsiteY29" fmla="*/ 140875 h 539972"/>
                <a:gd name="connsiteX30" fmla="*/ 80963 w 848677"/>
                <a:gd name="connsiteY30" fmla="*/ 148590 h 539972"/>
                <a:gd name="connsiteX31" fmla="*/ 74295 w 848677"/>
                <a:gd name="connsiteY31" fmla="*/ 148590 h 539972"/>
                <a:gd name="connsiteX32" fmla="*/ 66675 w 848677"/>
                <a:gd name="connsiteY32" fmla="*/ 152400 h 539972"/>
                <a:gd name="connsiteX33" fmla="*/ 70485 w 848677"/>
                <a:gd name="connsiteY33" fmla="*/ 158972 h 539972"/>
                <a:gd name="connsiteX34" fmla="*/ 84773 w 848677"/>
                <a:gd name="connsiteY34" fmla="*/ 173260 h 539972"/>
                <a:gd name="connsiteX35" fmla="*/ 99060 w 848677"/>
                <a:gd name="connsiteY35" fmla="*/ 180023 h 539972"/>
                <a:gd name="connsiteX36" fmla="*/ 116205 w 848677"/>
                <a:gd name="connsiteY36" fmla="*/ 183737 h 539972"/>
                <a:gd name="connsiteX37" fmla="*/ 126683 w 848677"/>
                <a:gd name="connsiteY37" fmla="*/ 190500 h 539972"/>
                <a:gd name="connsiteX38" fmla="*/ 140970 w 848677"/>
                <a:gd name="connsiteY38" fmla="*/ 204788 h 539972"/>
                <a:gd name="connsiteX39" fmla="*/ 144780 w 848677"/>
                <a:gd name="connsiteY39" fmla="*/ 222885 h 539972"/>
                <a:gd name="connsiteX40" fmla="*/ 147638 w 848677"/>
                <a:gd name="connsiteY40" fmla="*/ 236125 h 539972"/>
                <a:gd name="connsiteX41" fmla="*/ 161925 w 848677"/>
                <a:gd name="connsiteY41" fmla="*/ 254222 h 539972"/>
                <a:gd name="connsiteX42" fmla="*/ 176213 w 848677"/>
                <a:gd name="connsiteY42" fmla="*/ 268510 h 539972"/>
                <a:gd name="connsiteX43" fmla="*/ 190500 w 848677"/>
                <a:gd name="connsiteY43" fmla="*/ 278987 h 539972"/>
                <a:gd name="connsiteX44" fmla="*/ 200978 w 848677"/>
                <a:gd name="connsiteY44" fmla="*/ 300038 h 539972"/>
                <a:gd name="connsiteX45" fmla="*/ 215265 w 848677"/>
                <a:gd name="connsiteY45" fmla="*/ 293275 h 539972"/>
                <a:gd name="connsiteX46" fmla="*/ 211455 w 848677"/>
                <a:gd name="connsiteY46" fmla="*/ 275272 h 539972"/>
                <a:gd name="connsiteX47" fmla="*/ 207645 w 848677"/>
                <a:gd name="connsiteY47" fmla="*/ 268510 h 539972"/>
                <a:gd name="connsiteX48" fmla="*/ 200978 w 848677"/>
                <a:gd name="connsiteY48" fmla="*/ 258128 h 539972"/>
                <a:gd name="connsiteX49" fmla="*/ 186690 w 848677"/>
                <a:gd name="connsiteY49" fmla="*/ 258128 h 539972"/>
                <a:gd name="connsiteX50" fmla="*/ 182880 w 848677"/>
                <a:gd name="connsiteY50" fmla="*/ 239935 h 539972"/>
                <a:gd name="connsiteX51" fmla="*/ 172403 w 848677"/>
                <a:gd name="connsiteY51" fmla="*/ 219075 h 539972"/>
                <a:gd name="connsiteX52" fmla="*/ 159068 w 848677"/>
                <a:gd name="connsiteY52" fmla="*/ 190500 h 539972"/>
                <a:gd name="connsiteX53" fmla="*/ 140970 w 848677"/>
                <a:gd name="connsiteY53" fmla="*/ 169450 h 539972"/>
                <a:gd name="connsiteX54" fmla="*/ 126683 w 848677"/>
                <a:gd name="connsiteY54" fmla="*/ 152400 h 539972"/>
                <a:gd name="connsiteX55" fmla="*/ 112395 w 848677"/>
                <a:gd name="connsiteY55" fmla="*/ 134303 h 539972"/>
                <a:gd name="connsiteX56" fmla="*/ 99060 w 848677"/>
                <a:gd name="connsiteY56" fmla="*/ 109538 h 539972"/>
                <a:gd name="connsiteX57" fmla="*/ 80963 w 848677"/>
                <a:gd name="connsiteY57" fmla="*/ 92297 h 539972"/>
                <a:gd name="connsiteX58" fmla="*/ 70485 w 848677"/>
                <a:gd name="connsiteY58" fmla="*/ 67628 h 539972"/>
                <a:gd name="connsiteX59" fmla="*/ 63818 w 848677"/>
                <a:gd name="connsiteY59" fmla="*/ 46673 h 539972"/>
                <a:gd name="connsiteX60" fmla="*/ 66675 w 848677"/>
                <a:gd name="connsiteY60" fmla="*/ 35147 h 539972"/>
                <a:gd name="connsiteX61" fmla="*/ 88583 w 848677"/>
                <a:gd name="connsiteY61" fmla="*/ 35147 h 539972"/>
                <a:gd name="connsiteX62" fmla="*/ 112395 w 848677"/>
                <a:gd name="connsiteY62" fmla="*/ 49435 h 539972"/>
                <a:gd name="connsiteX63" fmla="*/ 116205 w 848677"/>
                <a:gd name="connsiteY63" fmla="*/ 59912 h 539972"/>
                <a:gd name="connsiteX64" fmla="*/ 126683 w 848677"/>
                <a:gd name="connsiteY64" fmla="*/ 84773 h 539972"/>
                <a:gd name="connsiteX65" fmla="*/ 137160 w 848677"/>
                <a:gd name="connsiteY65" fmla="*/ 105728 h 539972"/>
                <a:gd name="connsiteX66" fmla="*/ 155258 w 848677"/>
                <a:gd name="connsiteY66" fmla="*/ 123825 h 539972"/>
                <a:gd name="connsiteX67" fmla="*/ 176213 w 848677"/>
                <a:gd name="connsiteY67" fmla="*/ 152400 h 539972"/>
                <a:gd name="connsiteX68" fmla="*/ 194310 w 848677"/>
                <a:gd name="connsiteY68" fmla="*/ 169450 h 539972"/>
                <a:gd name="connsiteX69" fmla="*/ 221933 w 848677"/>
                <a:gd name="connsiteY69" fmla="*/ 187547 h 539972"/>
                <a:gd name="connsiteX70" fmla="*/ 221933 w 848677"/>
                <a:gd name="connsiteY70" fmla="*/ 212312 h 539972"/>
                <a:gd name="connsiteX71" fmla="*/ 236220 w 848677"/>
                <a:gd name="connsiteY71" fmla="*/ 222885 h 539972"/>
                <a:gd name="connsiteX72" fmla="*/ 257175 w 848677"/>
                <a:gd name="connsiteY72" fmla="*/ 236125 h 539972"/>
                <a:gd name="connsiteX73" fmla="*/ 275273 w 848677"/>
                <a:gd name="connsiteY73" fmla="*/ 258128 h 539972"/>
                <a:gd name="connsiteX74" fmla="*/ 296228 w 848677"/>
                <a:gd name="connsiteY74" fmla="*/ 275272 h 539972"/>
                <a:gd name="connsiteX75" fmla="*/ 313373 w 848677"/>
                <a:gd name="connsiteY75" fmla="*/ 296228 h 539972"/>
                <a:gd name="connsiteX76" fmla="*/ 338138 w 848677"/>
                <a:gd name="connsiteY76" fmla="*/ 328613 h 539972"/>
                <a:gd name="connsiteX77" fmla="*/ 338138 w 848677"/>
                <a:gd name="connsiteY77" fmla="*/ 345662 h 539972"/>
                <a:gd name="connsiteX78" fmla="*/ 327660 w 848677"/>
                <a:gd name="connsiteY78" fmla="*/ 356235 h 539972"/>
                <a:gd name="connsiteX79" fmla="*/ 327660 w 848677"/>
                <a:gd name="connsiteY79" fmla="*/ 374237 h 539972"/>
                <a:gd name="connsiteX80" fmla="*/ 338138 w 848677"/>
                <a:gd name="connsiteY80" fmla="*/ 391478 h 539972"/>
                <a:gd name="connsiteX81" fmla="*/ 359093 w 848677"/>
                <a:gd name="connsiteY81" fmla="*/ 409575 h 539972"/>
                <a:gd name="connsiteX82" fmla="*/ 383858 w 848677"/>
                <a:gd name="connsiteY82" fmla="*/ 423863 h 539972"/>
                <a:gd name="connsiteX83" fmla="*/ 408623 w 848677"/>
                <a:gd name="connsiteY83" fmla="*/ 437197 h 539972"/>
                <a:gd name="connsiteX84" fmla="*/ 433388 w 848677"/>
                <a:gd name="connsiteY84" fmla="*/ 437197 h 539972"/>
                <a:gd name="connsiteX85" fmla="*/ 447675 w 848677"/>
                <a:gd name="connsiteY85" fmla="*/ 459010 h 539972"/>
                <a:gd name="connsiteX86" fmla="*/ 464820 w 848677"/>
                <a:gd name="connsiteY86" fmla="*/ 465772 h 539972"/>
                <a:gd name="connsiteX87" fmla="*/ 496253 w 848677"/>
                <a:gd name="connsiteY87" fmla="*/ 476250 h 539972"/>
                <a:gd name="connsiteX88" fmla="*/ 524828 w 848677"/>
                <a:gd name="connsiteY88" fmla="*/ 486728 h 539972"/>
                <a:gd name="connsiteX89" fmla="*/ 549593 w 848677"/>
                <a:gd name="connsiteY89" fmla="*/ 497110 h 539972"/>
                <a:gd name="connsiteX90" fmla="*/ 578168 w 848677"/>
                <a:gd name="connsiteY90" fmla="*/ 504825 h 539972"/>
                <a:gd name="connsiteX91" fmla="*/ 595313 w 848677"/>
                <a:gd name="connsiteY91" fmla="*/ 501015 h 539972"/>
                <a:gd name="connsiteX92" fmla="*/ 609600 w 848677"/>
                <a:gd name="connsiteY92" fmla="*/ 494347 h 539972"/>
                <a:gd name="connsiteX93" fmla="*/ 626745 w 848677"/>
                <a:gd name="connsiteY93" fmla="*/ 490538 h 539972"/>
                <a:gd name="connsiteX94" fmla="*/ 641033 w 848677"/>
                <a:gd name="connsiteY94" fmla="*/ 494347 h 539972"/>
                <a:gd name="connsiteX95" fmla="*/ 655320 w 848677"/>
                <a:gd name="connsiteY95" fmla="*/ 501015 h 539972"/>
                <a:gd name="connsiteX96" fmla="*/ 672465 w 848677"/>
                <a:gd name="connsiteY96" fmla="*/ 511397 h 539972"/>
                <a:gd name="connsiteX97" fmla="*/ 690563 w 848677"/>
                <a:gd name="connsiteY97" fmla="*/ 529590 h 539972"/>
                <a:gd name="connsiteX98" fmla="*/ 701040 w 848677"/>
                <a:gd name="connsiteY98" fmla="*/ 539972 h 539972"/>
                <a:gd name="connsiteX99" fmla="*/ 704850 w 848677"/>
                <a:gd name="connsiteY99" fmla="*/ 519113 h 539972"/>
                <a:gd name="connsiteX100" fmla="*/ 707708 w 848677"/>
                <a:gd name="connsiteY100" fmla="*/ 508635 h 539972"/>
                <a:gd name="connsiteX101" fmla="*/ 715328 w 848677"/>
                <a:gd name="connsiteY101" fmla="*/ 501015 h 539972"/>
                <a:gd name="connsiteX102" fmla="*/ 718185 w 848677"/>
                <a:gd name="connsiteY102" fmla="*/ 494347 h 539972"/>
                <a:gd name="connsiteX103" fmla="*/ 725805 w 848677"/>
                <a:gd name="connsiteY103" fmla="*/ 497110 h 539972"/>
                <a:gd name="connsiteX104" fmla="*/ 746760 w 848677"/>
                <a:gd name="connsiteY104" fmla="*/ 494347 h 539972"/>
                <a:gd name="connsiteX105" fmla="*/ 753428 w 848677"/>
                <a:gd name="connsiteY105" fmla="*/ 490538 h 539972"/>
                <a:gd name="connsiteX106" fmla="*/ 746760 w 848677"/>
                <a:gd name="connsiteY106" fmla="*/ 480060 h 539972"/>
                <a:gd name="connsiteX107" fmla="*/ 732473 w 848677"/>
                <a:gd name="connsiteY107" fmla="*/ 469487 h 539972"/>
                <a:gd name="connsiteX108" fmla="*/ 729615 w 848677"/>
                <a:gd name="connsiteY108" fmla="*/ 455200 h 539972"/>
                <a:gd name="connsiteX109" fmla="*/ 732473 w 848677"/>
                <a:gd name="connsiteY109" fmla="*/ 448628 h 539972"/>
                <a:gd name="connsiteX110" fmla="*/ 763905 w 848677"/>
                <a:gd name="connsiteY110" fmla="*/ 444722 h 539972"/>
                <a:gd name="connsiteX111" fmla="*/ 785813 w 848677"/>
                <a:gd name="connsiteY111" fmla="*/ 444722 h 539972"/>
                <a:gd name="connsiteX112" fmla="*/ 796290 w 848677"/>
                <a:gd name="connsiteY112" fmla="*/ 434340 h 539972"/>
                <a:gd name="connsiteX113" fmla="*/ 802958 w 848677"/>
                <a:gd name="connsiteY113" fmla="*/ 426625 h 539972"/>
                <a:gd name="connsiteX114" fmla="*/ 810578 w 848677"/>
                <a:gd name="connsiteY114" fmla="*/ 423863 h 539972"/>
                <a:gd name="connsiteX115" fmla="*/ 817245 w 848677"/>
                <a:gd name="connsiteY115" fmla="*/ 434340 h 539972"/>
                <a:gd name="connsiteX116" fmla="*/ 823913 w 848677"/>
                <a:gd name="connsiteY116" fmla="*/ 430435 h 539972"/>
                <a:gd name="connsiteX117" fmla="*/ 823913 w 848677"/>
                <a:gd name="connsiteY117" fmla="*/ 409575 h 539972"/>
                <a:gd name="connsiteX118" fmla="*/ 827723 w 848677"/>
                <a:gd name="connsiteY118" fmla="*/ 388525 h 539972"/>
                <a:gd name="connsiteX119" fmla="*/ 831533 w 848677"/>
                <a:gd name="connsiteY119" fmla="*/ 378047 h 539972"/>
                <a:gd name="connsiteX120" fmla="*/ 842010 w 848677"/>
                <a:gd name="connsiteY120" fmla="*/ 363760 h 539972"/>
                <a:gd name="connsiteX121" fmla="*/ 848678 w 848677"/>
                <a:gd name="connsiteY121" fmla="*/ 342900 h 539972"/>
                <a:gd name="connsiteX122" fmla="*/ 827723 w 848677"/>
                <a:gd name="connsiteY122" fmla="*/ 339090 h 539972"/>
                <a:gd name="connsiteX123" fmla="*/ 796290 w 848677"/>
                <a:gd name="connsiteY123" fmla="*/ 339090 h 539972"/>
                <a:gd name="connsiteX124" fmla="*/ 778193 w 848677"/>
                <a:gd name="connsiteY124" fmla="*/ 339090 h 539972"/>
                <a:gd name="connsiteX125" fmla="*/ 753428 w 848677"/>
                <a:gd name="connsiteY125" fmla="*/ 353378 h 539972"/>
                <a:gd name="connsiteX126" fmla="*/ 746760 w 848677"/>
                <a:gd name="connsiteY126" fmla="*/ 370522 h 539972"/>
                <a:gd name="connsiteX127" fmla="*/ 746760 w 848677"/>
                <a:gd name="connsiteY127" fmla="*/ 388525 h 539972"/>
                <a:gd name="connsiteX128" fmla="*/ 732473 w 848677"/>
                <a:gd name="connsiteY128" fmla="*/ 416147 h 539972"/>
                <a:gd name="connsiteX129" fmla="*/ 697230 w 848677"/>
                <a:gd name="connsiteY129" fmla="*/ 423863 h 539972"/>
                <a:gd name="connsiteX130" fmla="*/ 661988 w 848677"/>
                <a:gd name="connsiteY130" fmla="*/ 430435 h 539972"/>
                <a:gd name="connsiteX131" fmla="*/ 634365 w 848677"/>
                <a:gd name="connsiteY131" fmla="*/ 430435 h 539972"/>
                <a:gd name="connsiteX132" fmla="*/ 612458 w 848677"/>
                <a:gd name="connsiteY132" fmla="*/ 423863 h 539972"/>
                <a:gd name="connsiteX133" fmla="*/ 595313 w 848677"/>
                <a:gd name="connsiteY133" fmla="*/ 413385 h 539972"/>
                <a:gd name="connsiteX134" fmla="*/ 581025 w 848677"/>
                <a:gd name="connsiteY134" fmla="*/ 391478 h 539972"/>
                <a:gd name="connsiteX135" fmla="*/ 566738 w 848677"/>
                <a:gd name="connsiteY135" fmla="*/ 370522 h 539972"/>
                <a:gd name="connsiteX136" fmla="*/ 549593 w 848677"/>
                <a:gd name="connsiteY136" fmla="*/ 339090 h 539972"/>
                <a:gd name="connsiteX137" fmla="*/ 542925 w 848677"/>
                <a:gd name="connsiteY137" fmla="*/ 306610 h 539972"/>
                <a:gd name="connsiteX138" fmla="*/ 542925 w 848677"/>
                <a:gd name="connsiteY138" fmla="*/ 285750 h 539972"/>
                <a:gd name="connsiteX139" fmla="*/ 542925 w 848677"/>
                <a:gd name="connsiteY139" fmla="*/ 268510 h 539972"/>
                <a:gd name="connsiteX140" fmla="*/ 545783 w 848677"/>
                <a:gd name="connsiteY140" fmla="*/ 239935 h 539972"/>
                <a:gd name="connsiteX141" fmla="*/ 553403 w 848677"/>
                <a:gd name="connsiteY141" fmla="*/ 219075 h 539972"/>
                <a:gd name="connsiteX142" fmla="*/ 560070 w 848677"/>
                <a:gd name="connsiteY142" fmla="*/ 204788 h 539972"/>
                <a:gd name="connsiteX143" fmla="*/ 539115 w 848677"/>
                <a:gd name="connsiteY143" fmla="*/ 200978 h 539972"/>
                <a:gd name="connsiteX144" fmla="*/ 510540 w 848677"/>
                <a:gd name="connsiteY144" fmla="*/ 190500 h 539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848677" h="539972">
                  <a:moveTo>
                    <a:pt x="510540" y="190500"/>
                  </a:moveTo>
                  <a:lnTo>
                    <a:pt x="496253" y="169450"/>
                  </a:lnTo>
                  <a:lnTo>
                    <a:pt x="482918" y="148590"/>
                  </a:lnTo>
                  <a:lnTo>
                    <a:pt x="464820" y="127635"/>
                  </a:lnTo>
                  <a:lnTo>
                    <a:pt x="454343" y="102775"/>
                  </a:lnTo>
                  <a:lnTo>
                    <a:pt x="429578" y="92297"/>
                  </a:lnTo>
                  <a:lnTo>
                    <a:pt x="415290" y="84773"/>
                  </a:lnTo>
                  <a:lnTo>
                    <a:pt x="401955" y="92297"/>
                  </a:lnTo>
                  <a:lnTo>
                    <a:pt x="398145" y="109538"/>
                  </a:lnTo>
                  <a:lnTo>
                    <a:pt x="377190" y="113348"/>
                  </a:lnTo>
                  <a:lnTo>
                    <a:pt x="348615" y="95250"/>
                  </a:lnTo>
                  <a:lnTo>
                    <a:pt x="344805" y="67628"/>
                  </a:lnTo>
                  <a:lnTo>
                    <a:pt x="327660" y="53340"/>
                  </a:lnTo>
                  <a:lnTo>
                    <a:pt x="292418" y="24765"/>
                  </a:lnTo>
                  <a:lnTo>
                    <a:pt x="257175" y="32385"/>
                  </a:lnTo>
                  <a:lnTo>
                    <a:pt x="242888" y="42863"/>
                  </a:lnTo>
                  <a:lnTo>
                    <a:pt x="161925" y="42863"/>
                  </a:lnTo>
                  <a:lnTo>
                    <a:pt x="134303" y="32385"/>
                  </a:lnTo>
                  <a:lnTo>
                    <a:pt x="88583" y="11335"/>
                  </a:lnTo>
                  <a:lnTo>
                    <a:pt x="56198" y="0"/>
                  </a:lnTo>
                  <a:lnTo>
                    <a:pt x="0" y="3810"/>
                  </a:lnTo>
                  <a:lnTo>
                    <a:pt x="14288" y="24765"/>
                  </a:lnTo>
                  <a:lnTo>
                    <a:pt x="20955" y="42863"/>
                  </a:lnTo>
                  <a:lnTo>
                    <a:pt x="28575" y="57150"/>
                  </a:lnTo>
                  <a:lnTo>
                    <a:pt x="39053" y="81915"/>
                  </a:lnTo>
                  <a:lnTo>
                    <a:pt x="53340" y="99060"/>
                  </a:lnTo>
                  <a:lnTo>
                    <a:pt x="66675" y="105728"/>
                  </a:lnTo>
                  <a:lnTo>
                    <a:pt x="74295" y="113348"/>
                  </a:lnTo>
                  <a:lnTo>
                    <a:pt x="80963" y="130397"/>
                  </a:lnTo>
                  <a:lnTo>
                    <a:pt x="84773" y="140875"/>
                  </a:lnTo>
                  <a:lnTo>
                    <a:pt x="80963" y="148590"/>
                  </a:lnTo>
                  <a:lnTo>
                    <a:pt x="74295" y="148590"/>
                  </a:lnTo>
                  <a:lnTo>
                    <a:pt x="66675" y="152400"/>
                  </a:lnTo>
                  <a:lnTo>
                    <a:pt x="70485" y="158972"/>
                  </a:lnTo>
                  <a:lnTo>
                    <a:pt x="84773" y="173260"/>
                  </a:lnTo>
                  <a:lnTo>
                    <a:pt x="99060" y="180023"/>
                  </a:lnTo>
                  <a:lnTo>
                    <a:pt x="116205" y="183737"/>
                  </a:lnTo>
                  <a:lnTo>
                    <a:pt x="126683" y="190500"/>
                  </a:lnTo>
                  <a:lnTo>
                    <a:pt x="140970" y="204788"/>
                  </a:lnTo>
                  <a:lnTo>
                    <a:pt x="144780" y="222885"/>
                  </a:lnTo>
                  <a:lnTo>
                    <a:pt x="147638" y="236125"/>
                  </a:lnTo>
                  <a:lnTo>
                    <a:pt x="161925" y="254222"/>
                  </a:lnTo>
                  <a:lnTo>
                    <a:pt x="176213" y="268510"/>
                  </a:lnTo>
                  <a:lnTo>
                    <a:pt x="190500" y="278987"/>
                  </a:lnTo>
                  <a:lnTo>
                    <a:pt x="200978" y="300038"/>
                  </a:lnTo>
                  <a:lnTo>
                    <a:pt x="215265" y="293275"/>
                  </a:lnTo>
                  <a:lnTo>
                    <a:pt x="211455" y="275272"/>
                  </a:lnTo>
                  <a:lnTo>
                    <a:pt x="207645" y="268510"/>
                  </a:lnTo>
                  <a:lnTo>
                    <a:pt x="200978" y="258128"/>
                  </a:lnTo>
                  <a:lnTo>
                    <a:pt x="186690" y="258128"/>
                  </a:lnTo>
                  <a:lnTo>
                    <a:pt x="182880" y="239935"/>
                  </a:lnTo>
                  <a:lnTo>
                    <a:pt x="172403" y="219075"/>
                  </a:lnTo>
                  <a:lnTo>
                    <a:pt x="159068" y="190500"/>
                  </a:lnTo>
                  <a:lnTo>
                    <a:pt x="140970" y="169450"/>
                  </a:lnTo>
                  <a:lnTo>
                    <a:pt x="126683" y="152400"/>
                  </a:lnTo>
                  <a:lnTo>
                    <a:pt x="112395" y="134303"/>
                  </a:lnTo>
                  <a:lnTo>
                    <a:pt x="99060" y="109538"/>
                  </a:lnTo>
                  <a:lnTo>
                    <a:pt x="80963" y="92297"/>
                  </a:lnTo>
                  <a:lnTo>
                    <a:pt x="70485" y="67628"/>
                  </a:lnTo>
                  <a:lnTo>
                    <a:pt x="63818" y="46673"/>
                  </a:lnTo>
                  <a:lnTo>
                    <a:pt x="66675" y="35147"/>
                  </a:lnTo>
                  <a:lnTo>
                    <a:pt x="88583" y="35147"/>
                  </a:lnTo>
                  <a:lnTo>
                    <a:pt x="112395" y="49435"/>
                  </a:lnTo>
                  <a:lnTo>
                    <a:pt x="116205" y="59912"/>
                  </a:lnTo>
                  <a:lnTo>
                    <a:pt x="126683" y="84773"/>
                  </a:lnTo>
                  <a:lnTo>
                    <a:pt x="137160" y="105728"/>
                  </a:lnTo>
                  <a:lnTo>
                    <a:pt x="155258" y="123825"/>
                  </a:lnTo>
                  <a:lnTo>
                    <a:pt x="176213" y="152400"/>
                  </a:lnTo>
                  <a:lnTo>
                    <a:pt x="194310" y="169450"/>
                  </a:lnTo>
                  <a:lnTo>
                    <a:pt x="221933" y="187547"/>
                  </a:lnTo>
                  <a:lnTo>
                    <a:pt x="221933" y="212312"/>
                  </a:lnTo>
                  <a:lnTo>
                    <a:pt x="236220" y="222885"/>
                  </a:lnTo>
                  <a:lnTo>
                    <a:pt x="257175" y="236125"/>
                  </a:lnTo>
                  <a:lnTo>
                    <a:pt x="275273" y="258128"/>
                  </a:lnTo>
                  <a:lnTo>
                    <a:pt x="296228" y="275272"/>
                  </a:lnTo>
                  <a:lnTo>
                    <a:pt x="313373" y="296228"/>
                  </a:lnTo>
                  <a:lnTo>
                    <a:pt x="338138" y="328613"/>
                  </a:lnTo>
                  <a:lnTo>
                    <a:pt x="338138" y="345662"/>
                  </a:lnTo>
                  <a:lnTo>
                    <a:pt x="327660" y="356235"/>
                  </a:lnTo>
                  <a:lnTo>
                    <a:pt x="327660" y="374237"/>
                  </a:lnTo>
                  <a:lnTo>
                    <a:pt x="338138" y="391478"/>
                  </a:lnTo>
                  <a:lnTo>
                    <a:pt x="359093" y="409575"/>
                  </a:lnTo>
                  <a:lnTo>
                    <a:pt x="383858" y="423863"/>
                  </a:lnTo>
                  <a:lnTo>
                    <a:pt x="408623" y="437197"/>
                  </a:lnTo>
                  <a:lnTo>
                    <a:pt x="433388" y="437197"/>
                  </a:lnTo>
                  <a:lnTo>
                    <a:pt x="447675" y="459010"/>
                  </a:lnTo>
                  <a:lnTo>
                    <a:pt x="464820" y="465772"/>
                  </a:lnTo>
                  <a:lnTo>
                    <a:pt x="496253" y="476250"/>
                  </a:lnTo>
                  <a:lnTo>
                    <a:pt x="524828" y="486728"/>
                  </a:lnTo>
                  <a:lnTo>
                    <a:pt x="549593" y="497110"/>
                  </a:lnTo>
                  <a:lnTo>
                    <a:pt x="578168" y="504825"/>
                  </a:lnTo>
                  <a:lnTo>
                    <a:pt x="595313" y="501015"/>
                  </a:lnTo>
                  <a:lnTo>
                    <a:pt x="609600" y="494347"/>
                  </a:lnTo>
                  <a:lnTo>
                    <a:pt x="626745" y="490538"/>
                  </a:lnTo>
                  <a:lnTo>
                    <a:pt x="641033" y="494347"/>
                  </a:lnTo>
                  <a:lnTo>
                    <a:pt x="655320" y="501015"/>
                  </a:lnTo>
                  <a:lnTo>
                    <a:pt x="672465" y="511397"/>
                  </a:lnTo>
                  <a:lnTo>
                    <a:pt x="690563" y="529590"/>
                  </a:lnTo>
                  <a:lnTo>
                    <a:pt x="701040" y="539972"/>
                  </a:lnTo>
                  <a:lnTo>
                    <a:pt x="704850" y="519113"/>
                  </a:lnTo>
                  <a:lnTo>
                    <a:pt x="707708" y="508635"/>
                  </a:lnTo>
                  <a:lnTo>
                    <a:pt x="715328" y="501015"/>
                  </a:lnTo>
                  <a:lnTo>
                    <a:pt x="718185" y="494347"/>
                  </a:lnTo>
                  <a:lnTo>
                    <a:pt x="725805" y="497110"/>
                  </a:lnTo>
                  <a:lnTo>
                    <a:pt x="746760" y="494347"/>
                  </a:lnTo>
                  <a:lnTo>
                    <a:pt x="753428" y="490538"/>
                  </a:lnTo>
                  <a:lnTo>
                    <a:pt x="746760" y="480060"/>
                  </a:lnTo>
                  <a:lnTo>
                    <a:pt x="732473" y="469487"/>
                  </a:lnTo>
                  <a:lnTo>
                    <a:pt x="729615" y="455200"/>
                  </a:lnTo>
                  <a:lnTo>
                    <a:pt x="732473" y="448628"/>
                  </a:lnTo>
                  <a:lnTo>
                    <a:pt x="763905" y="444722"/>
                  </a:lnTo>
                  <a:lnTo>
                    <a:pt x="785813" y="444722"/>
                  </a:lnTo>
                  <a:lnTo>
                    <a:pt x="796290" y="434340"/>
                  </a:lnTo>
                  <a:lnTo>
                    <a:pt x="802958" y="426625"/>
                  </a:lnTo>
                  <a:lnTo>
                    <a:pt x="810578" y="423863"/>
                  </a:lnTo>
                  <a:lnTo>
                    <a:pt x="817245" y="434340"/>
                  </a:lnTo>
                  <a:lnTo>
                    <a:pt x="823913" y="430435"/>
                  </a:lnTo>
                  <a:lnTo>
                    <a:pt x="823913" y="409575"/>
                  </a:lnTo>
                  <a:lnTo>
                    <a:pt x="827723" y="388525"/>
                  </a:lnTo>
                  <a:lnTo>
                    <a:pt x="831533" y="378047"/>
                  </a:lnTo>
                  <a:lnTo>
                    <a:pt x="842010" y="363760"/>
                  </a:lnTo>
                  <a:lnTo>
                    <a:pt x="848678" y="342900"/>
                  </a:lnTo>
                  <a:lnTo>
                    <a:pt x="827723" y="339090"/>
                  </a:lnTo>
                  <a:lnTo>
                    <a:pt x="796290" y="339090"/>
                  </a:lnTo>
                  <a:lnTo>
                    <a:pt x="778193" y="339090"/>
                  </a:lnTo>
                  <a:lnTo>
                    <a:pt x="753428" y="353378"/>
                  </a:lnTo>
                  <a:lnTo>
                    <a:pt x="746760" y="370522"/>
                  </a:lnTo>
                  <a:lnTo>
                    <a:pt x="746760" y="388525"/>
                  </a:lnTo>
                  <a:lnTo>
                    <a:pt x="732473" y="416147"/>
                  </a:lnTo>
                  <a:lnTo>
                    <a:pt x="697230" y="423863"/>
                  </a:lnTo>
                  <a:lnTo>
                    <a:pt x="661988" y="430435"/>
                  </a:lnTo>
                  <a:lnTo>
                    <a:pt x="634365" y="430435"/>
                  </a:lnTo>
                  <a:lnTo>
                    <a:pt x="612458" y="423863"/>
                  </a:lnTo>
                  <a:lnTo>
                    <a:pt x="595313" y="413385"/>
                  </a:lnTo>
                  <a:lnTo>
                    <a:pt x="581025" y="391478"/>
                  </a:lnTo>
                  <a:lnTo>
                    <a:pt x="566738" y="370522"/>
                  </a:lnTo>
                  <a:lnTo>
                    <a:pt x="549593" y="339090"/>
                  </a:lnTo>
                  <a:lnTo>
                    <a:pt x="542925" y="306610"/>
                  </a:lnTo>
                  <a:lnTo>
                    <a:pt x="542925" y="285750"/>
                  </a:lnTo>
                  <a:lnTo>
                    <a:pt x="542925" y="268510"/>
                  </a:lnTo>
                  <a:lnTo>
                    <a:pt x="545783" y="239935"/>
                  </a:lnTo>
                  <a:lnTo>
                    <a:pt x="553403" y="219075"/>
                  </a:lnTo>
                  <a:lnTo>
                    <a:pt x="560070" y="204788"/>
                  </a:lnTo>
                  <a:lnTo>
                    <a:pt x="539115" y="200978"/>
                  </a:lnTo>
                  <a:lnTo>
                    <a:pt x="510540" y="19050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37" name="Freeform: Shape 3936">
              <a:extLst>
                <a:ext uri="{FF2B5EF4-FFF2-40B4-BE49-F238E27FC236}">
                  <a16:creationId xmlns:a16="http://schemas.microsoft.com/office/drawing/2014/main" id="{D7922ACA-5297-D282-B9B6-A281385B7F46}"/>
                </a:ext>
              </a:extLst>
            </p:cNvPr>
            <p:cNvSpPr/>
            <p:nvPr/>
          </p:nvSpPr>
          <p:spPr>
            <a:xfrm>
              <a:off x="3192679" y="3700578"/>
              <a:ext cx="48553" cy="42017"/>
            </a:xfrm>
            <a:custGeom>
              <a:avLst/>
              <a:gdLst>
                <a:gd name="connsiteX0" fmla="*/ 39053 w 49529"/>
                <a:gd name="connsiteY0" fmla="*/ 18002 h 42862"/>
                <a:gd name="connsiteX1" fmla="*/ 49530 w 49529"/>
                <a:gd name="connsiteY1" fmla="*/ 42863 h 42862"/>
                <a:gd name="connsiteX2" fmla="*/ 39053 w 49529"/>
                <a:gd name="connsiteY2" fmla="*/ 18002 h 42862"/>
                <a:gd name="connsiteX3" fmla="*/ 0 w 49529"/>
                <a:gd name="connsiteY3" fmla="*/ 0 h 42862"/>
                <a:gd name="connsiteX4" fmla="*/ 0 w 49529"/>
                <a:gd name="connsiteY4" fmla="*/ 0 h 42862"/>
                <a:gd name="connsiteX5" fmla="*/ 14288 w 49529"/>
                <a:gd name="connsiteY5" fmla="*/ 7525 h 42862"/>
                <a:gd name="connsiteX6" fmla="*/ 39053 w 49529"/>
                <a:gd name="connsiteY6" fmla="*/ 18002 h 428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529" h="42862">
                  <a:moveTo>
                    <a:pt x="39053" y="18002"/>
                  </a:moveTo>
                  <a:lnTo>
                    <a:pt x="49530" y="42863"/>
                  </a:lnTo>
                  <a:lnTo>
                    <a:pt x="39053" y="18002"/>
                  </a:lnTo>
                  <a:lnTo>
                    <a:pt x="0" y="0"/>
                  </a:lnTo>
                  <a:lnTo>
                    <a:pt x="0" y="0"/>
                  </a:lnTo>
                  <a:lnTo>
                    <a:pt x="14288" y="7525"/>
                  </a:lnTo>
                  <a:lnTo>
                    <a:pt x="39053" y="1800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38" name="Freeform: Shape 3937">
              <a:extLst>
                <a:ext uri="{FF2B5EF4-FFF2-40B4-BE49-F238E27FC236}">
                  <a16:creationId xmlns:a16="http://schemas.microsoft.com/office/drawing/2014/main" id="{146FDC77-F85D-DBEC-1490-A1705BA88AE7}"/>
                </a:ext>
              </a:extLst>
            </p:cNvPr>
            <p:cNvSpPr/>
            <p:nvPr/>
          </p:nvSpPr>
          <p:spPr>
            <a:xfrm>
              <a:off x="1412066" y="2155251"/>
              <a:ext cx="1025228" cy="716079"/>
            </a:xfrm>
            <a:custGeom>
              <a:avLst/>
              <a:gdLst>
                <a:gd name="connsiteX0" fmla="*/ 1017270 w 1045844"/>
                <a:gd name="connsiteY0" fmla="*/ 666750 h 730472"/>
                <a:gd name="connsiteX1" fmla="*/ 996315 w 1045844"/>
                <a:gd name="connsiteY1" fmla="*/ 652463 h 730472"/>
                <a:gd name="connsiteX2" fmla="*/ 978218 w 1045844"/>
                <a:gd name="connsiteY2" fmla="*/ 631508 h 730472"/>
                <a:gd name="connsiteX3" fmla="*/ 961073 w 1045844"/>
                <a:gd name="connsiteY3" fmla="*/ 600075 h 730472"/>
                <a:gd name="connsiteX4" fmla="*/ 946785 w 1045844"/>
                <a:gd name="connsiteY4" fmla="*/ 585788 h 730472"/>
                <a:gd name="connsiteX5" fmla="*/ 915353 w 1045844"/>
                <a:gd name="connsiteY5" fmla="*/ 550545 h 730472"/>
                <a:gd name="connsiteX6" fmla="*/ 894398 w 1045844"/>
                <a:gd name="connsiteY6" fmla="*/ 529590 h 730472"/>
                <a:gd name="connsiteX7" fmla="*/ 862013 w 1045844"/>
                <a:gd name="connsiteY7" fmla="*/ 543877 h 730472"/>
                <a:gd name="connsiteX8" fmla="*/ 859155 w 1045844"/>
                <a:gd name="connsiteY8" fmla="*/ 554260 h 730472"/>
                <a:gd name="connsiteX9" fmla="*/ 841058 w 1045844"/>
                <a:gd name="connsiteY9" fmla="*/ 557213 h 730472"/>
                <a:gd name="connsiteX10" fmla="*/ 820103 w 1045844"/>
                <a:gd name="connsiteY10" fmla="*/ 539972 h 730472"/>
                <a:gd name="connsiteX11" fmla="*/ 799148 w 1045844"/>
                <a:gd name="connsiteY11" fmla="*/ 521970 h 730472"/>
                <a:gd name="connsiteX12" fmla="*/ 784860 w 1045844"/>
                <a:gd name="connsiteY12" fmla="*/ 504825 h 730472"/>
                <a:gd name="connsiteX13" fmla="*/ 757238 w 1045844"/>
                <a:gd name="connsiteY13" fmla="*/ 515302 h 730472"/>
                <a:gd name="connsiteX14" fmla="*/ 739140 w 1045844"/>
                <a:gd name="connsiteY14" fmla="*/ 508540 h 730472"/>
                <a:gd name="connsiteX15" fmla="*/ 739140 w 1045844"/>
                <a:gd name="connsiteY15" fmla="*/ 84773 h 730472"/>
                <a:gd name="connsiteX16" fmla="*/ 703898 w 1045844"/>
                <a:gd name="connsiteY16" fmla="*/ 70485 h 730472"/>
                <a:gd name="connsiteX17" fmla="*/ 693420 w 1045844"/>
                <a:gd name="connsiteY17" fmla="*/ 63722 h 730472"/>
                <a:gd name="connsiteX18" fmla="*/ 641033 w 1045844"/>
                <a:gd name="connsiteY18" fmla="*/ 70485 h 730472"/>
                <a:gd name="connsiteX19" fmla="*/ 605790 w 1045844"/>
                <a:gd name="connsiteY19" fmla="*/ 63722 h 730472"/>
                <a:gd name="connsiteX20" fmla="*/ 559118 w 1045844"/>
                <a:gd name="connsiteY20" fmla="*/ 53245 h 730472"/>
                <a:gd name="connsiteX21" fmla="*/ 521018 w 1045844"/>
                <a:gd name="connsiteY21" fmla="*/ 42863 h 730472"/>
                <a:gd name="connsiteX22" fmla="*/ 471488 w 1045844"/>
                <a:gd name="connsiteY22" fmla="*/ 42863 h 730472"/>
                <a:gd name="connsiteX23" fmla="*/ 429577 w 1045844"/>
                <a:gd name="connsiteY23" fmla="*/ 38957 h 730472"/>
                <a:gd name="connsiteX24" fmla="*/ 429577 w 1045844"/>
                <a:gd name="connsiteY24" fmla="*/ 28575 h 730472"/>
                <a:gd name="connsiteX25" fmla="*/ 372427 w 1045844"/>
                <a:gd name="connsiteY25" fmla="*/ 21907 h 730472"/>
                <a:gd name="connsiteX26" fmla="*/ 359093 w 1045844"/>
                <a:gd name="connsiteY26" fmla="*/ 14288 h 730472"/>
                <a:gd name="connsiteX27" fmla="*/ 334327 w 1045844"/>
                <a:gd name="connsiteY27" fmla="*/ 24670 h 730472"/>
                <a:gd name="connsiteX28" fmla="*/ 326708 w 1045844"/>
                <a:gd name="connsiteY28" fmla="*/ 14288 h 730472"/>
                <a:gd name="connsiteX29" fmla="*/ 334327 w 1045844"/>
                <a:gd name="connsiteY29" fmla="*/ 3810 h 730472"/>
                <a:gd name="connsiteX30" fmla="*/ 309563 w 1045844"/>
                <a:gd name="connsiteY30" fmla="*/ 0 h 730472"/>
                <a:gd name="connsiteX31" fmla="*/ 278130 w 1045844"/>
                <a:gd name="connsiteY31" fmla="*/ 18098 h 730472"/>
                <a:gd name="connsiteX32" fmla="*/ 232410 w 1045844"/>
                <a:gd name="connsiteY32" fmla="*/ 21907 h 730472"/>
                <a:gd name="connsiteX33" fmla="*/ 224790 w 1045844"/>
                <a:gd name="connsiteY33" fmla="*/ 35147 h 730472"/>
                <a:gd name="connsiteX34" fmla="*/ 210503 w 1045844"/>
                <a:gd name="connsiteY34" fmla="*/ 35147 h 730472"/>
                <a:gd name="connsiteX35" fmla="*/ 182880 w 1045844"/>
                <a:gd name="connsiteY35" fmla="*/ 49435 h 730472"/>
                <a:gd name="connsiteX36" fmla="*/ 154305 w 1045844"/>
                <a:gd name="connsiteY36" fmla="*/ 49435 h 730472"/>
                <a:gd name="connsiteX37" fmla="*/ 129540 w 1045844"/>
                <a:gd name="connsiteY37" fmla="*/ 74295 h 730472"/>
                <a:gd name="connsiteX38" fmla="*/ 122873 w 1045844"/>
                <a:gd name="connsiteY38" fmla="*/ 95250 h 730472"/>
                <a:gd name="connsiteX39" fmla="*/ 101918 w 1045844"/>
                <a:gd name="connsiteY39" fmla="*/ 113348 h 730472"/>
                <a:gd name="connsiteX40" fmla="*/ 38100 w 1045844"/>
                <a:gd name="connsiteY40" fmla="*/ 119920 h 730472"/>
                <a:gd name="connsiteX41" fmla="*/ 35243 w 1045844"/>
                <a:gd name="connsiteY41" fmla="*/ 144685 h 730472"/>
                <a:gd name="connsiteX42" fmla="*/ 45720 w 1045844"/>
                <a:gd name="connsiteY42" fmla="*/ 158972 h 730472"/>
                <a:gd name="connsiteX43" fmla="*/ 66675 w 1045844"/>
                <a:gd name="connsiteY43" fmla="*/ 158972 h 730472"/>
                <a:gd name="connsiteX44" fmla="*/ 77153 w 1045844"/>
                <a:gd name="connsiteY44" fmla="*/ 165735 h 730472"/>
                <a:gd name="connsiteX45" fmla="*/ 87630 w 1045844"/>
                <a:gd name="connsiteY45" fmla="*/ 177070 h 730472"/>
                <a:gd name="connsiteX46" fmla="*/ 104775 w 1045844"/>
                <a:gd name="connsiteY46" fmla="*/ 190500 h 730472"/>
                <a:gd name="connsiteX47" fmla="*/ 116205 w 1045844"/>
                <a:gd name="connsiteY47" fmla="*/ 212407 h 730472"/>
                <a:gd name="connsiteX48" fmla="*/ 147638 w 1045844"/>
                <a:gd name="connsiteY48" fmla="*/ 204788 h 730472"/>
                <a:gd name="connsiteX49" fmla="*/ 161925 w 1045844"/>
                <a:gd name="connsiteY49" fmla="*/ 208502 h 730472"/>
                <a:gd name="connsiteX50" fmla="*/ 154305 w 1045844"/>
                <a:gd name="connsiteY50" fmla="*/ 215265 h 730472"/>
                <a:gd name="connsiteX51" fmla="*/ 154305 w 1045844"/>
                <a:gd name="connsiteY51" fmla="*/ 229552 h 730472"/>
                <a:gd name="connsiteX52" fmla="*/ 179070 w 1045844"/>
                <a:gd name="connsiteY52" fmla="*/ 233363 h 730472"/>
                <a:gd name="connsiteX53" fmla="*/ 189548 w 1045844"/>
                <a:gd name="connsiteY53" fmla="*/ 225647 h 730472"/>
                <a:gd name="connsiteX54" fmla="*/ 207645 w 1045844"/>
                <a:gd name="connsiteY54" fmla="*/ 229552 h 730472"/>
                <a:gd name="connsiteX55" fmla="*/ 200025 w 1045844"/>
                <a:gd name="connsiteY55" fmla="*/ 239935 h 730472"/>
                <a:gd name="connsiteX56" fmla="*/ 175260 w 1045844"/>
                <a:gd name="connsiteY56" fmla="*/ 250507 h 730472"/>
                <a:gd name="connsiteX57" fmla="*/ 154305 w 1045844"/>
                <a:gd name="connsiteY57" fmla="*/ 254222 h 730472"/>
                <a:gd name="connsiteX58" fmla="*/ 126683 w 1045844"/>
                <a:gd name="connsiteY58" fmla="*/ 258127 h 730472"/>
                <a:gd name="connsiteX59" fmla="*/ 108585 w 1045844"/>
                <a:gd name="connsiteY59" fmla="*/ 247650 h 730472"/>
                <a:gd name="connsiteX60" fmla="*/ 104775 w 1045844"/>
                <a:gd name="connsiteY60" fmla="*/ 233363 h 730472"/>
                <a:gd name="connsiteX61" fmla="*/ 91440 w 1045844"/>
                <a:gd name="connsiteY61" fmla="*/ 229552 h 730472"/>
                <a:gd name="connsiteX62" fmla="*/ 62865 w 1045844"/>
                <a:gd name="connsiteY62" fmla="*/ 239935 h 730472"/>
                <a:gd name="connsiteX63" fmla="*/ 38100 w 1045844"/>
                <a:gd name="connsiteY63" fmla="*/ 247650 h 730472"/>
                <a:gd name="connsiteX64" fmla="*/ 17145 w 1045844"/>
                <a:gd name="connsiteY64" fmla="*/ 264795 h 730472"/>
                <a:gd name="connsiteX65" fmla="*/ 0 w 1045844"/>
                <a:gd name="connsiteY65" fmla="*/ 275177 h 730472"/>
                <a:gd name="connsiteX66" fmla="*/ 6668 w 1045844"/>
                <a:gd name="connsiteY66" fmla="*/ 289465 h 730472"/>
                <a:gd name="connsiteX67" fmla="*/ 35243 w 1045844"/>
                <a:gd name="connsiteY67" fmla="*/ 289465 h 730472"/>
                <a:gd name="connsiteX68" fmla="*/ 35243 w 1045844"/>
                <a:gd name="connsiteY68" fmla="*/ 296228 h 730472"/>
                <a:gd name="connsiteX69" fmla="*/ 23813 w 1045844"/>
                <a:gd name="connsiteY69" fmla="*/ 310515 h 730472"/>
                <a:gd name="connsiteX70" fmla="*/ 38100 w 1045844"/>
                <a:gd name="connsiteY70" fmla="*/ 324803 h 730472"/>
                <a:gd name="connsiteX71" fmla="*/ 133350 w 1045844"/>
                <a:gd name="connsiteY71" fmla="*/ 328613 h 730472"/>
                <a:gd name="connsiteX72" fmla="*/ 151448 w 1045844"/>
                <a:gd name="connsiteY72" fmla="*/ 318040 h 730472"/>
                <a:gd name="connsiteX73" fmla="*/ 164782 w 1045844"/>
                <a:gd name="connsiteY73" fmla="*/ 306610 h 730472"/>
                <a:gd name="connsiteX74" fmla="*/ 182880 w 1045844"/>
                <a:gd name="connsiteY74" fmla="*/ 306610 h 730472"/>
                <a:gd name="connsiteX75" fmla="*/ 189548 w 1045844"/>
                <a:gd name="connsiteY75" fmla="*/ 314325 h 730472"/>
                <a:gd name="connsiteX76" fmla="*/ 179070 w 1045844"/>
                <a:gd name="connsiteY76" fmla="*/ 324803 h 730472"/>
                <a:gd name="connsiteX77" fmla="*/ 189548 w 1045844"/>
                <a:gd name="connsiteY77" fmla="*/ 342900 h 730472"/>
                <a:gd name="connsiteX78" fmla="*/ 193357 w 1045844"/>
                <a:gd name="connsiteY78" fmla="*/ 366713 h 730472"/>
                <a:gd name="connsiteX79" fmla="*/ 154305 w 1045844"/>
                <a:gd name="connsiteY79" fmla="*/ 370427 h 730472"/>
                <a:gd name="connsiteX80" fmla="*/ 140018 w 1045844"/>
                <a:gd name="connsiteY80" fmla="*/ 378047 h 730472"/>
                <a:gd name="connsiteX81" fmla="*/ 126683 w 1045844"/>
                <a:gd name="connsiteY81" fmla="*/ 391478 h 730472"/>
                <a:gd name="connsiteX82" fmla="*/ 101918 w 1045844"/>
                <a:gd name="connsiteY82" fmla="*/ 388620 h 730472"/>
                <a:gd name="connsiteX83" fmla="*/ 87630 w 1045844"/>
                <a:gd name="connsiteY83" fmla="*/ 388620 h 730472"/>
                <a:gd name="connsiteX84" fmla="*/ 80963 w 1045844"/>
                <a:gd name="connsiteY84" fmla="*/ 399002 h 730472"/>
                <a:gd name="connsiteX85" fmla="*/ 80963 w 1045844"/>
                <a:gd name="connsiteY85" fmla="*/ 413290 h 730472"/>
                <a:gd name="connsiteX86" fmla="*/ 59055 w 1045844"/>
                <a:gd name="connsiteY86" fmla="*/ 426720 h 730472"/>
                <a:gd name="connsiteX87" fmla="*/ 52388 w 1045844"/>
                <a:gd name="connsiteY87" fmla="*/ 434340 h 730472"/>
                <a:gd name="connsiteX88" fmla="*/ 41910 w 1045844"/>
                <a:gd name="connsiteY88" fmla="*/ 455295 h 730472"/>
                <a:gd name="connsiteX89" fmla="*/ 62865 w 1045844"/>
                <a:gd name="connsiteY89" fmla="*/ 472440 h 730472"/>
                <a:gd name="connsiteX90" fmla="*/ 70485 w 1045844"/>
                <a:gd name="connsiteY90" fmla="*/ 459010 h 730472"/>
                <a:gd name="connsiteX91" fmla="*/ 70485 w 1045844"/>
                <a:gd name="connsiteY91" fmla="*/ 472440 h 730472"/>
                <a:gd name="connsiteX92" fmla="*/ 83820 w 1045844"/>
                <a:gd name="connsiteY92" fmla="*/ 483870 h 730472"/>
                <a:gd name="connsiteX93" fmla="*/ 73343 w 1045844"/>
                <a:gd name="connsiteY93" fmla="*/ 483870 h 730472"/>
                <a:gd name="connsiteX94" fmla="*/ 70485 w 1045844"/>
                <a:gd name="connsiteY94" fmla="*/ 494252 h 730472"/>
                <a:gd name="connsiteX95" fmla="*/ 83820 w 1045844"/>
                <a:gd name="connsiteY95" fmla="*/ 515302 h 730472"/>
                <a:gd name="connsiteX96" fmla="*/ 98108 w 1045844"/>
                <a:gd name="connsiteY96" fmla="*/ 529590 h 730472"/>
                <a:gd name="connsiteX97" fmla="*/ 129540 w 1045844"/>
                <a:gd name="connsiteY97" fmla="*/ 529590 h 730472"/>
                <a:gd name="connsiteX98" fmla="*/ 137160 w 1045844"/>
                <a:gd name="connsiteY98" fmla="*/ 521970 h 730472"/>
                <a:gd name="connsiteX99" fmla="*/ 140018 w 1045844"/>
                <a:gd name="connsiteY99" fmla="*/ 504825 h 730472"/>
                <a:gd name="connsiteX100" fmla="*/ 151448 w 1045844"/>
                <a:gd name="connsiteY100" fmla="*/ 504825 h 730472"/>
                <a:gd name="connsiteX101" fmla="*/ 151448 w 1045844"/>
                <a:gd name="connsiteY101" fmla="*/ 521970 h 730472"/>
                <a:gd name="connsiteX102" fmla="*/ 154305 w 1045844"/>
                <a:gd name="connsiteY102" fmla="*/ 536258 h 730472"/>
                <a:gd name="connsiteX103" fmla="*/ 158115 w 1045844"/>
                <a:gd name="connsiteY103" fmla="*/ 581977 h 730472"/>
                <a:gd name="connsiteX104" fmla="*/ 175260 w 1045844"/>
                <a:gd name="connsiteY104" fmla="*/ 579120 h 730472"/>
                <a:gd name="connsiteX105" fmla="*/ 193357 w 1045844"/>
                <a:gd name="connsiteY105" fmla="*/ 564833 h 730472"/>
                <a:gd name="connsiteX106" fmla="*/ 221932 w 1045844"/>
                <a:gd name="connsiteY106" fmla="*/ 567690 h 730472"/>
                <a:gd name="connsiteX107" fmla="*/ 235268 w 1045844"/>
                <a:gd name="connsiteY107" fmla="*/ 581977 h 730472"/>
                <a:gd name="connsiteX108" fmla="*/ 242888 w 1045844"/>
                <a:gd name="connsiteY108" fmla="*/ 579120 h 730472"/>
                <a:gd name="connsiteX109" fmla="*/ 249555 w 1045844"/>
                <a:gd name="connsiteY109" fmla="*/ 567690 h 730472"/>
                <a:gd name="connsiteX110" fmla="*/ 260032 w 1045844"/>
                <a:gd name="connsiteY110" fmla="*/ 579120 h 730472"/>
                <a:gd name="connsiteX111" fmla="*/ 280988 w 1045844"/>
                <a:gd name="connsiteY111" fmla="*/ 567690 h 730472"/>
                <a:gd name="connsiteX112" fmla="*/ 299085 w 1045844"/>
                <a:gd name="connsiteY112" fmla="*/ 564833 h 730472"/>
                <a:gd name="connsiteX113" fmla="*/ 295275 w 1045844"/>
                <a:gd name="connsiteY113" fmla="*/ 579120 h 730472"/>
                <a:gd name="connsiteX114" fmla="*/ 280988 w 1045844"/>
                <a:gd name="connsiteY114" fmla="*/ 585788 h 730472"/>
                <a:gd name="connsiteX115" fmla="*/ 280988 w 1045844"/>
                <a:gd name="connsiteY115" fmla="*/ 602933 h 730472"/>
                <a:gd name="connsiteX116" fmla="*/ 274320 w 1045844"/>
                <a:gd name="connsiteY116" fmla="*/ 624840 h 730472"/>
                <a:gd name="connsiteX117" fmla="*/ 263843 w 1045844"/>
                <a:gd name="connsiteY117" fmla="*/ 627602 h 730472"/>
                <a:gd name="connsiteX118" fmla="*/ 245745 w 1045844"/>
                <a:gd name="connsiteY118" fmla="*/ 645795 h 730472"/>
                <a:gd name="connsiteX119" fmla="*/ 218123 w 1045844"/>
                <a:gd name="connsiteY119" fmla="*/ 666750 h 730472"/>
                <a:gd name="connsiteX120" fmla="*/ 200025 w 1045844"/>
                <a:gd name="connsiteY120" fmla="*/ 674370 h 730472"/>
                <a:gd name="connsiteX121" fmla="*/ 193357 w 1045844"/>
                <a:gd name="connsiteY121" fmla="*/ 684752 h 730472"/>
                <a:gd name="connsiteX122" fmla="*/ 175260 w 1045844"/>
                <a:gd name="connsiteY122" fmla="*/ 684752 h 730472"/>
                <a:gd name="connsiteX123" fmla="*/ 158115 w 1045844"/>
                <a:gd name="connsiteY123" fmla="*/ 687610 h 730472"/>
                <a:gd name="connsiteX124" fmla="*/ 147638 w 1045844"/>
                <a:gd name="connsiteY124" fmla="*/ 695325 h 730472"/>
                <a:gd name="connsiteX125" fmla="*/ 137160 w 1045844"/>
                <a:gd name="connsiteY125" fmla="*/ 709613 h 730472"/>
                <a:gd name="connsiteX126" fmla="*/ 133350 w 1045844"/>
                <a:gd name="connsiteY126" fmla="*/ 722852 h 730472"/>
                <a:gd name="connsiteX127" fmla="*/ 147638 w 1045844"/>
                <a:gd name="connsiteY127" fmla="*/ 726758 h 730472"/>
                <a:gd name="connsiteX128" fmla="*/ 158115 w 1045844"/>
                <a:gd name="connsiteY128" fmla="*/ 720090 h 730472"/>
                <a:gd name="connsiteX129" fmla="*/ 164782 w 1045844"/>
                <a:gd name="connsiteY129" fmla="*/ 705802 h 730472"/>
                <a:gd name="connsiteX130" fmla="*/ 172403 w 1045844"/>
                <a:gd name="connsiteY130" fmla="*/ 701897 h 730472"/>
                <a:gd name="connsiteX131" fmla="*/ 182880 w 1045844"/>
                <a:gd name="connsiteY131" fmla="*/ 709613 h 730472"/>
                <a:gd name="connsiteX132" fmla="*/ 197168 w 1045844"/>
                <a:gd name="connsiteY132" fmla="*/ 701897 h 730472"/>
                <a:gd name="connsiteX133" fmla="*/ 203835 w 1045844"/>
                <a:gd name="connsiteY133" fmla="*/ 695325 h 730472"/>
                <a:gd name="connsiteX134" fmla="*/ 228600 w 1045844"/>
                <a:gd name="connsiteY134" fmla="*/ 695325 h 730472"/>
                <a:gd name="connsiteX135" fmla="*/ 235268 w 1045844"/>
                <a:gd name="connsiteY135" fmla="*/ 687610 h 730472"/>
                <a:gd name="connsiteX136" fmla="*/ 256223 w 1045844"/>
                <a:gd name="connsiteY136" fmla="*/ 677227 h 730472"/>
                <a:gd name="connsiteX137" fmla="*/ 260032 w 1045844"/>
                <a:gd name="connsiteY137" fmla="*/ 666750 h 730472"/>
                <a:gd name="connsiteX138" fmla="*/ 270510 w 1045844"/>
                <a:gd name="connsiteY138" fmla="*/ 656177 h 730472"/>
                <a:gd name="connsiteX139" fmla="*/ 309563 w 1045844"/>
                <a:gd name="connsiteY139" fmla="*/ 635222 h 730472"/>
                <a:gd name="connsiteX140" fmla="*/ 344805 w 1045844"/>
                <a:gd name="connsiteY140" fmla="*/ 614363 h 730472"/>
                <a:gd name="connsiteX141" fmla="*/ 365760 w 1045844"/>
                <a:gd name="connsiteY141" fmla="*/ 600075 h 730472"/>
                <a:gd name="connsiteX142" fmla="*/ 383858 w 1045844"/>
                <a:gd name="connsiteY142" fmla="*/ 585788 h 730472"/>
                <a:gd name="connsiteX143" fmla="*/ 394335 w 1045844"/>
                <a:gd name="connsiteY143" fmla="*/ 575215 h 730472"/>
                <a:gd name="connsiteX144" fmla="*/ 390525 w 1045844"/>
                <a:gd name="connsiteY144" fmla="*/ 567690 h 730472"/>
                <a:gd name="connsiteX145" fmla="*/ 380048 w 1045844"/>
                <a:gd name="connsiteY145" fmla="*/ 554260 h 730472"/>
                <a:gd name="connsiteX146" fmla="*/ 386715 w 1045844"/>
                <a:gd name="connsiteY146" fmla="*/ 539972 h 730472"/>
                <a:gd name="connsiteX147" fmla="*/ 404813 w 1045844"/>
                <a:gd name="connsiteY147" fmla="*/ 536258 h 730472"/>
                <a:gd name="connsiteX148" fmla="*/ 415290 w 1045844"/>
                <a:gd name="connsiteY148" fmla="*/ 525685 h 730472"/>
                <a:gd name="connsiteX149" fmla="*/ 415290 w 1045844"/>
                <a:gd name="connsiteY149" fmla="*/ 511397 h 730472"/>
                <a:gd name="connsiteX150" fmla="*/ 429577 w 1045844"/>
                <a:gd name="connsiteY150" fmla="*/ 497110 h 730472"/>
                <a:gd name="connsiteX151" fmla="*/ 464820 w 1045844"/>
                <a:gd name="connsiteY151" fmla="*/ 472440 h 730472"/>
                <a:gd name="connsiteX152" fmla="*/ 481965 w 1045844"/>
                <a:gd name="connsiteY152" fmla="*/ 469582 h 730472"/>
                <a:gd name="connsiteX153" fmla="*/ 502920 w 1045844"/>
                <a:gd name="connsiteY153" fmla="*/ 459010 h 730472"/>
                <a:gd name="connsiteX154" fmla="*/ 500063 w 1045844"/>
                <a:gd name="connsiteY154" fmla="*/ 465677 h 730472"/>
                <a:gd name="connsiteX155" fmla="*/ 492443 w 1045844"/>
                <a:gd name="connsiteY155" fmla="*/ 479965 h 730472"/>
                <a:gd name="connsiteX156" fmla="*/ 475298 w 1045844"/>
                <a:gd name="connsiteY156" fmla="*/ 483870 h 730472"/>
                <a:gd name="connsiteX157" fmla="*/ 461010 w 1045844"/>
                <a:gd name="connsiteY157" fmla="*/ 486727 h 730472"/>
                <a:gd name="connsiteX158" fmla="*/ 454343 w 1045844"/>
                <a:gd name="connsiteY158" fmla="*/ 494252 h 730472"/>
                <a:gd name="connsiteX159" fmla="*/ 450533 w 1045844"/>
                <a:gd name="connsiteY159" fmla="*/ 511397 h 730472"/>
                <a:gd name="connsiteX160" fmla="*/ 442913 w 1045844"/>
                <a:gd name="connsiteY160" fmla="*/ 525685 h 730472"/>
                <a:gd name="connsiteX161" fmla="*/ 440055 w 1045844"/>
                <a:gd name="connsiteY161" fmla="*/ 543877 h 730472"/>
                <a:gd name="connsiteX162" fmla="*/ 450533 w 1045844"/>
                <a:gd name="connsiteY162" fmla="*/ 557213 h 730472"/>
                <a:gd name="connsiteX163" fmla="*/ 471488 w 1045844"/>
                <a:gd name="connsiteY163" fmla="*/ 550545 h 730472"/>
                <a:gd name="connsiteX164" fmla="*/ 489585 w 1045844"/>
                <a:gd name="connsiteY164" fmla="*/ 536258 h 730472"/>
                <a:gd name="connsiteX165" fmla="*/ 502920 w 1045844"/>
                <a:gd name="connsiteY165" fmla="*/ 525685 h 730472"/>
                <a:gd name="connsiteX166" fmla="*/ 517208 w 1045844"/>
                <a:gd name="connsiteY166" fmla="*/ 521970 h 730472"/>
                <a:gd name="connsiteX167" fmla="*/ 545783 w 1045844"/>
                <a:gd name="connsiteY167" fmla="*/ 521970 h 730472"/>
                <a:gd name="connsiteX168" fmla="*/ 552450 w 1045844"/>
                <a:gd name="connsiteY168" fmla="*/ 519113 h 730472"/>
                <a:gd name="connsiteX169" fmla="*/ 545783 w 1045844"/>
                <a:gd name="connsiteY169" fmla="*/ 504825 h 730472"/>
                <a:gd name="connsiteX170" fmla="*/ 538163 w 1045844"/>
                <a:gd name="connsiteY170" fmla="*/ 494252 h 730472"/>
                <a:gd name="connsiteX171" fmla="*/ 538163 w 1045844"/>
                <a:gd name="connsiteY171" fmla="*/ 479965 h 730472"/>
                <a:gd name="connsiteX172" fmla="*/ 559118 w 1045844"/>
                <a:gd name="connsiteY172" fmla="*/ 479965 h 730472"/>
                <a:gd name="connsiteX173" fmla="*/ 583883 w 1045844"/>
                <a:gd name="connsiteY173" fmla="*/ 483870 h 730472"/>
                <a:gd name="connsiteX174" fmla="*/ 605790 w 1045844"/>
                <a:gd name="connsiteY174" fmla="*/ 494252 h 730472"/>
                <a:gd name="connsiteX175" fmla="*/ 612458 w 1045844"/>
                <a:gd name="connsiteY175" fmla="*/ 504825 h 730472"/>
                <a:gd name="connsiteX176" fmla="*/ 637223 w 1045844"/>
                <a:gd name="connsiteY176" fmla="*/ 508540 h 730472"/>
                <a:gd name="connsiteX177" fmla="*/ 647700 w 1045844"/>
                <a:gd name="connsiteY177" fmla="*/ 521970 h 730472"/>
                <a:gd name="connsiteX178" fmla="*/ 664845 w 1045844"/>
                <a:gd name="connsiteY178" fmla="*/ 521970 h 730472"/>
                <a:gd name="connsiteX179" fmla="*/ 703898 w 1045844"/>
                <a:gd name="connsiteY179" fmla="*/ 521970 h 730472"/>
                <a:gd name="connsiteX180" fmla="*/ 728663 w 1045844"/>
                <a:gd name="connsiteY180" fmla="*/ 525685 h 730472"/>
                <a:gd name="connsiteX181" fmla="*/ 749618 w 1045844"/>
                <a:gd name="connsiteY181" fmla="*/ 536258 h 730472"/>
                <a:gd name="connsiteX182" fmla="*/ 770573 w 1045844"/>
                <a:gd name="connsiteY182" fmla="*/ 532352 h 730472"/>
                <a:gd name="connsiteX183" fmla="*/ 774383 w 1045844"/>
                <a:gd name="connsiteY183" fmla="*/ 546640 h 730472"/>
                <a:gd name="connsiteX184" fmla="*/ 816293 w 1045844"/>
                <a:gd name="connsiteY184" fmla="*/ 571500 h 730472"/>
                <a:gd name="connsiteX185" fmla="*/ 844868 w 1045844"/>
                <a:gd name="connsiteY185" fmla="*/ 585788 h 730472"/>
                <a:gd name="connsiteX186" fmla="*/ 865823 w 1045844"/>
                <a:gd name="connsiteY186" fmla="*/ 592360 h 730472"/>
                <a:gd name="connsiteX187" fmla="*/ 873443 w 1045844"/>
                <a:gd name="connsiteY187" fmla="*/ 579120 h 730472"/>
                <a:gd name="connsiteX188" fmla="*/ 880110 w 1045844"/>
                <a:gd name="connsiteY188" fmla="*/ 585788 h 730472"/>
                <a:gd name="connsiteX189" fmla="*/ 890588 w 1045844"/>
                <a:gd name="connsiteY189" fmla="*/ 596265 h 730472"/>
                <a:gd name="connsiteX190" fmla="*/ 897255 w 1045844"/>
                <a:gd name="connsiteY190" fmla="*/ 589502 h 730472"/>
                <a:gd name="connsiteX191" fmla="*/ 890588 w 1045844"/>
                <a:gd name="connsiteY191" fmla="*/ 567690 h 730472"/>
                <a:gd name="connsiteX192" fmla="*/ 897255 w 1045844"/>
                <a:gd name="connsiteY192" fmla="*/ 560927 h 730472"/>
                <a:gd name="connsiteX193" fmla="*/ 911543 w 1045844"/>
                <a:gd name="connsiteY193" fmla="*/ 581977 h 730472"/>
                <a:gd name="connsiteX194" fmla="*/ 919163 w 1045844"/>
                <a:gd name="connsiteY194" fmla="*/ 592360 h 730472"/>
                <a:gd name="connsiteX195" fmla="*/ 932498 w 1045844"/>
                <a:gd name="connsiteY195" fmla="*/ 602933 h 730472"/>
                <a:gd name="connsiteX196" fmla="*/ 950595 w 1045844"/>
                <a:gd name="connsiteY196" fmla="*/ 624840 h 730472"/>
                <a:gd name="connsiteX197" fmla="*/ 954405 w 1045844"/>
                <a:gd name="connsiteY197" fmla="*/ 638175 h 730472"/>
                <a:gd name="connsiteX198" fmla="*/ 971550 w 1045844"/>
                <a:gd name="connsiteY198" fmla="*/ 652463 h 730472"/>
                <a:gd name="connsiteX199" fmla="*/ 1000125 w 1045844"/>
                <a:gd name="connsiteY199" fmla="*/ 677227 h 730472"/>
                <a:gd name="connsiteX200" fmla="*/ 1002983 w 1045844"/>
                <a:gd name="connsiteY200" fmla="*/ 681038 h 730472"/>
                <a:gd name="connsiteX201" fmla="*/ 1013460 w 1045844"/>
                <a:gd name="connsiteY201" fmla="*/ 691515 h 730472"/>
                <a:gd name="connsiteX202" fmla="*/ 1024890 w 1045844"/>
                <a:gd name="connsiteY202" fmla="*/ 695325 h 730472"/>
                <a:gd name="connsiteX203" fmla="*/ 1021080 w 1045844"/>
                <a:gd name="connsiteY203" fmla="*/ 712470 h 730472"/>
                <a:gd name="connsiteX204" fmla="*/ 1013460 w 1045844"/>
                <a:gd name="connsiteY204" fmla="*/ 730472 h 730472"/>
                <a:gd name="connsiteX205" fmla="*/ 1038225 w 1045844"/>
                <a:gd name="connsiteY205" fmla="*/ 722852 h 730472"/>
                <a:gd name="connsiteX206" fmla="*/ 1045845 w 1045844"/>
                <a:gd name="connsiteY206" fmla="*/ 695325 h 730472"/>
                <a:gd name="connsiteX207" fmla="*/ 1042035 w 1045844"/>
                <a:gd name="connsiteY207" fmla="*/ 681038 h 730472"/>
                <a:gd name="connsiteX208" fmla="*/ 1017270 w 1045844"/>
                <a:gd name="connsiteY208" fmla="*/ 666750 h 7304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</a:cxnLst>
              <a:rect l="l" t="t" r="r" b="b"/>
              <a:pathLst>
                <a:path w="1045844" h="730472">
                  <a:moveTo>
                    <a:pt x="1017270" y="666750"/>
                  </a:moveTo>
                  <a:lnTo>
                    <a:pt x="996315" y="652463"/>
                  </a:lnTo>
                  <a:lnTo>
                    <a:pt x="978218" y="631508"/>
                  </a:lnTo>
                  <a:lnTo>
                    <a:pt x="961073" y="600075"/>
                  </a:lnTo>
                  <a:lnTo>
                    <a:pt x="946785" y="585788"/>
                  </a:lnTo>
                  <a:lnTo>
                    <a:pt x="915353" y="550545"/>
                  </a:lnTo>
                  <a:lnTo>
                    <a:pt x="894398" y="529590"/>
                  </a:lnTo>
                  <a:lnTo>
                    <a:pt x="862013" y="543877"/>
                  </a:lnTo>
                  <a:lnTo>
                    <a:pt x="859155" y="554260"/>
                  </a:lnTo>
                  <a:lnTo>
                    <a:pt x="841058" y="557213"/>
                  </a:lnTo>
                  <a:lnTo>
                    <a:pt x="820103" y="539972"/>
                  </a:lnTo>
                  <a:lnTo>
                    <a:pt x="799148" y="521970"/>
                  </a:lnTo>
                  <a:lnTo>
                    <a:pt x="784860" y="504825"/>
                  </a:lnTo>
                  <a:lnTo>
                    <a:pt x="757238" y="515302"/>
                  </a:lnTo>
                  <a:lnTo>
                    <a:pt x="739140" y="508540"/>
                  </a:lnTo>
                  <a:lnTo>
                    <a:pt x="739140" y="84773"/>
                  </a:lnTo>
                  <a:lnTo>
                    <a:pt x="703898" y="70485"/>
                  </a:lnTo>
                  <a:lnTo>
                    <a:pt x="693420" y="63722"/>
                  </a:lnTo>
                  <a:lnTo>
                    <a:pt x="641033" y="70485"/>
                  </a:lnTo>
                  <a:lnTo>
                    <a:pt x="605790" y="63722"/>
                  </a:lnTo>
                  <a:lnTo>
                    <a:pt x="559118" y="53245"/>
                  </a:lnTo>
                  <a:lnTo>
                    <a:pt x="521018" y="42863"/>
                  </a:lnTo>
                  <a:lnTo>
                    <a:pt x="471488" y="42863"/>
                  </a:lnTo>
                  <a:lnTo>
                    <a:pt x="429577" y="38957"/>
                  </a:lnTo>
                  <a:lnTo>
                    <a:pt x="429577" y="28575"/>
                  </a:lnTo>
                  <a:lnTo>
                    <a:pt x="372427" y="21907"/>
                  </a:lnTo>
                  <a:lnTo>
                    <a:pt x="359093" y="14288"/>
                  </a:lnTo>
                  <a:lnTo>
                    <a:pt x="334327" y="24670"/>
                  </a:lnTo>
                  <a:lnTo>
                    <a:pt x="326708" y="14288"/>
                  </a:lnTo>
                  <a:lnTo>
                    <a:pt x="334327" y="3810"/>
                  </a:lnTo>
                  <a:lnTo>
                    <a:pt x="309563" y="0"/>
                  </a:lnTo>
                  <a:lnTo>
                    <a:pt x="278130" y="18098"/>
                  </a:lnTo>
                  <a:lnTo>
                    <a:pt x="232410" y="21907"/>
                  </a:lnTo>
                  <a:lnTo>
                    <a:pt x="224790" y="35147"/>
                  </a:lnTo>
                  <a:lnTo>
                    <a:pt x="210503" y="35147"/>
                  </a:lnTo>
                  <a:lnTo>
                    <a:pt x="182880" y="49435"/>
                  </a:lnTo>
                  <a:lnTo>
                    <a:pt x="154305" y="49435"/>
                  </a:lnTo>
                  <a:lnTo>
                    <a:pt x="129540" y="74295"/>
                  </a:lnTo>
                  <a:lnTo>
                    <a:pt x="122873" y="95250"/>
                  </a:lnTo>
                  <a:lnTo>
                    <a:pt x="101918" y="113348"/>
                  </a:lnTo>
                  <a:lnTo>
                    <a:pt x="38100" y="119920"/>
                  </a:lnTo>
                  <a:lnTo>
                    <a:pt x="35243" y="144685"/>
                  </a:lnTo>
                  <a:lnTo>
                    <a:pt x="45720" y="158972"/>
                  </a:lnTo>
                  <a:lnTo>
                    <a:pt x="66675" y="158972"/>
                  </a:lnTo>
                  <a:lnTo>
                    <a:pt x="77153" y="165735"/>
                  </a:lnTo>
                  <a:lnTo>
                    <a:pt x="87630" y="177070"/>
                  </a:lnTo>
                  <a:lnTo>
                    <a:pt x="104775" y="190500"/>
                  </a:lnTo>
                  <a:lnTo>
                    <a:pt x="116205" y="212407"/>
                  </a:lnTo>
                  <a:lnTo>
                    <a:pt x="147638" y="204788"/>
                  </a:lnTo>
                  <a:lnTo>
                    <a:pt x="161925" y="208502"/>
                  </a:lnTo>
                  <a:lnTo>
                    <a:pt x="154305" y="215265"/>
                  </a:lnTo>
                  <a:lnTo>
                    <a:pt x="154305" y="229552"/>
                  </a:lnTo>
                  <a:lnTo>
                    <a:pt x="179070" y="233363"/>
                  </a:lnTo>
                  <a:lnTo>
                    <a:pt x="189548" y="225647"/>
                  </a:lnTo>
                  <a:lnTo>
                    <a:pt x="207645" y="229552"/>
                  </a:lnTo>
                  <a:lnTo>
                    <a:pt x="200025" y="239935"/>
                  </a:lnTo>
                  <a:lnTo>
                    <a:pt x="175260" y="250507"/>
                  </a:lnTo>
                  <a:lnTo>
                    <a:pt x="154305" y="254222"/>
                  </a:lnTo>
                  <a:lnTo>
                    <a:pt x="126683" y="258127"/>
                  </a:lnTo>
                  <a:lnTo>
                    <a:pt x="108585" y="247650"/>
                  </a:lnTo>
                  <a:lnTo>
                    <a:pt x="104775" y="233363"/>
                  </a:lnTo>
                  <a:lnTo>
                    <a:pt x="91440" y="229552"/>
                  </a:lnTo>
                  <a:lnTo>
                    <a:pt x="62865" y="239935"/>
                  </a:lnTo>
                  <a:lnTo>
                    <a:pt x="38100" y="247650"/>
                  </a:lnTo>
                  <a:lnTo>
                    <a:pt x="17145" y="264795"/>
                  </a:lnTo>
                  <a:lnTo>
                    <a:pt x="0" y="275177"/>
                  </a:lnTo>
                  <a:lnTo>
                    <a:pt x="6668" y="289465"/>
                  </a:lnTo>
                  <a:lnTo>
                    <a:pt x="35243" y="289465"/>
                  </a:lnTo>
                  <a:lnTo>
                    <a:pt x="35243" y="296228"/>
                  </a:lnTo>
                  <a:lnTo>
                    <a:pt x="23813" y="310515"/>
                  </a:lnTo>
                  <a:lnTo>
                    <a:pt x="38100" y="324803"/>
                  </a:lnTo>
                  <a:lnTo>
                    <a:pt x="133350" y="328613"/>
                  </a:lnTo>
                  <a:lnTo>
                    <a:pt x="151448" y="318040"/>
                  </a:lnTo>
                  <a:lnTo>
                    <a:pt x="164782" y="306610"/>
                  </a:lnTo>
                  <a:lnTo>
                    <a:pt x="182880" y="306610"/>
                  </a:lnTo>
                  <a:lnTo>
                    <a:pt x="189548" y="314325"/>
                  </a:lnTo>
                  <a:lnTo>
                    <a:pt x="179070" y="324803"/>
                  </a:lnTo>
                  <a:lnTo>
                    <a:pt x="189548" y="342900"/>
                  </a:lnTo>
                  <a:lnTo>
                    <a:pt x="193357" y="366713"/>
                  </a:lnTo>
                  <a:lnTo>
                    <a:pt x="154305" y="370427"/>
                  </a:lnTo>
                  <a:lnTo>
                    <a:pt x="140018" y="378047"/>
                  </a:lnTo>
                  <a:lnTo>
                    <a:pt x="126683" y="391478"/>
                  </a:lnTo>
                  <a:lnTo>
                    <a:pt x="101918" y="388620"/>
                  </a:lnTo>
                  <a:lnTo>
                    <a:pt x="87630" y="388620"/>
                  </a:lnTo>
                  <a:lnTo>
                    <a:pt x="80963" y="399002"/>
                  </a:lnTo>
                  <a:lnTo>
                    <a:pt x="80963" y="413290"/>
                  </a:lnTo>
                  <a:lnTo>
                    <a:pt x="59055" y="426720"/>
                  </a:lnTo>
                  <a:lnTo>
                    <a:pt x="52388" y="434340"/>
                  </a:lnTo>
                  <a:lnTo>
                    <a:pt x="41910" y="455295"/>
                  </a:lnTo>
                  <a:lnTo>
                    <a:pt x="62865" y="472440"/>
                  </a:lnTo>
                  <a:lnTo>
                    <a:pt x="70485" y="459010"/>
                  </a:lnTo>
                  <a:lnTo>
                    <a:pt x="70485" y="472440"/>
                  </a:lnTo>
                  <a:lnTo>
                    <a:pt x="83820" y="483870"/>
                  </a:lnTo>
                  <a:lnTo>
                    <a:pt x="73343" y="483870"/>
                  </a:lnTo>
                  <a:lnTo>
                    <a:pt x="70485" y="494252"/>
                  </a:lnTo>
                  <a:lnTo>
                    <a:pt x="83820" y="515302"/>
                  </a:lnTo>
                  <a:lnTo>
                    <a:pt x="98108" y="529590"/>
                  </a:lnTo>
                  <a:lnTo>
                    <a:pt x="129540" y="529590"/>
                  </a:lnTo>
                  <a:lnTo>
                    <a:pt x="137160" y="521970"/>
                  </a:lnTo>
                  <a:lnTo>
                    <a:pt x="140018" y="504825"/>
                  </a:lnTo>
                  <a:lnTo>
                    <a:pt x="151448" y="504825"/>
                  </a:lnTo>
                  <a:lnTo>
                    <a:pt x="151448" y="521970"/>
                  </a:lnTo>
                  <a:lnTo>
                    <a:pt x="154305" y="536258"/>
                  </a:lnTo>
                  <a:lnTo>
                    <a:pt x="158115" y="581977"/>
                  </a:lnTo>
                  <a:lnTo>
                    <a:pt x="175260" y="579120"/>
                  </a:lnTo>
                  <a:lnTo>
                    <a:pt x="193357" y="564833"/>
                  </a:lnTo>
                  <a:lnTo>
                    <a:pt x="221932" y="567690"/>
                  </a:lnTo>
                  <a:lnTo>
                    <a:pt x="235268" y="581977"/>
                  </a:lnTo>
                  <a:lnTo>
                    <a:pt x="242888" y="579120"/>
                  </a:lnTo>
                  <a:lnTo>
                    <a:pt x="249555" y="567690"/>
                  </a:lnTo>
                  <a:lnTo>
                    <a:pt x="260032" y="579120"/>
                  </a:lnTo>
                  <a:lnTo>
                    <a:pt x="280988" y="567690"/>
                  </a:lnTo>
                  <a:lnTo>
                    <a:pt x="299085" y="564833"/>
                  </a:lnTo>
                  <a:lnTo>
                    <a:pt x="295275" y="579120"/>
                  </a:lnTo>
                  <a:lnTo>
                    <a:pt x="280988" y="585788"/>
                  </a:lnTo>
                  <a:lnTo>
                    <a:pt x="280988" y="602933"/>
                  </a:lnTo>
                  <a:lnTo>
                    <a:pt x="274320" y="624840"/>
                  </a:lnTo>
                  <a:lnTo>
                    <a:pt x="263843" y="627602"/>
                  </a:lnTo>
                  <a:lnTo>
                    <a:pt x="245745" y="645795"/>
                  </a:lnTo>
                  <a:lnTo>
                    <a:pt x="218123" y="666750"/>
                  </a:lnTo>
                  <a:lnTo>
                    <a:pt x="200025" y="674370"/>
                  </a:lnTo>
                  <a:lnTo>
                    <a:pt x="193357" y="684752"/>
                  </a:lnTo>
                  <a:lnTo>
                    <a:pt x="175260" y="684752"/>
                  </a:lnTo>
                  <a:lnTo>
                    <a:pt x="158115" y="687610"/>
                  </a:lnTo>
                  <a:lnTo>
                    <a:pt x="147638" y="695325"/>
                  </a:lnTo>
                  <a:lnTo>
                    <a:pt x="137160" y="709613"/>
                  </a:lnTo>
                  <a:lnTo>
                    <a:pt x="133350" y="722852"/>
                  </a:lnTo>
                  <a:lnTo>
                    <a:pt x="147638" y="726758"/>
                  </a:lnTo>
                  <a:lnTo>
                    <a:pt x="158115" y="720090"/>
                  </a:lnTo>
                  <a:lnTo>
                    <a:pt x="164782" y="705802"/>
                  </a:lnTo>
                  <a:lnTo>
                    <a:pt x="172403" y="701897"/>
                  </a:lnTo>
                  <a:lnTo>
                    <a:pt x="182880" y="709613"/>
                  </a:lnTo>
                  <a:lnTo>
                    <a:pt x="197168" y="701897"/>
                  </a:lnTo>
                  <a:lnTo>
                    <a:pt x="203835" y="695325"/>
                  </a:lnTo>
                  <a:lnTo>
                    <a:pt x="228600" y="695325"/>
                  </a:lnTo>
                  <a:lnTo>
                    <a:pt x="235268" y="687610"/>
                  </a:lnTo>
                  <a:lnTo>
                    <a:pt x="256223" y="677227"/>
                  </a:lnTo>
                  <a:lnTo>
                    <a:pt x="260032" y="666750"/>
                  </a:lnTo>
                  <a:lnTo>
                    <a:pt x="270510" y="656177"/>
                  </a:lnTo>
                  <a:lnTo>
                    <a:pt x="309563" y="635222"/>
                  </a:lnTo>
                  <a:lnTo>
                    <a:pt x="344805" y="614363"/>
                  </a:lnTo>
                  <a:lnTo>
                    <a:pt x="365760" y="600075"/>
                  </a:lnTo>
                  <a:lnTo>
                    <a:pt x="383858" y="585788"/>
                  </a:lnTo>
                  <a:lnTo>
                    <a:pt x="394335" y="575215"/>
                  </a:lnTo>
                  <a:lnTo>
                    <a:pt x="390525" y="567690"/>
                  </a:lnTo>
                  <a:lnTo>
                    <a:pt x="380048" y="554260"/>
                  </a:lnTo>
                  <a:lnTo>
                    <a:pt x="386715" y="539972"/>
                  </a:lnTo>
                  <a:lnTo>
                    <a:pt x="404813" y="536258"/>
                  </a:lnTo>
                  <a:lnTo>
                    <a:pt x="415290" y="525685"/>
                  </a:lnTo>
                  <a:lnTo>
                    <a:pt x="415290" y="511397"/>
                  </a:lnTo>
                  <a:lnTo>
                    <a:pt x="429577" y="497110"/>
                  </a:lnTo>
                  <a:lnTo>
                    <a:pt x="464820" y="472440"/>
                  </a:lnTo>
                  <a:lnTo>
                    <a:pt x="481965" y="469582"/>
                  </a:lnTo>
                  <a:lnTo>
                    <a:pt x="502920" y="459010"/>
                  </a:lnTo>
                  <a:lnTo>
                    <a:pt x="500063" y="465677"/>
                  </a:lnTo>
                  <a:lnTo>
                    <a:pt x="492443" y="479965"/>
                  </a:lnTo>
                  <a:lnTo>
                    <a:pt x="475298" y="483870"/>
                  </a:lnTo>
                  <a:lnTo>
                    <a:pt x="461010" y="486727"/>
                  </a:lnTo>
                  <a:lnTo>
                    <a:pt x="454343" y="494252"/>
                  </a:lnTo>
                  <a:lnTo>
                    <a:pt x="450533" y="511397"/>
                  </a:lnTo>
                  <a:lnTo>
                    <a:pt x="442913" y="525685"/>
                  </a:lnTo>
                  <a:lnTo>
                    <a:pt x="440055" y="543877"/>
                  </a:lnTo>
                  <a:lnTo>
                    <a:pt x="450533" y="557213"/>
                  </a:lnTo>
                  <a:lnTo>
                    <a:pt x="471488" y="550545"/>
                  </a:lnTo>
                  <a:lnTo>
                    <a:pt x="489585" y="536258"/>
                  </a:lnTo>
                  <a:lnTo>
                    <a:pt x="502920" y="525685"/>
                  </a:lnTo>
                  <a:lnTo>
                    <a:pt x="517208" y="521970"/>
                  </a:lnTo>
                  <a:lnTo>
                    <a:pt x="545783" y="521970"/>
                  </a:lnTo>
                  <a:lnTo>
                    <a:pt x="552450" y="519113"/>
                  </a:lnTo>
                  <a:lnTo>
                    <a:pt x="545783" y="504825"/>
                  </a:lnTo>
                  <a:lnTo>
                    <a:pt x="538163" y="494252"/>
                  </a:lnTo>
                  <a:lnTo>
                    <a:pt x="538163" y="479965"/>
                  </a:lnTo>
                  <a:lnTo>
                    <a:pt x="559118" y="479965"/>
                  </a:lnTo>
                  <a:lnTo>
                    <a:pt x="583883" y="483870"/>
                  </a:lnTo>
                  <a:lnTo>
                    <a:pt x="605790" y="494252"/>
                  </a:lnTo>
                  <a:lnTo>
                    <a:pt x="612458" y="504825"/>
                  </a:lnTo>
                  <a:lnTo>
                    <a:pt x="637223" y="508540"/>
                  </a:lnTo>
                  <a:lnTo>
                    <a:pt x="647700" y="521970"/>
                  </a:lnTo>
                  <a:lnTo>
                    <a:pt x="664845" y="521970"/>
                  </a:lnTo>
                  <a:lnTo>
                    <a:pt x="703898" y="521970"/>
                  </a:lnTo>
                  <a:lnTo>
                    <a:pt x="728663" y="525685"/>
                  </a:lnTo>
                  <a:lnTo>
                    <a:pt x="749618" y="536258"/>
                  </a:lnTo>
                  <a:lnTo>
                    <a:pt x="770573" y="532352"/>
                  </a:lnTo>
                  <a:lnTo>
                    <a:pt x="774383" y="546640"/>
                  </a:lnTo>
                  <a:lnTo>
                    <a:pt x="816293" y="571500"/>
                  </a:lnTo>
                  <a:lnTo>
                    <a:pt x="844868" y="585788"/>
                  </a:lnTo>
                  <a:lnTo>
                    <a:pt x="865823" y="592360"/>
                  </a:lnTo>
                  <a:lnTo>
                    <a:pt x="873443" y="579120"/>
                  </a:lnTo>
                  <a:lnTo>
                    <a:pt x="880110" y="585788"/>
                  </a:lnTo>
                  <a:lnTo>
                    <a:pt x="890588" y="596265"/>
                  </a:lnTo>
                  <a:lnTo>
                    <a:pt x="897255" y="589502"/>
                  </a:lnTo>
                  <a:lnTo>
                    <a:pt x="890588" y="567690"/>
                  </a:lnTo>
                  <a:lnTo>
                    <a:pt x="897255" y="560927"/>
                  </a:lnTo>
                  <a:lnTo>
                    <a:pt x="911543" y="581977"/>
                  </a:lnTo>
                  <a:lnTo>
                    <a:pt x="919163" y="592360"/>
                  </a:lnTo>
                  <a:lnTo>
                    <a:pt x="932498" y="602933"/>
                  </a:lnTo>
                  <a:lnTo>
                    <a:pt x="950595" y="624840"/>
                  </a:lnTo>
                  <a:lnTo>
                    <a:pt x="954405" y="638175"/>
                  </a:lnTo>
                  <a:lnTo>
                    <a:pt x="971550" y="652463"/>
                  </a:lnTo>
                  <a:lnTo>
                    <a:pt x="1000125" y="677227"/>
                  </a:lnTo>
                  <a:lnTo>
                    <a:pt x="1002983" y="681038"/>
                  </a:lnTo>
                  <a:lnTo>
                    <a:pt x="1013460" y="691515"/>
                  </a:lnTo>
                  <a:lnTo>
                    <a:pt x="1024890" y="695325"/>
                  </a:lnTo>
                  <a:lnTo>
                    <a:pt x="1021080" y="712470"/>
                  </a:lnTo>
                  <a:lnTo>
                    <a:pt x="1013460" y="730472"/>
                  </a:lnTo>
                  <a:lnTo>
                    <a:pt x="1038225" y="722852"/>
                  </a:lnTo>
                  <a:lnTo>
                    <a:pt x="1045845" y="695325"/>
                  </a:lnTo>
                  <a:lnTo>
                    <a:pt x="1042035" y="681038"/>
                  </a:lnTo>
                  <a:lnTo>
                    <a:pt x="1017270" y="66675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39" name="Freeform: Shape 3938">
              <a:extLst>
                <a:ext uri="{FF2B5EF4-FFF2-40B4-BE49-F238E27FC236}">
                  <a16:creationId xmlns:a16="http://schemas.microsoft.com/office/drawing/2014/main" id="{9064EE55-4F13-B6B3-D820-E32F086CE7C4}"/>
                </a:ext>
              </a:extLst>
            </p:cNvPr>
            <p:cNvSpPr/>
            <p:nvPr/>
          </p:nvSpPr>
          <p:spPr>
            <a:xfrm>
              <a:off x="2257087" y="2674406"/>
              <a:ext cx="31746" cy="14005"/>
            </a:xfrm>
            <a:custGeom>
              <a:avLst/>
              <a:gdLst>
                <a:gd name="connsiteX0" fmla="*/ 14288 w 32384"/>
                <a:gd name="connsiteY0" fmla="*/ 6668 h 14287"/>
                <a:gd name="connsiteX1" fmla="*/ 0 w 32384"/>
                <a:gd name="connsiteY1" fmla="*/ 14288 h 14287"/>
                <a:gd name="connsiteX2" fmla="*/ 32385 w 32384"/>
                <a:gd name="connsiteY2" fmla="*/ 0 h 14287"/>
                <a:gd name="connsiteX3" fmla="*/ 14288 w 32384"/>
                <a:gd name="connsiteY3" fmla="*/ 6668 h 1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384" h="14287">
                  <a:moveTo>
                    <a:pt x="14288" y="6668"/>
                  </a:moveTo>
                  <a:lnTo>
                    <a:pt x="0" y="14288"/>
                  </a:lnTo>
                  <a:lnTo>
                    <a:pt x="32385" y="0"/>
                  </a:lnTo>
                  <a:lnTo>
                    <a:pt x="14288" y="666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40" name="Freeform: Shape 3939">
              <a:extLst>
                <a:ext uri="{FF2B5EF4-FFF2-40B4-BE49-F238E27FC236}">
                  <a16:creationId xmlns:a16="http://schemas.microsoft.com/office/drawing/2014/main" id="{D847B97D-19BF-EFF0-A214-4D62B43CFCD7}"/>
                </a:ext>
              </a:extLst>
            </p:cNvPr>
            <p:cNvSpPr/>
            <p:nvPr/>
          </p:nvSpPr>
          <p:spPr>
            <a:xfrm>
              <a:off x="2195461" y="2666936"/>
              <a:ext cx="41084" cy="34548"/>
            </a:xfrm>
            <a:custGeom>
              <a:avLst/>
              <a:gdLst>
                <a:gd name="connsiteX0" fmla="*/ 41910 w 41910"/>
                <a:gd name="connsiteY0" fmla="*/ 35242 h 35242"/>
                <a:gd name="connsiteX1" fmla="*/ 27623 w 41910"/>
                <a:gd name="connsiteY1" fmla="*/ 21907 h 35242"/>
                <a:gd name="connsiteX2" fmla="*/ 0 w 41910"/>
                <a:gd name="connsiteY2" fmla="*/ 0 h 35242"/>
                <a:gd name="connsiteX3" fmla="*/ 20955 w 41910"/>
                <a:gd name="connsiteY3" fmla="*/ 18002 h 35242"/>
                <a:gd name="connsiteX4" fmla="*/ 41910 w 41910"/>
                <a:gd name="connsiteY4" fmla="*/ 35242 h 352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0" h="35242">
                  <a:moveTo>
                    <a:pt x="41910" y="35242"/>
                  </a:moveTo>
                  <a:lnTo>
                    <a:pt x="27623" y="21907"/>
                  </a:lnTo>
                  <a:lnTo>
                    <a:pt x="0" y="0"/>
                  </a:lnTo>
                  <a:lnTo>
                    <a:pt x="20955" y="18002"/>
                  </a:lnTo>
                  <a:lnTo>
                    <a:pt x="41910" y="35242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41" name="Freeform: Shape 3940">
              <a:extLst>
                <a:ext uri="{FF2B5EF4-FFF2-40B4-BE49-F238E27FC236}">
                  <a16:creationId xmlns:a16="http://schemas.microsoft.com/office/drawing/2014/main" id="{5FD39EBF-A812-AEFD-35D6-CD6D3D9E23B4}"/>
                </a:ext>
              </a:extLst>
            </p:cNvPr>
            <p:cNvSpPr/>
            <p:nvPr/>
          </p:nvSpPr>
          <p:spPr>
            <a:xfrm>
              <a:off x="2154377" y="2650129"/>
              <a:ext cx="27078" cy="10271"/>
            </a:xfrm>
            <a:custGeom>
              <a:avLst/>
              <a:gdLst>
                <a:gd name="connsiteX0" fmla="*/ 13335 w 27622"/>
                <a:gd name="connsiteY0" fmla="*/ 3715 h 10477"/>
                <a:gd name="connsiteX1" fmla="*/ 0 w 27622"/>
                <a:gd name="connsiteY1" fmla="*/ 10477 h 10477"/>
                <a:gd name="connsiteX2" fmla="*/ 27622 w 27622"/>
                <a:gd name="connsiteY2" fmla="*/ 0 h 10477"/>
                <a:gd name="connsiteX3" fmla="*/ 13335 w 27622"/>
                <a:gd name="connsiteY3" fmla="*/ 3715 h 10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622" h="10477">
                  <a:moveTo>
                    <a:pt x="13335" y="3715"/>
                  </a:moveTo>
                  <a:lnTo>
                    <a:pt x="0" y="10477"/>
                  </a:lnTo>
                  <a:lnTo>
                    <a:pt x="27622" y="0"/>
                  </a:lnTo>
                  <a:lnTo>
                    <a:pt x="13335" y="371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42" name="Freeform: Shape 3941">
              <a:extLst>
                <a:ext uri="{FF2B5EF4-FFF2-40B4-BE49-F238E27FC236}">
                  <a16:creationId xmlns:a16="http://schemas.microsoft.com/office/drawing/2014/main" id="{FF1B7E8C-80FA-0017-8D01-D51E0C9FBCA0}"/>
                </a:ext>
              </a:extLst>
            </p:cNvPr>
            <p:cNvSpPr/>
            <p:nvPr/>
          </p:nvSpPr>
          <p:spPr>
            <a:xfrm>
              <a:off x="2309376" y="2694948"/>
              <a:ext cx="61625" cy="79367"/>
            </a:xfrm>
            <a:custGeom>
              <a:avLst/>
              <a:gdLst>
                <a:gd name="connsiteX0" fmla="*/ 45720 w 62864"/>
                <a:gd name="connsiteY0" fmla="*/ 49530 h 80962"/>
                <a:gd name="connsiteX1" fmla="*/ 62865 w 62864"/>
                <a:gd name="connsiteY1" fmla="*/ 80963 h 80962"/>
                <a:gd name="connsiteX2" fmla="*/ 45720 w 62864"/>
                <a:gd name="connsiteY2" fmla="*/ 45720 h 80962"/>
                <a:gd name="connsiteX3" fmla="*/ 17145 w 62864"/>
                <a:gd name="connsiteY3" fmla="*/ 17145 h 80962"/>
                <a:gd name="connsiteX4" fmla="*/ 0 w 62864"/>
                <a:gd name="connsiteY4" fmla="*/ 0 h 80962"/>
                <a:gd name="connsiteX5" fmla="*/ 31432 w 62864"/>
                <a:gd name="connsiteY5" fmla="*/ 35242 h 80962"/>
                <a:gd name="connsiteX6" fmla="*/ 45720 w 62864"/>
                <a:gd name="connsiteY6" fmla="*/ 49530 h 80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864" h="80962">
                  <a:moveTo>
                    <a:pt x="45720" y="49530"/>
                  </a:moveTo>
                  <a:lnTo>
                    <a:pt x="62865" y="80963"/>
                  </a:lnTo>
                  <a:lnTo>
                    <a:pt x="45720" y="45720"/>
                  </a:lnTo>
                  <a:lnTo>
                    <a:pt x="17145" y="17145"/>
                  </a:lnTo>
                  <a:lnTo>
                    <a:pt x="0" y="0"/>
                  </a:lnTo>
                  <a:lnTo>
                    <a:pt x="31432" y="35242"/>
                  </a:lnTo>
                  <a:lnTo>
                    <a:pt x="45720" y="4953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43" name="Freeform: Shape 3942">
              <a:extLst>
                <a:ext uri="{FF2B5EF4-FFF2-40B4-BE49-F238E27FC236}">
                  <a16:creationId xmlns:a16="http://schemas.microsoft.com/office/drawing/2014/main" id="{EAAFFAEB-6E17-AFE0-5863-CAA67AC1D648}"/>
                </a:ext>
              </a:extLst>
            </p:cNvPr>
            <p:cNvSpPr/>
            <p:nvPr/>
          </p:nvSpPr>
          <p:spPr>
            <a:xfrm>
              <a:off x="9515860" y="4959155"/>
              <a:ext cx="20542" cy="3828"/>
            </a:xfrm>
            <a:custGeom>
              <a:avLst/>
              <a:gdLst>
                <a:gd name="connsiteX0" fmla="*/ 20955 w 20955"/>
                <a:gd name="connsiteY0" fmla="*/ 0 h 3905"/>
                <a:gd name="connsiteX1" fmla="*/ 0 w 20955"/>
                <a:gd name="connsiteY1" fmla="*/ 3905 h 3905"/>
                <a:gd name="connsiteX2" fmla="*/ 0 w 20955"/>
                <a:gd name="connsiteY2" fmla="*/ 3905 h 3905"/>
                <a:gd name="connsiteX3" fmla="*/ 20955 w 20955"/>
                <a:gd name="connsiteY3" fmla="*/ 0 h 3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55" h="3905">
                  <a:moveTo>
                    <a:pt x="20955" y="0"/>
                  </a:moveTo>
                  <a:lnTo>
                    <a:pt x="0" y="3905"/>
                  </a:lnTo>
                  <a:lnTo>
                    <a:pt x="0" y="3905"/>
                  </a:lnTo>
                  <a:lnTo>
                    <a:pt x="20955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44" name="Freeform: Shape 3943">
              <a:extLst>
                <a:ext uri="{FF2B5EF4-FFF2-40B4-BE49-F238E27FC236}">
                  <a16:creationId xmlns:a16="http://schemas.microsoft.com/office/drawing/2014/main" id="{94A96686-BB91-F0C1-18EF-DA91645EFD9B}"/>
                </a:ext>
              </a:extLst>
            </p:cNvPr>
            <p:cNvSpPr/>
            <p:nvPr/>
          </p:nvSpPr>
          <p:spPr>
            <a:xfrm>
              <a:off x="9844531" y="4993797"/>
              <a:ext cx="30812" cy="48554"/>
            </a:xfrm>
            <a:custGeom>
              <a:avLst/>
              <a:gdLst>
                <a:gd name="connsiteX0" fmla="*/ 31432 w 31432"/>
                <a:gd name="connsiteY0" fmla="*/ 0 h 49530"/>
                <a:gd name="connsiteX1" fmla="*/ 17145 w 31432"/>
                <a:gd name="connsiteY1" fmla="*/ 27527 h 49530"/>
                <a:gd name="connsiteX2" fmla="*/ 0 w 31432"/>
                <a:gd name="connsiteY2" fmla="*/ 49530 h 49530"/>
                <a:gd name="connsiteX3" fmla="*/ 17145 w 31432"/>
                <a:gd name="connsiteY3" fmla="*/ 27527 h 49530"/>
                <a:gd name="connsiteX4" fmla="*/ 31432 w 31432"/>
                <a:gd name="connsiteY4" fmla="*/ 0 h 495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432" h="49530">
                  <a:moveTo>
                    <a:pt x="31432" y="0"/>
                  </a:moveTo>
                  <a:lnTo>
                    <a:pt x="17145" y="27527"/>
                  </a:lnTo>
                  <a:lnTo>
                    <a:pt x="0" y="49530"/>
                  </a:lnTo>
                  <a:lnTo>
                    <a:pt x="17145" y="27527"/>
                  </a:lnTo>
                  <a:lnTo>
                    <a:pt x="31432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45" name="Freeform: Shape 3944">
              <a:extLst>
                <a:ext uri="{FF2B5EF4-FFF2-40B4-BE49-F238E27FC236}">
                  <a16:creationId xmlns:a16="http://schemas.microsoft.com/office/drawing/2014/main" id="{E8B47D61-A29C-A1B3-A4F9-A02745E03238}"/>
                </a:ext>
              </a:extLst>
            </p:cNvPr>
            <p:cNvSpPr/>
            <p:nvPr/>
          </p:nvSpPr>
          <p:spPr>
            <a:xfrm>
              <a:off x="9450500" y="4931143"/>
              <a:ext cx="28012" cy="20542"/>
            </a:xfrm>
            <a:custGeom>
              <a:avLst/>
              <a:gdLst>
                <a:gd name="connsiteX0" fmla="*/ 28575 w 28575"/>
                <a:gd name="connsiteY0" fmla="*/ 0 h 20955"/>
                <a:gd name="connsiteX1" fmla="*/ 0 w 28575"/>
                <a:gd name="connsiteY1" fmla="*/ 20955 h 20955"/>
                <a:gd name="connsiteX2" fmla="*/ 28575 w 28575"/>
                <a:gd name="connsiteY2" fmla="*/ 0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575" h="20955">
                  <a:moveTo>
                    <a:pt x="28575" y="0"/>
                  </a:moveTo>
                  <a:lnTo>
                    <a:pt x="0" y="20955"/>
                  </a:lnTo>
                  <a:lnTo>
                    <a:pt x="28575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46" name="Freeform: Shape 3945">
              <a:extLst>
                <a:ext uri="{FF2B5EF4-FFF2-40B4-BE49-F238E27FC236}">
                  <a16:creationId xmlns:a16="http://schemas.microsoft.com/office/drawing/2014/main" id="{6E38E55A-F1F3-2037-F84C-ED2DDFAE9724}"/>
                </a:ext>
              </a:extLst>
            </p:cNvPr>
            <p:cNvSpPr/>
            <p:nvPr/>
          </p:nvSpPr>
          <p:spPr>
            <a:xfrm>
              <a:off x="9584956" y="4882683"/>
              <a:ext cx="7469" cy="7470"/>
            </a:xfrm>
            <a:custGeom>
              <a:avLst/>
              <a:gdLst>
                <a:gd name="connsiteX0" fmla="*/ 7620 w 7619"/>
                <a:gd name="connsiteY0" fmla="*/ 0 h 7620"/>
                <a:gd name="connsiteX1" fmla="*/ 0 w 7619"/>
                <a:gd name="connsiteY1" fmla="*/ 7620 h 7620"/>
                <a:gd name="connsiteX2" fmla="*/ 7620 w 7619"/>
                <a:gd name="connsiteY2" fmla="*/ 0 h 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619" h="7620">
                  <a:moveTo>
                    <a:pt x="7620" y="0"/>
                  </a:moveTo>
                  <a:lnTo>
                    <a:pt x="0" y="7620"/>
                  </a:lnTo>
                  <a:lnTo>
                    <a:pt x="762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47" name="Freeform: Shape 3946">
              <a:extLst>
                <a:ext uri="{FF2B5EF4-FFF2-40B4-BE49-F238E27FC236}">
                  <a16:creationId xmlns:a16="http://schemas.microsoft.com/office/drawing/2014/main" id="{D3F32ABF-4477-4815-98B1-765031FAE078}"/>
                </a:ext>
              </a:extLst>
            </p:cNvPr>
            <p:cNvSpPr/>
            <p:nvPr/>
          </p:nvSpPr>
          <p:spPr>
            <a:xfrm>
              <a:off x="9119027" y="5159908"/>
              <a:ext cx="3735" cy="13071"/>
            </a:xfrm>
            <a:custGeom>
              <a:avLst/>
              <a:gdLst>
                <a:gd name="connsiteX0" fmla="*/ 3810 w 3810"/>
                <a:gd name="connsiteY0" fmla="*/ 0 h 13334"/>
                <a:gd name="connsiteX1" fmla="*/ 0 w 3810"/>
                <a:gd name="connsiteY1" fmla="*/ 13335 h 13334"/>
                <a:gd name="connsiteX2" fmla="*/ 3810 w 3810"/>
                <a:gd name="connsiteY2" fmla="*/ 0 h 1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810" h="13334">
                  <a:moveTo>
                    <a:pt x="3810" y="0"/>
                  </a:moveTo>
                  <a:lnTo>
                    <a:pt x="0" y="13335"/>
                  </a:lnTo>
                  <a:lnTo>
                    <a:pt x="381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48" name="Freeform: Shape 3947">
              <a:extLst>
                <a:ext uri="{FF2B5EF4-FFF2-40B4-BE49-F238E27FC236}">
                  <a16:creationId xmlns:a16="http://schemas.microsoft.com/office/drawing/2014/main" id="{3D4634AE-6917-80C0-88BA-F2F17DDF899A}"/>
                </a:ext>
              </a:extLst>
            </p:cNvPr>
            <p:cNvSpPr/>
            <p:nvPr/>
          </p:nvSpPr>
          <p:spPr>
            <a:xfrm>
              <a:off x="9612968" y="5453193"/>
              <a:ext cx="71896" cy="38189"/>
            </a:xfrm>
            <a:custGeom>
              <a:avLst/>
              <a:gdLst>
                <a:gd name="connsiteX0" fmla="*/ 52388 w 73342"/>
                <a:gd name="connsiteY0" fmla="*/ 14288 h 38957"/>
                <a:gd name="connsiteX1" fmla="*/ 0 w 73342"/>
                <a:gd name="connsiteY1" fmla="*/ 0 h 38957"/>
                <a:gd name="connsiteX2" fmla="*/ 52388 w 73342"/>
                <a:gd name="connsiteY2" fmla="*/ 14288 h 38957"/>
                <a:gd name="connsiteX3" fmla="*/ 62865 w 73342"/>
                <a:gd name="connsiteY3" fmla="*/ 24670 h 38957"/>
                <a:gd name="connsiteX4" fmla="*/ 73342 w 73342"/>
                <a:gd name="connsiteY4" fmla="*/ 38957 h 38957"/>
                <a:gd name="connsiteX5" fmla="*/ 62865 w 73342"/>
                <a:gd name="connsiteY5" fmla="*/ 24670 h 38957"/>
                <a:gd name="connsiteX6" fmla="*/ 52388 w 73342"/>
                <a:gd name="connsiteY6" fmla="*/ 14288 h 38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342" h="38957">
                  <a:moveTo>
                    <a:pt x="52388" y="14288"/>
                  </a:moveTo>
                  <a:lnTo>
                    <a:pt x="0" y="0"/>
                  </a:lnTo>
                  <a:lnTo>
                    <a:pt x="52388" y="14288"/>
                  </a:lnTo>
                  <a:lnTo>
                    <a:pt x="62865" y="24670"/>
                  </a:lnTo>
                  <a:lnTo>
                    <a:pt x="73342" y="38957"/>
                  </a:lnTo>
                  <a:lnTo>
                    <a:pt x="62865" y="24670"/>
                  </a:lnTo>
                  <a:lnTo>
                    <a:pt x="52388" y="1428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49" name="Freeform: Shape 3948">
              <a:extLst>
                <a:ext uri="{FF2B5EF4-FFF2-40B4-BE49-F238E27FC236}">
                  <a16:creationId xmlns:a16="http://schemas.microsoft.com/office/drawing/2014/main" id="{EF3E65CE-24B2-7808-F538-6999FA659F7B}"/>
                </a:ext>
              </a:extLst>
            </p:cNvPr>
            <p:cNvSpPr/>
            <p:nvPr/>
          </p:nvSpPr>
          <p:spPr>
            <a:xfrm>
              <a:off x="9204931" y="5101176"/>
              <a:ext cx="83101" cy="20542"/>
            </a:xfrm>
            <a:custGeom>
              <a:avLst/>
              <a:gdLst>
                <a:gd name="connsiteX0" fmla="*/ 84772 w 84772"/>
                <a:gd name="connsiteY0" fmla="*/ 0 h 20955"/>
                <a:gd name="connsiteX1" fmla="*/ 42863 w 84772"/>
                <a:gd name="connsiteY1" fmla="*/ 13240 h 20955"/>
                <a:gd name="connsiteX2" fmla="*/ 0 w 84772"/>
                <a:gd name="connsiteY2" fmla="*/ 20955 h 20955"/>
                <a:gd name="connsiteX3" fmla="*/ 42863 w 84772"/>
                <a:gd name="connsiteY3" fmla="*/ 13240 h 20955"/>
                <a:gd name="connsiteX4" fmla="*/ 84772 w 84772"/>
                <a:gd name="connsiteY4" fmla="*/ 0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2" h="20955">
                  <a:moveTo>
                    <a:pt x="84772" y="0"/>
                  </a:moveTo>
                  <a:lnTo>
                    <a:pt x="42863" y="13240"/>
                  </a:lnTo>
                  <a:lnTo>
                    <a:pt x="0" y="20955"/>
                  </a:lnTo>
                  <a:lnTo>
                    <a:pt x="42863" y="13240"/>
                  </a:lnTo>
                  <a:lnTo>
                    <a:pt x="84772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50" name="Freeform: Shape 3949">
              <a:extLst>
                <a:ext uri="{FF2B5EF4-FFF2-40B4-BE49-F238E27FC236}">
                  <a16:creationId xmlns:a16="http://schemas.microsoft.com/office/drawing/2014/main" id="{1ADF4F3C-6C65-7DC7-142A-19C30FFEEAB5}"/>
                </a:ext>
              </a:extLst>
            </p:cNvPr>
            <p:cNvSpPr/>
            <p:nvPr/>
          </p:nvSpPr>
          <p:spPr>
            <a:xfrm>
              <a:off x="9098485" y="4848041"/>
              <a:ext cx="1104595" cy="822711"/>
            </a:xfrm>
            <a:custGeom>
              <a:avLst/>
              <a:gdLst>
                <a:gd name="connsiteX0" fmla="*/ 1122998 w 1126807"/>
                <a:gd name="connsiteY0" fmla="*/ 497300 h 839247"/>
                <a:gd name="connsiteX1" fmla="*/ 1120140 w 1126807"/>
                <a:gd name="connsiteY1" fmla="*/ 476250 h 839247"/>
                <a:gd name="connsiteX2" fmla="*/ 1116330 w 1126807"/>
                <a:gd name="connsiteY2" fmla="*/ 448723 h 839247"/>
                <a:gd name="connsiteX3" fmla="*/ 1109663 w 1126807"/>
                <a:gd name="connsiteY3" fmla="*/ 426815 h 839247"/>
                <a:gd name="connsiteX4" fmla="*/ 1098232 w 1126807"/>
                <a:gd name="connsiteY4" fmla="*/ 402050 h 839247"/>
                <a:gd name="connsiteX5" fmla="*/ 1077278 w 1126807"/>
                <a:gd name="connsiteY5" fmla="*/ 378238 h 839247"/>
                <a:gd name="connsiteX6" fmla="*/ 1052513 w 1126807"/>
                <a:gd name="connsiteY6" fmla="*/ 360140 h 839247"/>
                <a:gd name="connsiteX7" fmla="*/ 1045845 w 1126807"/>
                <a:gd name="connsiteY7" fmla="*/ 331565 h 839247"/>
                <a:gd name="connsiteX8" fmla="*/ 1024890 w 1126807"/>
                <a:gd name="connsiteY8" fmla="*/ 331565 h 839247"/>
                <a:gd name="connsiteX9" fmla="*/ 1017270 w 1126807"/>
                <a:gd name="connsiteY9" fmla="*/ 321088 h 839247"/>
                <a:gd name="connsiteX10" fmla="*/ 1017270 w 1126807"/>
                <a:gd name="connsiteY10" fmla="*/ 303847 h 839247"/>
                <a:gd name="connsiteX11" fmla="*/ 1000125 w 1126807"/>
                <a:gd name="connsiteY11" fmla="*/ 285750 h 839247"/>
                <a:gd name="connsiteX12" fmla="*/ 982028 w 1126807"/>
                <a:gd name="connsiteY12" fmla="*/ 260985 h 839247"/>
                <a:gd name="connsiteX13" fmla="*/ 958215 w 1126807"/>
                <a:gd name="connsiteY13" fmla="*/ 243935 h 839247"/>
                <a:gd name="connsiteX14" fmla="*/ 936307 w 1126807"/>
                <a:gd name="connsiteY14" fmla="*/ 236315 h 839247"/>
                <a:gd name="connsiteX15" fmla="*/ 925830 w 1126807"/>
                <a:gd name="connsiteY15" fmla="*/ 219075 h 839247"/>
                <a:gd name="connsiteX16" fmla="*/ 925830 w 1126807"/>
                <a:gd name="connsiteY16" fmla="*/ 198215 h 839247"/>
                <a:gd name="connsiteX17" fmla="*/ 919163 w 1126807"/>
                <a:gd name="connsiteY17" fmla="*/ 180022 h 839247"/>
                <a:gd name="connsiteX18" fmla="*/ 901065 w 1126807"/>
                <a:gd name="connsiteY18" fmla="*/ 169640 h 839247"/>
                <a:gd name="connsiteX19" fmla="*/ 901065 w 1126807"/>
                <a:gd name="connsiteY19" fmla="*/ 144875 h 839247"/>
                <a:gd name="connsiteX20" fmla="*/ 898207 w 1126807"/>
                <a:gd name="connsiteY20" fmla="*/ 127635 h 839247"/>
                <a:gd name="connsiteX21" fmla="*/ 890588 w 1126807"/>
                <a:gd name="connsiteY21" fmla="*/ 109538 h 839247"/>
                <a:gd name="connsiteX22" fmla="*/ 869632 w 1126807"/>
                <a:gd name="connsiteY22" fmla="*/ 102965 h 839247"/>
                <a:gd name="connsiteX23" fmla="*/ 852488 w 1126807"/>
                <a:gd name="connsiteY23" fmla="*/ 95250 h 839247"/>
                <a:gd name="connsiteX24" fmla="*/ 848678 w 1126807"/>
                <a:gd name="connsiteY24" fmla="*/ 57150 h 839247"/>
                <a:gd name="connsiteX25" fmla="*/ 842010 w 1126807"/>
                <a:gd name="connsiteY25" fmla="*/ 35338 h 839247"/>
                <a:gd name="connsiteX26" fmla="*/ 827723 w 1126807"/>
                <a:gd name="connsiteY26" fmla="*/ 10573 h 839247"/>
                <a:gd name="connsiteX27" fmla="*/ 817245 w 1126807"/>
                <a:gd name="connsiteY27" fmla="*/ 0 h 839247"/>
                <a:gd name="connsiteX28" fmla="*/ 809625 w 1126807"/>
                <a:gd name="connsiteY28" fmla="*/ 18097 h 839247"/>
                <a:gd name="connsiteX29" fmla="*/ 802957 w 1126807"/>
                <a:gd name="connsiteY29" fmla="*/ 39148 h 839247"/>
                <a:gd name="connsiteX30" fmla="*/ 792480 w 1126807"/>
                <a:gd name="connsiteY30" fmla="*/ 70485 h 839247"/>
                <a:gd name="connsiteX31" fmla="*/ 795338 w 1126807"/>
                <a:gd name="connsiteY31" fmla="*/ 117253 h 839247"/>
                <a:gd name="connsiteX32" fmla="*/ 792480 w 1126807"/>
                <a:gd name="connsiteY32" fmla="*/ 148685 h 839247"/>
                <a:gd name="connsiteX33" fmla="*/ 778193 w 1126807"/>
                <a:gd name="connsiteY33" fmla="*/ 176213 h 839247"/>
                <a:gd name="connsiteX34" fmla="*/ 761048 w 1126807"/>
                <a:gd name="connsiteY34" fmla="*/ 198215 h 839247"/>
                <a:gd name="connsiteX35" fmla="*/ 732473 w 1126807"/>
                <a:gd name="connsiteY35" fmla="*/ 180022 h 839247"/>
                <a:gd name="connsiteX36" fmla="*/ 711518 w 1126807"/>
                <a:gd name="connsiteY36" fmla="*/ 169640 h 839247"/>
                <a:gd name="connsiteX37" fmla="*/ 682943 w 1126807"/>
                <a:gd name="connsiteY37" fmla="*/ 148685 h 839247"/>
                <a:gd name="connsiteX38" fmla="*/ 655320 w 1126807"/>
                <a:gd name="connsiteY38" fmla="*/ 138113 h 839247"/>
                <a:gd name="connsiteX39" fmla="*/ 630555 w 1126807"/>
                <a:gd name="connsiteY39" fmla="*/ 120110 h 839247"/>
                <a:gd name="connsiteX40" fmla="*/ 620078 w 1126807"/>
                <a:gd name="connsiteY40" fmla="*/ 109538 h 839247"/>
                <a:gd name="connsiteX41" fmla="*/ 620078 w 1126807"/>
                <a:gd name="connsiteY41" fmla="*/ 95250 h 839247"/>
                <a:gd name="connsiteX42" fmla="*/ 633413 w 1126807"/>
                <a:gd name="connsiteY42" fmla="*/ 84772 h 839247"/>
                <a:gd name="connsiteX43" fmla="*/ 643890 w 1126807"/>
                <a:gd name="connsiteY43" fmla="*/ 70485 h 839247"/>
                <a:gd name="connsiteX44" fmla="*/ 655320 w 1126807"/>
                <a:gd name="connsiteY44" fmla="*/ 53435 h 839247"/>
                <a:gd name="connsiteX45" fmla="*/ 668655 w 1126807"/>
                <a:gd name="connsiteY45" fmla="*/ 39148 h 839247"/>
                <a:gd name="connsiteX46" fmla="*/ 655320 w 1126807"/>
                <a:gd name="connsiteY46" fmla="*/ 32385 h 839247"/>
                <a:gd name="connsiteX47" fmla="*/ 637223 w 1126807"/>
                <a:gd name="connsiteY47" fmla="*/ 39148 h 839247"/>
                <a:gd name="connsiteX48" fmla="*/ 622935 w 1126807"/>
                <a:gd name="connsiteY48" fmla="*/ 39148 h 839247"/>
                <a:gd name="connsiteX49" fmla="*/ 612457 w 1126807"/>
                <a:gd name="connsiteY49" fmla="*/ 35338 h 839247"/>
                <a:gd name="connsiteX50" fmla="*/ 598170 w 1126807"/>
                <a:gd name="connsiteY50" fmla="*/ 32385 h 839247"/>
                <a:gd name="connsiteX51" fmla="*/ 581025 w 1126807"/>
                <a:gd name="connsiteY51" fmla="*/ 24860 h 839247"/>
                <a:gd name="connsiteX52" fmla="*/ 566738 w 1126807"/>
                <a:gd name="connsiteY52" fmla="*/ 18097 h 839247"/>
                <a:gd name="connsiteX53" fmla="*/ 541973 w 1126807"/>
                <a:gd name="connsiteY53" fmla="*/ 7715 h 839247"/>
                <a:gd name="connsiteX54" fmla="*/ 531495 w 1126807"/>
                <a:gd name="connsiteY54" fmla="*/ 10573 h 839247"/>
                <a:gd name="connsiteX55" fmla="*/ 545782 w 1126807"/>
                <a:gd name="connsiteY55" fmla="*/ 22003 h 839247"/>
                <a:gd name="connsiteX56" fmla="*/ 541973 w 1126807"/>
                <a:gd name="connsiteY56" fmla="*/ 32385 h 839247"/>
                <a:gd name="connsiteX57" fmla="*/ 521018 w 1126807"/>
                <a:gd name="connsiteY57" fmla="*/ 39148 h 839247"/>
                <a:gd name="connsiteX58" fmla="*/ 503873 w 1126807"/>
                <a:gd name="connsiteY58" fmla="*/ 35338 h 839247"/>
                <a:gd name="connsiteX59" fmla="*/ 496253 w 1126807"/>
                <a:gd name="connsiteY59" fmla="*/ 42863 h 839247"/>
                <a:gd name="connsiteX60" fmla="*/ 481965 w 1126807"/>
                <a:gd name="connsiteY60" fmla="*/ 49625 h 839247"/>
                <a:gd name="connsiteX61" fmla="*/ 471488 w 1126807"/>
                <a:gd name="connsiteY61" fmla="*/ 70485 h 839247"/>
                <a:gd name="connsiteX62" fmla="*/ 450532 w 1126807"/>
                <a:gd name="connsiteY62" fmla="*/ 92488 h 839247"/>
                <a:gd name="connsiteX63" fmla="*/ 461010 w 1126807"/>
                <a:gd name="connsiteY63" fmla="*/ 109538 h 839247"/>
                <a:gd name="connsiteX64" fmla="*/ 446723 w 1126807"/>
                <a:gd name="connsiteY64" fmla="*/ 113347 h 839247"/>
                <a:gd name="connsiteX65" fmla="*/ 425768 w 1126807"/>
                <a:gd name="connsiteY65" fmla="*/ 117253 h 839247"/>
                <a:gd name="connsiteX66" fmla="*/ 425768 w 1126807"/>
                <a:gd name="connsiteY66" fmla="*/ 117253 h 839247"/>
                <a:gd name="connsiteX67" fmla="*/ 425768 w 1126807"/>
                <a:gd name="connsiteY67" fmla="*/ 117253 h 839247"/>
                <a:gd name="connsiteX68" fmla="*/ 415290 w 1126807"/>
                <a:gd name="connsiteY68" fmla="*/ 105823 h 839247"/>
                <a:gd name="connsiteX69" fmla="*/ 404813 w 1126807"/>
                <a:gd name="connsiteY69" fmla="*/ 95250 h 839247"/>
                <a:gd name="connsiteX70" fmla="*/ 387668 w 1126807"/>
                <a:gd name="connsiteY70" fmla="*/ 84772 h 839247"/>
                <a:gd name="connsiteX71" fmla="*/ 359093 w 1126807"/>
                <a:gd name="connsiteY71" fmla="*/ 105823 h 839247"/>
                <a:gd name="connsiteX72" fmla="*/ 348615 w 1126807"/>
                <a:gd name="connsiteY72" fmla="*/ 105823 h 839247"/>
                <a:gd name="connsiteX73" fmla="*/ 338138 w 1126807"/>
                <a:gd name="connsiteY73" fmla="*/ 117253 h 839247"/>
                <a:gd name="connsiteX74" fmla="*/ 320040 w 1126807"/>
                <a:gd name="connsiteY74" fmla="*/ 127635 h 839247"/>
                <a:gd name="connsiteX75" fmla="*/ 317182 w 1126807"/>
                <a:gd name="connsiteY75" fmla="*/ 148685 h 839247"/>
                <a:gd name="connsiteX76" fmla="*/ 309563 w 1126807"/>
                <a:gd name="connsiteY76" fmla="*/ 155353 h 839247"/>
                <a:gd name="connsiteX77" fmla="*/ 295275 w 1126807"/>
                <a:gd name="connsiteY77" fmla="*/ 148685 h 839247"/>
                <a:gd name="connsiteX78" fmla="*/ 295275 w 1126807"/>
                <a:gd name="connsiteY78" fmla="*/ 169640 h 839247"/>
                <a:gd name="connsiteX79" fmla="*/ 288607 w 1126807"/>
                <a:gd name="connsiteY79" fmla="*/ 180022 h 839247"/>
                <a:gd name="connsiteX80" fmla="*/ 281940 w 1126807"/>
                <a:gd name="connsiteY80" fmla="*/ 173450 h 839247"/>
                <a:gd name="connsiteX81" fmla="*/ 274320 w 1126807"/>
                <a:gd name="connsiteY81" fmla="*/ 162973 h 839247"/>
                <a:gd name="connsiteX82" fmla="*/ 257175 w 1126807"/>
                <a:gd name="connsiteY82" fmla="*/ 173450 h 839247"/>
                <a:gd name="connsiteX83" fmla="*/ 249555 w 1126807"/>
                <a:gd name="connsiteY83" fmla="*/ 187738 h 839247"/>
                <a:gd name="connsiteX84" fmla="*/ 253365 w 1126807"/>
                <a:gd name="connsiteY84" fmla="*/ 208597 h 839247"/>
                <a:gd name="connsiteX85" fmla="*/ 214313 w 1126807"/>
                <a:gd name="connsiteY85" fmla="*/ 254413 h 839247"/>
                <a:gd name="connsiteX86" fmla="*/ 193357 w 1126807"/>
                <a:gd name="connsiteY86" fmla="*/ 258223 h 839247"/>
                <a:gd name="connsiteX87" fmla="*/ 151448 w 1126807"/>
                <a:gd name="connsiteY87" fmla="*/ 271463 h 839247"/>
                <a:gd name="connsiteX88" fmla="*/ 108585 w 1126807"/>
                <a:gd name="connsiteY88" fmla="*/ 279178 h 839247"/>
                <a:gd name="connsiteX89" fmla="*/ 84773 w 1126807"/>
                <a:gd name="connsiteY89" fmla="*/ 285750 h 839247"/>
                <a:gd name="connsiteX90" fmla="*/ 60007 w 1126807"/>
                <a:gd name="connsiteY90" fmla="*/ 314325 h 839247"/>
                <a:gd name="connsiteX91" fmla="*/ 41910 w 1126807"/>
                <a:gd name="connsiteY91" fmla="*/ 314325 h 839247"/>
                <a:gd name="connsiteX92" fmla="*/ 35243 w 1126807"/>
                <a:gd name="connsiteY92" fmla="*/ 328613 h 839247"/>
                <a:gd name="connsiteX93" fmla="*/ 24765 w 1126807"/>
                <a:gd name="connsiteY93" fmla="*/ 318135 h 839247"/>
                <a:gd name="connsiteX94" fmla="*/ 20955 w 1126807"/>
                <a:gd name="connsiteY94" fmla="*/ 331565 h 839247"/>
                <a:gd name="connsiteX95" fmla="*/ 10478 w 1126807"/>
                <a:gd name="connsiteY95" fmla="*/ 360140 h 839247"/>
                <a:gd name="connsiteX96" fmla="*/ 10478 w 1126807"/>
                <a:gd name="connsiteY96" fmla="*/ 384810 h 839247"/>
                <a:gd name="connsiteX97" fmla="*/ 20955 w 1126807"/>
                <a:gd name="connsiteY97" fmla="*/ 420148 h 839247"/>
                <a:gd name="connsiteX98" fmla="*/ 35243 w 1126807"/>
                <a:gd name="connsiteY98" fmla="*/ 430625 h 839247"/>
                <a:gd name="connsiteX99" fmla="*/ 31432 w 1126807"/>
                <a:gd name="connsiteY99" fmla="*/ 448723 h 839247"/>
                <a:gd name="connsiteX100" fmla="*/ 17145 w 1126807"/>
                <a:gd name="connsiteY100" fmla="*/ 448723 h 839247"/>
                <a:gd name="connsiteX101" fmla="*/ 10478 w 1126807"/>
                <a:gd name="connsiteY101" fmla="*/ 437197 h 839247"/>
                <a:gd name="connsiteX102" fmla="*/ 0 w 1126807"/>
                <a:gd name="connsiteY102" fmla="*/ 434435 h 839247"/>
                <a:gd name="connsiteX103" fmla="*/ 6668 w 1126807"/>
                <a:gd name="connsiteY103" fmla="*/ 448723 h 839247"/>
                <a:gd name="connsiteX104" fmla="*/ 17145 w 1126807"/>
                <a:gd name="connsiteY104" fmla="*/ 465772 h 839247"/>
                <a:gd name="connsiteX105" fmla="*/ 31432 w 1126807"/>
                <a:gd name="connsiteY105" fmla="*/ 494347 h 839247"/>
                <a:gd name="connsiteX106" fmla="*/ 52388 w 1126807"/>
                <a:gd name="connsiteY106" fmla="*/ 546735 h 839247"/>
                <a:gd name="connsiteX107" fmla="*/ 52388 w 1126807"/>
                <a:gd name="connsiteY107" fmla="*/ 579215 h 839247"/>
                <a:gd name="connsiteX108" fmla="*/ 70485 w 1126807"/>
                <a:gd name="connsiteY108" fmla="*/ 603028 h 839247"/>
                <a:gd name="connsiteX109" fmla="*/ 70485 w 1126807"/>
                <a:gd name="connsiteY109" fmla="*/ 627697 h 839247"/>
                <a:gd name="connsiteX110" fmla="*/ 70485 w 1126807"/>
                <a:gd name="connsiteY110" fmla="*/ 666750 h 839247"/>
                <a:gd name="connsiteX111" fmla="*/ 49530 w 1126807"/>
                <a:gd name="connsiteY111" fmla="*/ 677323 h 839247"/>
                <a:gd name="connsiteX112" fmla="*/ 52388 w 1126807"/>
                <a:gd name="connsiteY112" fmla="*/ 695325 h 839247"/>
                <a:gd name="connsiteX113" fmla="*/ 74295 w 1126807"/>
                <a:gd name="connsiteY113" fmla="*/ 705898 h 839247"/>
                <a:gd name="connsiteX114" fmla="*/ 95250 w 1126807"/>
                <a:gd name="connsiteY114" fmla="*/ 720185 h 839247"/>
                <a:gd name="connsiteX115" fmla="*/ 140970 w 1126807"/>
                <a:gd name="connsiteY115" fmla="*/ 716375 h 839247"/>
                <a:gd name="connsiteX116" fmla="*/ 158115 w 1126807"/>
                <a:gd name="connsiteY116" fmla="*/ 695325 h 839247"/>
                <a:gd name="connsiteX117" fmla="*/ 176213 w 1126807"/>
                <a:gd name="connsiteY117" fmla="*/ 695325 h 839247"/>
                <a:gd name="connsiteX118" fmla="*/ 190500 w 1126807"/>
                <a:gd name="connsiteY118" fmla="*/ 681038 h 839247"/>
                <a:gd name="connsiteX119" fmla="*/ 288607 w 1126807"/>
                <a:gd name="connsiteY119" fmla="*/ 681038 h 839247"/>
                <a:gd name="connsiteX120" fmla="*/ 299085 w 1126807"/>
                <a:gd name="connsiteY120" fmla="*/ 670560 h 839247"/>
                <a:gd name="connsiteX121" fmla="*/ 302895 w 1126807"/>
                <a:gd name="connsiteY121" fmla="*/ 656272 h 839247"/>
                <a:gd name="connsiteX122" fmla="*/ 323850 w 1126807"/>
                <a:gd name="connsiteY122" fmla="*/ 649700 h 839247"/>
                <a:gd name="connsiteX123" fmla="*/ 352425 w 1126807"/>
                <a:gd name="connsiteY123" fmla="*/ 631603 h 839247"/>
                <a:gd name="connsiteX124" fmla="*/ 401003 w 1126807"/>
                <a:gd name="connsiteY124" fmla="*/ 627697 h 839247"/>
                <a:gd name="connsiteX125" fmla="*/ 433388 w 1126807"/>
                <a:gd name="connsiteY125" fmla="*/ 614363 h 839247"/>
                <a:gd name="connsiteX126" fmla="*/ 454343 w 1126807"/>
                <a:gd name="connsiteY126" fmla="*/ 606838 h 839247"/>
                <a:gd name="connsiteX127" fmla="*/ 524828 w 1126807"/>
                <a:gd name="connsiteY127" fmla="*/ 617315 h 839247"/>
                <a:gd name="connsiteX128" fmla="*/ 577215 w 1126807"/>
                <a:gd name="connsiteY128" fmla="*/ 631603 h 839247"/>
                <a:gd name="connsiteX129" fmla="*/ 587693 w 1126807"/>
                <a:gd name="connsiteY129" fmla="*/ 641985 h 839247"/>
                <a:gd name="connsiteX130" fmla="*/ 598170 w 1126807"/>
                <a:gd name="connsiteY130" fmla="*/ 656272 h 839247"/>
                <a:gd name="connsiteX131" fmla="*/ 616268 w 1126807"/>
                <a:gd name="connsiteY131" fmla="*/ 681038 h 839247"/>
                <a:gd name="connsiteX132" fmla="*/ 620078 w 1126807"/>
                <a:gd name="connsiteY132" fmla="*/ 702088 h 839247"/>
                <a:gd name="connsiteX133" fmla="*/ 633413 w 1126807"/>
                <a:gd name="connsiteY133" fmla="*/ 709613 h 839247"/>
                <a:gd name="connsiteX134" fmla="*/ 643890 w 1126807"/>
                <a:gd name="connsiteY134" fmla="*/ 695325 h 839247"/>
                <a:gd name="connsiteX135" fmla="*/ 661988 w 1126807"/>
                <a:gd name="connsiteY135" fmla="*/ 681038 h 839247"/>
                <a:gd name="connsiteX136" fmla="*/ 672465 w 1126807"/>
                <a:gd name="connsiteY136" fmla="*/ 663035 h 839247"/>
                <a:gd name="connsiteX137" fmla="*/ 686753 w 1126807"/>
                <a:gd name="connsiteY137" fmla="*/ 645890 h 839247"/>
                <a:gd name="connsiteX138" fmla="*/ 693420 w 1126807"/>
                <a:gd name="connsiteY138" fmla="*/ 663035 h 839247"/>
                <a:gd name="connsiteX139" fmla="*/ 690563 w 1126807"/>
                <a:gd name="connsiteY139" fmla="*/ 673513 h 839247"/>
                <a:gd name="connsiteX140" fmla="*/ 679132 w 1126807"/>
                <a:gd name="connsiteY140" fmla="*/ 684847 h 839247"/>
                <a:gd name="connsiteX141" fmla="*/ 668655 w 1126807"/>
                <a:gd name="connsiteY141" fmla="*/ 720185 h 839247"/>
                <a:gd name="connsiteX142" fmla="*/ 686753 w 1126807"/>
                <a:gd name="connsiteY142" fmla="*/ 709613 h 839247"/>
                <a:gd name="connsiteX143" fmla="*/ 701040 w 1126807"/>
                <a:gd name="connsiteY143" fmla="*/ 695325 h 839247"/>
                <a:gd name="connsiteX144" fmla="*/ 714375 w 1126807"/>
                <a:gd name="connsiteY144" fmla="*/ 702088 h 839247"/>
                <a:gd name="connsiteX145" fmla="*/ 703898 w 1126807"/>
                <a:gd name="connsiteY145" fmla="*/ 720185 h 839247"/>
                <a:gd name="connsiteX146" fmla="*/ 707707 w 1126807"/>
                <a:gd name="connsiteY146" fmla="*/ 733425 h 839247"/>
                <a:gd name="connsiteX147" fmla="*/ 721995 w 1126807"/>
                <a:gd name="connsiteY147" fmla="*/ 733425 h 839247"/>
                <a:gd name="connsiteX148" fmla="*/ 736282 w 1126807"/>
                <a:gd name="connsiteY148" fmla="*/ 747713 h 839247"/>
                <a:gd name="connsiteX149" fmla="*/ 749618 w 1126807"/>
                <a:gd name="connsiteY149" fmla="*/ 765810 h 839247"/>
                <a:gd name="connsiteX150" fmla="*/ 746760 w 1126807"/>
                <a:gd name="connsiteY150" fmla="*/ 783050 h 839247"/>
                <a:gd name="connsiteX151" fmla="*/ 757238 w 1126807"/>
                <a:gd name="connsiteY151" fmla="*/ 797338 h 839247"/>
                <a:gd name="connsiteX152" fmla="*/ 771525 w 1126807"/>
                <a:gd name="connsiteY152" fmla="*/ 815435 h 839247"/>
                <a:gd name="connsiteX153" fmla="*/ 792480 w 1126807"/>
                <a:gd name="connsiteY153" fmla="*/ 818197 h 839247"/>
                <a:gd name="connsiteX154" fmla="*/ 813435 w 1126807"/>
                <a:gd name="connsiteY154" fmla="*/ 818197 h 839247"/>
                <a:gd name="connsiteX155" fmla="*/ 834390 w 1126807"/>
                <a:gd name="connsiteY155" fmla="*/ 828675 h 839247"/>
                <a:gd name="connsiteX156" fmla="*/ 855345 w 1126807"/>
                <a:gd name="connsiteY156" fmla="*/ 836390 h 839247"/>
                <a:gd name="connsiteX157" fmla="*/ 880110 w 1126807"/>
                <a:gd name="connsiteY157" fmla="*/ 811625 h 839247"/>
                <a:gd name="connsiteX158" fmla="*/ 890588 w 1126807"/>
                <a:gd name="connsiteY158" fmla="*/ 807815 h 839247"/>
                <a:gd name="connsiteX159" fmla="*/ 898207 w 1126807"/>
                <a:gd name="connsiteY159" fmla="*/ 815435 h 839247"/>
                <a:gd name="connsiteX160" fmla="*/ 908685 w 1126807"/>
                <a:gd name="connsiteY160" fmla="*/ 825913 h 839247"/>
                <a:gd name="connsiteX161" fmla="*/ 915353 w 1126807"/>
                <a:gd name="connsiteY161" fmla="*/ 832485 h 839247"/>
                <a:gd name="connsiteX162" fmla="*/ 925830 w 1126807"/>
                <a:gd name="connsiteY162" fmla="*/ 839248 h 839247"/>
                <a:gd name="connsiteX163" fmla="*/ 936307 w 1126807"/>
                <a:gd name="connsiteY163" fmla="*/ 836390 h 839247"/>
                <a:gd name="connsiteX164" fmla="*/ 940118 w 1126807"/>
                <a:gd name="connsiteY164" fmla="*/ 832485 h 839247"/>
                <a:gd name="connsiteX165" fmla="*/ 961073 w 1126807"/>
                <a:gd name="connsiteY165" fmla="*/ 818197 h 839247"/>
                <a:gd name="connsiteX166" fmla="*/ 968693 w 1126807"/>
                <a:gd name="connsiteY166" fmla="*/ 797338 h 839247"/>
                <a:gd name="connsiteX167" fmla="*/ 996315 w 1126807"/>
                <a:gd name="connsiteY167" fmla="*/ 801148 h 839247"/>
                <a:gd name="connsiteX168" fmla="*/ 1014413 w 1126807"/>
                <a:gd name="connsiteY168" fmla="*/ 801148 h 839247"/>
                <a:gd name="connsiteX169" fmla="*/ 1024890 w 1126807"/>
                <a:gd name="connsiteY169" fmla="*/ 793528 h 839247"/>
                <a:gd name="connsiteX170" fmla="*/ 1024890 w 1126807"/>
                <a:gd name="connsiteY170" fmla="*/ 762000 h 839247"/>
                <a:gd name="connsiteX171" fmla="*/ 1039178 w 1126807"/>
                <a:gd name="connsiteY171" fmla="*/ 737235 h 839247"/>
                <a:gd name="connsiteX172" fmla="*/ 1049655 w 1126807"/>
                <a:gd name="connsiteY172" fmla="*/ 709613 h 839247"/>
                <a:gd name="connsiteX173" fmla="*/ 1066800 w 1126807"/>
                <a:gd name="connsiteY173" fmla="*/ 670560 h 839247"/>
                <a:gd name="connsiteX174" fmla="*/ 1077278 w 1126807"/>
                <a:gd name="connsiteY174" fmla="*/ 649700 h 839247"/>
                <a:gd name="connsiteX175" fmla="*/ 1098232 w 1126807"/>
                <a:gd name="connsiteY175" fmla="*/ 631603 h 839247"/>
                <a:gd name="connsiteX176" fmla="*/ 1112520 w 1126807"/>
                <a:gd name="connsiteY176" fmla="*/ 600075 h 839247"/>
                <a:gd name="connsiteX177" fmla="*/ 1116330 w 1126807"/>
                <a:gd name="connsiteY177" fmla="*/ 567785 h 839247"/>
                <a:gd name="connsiteX178" fmla="*/ 1126807 w 1126807"/>
                <a:gd name="connsiteY178" fmla="*/ 529685 h 839247"/>
                <a:gd name="connsiteX179" fmla="*/ 1122998 w 1126807"/>
                <a:gd name="connsiteY179" fmla="*/ 497300 h 839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1126807" h="839247">
                  <a:moveTo>
                    <a:pt x="1122998" y="497300"/>
                  </a:moveTo>
                  <a:lnTo>
                    <a:pt x="1120140" y="476250"/>
                  </a:lnTo>
                  <a:lnTo>
                    <a:pt x="1116330" y="448723"/>
                  </a:lnTo>
                  <a:lnTo>
                    <a:pt x="1109663" y="426815"/>
                  </a:lnTo>
                  <a:lnTo>
                    <a:pt x="1098232" y="402050"/>
                  </a:lnTo>
                  <a:lnTo>
                    <a:pt x="1077278" y="378238"/>
                  </a:lnTo>
                  <a:lnTo>
                    <a:pt x="1052513" y="360140"/>
                  </a:lnTo>
                  <a:lnTo>
                    <a:pt x="1045845" y="331565"/>
                  </a:lnTo>
                  <a:lnTo>
                    <a:pt x="1024890" y="331565"/>
                  </a:lnTo>
                  <a:lnTo>
                    <a:pt x="1017270" y="321088"/>
                  </a:lnTo>
                  <a:lnTo>
                    <a:pt x="1017270" y="303847"/>
                  </a:lnTo>
                  <a:lnTo>
                    <a:pt x="1000125" y="285750"/>
                  </a:lnTo>
                  <a:lnTo>
                    <a:pt x="982028" y="260985"/>
                  </a:lnTo>
                  <a:lnTo>
                    <a:pt x="958215" y="243935"/>
                  </a:lnTo>
                  <a:lnTo>
                    <a:pt x="936307" y="236315"/>
                  </a:lnTo>
                  <a:lnTo>
                    <a:pt x="925830" y="219075"/>
                  </a:lnTo>
                  <a:lnTo>
                    <a:pt x="925830" y="198215"/>
                  </a:lnTo>
                  <a:lnTo>
                    <a:pt x="919163" y="180022"/>
                  </a:lnTo>
                  <a:lnTo>
                    <a:pt x="901065" y="169640"/>
                  </a:lnTo>
                  <a:lnTo>
                    <a:pt x="901065" y="144875"/>
                  </a:lnTo>
                  <a:lnTo>
                    <a:pt x="898207" y="127635"/>
                  </a:lnTo>
                  <a:lnTo>
                    <a:pt x="890588" y="109538"/>
                  </a:lnTo>
                  <a:lnTo>
                    <a:pt x="869632" y="102965"/>
                  </a:lnTo>
                  <a:lnTo>
                    <a:pt x="852488" y="95250"/>
                  </a:lnTo>
                  <a:lnTo>
                    <a:pt x="848678" y="57150"/>
                  </a:lnTo>
                  <a:lnTo>
                    <a:pt x="842010" y="35338"/>
                  </a:lnTo>
                  <a:lnTo>
                    <a:pt x="827723" y="10573"/>
                  </a:lnTo>
                  <a:lnTo>
                    <a:pt x="817245" y="0"/>
                  </a:lnTo>
                  <a:lnTo>
                    <a:pt x="809625" y="18097"/>
                  </a:lnTo>
                  <a:lnTo>
                    <a:pt x="802957" y="39148"/>
                  </a:lnTo>
                  <a:lnTo>
                    <a:pt x="792480" y="70485"/>
                  </a:lnTo>
                  <a:lnTo>
                    <a:pt x="795338" y="117253"/>
                  </a:lnTo>
                  <a:lnTo>
                    <a:pt x="792480" y="148685"/>
                  </a:lnTo>
                  <a:lnTo>
                    <a:pt x="778193" y="176213"/>
                  </a:lnTo>
                  <a:lnTo>
                    <a:pt x="761048" y="198215"/>
                  </a:lnTo>
                  <a:lnTo>
                    <a:pt x="732473" y="180022"/>
                  </a:lnTo>
                  <a:lnTo>
                    <a:pt x="711518" y="169640"/>
                  </a:lnTo>
                  <a:lnTo>
                    <a:pt x="682943" y="148685"/>
                  </a:lnTo>
                  <a:lnTo>
                    <a:pt x="655320" y="138113"/>
                  </a:lnTo>
                  <a:lnTo>
                    <a:pt x="630555" y="120110"/>
                  </a:lnTo>
                  <a:lnTo>
                    <a:pt x="620078" y="109538"/>
                  </a:lnTo>
                  <a:lnTo>
                    <a:pt x="620078" y="95250"/>
                  </a:lnTo>
                  <a:lnTo>
                    <a:pt x="633413" y="84772"/>
                  </a:lnTo>
                  <a:lnTo>
                    <a:pt x="643890" y="70485"/>
                  </a:lnTo>
                  <a:lnTo>
                    <a:pt x="655320" y="53435"/>
                  </a:lnTo>
                  <a:lnTo>
                    <a:pt x="668655" y="39148"/>
                  </a:lnTo>
                  <a:lnTo>
                    <a:pt x="655320" y="32385"/>
                  </a:lnTo>
                  <a:lnTo>
                    <a:pt x="637223" y="39148"/>
                  </a:lnTo>
                  <a:lnTo>
                    <a:pt x="622935" y="39148"/>
                  </a:lnTo>
                  <a:lnTo>
                    <a:pt x="612457" y="35338"/>
                  </a:lnTo>
                  <a:lnTo>
                    <a:pt x="598170" y="32385"/>
                  </a:lnTo>
                  <a:lnTo>
                    <a:pt x="581025" y="24860"/>
                  </a:lnTo>
                  <a:lnTo>
                    <a:pt x="566738" y="18097"/>
                  </a:lnTo>
                  <a:lnTo>
                    <a:pt x="541973" y="7715"/>
                  </a:lnTo>
                  <a:lnTo>
                    <a:pt x="531495" y="10573"/>
                  </a:lnTo>
                  <a:lnTo>
                    <a:pt x="545782" y="22003"/>
                  </a:lnTo>
                  <a:lnTo>
                    <a:pt x="541973" y="32385"/>
                  </a:lnTo>
                  <a:lnTo>
                    <a:pt x="521018" y="39148"/>
                  </a:lnTo>
                  <a:lnTo>
                    <a:pt x="503873" y="35338"/>
                  </a:lnTo>
                  <a:lnTo>
                    <a:pt x="496253" y="42863"/>
                  </a:lnTo>
                  <a:lnTo>
                    <a:pt x="481965" y="49625"/>
                  </a:lnTo>
                  <a:lnTo>
                    <a:pt x="471488" y="70485"/>
                  </a:lnTo>
                  <a:lnTo>
                    <a:pt x="450532" y="92488"/>
                  </a:lnTo>
                  <a:lnTo>
                    <a:pt x="461010" y="109538"/>
                  </a:lnTo>
                  <a:lnTo>
                    <a:pt x="446723" y="113347"/>
                  </a:lnTo>
                  <a:lnTo>
                    <a:pt x="425768" y="117253"/>
                  </a:lnTo>
                  <a:lnTo>
                    <a:pt x="425768" y="117253"/>
                  </a:lnTo>
                  <a:lnTo>
                    <a:pt x="425768" y="117253"/>
                  </a:lnTo>
                  <a:lnTo>
                    <a:pt x="415290" y="105823"/>
                  </a:lnTo>
                  <a:lnTo>
                    <a:pt x="404813" y="95250"/>
                  </a:lnTo>
                  <a:lnTo>
                    <a:pt x="387668" y="84772"/>
                  </a:lnTo>
                  <a:lnTo>
                    <a:pt x="359093" y="105823"/>
                  </a:lnTo>
                  <a:lnTo>
                    <a:pt x="348615" y="105823"/>
                  </a:lnTo>
                  <a:lnTo>
                    <a:pt x="338138" y="117253"/>
                  </a:lnTo>
                  <a:lnTo>
                    <a:pt x="320040" y="127635"/>
                  </a:lnTo>
                  <a:lnTo>
                    <a:pt x="317182" y="148685"/>
                  </a:lnTo>
                  <a:lnTo>
                    <a:pt x="309563" y="155353"/>
                  </a:lnTo>
                  <a:lnTo>
                    <a:pt x="295275" y="148685"/>
                  </a:lnTo>
                  <a:lnTo>
                    <a:pt x="295275" y="169640"/>
                  </a:lnTo>
                  <a:lnTo>
                    <a:pt x="288607" y="180022"/>
                  </a:lnTo>
                  <a:lnTo>
                    <a:pt x="281940" y="173450"/>
                  </a:lnTo>
                  <a:lnTo>
                    <a:pt x="274320" y="162973"/>
                  </a:lnTo>
                  <a:lnTo>
                    <a:pt x="257175" y="173450"/>
                  </a:lnTo>
                  <a:lnTo>
                    <a:pt x="249555" y="187738"/>
                  </a:lnTo>
                  <a:lnTo>
                    <a:pt x="253365" y="208597"/>
                  </a:lnTo>
                  <a:lnTo>
                    <a:pt x="214313" y="254413"/>
                  </a:lnTo>
                  <a:lnTo>
                    <a:pt x="193357" y="258223"/>
                  </a:lnTo>
                  <a:lnTo>
                    <a:pt x="151448" y="271463"/>
                  </a:lnTo>
                  <a:lnTo>
                    <a:pt x="108585" y="279178"/>
                  </a:lnTo>
                  <a:lnTo>
                    <a:pt x="84773" y="285750"/>
                  </a:lnTo>
                  <a:lnTo>
                    <a:pt x="60007" y="314325"/>
                  </a:lnTo>
                  <a:lnTo>
                    <a:pt x="41910" y="314325"/>
                  </a:lnTo>
                  <a:lnTo>
                    <a:pt x="35243" y="328613"/>
                  </a:lnTo>
                  <a:lnTo>
                    <a:pt x="24765" y="318135"/>
                  </a:lnTo>
                  <a:lnTo>
                    <a:pt x="20955" y="331565"/>
                  </a:lnTo>
                  <a:lnTo>
                    <a:pt x="10478" y="360140"/>
                  </a:lnTo>
                  <a:lnTo>
                    <a:pt x="10478" y="384810"/>
                  </a:lnTo>
                  <a:lnTo>
                    <a:pt x="20955" y="420148"/>
                  </a:lnTo>
                  <a:lnTo>
                    <a:pt x="35243" y="430625"/>
                  </a:lnTo>
                  <a:lnTo>
                    <a:pt x="31432" y="448723"/>
                  </a:lnTo>
                  <a:lnTo>
                    <a:pt x="17145" y="448723"/>
                  </a:lnTo>
                  <a:lnTo>
                    <a:pt x="10478" y="437197"/>
                  </a:lnTo>
                  <a:lnTo>
                    <a:pt x="0" y="434435"/>
                  </a:lnTo>
                  <a:lnTo>
                    <a:pt x="6668" y="448723"/>
                  </a:lnTo>
                  <a:lnTo>
                    <a:pt x="17145" y="465772"/>
                  </a:lnTo>
                  <a:lnTo>
                    <a:pt x="31432" y="494347"/>
                  </a:lnTo>
                  <a:lnTo>
                    <a:pt x="52388" y="546735"/>
                  </a:lnTo>
                  <a:lnTo>
                    <a:pt x="52388" y="579215"/>
                  </a:lnTo>
                  <a:lnTo>
                    <a:pt x="70485" y="603028"/>
                  </a:lnTo>
                  <a:lnTo>
                    <a:pt x="70485" y="627697"/>
                  </a:lnTo>
                  <a:lnTo>
                    <a:pt x="70485" y="666750"/>
                  </a:lnTo>
                  <a:lnTo>
                    <a:pt x="49530" y="677323"/>
                  </a:lnTo>
                  <a:lnTo>
                    <a:pt x="52388" y="695325"/>
                  </a:lnTo>
                  <a:lnTo>
                    <a:pt x="74295" y="705898"/>
                  </a:lnTo>
                  <a:lnTo>
                    <a:pt x="95250" y="720185"/>
                  </a:lnTo>
                  <a:lnTo>
                    <a:pt x="140970" y="716375"/>
                  </a:lnTo>
                  <a:lnTo>
                    <a:pt x="158115" y="695325"/>
                  </a:lnTo>
                  <a:lnTo>
                    <a:pt x="176213" y="695325"/>
                  </a:lnTo>
                  <a:lnTo>
                    <a:pt x="190500" y="681038"/>
                  </a:lnTo>
                  <a:lnTo>
                    <a:pt x="288607" y="681038"/>
                  </a:lnTo>
                  <a:lnTo>
                    <a:pt x="299085" y="670560"/>
                  </a:lnTo>
                  <a:lnTo>
                    <a:pt x="302895" y="656272"/>
                  </a:lnTo>
                  <a:lnTo>
                    <a:pt x="323850" y="649700"/>
                  </a:lnTo>
                  <a:lnTo>
                    <a:pt x="352425" y="631603"/>
                  </a:lnTo>
                  <a:lnTo>
                    <a:pt x="401003" y="627697"/>
                  </a:lnTo>
                  <a:lnTo>
                    <a:pt x="433388" y="614363"/>
                  </a:lnTo>
                  <a:lnTo>
                    <a:pt x="454343" y="606838"/>
                  </a:lnTo>
                  <a:lnTo>
                    <a:pt x="524828" y="617315"/>
                  </a:lnTo>
                  <a:lnTo>
                    <a:pt x="577215" y="631603"/>
                  </a:lnTo>
                  <a:lnTo>
                    <a:pt x="587693" y="641985"/>
                  </a:lnTo>
                  <a:lnTo>
                    <a:pt x="598170" y="656272"/>
                  </a:lnTo>
                  <a:lnTo>
                    <a:pt x="616268" y="681038"/>
                  </a:lnTo>
                  <a:lnTo>
                    <a:pt x="620078" y="702088"/>
                  </a:lnTo>
                  <a:lnTo>
                    <a:pt x="633413" y="709613"/>
                  </a:lnTo>
                  <a:lnTo>
                    <a:pt x="643890" y="695325"/>
                  </a:lnTo>
                  <a:lnTo>
                    <a:pt x="661988" y="681038"/>
                  </a:lnTo>
                  <a:lnTo>
                    <a:pt x="672465" y="663035"/>
                  </a:lnTo>
                  <a:lnTo>
                    <a:pt x="686753" y="645890"/>
                  </a:lnTo>
                  <a:lnTo>
                    <a:pt x="693420" y="663035"/>
                  </a:lnTo>
                  <a:lnTo>
                    <a:pt x="690563" y="673513"/>
                  </a:lnTo>
                  <a:lnTo>
                    <a:pt x="679132" y="684847"/>
                  </a:lnTo>
                  <a:lnTo>
                    <a:pt x="668655" y="720185"/>
                  </a:lnTo>
                  <a:lnTo>
                    <a:pt x="686753" y="709613"/>
                  </a:lnTo>
                  <a:lnTo>
                    <a:pt x="701040" y="695325"/>
                  </a:lnTo>
                  <a:lnTo>
                    <a:pt x="714375" y="702088"/>
                  </a:lnTo>
                  <a:lnTo>
                    <a:pt x="703898" y="720185"/>
                  </a:lnTo>
                  <a:lnTo>
                    <a:pt x="707707" y="733425"/>
                  </a:lnTo>
                  <a:lnTo>
                    <a:pt x="721995" y="733425"/>
                  </a:lnTo>
                  <a:lnTo>
                    <a:pt x="736282" y="747713"/>
                  </a:lnTo>
                  <a:lnTo>
                    <a:pt x="749618" y="765810"/>
                  </a:lnTo>
                  <a:lnTo>
                    <a:pt x="746760" y="783050"/>
                  </a:lnTo>
                  <a:lnTo>
                    <a:pt x="757238" y="797338"/>
                  </a:lnTo>
                  <a:lnTo>
                    <a:pt x="771525" y="815435"/>
                  </a:lnTo>
                  <a:lnTo>
                    <a:pt x="792480" y="818197"/>
                  </a:lnTo>
                  <a:lnTo>
                    <a:pt x="813435" y="818197"/>
                  </a:lnTo>
                  <a:lnTo>
                    <a:pt x="834390" y="828675"/>
                  </a:lnTo>
                  <a:lnTo>
                    <a:pt x="855345" y="836390"/>
                  </a:lnTo>
                  <a:lnTo>
                    <a:pt x="880110" y="811625"/>
                  </a:lnTo>
                  <a:lnTo>
                    <a:pt x="890588" y="807815"/>
                  </a:lnTo>
                  <a:lnTo>
                    <a:pt x="898207" y="815435"/>
                  </a:lnTo>
                  <a:lnTo>
                    <a:pt x="908685" y="825913"/>
                  </a:lnTo>
                  <a:lnTo>
                    <a:pt x="915353" y="832485"/>
                  </a:lnTo>
                  <a:lnTo>
                    <a:pt x="925830" y="839248"/>
                  </a:lnTo>
                  <a:lnTo>
                    <a:pt x="936307" y="836390"/>
                  </a:lnTo>
                  <a:lnTo>
                    <a:pt x="940118" y="832485"/>
                  </a:lnTo>
                  <a:lnTo>
                    <a:pt x="961073" y="818197"/>
                  </a:lnTo>
                  <a:lnTo>
                    <a:pt x="968693" y="797338"/>
                  </a:lnTo>
                  <a:lnTo>
                    <a:pt x="996315" y="801148"/>
                  </a:lnTo>
                  <a:lnTo>
                    <a:pt x="1014413" y="801148"/>
                  </a:lnTo>
                  <a:lnTo>
                    <a:pt x="1024890" y="793528"/>
                  </a:lnTo>
                  <a:lnTo>
                    <a:pt x="1024890" y="762000"/>
                  </a:lnTo>
                  <a:lnTo>
                    <a:pt x="1039178" y="737235"/>
                  </a:lnTo>
                  <a:lnTo>
                    <a:pt x="1049655" y="709613"/>
                  </a:lnTo>
                  <a:lnTo>
                    <a:pt x="1066800" y="670560"/>
                  </a:lnTo>
                  <a:lnTo>
                    <a:pt x="1077278" y="649700"/>
                  </a:lnTo>
                  <a:lnTo>
                    <a:pt x="1098232" y="631603"/>
                  </a:lnTo>
                  <a:lnTo>
                    <a:pt x="1112520" y="600075"/>
                  </a:lnTo>
                  <a:lnTo>
                    <a:pt x="1116330" y="567785"/>
                  </a:lnTo>
                  <a:lnTo>
                    <a:pt x="1126807" y="529685"/>
                  </a:lnTo>
                  <a:lnTo>
                    <a:pt x="1122998" y="49730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51" name="Freeform: Shape 3950">
              <a:extLst>
                <a:ext uri="{FF2B5EF4-FFF2-40B4-BE49-F238E27FC236}">
                  <a16:creationId xmlns:a16="http://schemas.microsoft.com/office/drawing/2014/main" id="{011C39C5-CDE5-5177-F649-BAE938F08EC3}"/>
                </a:ext>
              </a:extLst>
            </p:cNvPr>
            <p:cNvSpPr/>
            <p:nvPr/>
          </p:nvSpPr>
          <p:spPr>
            <a:xfrm>
              <a:off x="10734370" y="5526024"/>
              <a:ext cx="152197" cy="235300"/>
            </a:xfrm>
            <a:custGeom>
              <a:avLst/>
              <a:gdLst>
                <a:gd name="connsiteX0" fmla="*/ 134302 w 155257"/>
                <a:gd name="connsiteY0" fmla="*/ 116205 h 240030"/>
                <a:gd name="connsiteX1" fmla="*/ 113348 w 155257"/>
                <a:gd name="connsiteY1" fmla="*/ 120015 h 240030"/>
                <a:gd name="connsiteX2" fmla="*/ 92393 w 155257"/>
                <a:gd name="connsiteY2" fmla="*/ 105728 h 240030"/>
                <a:gd name="connsiteX3" fmla="*/ 80963 w 155257"/>
                <a:gd name="connsiteY3" fmla="*/ 91440 h 240030"/>
                <a:gd name="connsiteX4" fmla="*/ 78105 w 155257"/>
                <a:gd name="connsiteY4" fmla="*/ 80963 h 240030"/>
                <a:gd name="connsiteX5" fmla="*/ 67627 w 155257"/>
                <a:gd name="connsiteY5" fmla="*/ 91440 h 240030"/>
                <a:gd name="connsiteX6" fmla="*/ 60007 w 155257"/>
                <a:gd name="connsiteY6" fmla="*/ 77153 h 240030"/>
                <a:gd name="connsiteX7" fmla="*/ 49530 w 155257"/>
                <a:gd name="connsiteY7" fmla="*/ 59912 h 240030"/>
                <a:gd name="connsiteX8" fmla="*/ 53340 w 155257"/>
                <a:gd name="connsiteY8" fmla="*/ 45625 h 240030"/>
                <a:gd name="connsiteX9" fmla="*/ 39052 w 155257"/>
                <a:gd name="connsiteY9" fmla="*/ 31337 h 240030"/>
                <a:gd name="connsiteX10" fmla="*/ 18098 w 155257"/>
                <a:gd name="connsiteY10" fmla="*/ 18002 h 240030"/>
                <a:gd name="connsiteX11" fmla="*/ 0 w 155257"/>
                <a:gd name="connsiteY11" fmla="*/ 0 h 240030"/>
                <a:gd name="connsiteX12" fmla="*/ 3810 w 155257"/>
                <a:gd name="connsiteY12" fmla="*/ 18002 h 240030"/>
                <a:gd name="connsiteX13" fmla="*/ 14288 w 155257"/>
                <a:gd name="connsiteY13" fmla="*/ 45625 h 240030"/>
                <a:gd name="connsiteX14" fmla="*/ 35243 w 155257"/>
                <a:gd name="connsiteY14" fmla="*/ 59912 h 240030"/>
                <a:gd name="connsiteX15" fmla="*/ 53340 w 155257"/>
                <a:gd name="connsiteY15" fmla="*/ 80963 h 240030"/>
                <a:gd name="connsiteX16" fmla="*/ 49530 w 155257"/>
                <a:gd name="connsiteY16" fmla="*/ 109538 h 240030"/>
                <a:gd name="connsiteX17" fmla="*/ 49530 w 155257"/>
                <a:gd name="connsiteY17" fmla="*/ 140875 h 240030"/>
                <a:gd name="connsiteX18" fmla="*/ 39052 w 155257"/>
                <a:gd name="connsiteY18" fmla="*/ 147638 h 240030"/>
                <a:gd name="connsiteX19" fmla="*/ 24765 w 155257"/>
                <a:gd name="connsiteY19" fmla="*/ 159068 h 240030"/>
                <a:gd name="connsiteX20" fmla="*/ 35243 w 155257"/>
                <a:gd name="connsiteY20" fmla="*/ 172403 h 240030"/>
                <a:gd name="connsiteX21" fmla="*/ 53340 w 155257"/>
                <a:gd name="connsiteY21" fmla="*/ 176213 h 240030"/>
                <a:gd name="connsiteX22" fmla="*/ 63818 w 155257"/>
                <a:gd name="connsiteY22" fmla="*/ 190500 h 240030"/>
                <a:gd name="connsiteX23" fmla="*/ 63818 w 155257"/>
                <a:gd name="connsiteY23" fmla="*/ 204788 h 240030"/>
                <a:gd name="connsiteX24" fmla="*/ 53340 w 155257"/>
                <a:gd name="connsiteY24" fmla="*/ 215265 h 240030"/>
                <a:gd name="connsiteX25" fmla="*/ 57150 w 155257"/>
                <a:gd name="connsiteY25" fmla="*/ 236125 h 240030"/>
                <a:gd name="connsiteX26" fmla="*/ 70485 w 155257"/>
                <a:gd name="connsiteY26" fmla="*/ 240030 h 240030"/>
                <a:gd name="connsiteX27" fmla="*/ 88582 w 155257"/>
                <a:gd name="connsiteY27" fmla="*/ 221837 h 240030"/>
                <a:gd name="connsiteX28" fmla="*/ 102870 w 155257"/>
                <a:gd name="connsiteY28" fmla="*/ 200978 h 240030"/>
                <a:gd name="connsiteX29" fmla="*/ 113348 w 155257"/>
                <a:gd name="connsiteY29" fmla="*/ 186690 h 240030"/>
                <a:gd name="connsiteX30" fmla="*/ 113348 w 155257"/>
                <a:gd name="connsiteY30" fmla="*/ 172403 h 240030"/>
                <a:gd name="connsiteX31" fmla="*/ 113348 w 155257"/>
                <a:gd name="connsiteY31" fmla="*/ 159068 h 240030"/>
                <a:gd name="connsiteX32" fmla="*/ 140970 w 155257"/>
                <a:gd name="connsiteY32" fmla="*/ 155162 h 240030"/>
                <a:gd name="connsiteX33" fmla="*/ 140970 w 155257"/>
                <a:gd name="connsiteY33" fmla="*/ 140875 h 240030"/>
                <a:gd name="connsiteX34" fmla="*/ 155257 w 155257"/>
                <a:gd name="connsiteY34" fmla="*/ 130493 h 240030"/>
                <a:gd name="connsiteX35" fmla="*/ 155257 w 155257"/>
                <a:gd name="connsiteY35" fmla="*/ 109538 h 240030"/>
                <a:gd name="connsiteX36" fmla="*/ 144780 w 155257"/>
                <a:gd name="connsiteY36" fmla="*/ 105728 h 240030"/>
                <a:gd name="connsiteX37" fmla="*/ 134302 w 155257"/>
                <a:gd name="connsiteY37" fmla="*/ 116205 h 240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55257" h="240030">
                  <a:moveTo>
                    <a:pt x="134302" y="116205"/>
                  </a:moveTo>
                  <a:lnTo>
                    <a:pt x="113348" y="120015"/>
                  </a:lnTo>
                  <a:lnTo>
                    <a:pt x="92393" y="105728"/>
                  </a:lnTo>
                  <a:lnTo>
                    <a:pt x="80963" y="91440"/>
                  </a:lnTo>
                  <a:lnTo>
                    <a:pt x="78105" y="80963"/>
                  </a:lnTo>
                  <a:lnTo>
                    <a:pt x="67627" y="91440"/>
                  </a:lnTo>
                  <a:lnTo>
                    <a:pt x="60007" y="77153"/>
                  </a:lnTo>
                  <a:lnTo>
                    <a:pt x="49530" y="59912"/>
                  </a:lnTo>
                  <a:lnTo>
                    <a:pt x="53340" y="45625"/>
                  </a:lnTo>
                  <a:lnTo>
                    <a:pt x="39052" y="31337"/>
                  </a:lnTo>
                  <a:lnTo>
                    <a:pt x="18098" y="18002"/>
                  </a:lnTo>
                  <a:lnTo>
                    <a:pt x="0" y="0"/>
                  </a:lnTo>
                  <a:lnTo>
                    <a:pt x="3810" y="18002"/>
                  </a:lnTo>
                  <a:lnTo>
                    <a:pt x="14288" y="45625"/>
                  </a:lnTo>
                  <a:lnTo>
                    <a:pt x="35243" y="59912"/>
                  </a:lnTo>
                  <a:lnTo>
                    <a:pt x="53340" y="80963"/>
                  </a:lnTo>
                  <a:lnTo>
                    <a:pt x="49530" y="109538"/>
                  </a:lnTo>
                  <a:lnTo>
                    <a:pt x="49530" y="140875"/>
                  </a:lnTo>
                  <a:lnTo>
                    <a:pt x="39052" y="147638"/>
                  </a:lnTo>
                  <a:lnTo>
                    <a:pt x="24765" y="159068"/>
                  </a:lnTo>
                  <a:lnTo>
                    <a:pt x="35243" y="172403"/>
                  </a:lnTo>
                  <a:lnTo>
                    <a:pt x="53340" y="176213"/>
                  </a:lnTo>
                  <a:lnTo>
                    <a:pt x="63818" y="190500"/>
                  </a:lnTo>
                  <a:lnTo>
                    <a:pt x="63818" y="204788"/>
                  </a:lnTo>
                  <a:lnTo>
                    <a:pt x="53340" y="215265"/>
                  </a:lnTo>
                  <a:lnTo>
                    <a:pt x="57150" y="236125"/>
                  </a:lnTo>
                  <a:lnTo>
                    <a:pt x="70485" y="240030"/>
                  </a:lnTo>
                  <a:lnTo>
                    <a:pt x="88582" y="221837"/>
                  </a:lnTo>
                  <a:lnTo>
                    <a:pt x="102870" y="200978"/>
                  </a:lnTo>
                  <a:lnTo>
                    <a:pt x="113348" y="186690"/>
                  </a:lnTo>
                  <a:lnTo>
                    <a:pt x="113348" y="172403"/>
                  </a:lnTo>
                  <a:lnTo>
                    <a:pt x="113348" y="159068"/>
                  </a:lnTo>
                  <a:lnTo>
                    <a:pt x="140970" y="155162"/>
                  </a:lnTo>
                  <a:lnTo>
                    <a:pt x="140970" y="140875"/>
                  </a:lnTo>
                  <a:lnTo>
                    <a:pt x="155257" y="130493"/>
                  </a:lnTo>
                  <a:lnTo>
                    <a:pt x="155257" y="109538"/>
                  </a:lnTo>
                  <a:lnTo>
                    <a:pt x="144780" y="105728"/>
                  </a:lnTo>
                  <a:lnTo>
                    <a:pt x="134302" y="11620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52" name="Freeform: Shape 3951">
              <a:extLst>
                <a:ext uri="{FF2B5EF4-FFF2-40B4-BE49-F238E27FC236}">
                  <a16:creationId xmlns:a16="http://schemas.microsoft.com/office/drawing/2014/main" id="{D9094BC9-96F3-7A61-C7D2-8A71DBB8C1E5}"/>
                </a:ext>
              </a:extLst>
            </p:cNvPr>
            <p:cNvSpPr/>
            <p:nvPr/>
          </p:nvSpPr>
          <p:spPr>
            <a:xfrm>
              <a:off x="10562565" y="5726777"/>
              <a:ext cx="210087" cy="199725"/>
            </a:xfrm>
            <a:custGeom>
              <a:avLst/>
              <a:gdLst>
                <a:gd name="connsiteX0" fmla="*/ 186690 w 214312"/>
                <a:gd name="connsiteY0" fmla="*/ 17050 h 203739"/>
                <a:gd name="connsiteX1" fmla="*/ 175260 w 214312"/>
                <a:gd name="connsiteY1" fmla="*/ 2762 h 203739"/>
                <a:gd name="connsiteX2" fmla="*/ 161925 w 214312"/>
                <a:gd name="connsiteY2" fmla="*/ 0 h 203739"/>
                <a:gd name="connsiteX3" fmla="*/ 154305 w 214312"/>
                <a:gd name="connsiteY3" fmla="*/ 17050 h 203739"/>
                <a:gd name="connsiteX4" fmla="*/ 154305 w 214312"/>
                <a:gd name="connsiteY4" fmla="*/ 35243 h 203739"/>
                <a:gd name="connsiteX5" fmla="*/ 137160 w 214312"/>
                <a:gd name="connsiteY5" fmla="*/ 45625 h 203739"/>
                <a:gd name="connsiteX6" fmla="*/ 126683 w 214312"/>
                <a:gd name="connsiteY6" fmla="*/ 62865 h 203739"/>
                <a:gd name="connsiteX7" fmla="*/ 104775 w 214312"/>
                <a:gd name="connsiteY7" fmla="*/ 91440 h 203739"/>
                <a:gd name="connsiteX8" fmla="*/ 83820 w 214312"/>
                <a:gd name="connsiteY8" fmla="*/ 91440 h 203739"/>
                <a:gd name="connsiteX9" fmla="*/ 66675 w 214312"/>
                <a:gd name="connsiteY9" fmla="*/ 112300 h 203739"/>
                <a:gd name="connsiteX10" fmla="*/ 52388 w 214312"/>
                <a:gd name="connsiteY10" fmla="*/ 112300 h 203739"/>
                <a:gd name="connsiteX11" fmla="*/ 23813 w 214312"/>
                <a:gd name="connsiteY11" fmla="*/ 140875 h 203739"/>
                <a:gd name="connsiteX12" fmla="*/ 6668 w 214312"/>
                <a:gd name="connsiteY12" fmla="*/ 161925 h 203739"/>
                <a:gd name="connsiteX13" fmla="*/ 0 w 214312"/>
                <a:gd name="connsiteY13" fmla="*/ 186690 h 203739"/>
                <a:gd name="connsiteX14" fmla="*/ 27623 w 214312"/>
                <a:gd name="connsiteY14" fmla="*/ 190500 h 203739"/>
                <a:gd name="connsiteX15" fmla="*/ 38100 w 214312"/>
                <a:gd name="connsiteY15" fmla="*/ 193262 h 203739"/>
                <a:gd name="connsiteX16" fmla="*/ 52388 w 214312"/>
                <a:gd name="connsiteY16" fmla="*/ 203740 h 203739"/>
                <a:gd name="connsiteX17" fmla="*/ 83820 w 214312"/>
                <a:gd name="connsiteY17" fmla="*/ 200978 h 203739"/>
                <a:gd name="connsiteX18" fmla="*/ 101918 w 214312"/>
                <a:gd name="connsiteY18" fmla="*/ 182880 h 203739"/>
                <a:gd name="connsiteX19" fmla="*/ 122873 w 214312"/>
                <a:gd name="connsiteY19" fmla="*/ 158115 h 203739"/>
                <a:gd name="connsiteX20" fmla="*/ 129540 w 214312"/>
                <a:gd name="connsiteY20" fmla="*/ 130493 h 203739"/>
                <a:gd name="connsiteX21" fmla="*/ 140018 w 214312"/>
                <a:gd name="connsiteY21" fmla="*/ 116205 h 203739"/>
                <a:gd name="connsiteX22" fmla="*/ 158115 w 214312"/>
                <a:gd name="connsiteY22" fmla="*/ 108490 h 203739"/>
                <a:gd name="connsiteX23" fmla="*/ 175260 w 214312"/>
                <a:gd name="connsiteY23" fmla="*/ 105728 h 203739"/>
                <a:gd name="connsiteX24" fmla="*/ 175260 w 214312"/>
                <a:gd name="connsiteY24" fmla="*/ 80963 h 203739"/>
                <a:gd name="connsiteX25" fmla="*/ 193358 w 214312"/>
                <a:gd name="connsiteY25" fmla="*/ 66675 h 203739"/>
                <a:gd name="connsiteX26" fmla="*/ 203835 w 214312"/>
                <a:gd name="connsiteY26" fmla="*/ 52388 h 203739"/>
                <a:gd name="connsiteX27" fmla="*/ 214313 w 214312"/>
                <a:gd name="connsiteY27" fmla="*/ 35243 h 203739"/>
                <a:gd name="connsiteX28" fmla="*/ 214313 w 214312"/>
                <a:gd name="connsiteY28" fmla="*/ 17050 h 203739"/>
                <a:gd name="connsiteX29" fmla="*/ 203835 w 214312"/>
                <a:gd name="connsiteY29" fmla="*/ 17050 h 203739"/>
                <a:gd name="connsiteX30" fmla="*/ 186690 w 214312"/>
                <a:gd name="connsiteY30" fmla="*/ 17050 h 203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214312" h="203739">
                  <a:moveTo>
                    <a:pt x="186690" y="17050"/>
                  </a:moveTo>
                  <a:lnTo>
                    <a:pt x="175260" y="2762"/>
                  </a:lnTo>
                  <a:lnTo>
                    <a:pt x="161925" y="0"/>
                  </a:lnTo>
                  <a:lnTo>
                    <a:pt x="154305" y="17050"/>
                  </a:lnTo>
                  <a:lnTo>
                    <a:pt x="154305" y="35243"/>
                  </a:lnTo>
                  <a:lnTo>
                    <a:pt x="137160" y="45625"/>
                  </a:lnTo>
                  <a:lnTo>
                    <a:pt x="126683" y="62865"/>
                  </a:lnTo>
                  <a:lnTo>
                    <a:pt x="104775" y="91440"/>
                  </a:lnTo>
                  <a:lnTo>
                    <a:pt x="83820" y="91440"/>
                  </a:lnTo>
                  <a:lnTo>
                    <a:pt x="66675" y="112300"/>
                  </a:lnTo>
                  <a:lnTo>
                    <a:pt x="52388" y="112300"/>
                  </a:lnTo>
                  <a:lnTo>
                    <a:pt x="23813" y="140875"/>
                  </a:lnTo>
                  <a:lnTo>
                    <a:pt x="6668" y="161925"/>
                  </a:lnTo>
                  <a:lnTo>
                    <a:pt x="0" y="186690"/>
                  </a:lnTo>
                  <a:lnTo>
                    <a:pt x="27623" y="190500"/>
                  </a:lnTo>
                  <a:lnTo>
                    <a:pt x="38100" y="193262"/>
                  </a:lnTo>
                  <a:lnTo>
                    <a:pt x="52388" y="203740"/>
                  </a:lnTo>
                  <a:lnTo>
                    <a:pt x="83820" y="200978"/>
                  </a:lnTo>
                  <a:lnTo>
                    <a:pt x="101918" y="182880"/>
                  </a:lnTo>
                  <a:lnTo>
                    <a:pt x="122873" y="158115"/>
                  </a:lnTo>
                  <a:lnTo>
                    <a:pt x="129540" y="130493"/>
                  </a:lnTo>
                  <a:lnTo>
                    <a:pt x="140018" y="116205"/>
                  </a:lnTo>
                  <a:lnTo>
                    <a:pt x="158115" y="108490"/>
                  </a:lnTo>
                  <a:lnTo>
                    <a:pt x="175260" y="105728"/>
                  </a:lnTo>
                  <a:lnTo>
                    <a:pt x="175260" y="80963"/>
                  </a:lnTo>
                  <a:lnTo>
                    <a:pt x="193358" y="66675"/>
                  </a:lnTo>
                  <a:lnTo>
                    <a:pt x="203835" y="52388"/>
                  </a:lnTo>
                  <a:lnTo>
                    <a:pt x="214313" y="35243"/>
                  </a:lnTo>
                  <a:lnTo>
                    <a:pt x="214313" y="17050"/>
                  </a:lnTo>
                  <a:lnTo>
                    <a:pt x="203835" y="17050"/>
                  </a:lnTo>
                  <a:lnTo>
                    <a:pt x="186690" y="1705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53" name="Freeform: Shape 3952">
              <a:extLst>
                <a:ext uri="{FF2B5EF4-FFF2-40B4-BE49-F238E27FC236}">
                  <a16:creationId xmlns:a16="http://schemas.microsoft.com/office/drawing/2014/main" id="{174EAC33-E583-3012-AA20-D091B66262BA}"/>
                </a:ext>
              </a:extLst>
            </p:cNvPr>
            <p:cNvSpPr/>
            <p:nvPr/>
          </p:nvSpPr>
          <p:spPr>
            <a:xfrm>
              <a:off x="7379499" y="3804222"/>
              <a:ext cx="13071" cy="21382"/>
            </a:xfrm>
            <a:custGeom>
              <a:avLst/>
              <a:gdLst>
                <a:gd name="connsiteX0" fmla="*/ 0 w 13334"/>
                <a:gd name="connsiteY0" fmla="*/ 0 h 21812"/>
                <a:gd name="connsiteX1" fmla="*/ 6668 w 13334"/>
                <a:gd name="connsiteY1" fmla="*/ 21812 h 21812"/>
                <a:gd name="connsiteX2" fmla="*/ 13335 w 13334"/>
                <a:gd name="connsiteY2" fmla="*/ 3810 h 21812"/>
                <a:gd name="connsiteX3" fmla="*/ 0 w 13334"/>
                <a:gd name="connsiteY3" fmla="*/ 0 h 21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4" h="21812">
                  <a:moveTo>
                    <a:pt x="0" y="0"/>
                  </a:moveTo>
                  <a:lnTo>
                    <a:pt x="6668" y="21812"/>
                  </a:lnTo>
                  <a:lnTo>
                    <a:pt x="13335" y="38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54" name="Freeform: Shape 3953">
              <a:extLst>
                <a:ext uri="{FF2B5EF4-FFF2-40B4-BE49-F238E27FC236}">
                  <a16:creationId xmlns:a16="http://schemas.microsoft.com/office/drawing/2014/main" id="{EC12B418-9575-177B-CE1E-81FD7F015EB1}"/>
                </a:ext>
              </a:extLst>
            </p:cNvPr>
            <p:cNvSpPr/>
            <p:nvPr/>
          </p:nvSpPr>
          <p:spPr>
            <a:xfrm>
              <a:off x="5779095" y="2857325"/>
              <a:ext cx="65361" cy="41177"/>
            </a:xfrm>
            <a:custGeom>
              <a:avLst/>
              <a:gdLst>
                <a:gd name="connsiteX0" fmla="*/ 27623 w 66675"/>
                <a:gd name="connsiteY0" fmla="*/ 31528 h 42005"/>
                <a:gd name="connsiteX1" fmla="*/ 38100 w 66675"/>
                <a:gd name="connsiteY1" fmla="*/ 42005 h 42005"/>
                <a:gd name="connsiteX2" fmla="*/ 60008 w 66675"/>
                <a:gd name="connsiteY2" fmla="*/ 42005 h 42005"/>
                <a:gd name="connsiteX3" fmla="*/ 66675 w 66675"/>
                <a:gd name="connsiteY3" fmla="*/ 28575 h 42005"/>
                <a:gd name="connsiteX4" fmla="*/ 60008 w 66675"/>
                <a:gd name="connsiteY4" fmla="*/ 14288 h 42005"/>
                <a:gd name="connsiteX5" fmla="*/ 52388 w 66675"/>
                <a:gd name="connsiteY5" fmla="*/ 3905 h 42005"/>
                <a:gd name="connsiteX6" fmla="*/ 20955 w 66675"/>
                <a:gd name="connsiteY6" fmla="*/ 0 h 42005"/>
                <a:gd name="connsiteX7" fmla="*/ 6668 w 66675"/>
                <a:gd name="connsiteY7" fmla="*/ 14288 h 42005"/>
                <a:gd name="connsiteX8" fmla="*/ 0 w 66675"/>
                <a:gd name="connsiteY8" fmla="*/ 31528 h 42005"/>
                <a:gd name="connsiteX9" fmla="*/ 14288 w 66675"/>
                <a:gd name="connsiteY9" fmla="*/ 39148 h 42005"/>
                <a:gd name="connsiteX10" fmla="*/ 27623 w 66675"/>
                <a:gd name="connsiteY10" fmla="*/ 31528 h 42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6675" h="42005">
                  <a:moveTo>
                    <a:pt x="27623" y="31528"/>
                  </a:moveTo>
                  <a:lnTo>
                    <a:pt x="38100" y="42005"/>
                  </a:lnTo>
                  <a:lnTo>
                    <a:pt x="60008" y="42005"/>
                  </a:lnTo>
                  <a:lnTo>
                    <a:pt x="66675" y="28575"/>
                  </a:lnTo>
                  <a:lnTo>
                    <a:pt x="60008" y="14288"/>
                  </a:lnTo>
                  <a:lnTo>
                    <a:pt x="52388" y="3905"/>
                  </a:lnTo>
                  <a:lnTo>
                    <a:pt x="20955" y="0"/>
                  </a:lnTo>
                  <a:lnTo>
                    <a:pt x="6668" y="14288"/>
                  </a:lnTo>
                  <a:lnTo>
                    <a:pt x="0" y="31528"/>
                  </a:lnTo>
                  <a:lnTo>
                    <a:pt x="14288" y="39148"/>
                  </a:lnTo>
                  <a:lnTo>
                    <a:pt x="27623" y="31528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55" name="Freeform: Shape 3954">
              <a:extLst>
                <a:ext uri="{FF2B5EF4-FFF2-40B4-BE49-F238E27FC236}">
                  <a16:creationId xmlns:a16="http://schemas.microsoft.com/office/drawing/2014/main" id="{C2B8A6E2-06DC-F16C-E71F-5D39AF3D0111}"/>
                </a:ext>
              </a:extLst>
            </p:cNvPr>
            <p:cNvSpPr/>
            <p:nvPr/>
          </p:nvSpPr>
          <p:spPr>
            <a:xfrm>
              <a:off x="6238488" y="3296179"/>
              <a:ext cx="23343" cy="44912"/>
            </a:xfrm>
            <a:custGeom>
              <a:avLst/>
              <a:gdLst>
                <a:gd name="connsiteX0" fmla="*/ 6668 w 23812"/>
                <a:gd name="connsiteY0" fmla="*/ 3905 h 45815"/>
                <a:gd name="connsiteX1" fmla="*/ 0 w 23812"/>
                <a:gd name="connsiteY1" fmla="*/ 10573 h 45815"/>
                <a:gd name="connsiteX2" fmla="*/ 0 w 23812"/>
                <a:gd name="connsiteY2" fmla="*/ 24860 h 45815"/>
                <a:gd name="connsiteX3" fmla="*/ 0 w 23812"/>
                <a:gd name="connsiteY3" fmla="*/ 39148 h 45815"/>
                <a:gd name="connsiteX4" fmla="*/ 10477 w 23812"/>
                <a:gd name="connsiteY4" fmla="*/ 45815 h 45815"/>
                <a:gd name="connsiteX5" fmla="*/ 17145 w 23812"/>
                <a:gd name="connsiteY5" fmla="*/ 31528 h 45815"/>
                <a:gd name="connsiteX6" fmla="*/ 13335 w 23812"/>
                <a:gd name="connsiteY6" fmla="*/ 20955 h 45815"/>
                <a:gd name="connsiteX7" fmla="*/ 23813 w 23812"/>
                <a:gd name="connsiteY7" fmla="*/ 18193 h 45815"/>
                <a:gd name="connsiteX8" fmla="*/ 17145 w 23812"/>
                <a:gd name="connsiteY8" fmla="*/ 0 h 45815"/>
                <a:gd name="connsiteX9" fmla="*/ 6668 w 23812"/>
                <a:gd name="connsiteY9" fmla="*/ 3905 h 4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812" h="45815">
                  <a:moveTo>
                    <a:pt x="6668" y="3905"/>
                  </a:moveTo>
                  <a:lnTo>
                    <a:pt x="0" y="10573"/>
                  </a:lnTo>
                  <a:lnTo>
                    <a:pt x="0" y="24860"/>
                  </a:lnTo>
                  <a:lnTo>
                    <a:pt x="0" y="39148"/>
                  </a:lnTo>
                  <a:lnTo>
                    <a:pt x="10477" y="45815"/>
                  </a:lnTo>
                  <a:lnTo>
                    <a:pt x="17145" y="31528"/>
                  </a:lnTo>
                  <a:lnTo>
                    <a:pt x="13335" y="20955"/>
                  </a:lnTo>
                  <a:lnTo>
                    <a:pt x="23813" y="18193"/>
                  </a:lnTo>
                  <a:lnTo>
                    <a:pt x="17145" y="0"/>
                  </a:lnTo>
                  <a:lnTo>
                    <a:pt x="6668" y="390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56" name="Freeform: Shape 3955">
              <a:extLst>
                <a:ext uri="{FF2B5EF4-FFF2-40B4-BE49-F238E27FC236}">
                  <a16:creationId xmlns:a16="http://schemas.microsoft.com/office/drawing/2014/main" id="{930F91CB-53F9-B343-3919-B7B067DFB5C7}"/>
                </a:ext>
              </a:extLst>
            </p:cNvPr>
            <p:cNvSpPr/>
            <p:nvPr/>
          </p:nvSpPr>
          <p:spPr>
            <a:xfrm>
              <a:off x="6227283" y="3355097"/>
              <a:ext cx="34547" cy="65361"/>
            </a:xfrm>
            <a:custGeom>
              <a:avLst/>
              <a:gdLst>
                <a:gd name="connsiteX0" fmla="*/ 32385 w 35242"/>
                <a:gd name="connsiteY0" fmla="*/ 3715 h 66675"/>
                <a:gd name="connsiteX1" fmla="*/ 18098 w 35242"/>
                <a:gd name="connsiteY1" fmla="*/ 0 h 66675"/>
                <a:gd name="connsiteX2" fmla="*/ 14288 w 35242"/>
                <a:gd name="connsiteY2" fmla="*/ 6572 h 66675"/>
                <a:gd name="connsiteX3" fmla="*/ 3810 w 35242"/>
                <a:gd name="connsiteY3" fmla="*/ 6572 h 66675"/>
                <a:gd name="connsiteX4" fmla="*/ 0 w 35242"/>
                <a:gd name="connsiteY4" fmla="*/ 20860 h 66675"/>
                <a:gd name="connsiteX5" fmla="*/ 7620 w 35242"/>
                <a:gd name="connsiteY5" fmla="*/ 28575 h 66675"/>
                <a:gd name="connsiteX6" fmla="*/ 7620 w 35242"/>
                <a:gd name="connsiteY6" fmla="*/ 45720 h 66675"/>
                <a:gd name="connsiteX7" fmla="*/ 7620 w 35242"/>
                <a:gd name="connsiteY7" fmla="*/ 63722 h 66675"/>
                <a:gd name="connsiteX8" fmla="*/ 18098 w 35242"/>
                <a:gd name="connsiteY8" fmla="*/ 66675 h 66675"/>
                <a:gd name="connsiteX9" fmla="*/ 24765 w 35242"/>
                <a:gd name="connsiteY9" fmla="*/ 60008 h 66675"/>
                <a:gd name="connsiteX10" fmla="*/ 35243 w 35242"/>
                <a:gd name="connsiteY10" fmla="*/ 49435 h 66675"/>
                <a:gd name="connsiteX11" fmla="*/ 32385 w 35242"/>
                <a:gd name="connsiteY11" fmla="*/ 24765 h 66675"/>
                <a:gd name="connsiteX12" fmla="*/ 35243 w 35242"/>
                <a:gd name="connsiteY12" fmla="*/ 10477 h 66675"/>
                <a:gd name="connsiteX13" fmla="*/ 32385 w 35242"/>
                <a:gd name="connsiteY13" fmla="*/ 3715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5242" h="66675">
                  <a:moveTo>
                    <a:pt x="32385" y="3715"/>
                  </a:moveTo>
                  <a:lnTo>
                    <a:pt x="18098" y="0"/>
                  </a:lnTo>
                  <a:lnTo>
                    <a:pt x="14288" y="6572"/>
                  </a:lnTo>
                  <a:lnTo>
                    <a:pt x="3810" y="6572"/>
                  </a:lnTo>
                  <a:lnTo>
                    <a:pt x="0" y="20860"/>
                  </a:lnTo>
                  <a:lnTo>
                    <a:pt x="7620" y="28575"/>
                  </a:lnTo>
                  <a:lnTo>
                    <a:pt x="7620" y="45720"/>
                  </a:lnTo>
                  <a:lnTo>
                    <a:pt x="7620" y="63722"/>
                  </a:lnTo>
                  <a:lnTo>
                    <a:pt x="18098" y="66675"/>
                  </a:lnTo>
                  <a:lnTo>
                    <a:pt x="24765" y="60008"/>
                  </a:lnTo>
                  <a:lnTo>
                    <a:pt x="35243" y="49435"/>
                  </a:lnTo>
                  <a:lnTo>
                    <a:pt x="32385" y="24765"/>
                  </a:lnTo>
                  <a:lnTo>
                    <a:pt x="35243" y="10477"/>
                  </a:lnTo>
                  <a:lnTo>
                    <a:pt x="32385" y="3715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57" name="Freeform: Shape 3956">
              <a:extLst>
                <a:ext uri="{FF2B5EF4-FFF2-40B4-BE49-F238E27FC236}">
                  <a16:creationId xmlns:a16="http://schemas.microsoft.com/office/drawing/2014/main" id="{593F6FCF-77BF-F792-354D-472AB6E87E17}"/>
                </a:ext>
              </a:extLst>
            </p:cNvPr>
            <p:cNvSpPr/>
            <p:nvPr/>
          </p:nvSpPr>
          <p:spPr>
            <a:xfrm>
              <a:off x="6346800" y="3452112"/>
              <a:ext cx="72831" cy="41177"/>
            </a:xfrm>
            <a:custGeom>
              <a:avLst/>
              <a:gdLst>
                <a:gd name="connsiteX0" fmla="*/ 28575 w 74295"/>
                <a:gd name="connsiteY0" fmla="*/ 0 h 42005"/>
                <a:gd name="connsiteX1" fmla="*/ 3810 w 74295"/>
                <a:gd name="connsiteY1" fmla="*/ 0 h 42005"/>
                <a:gd name="connsiteX2" fmla="*/ 0 w 74295"/>
                <a:gd name="connsiteY2" fmla="*/ 14288 h 42005"/>
                <a:gd name="connsiteX3" fmla="*/ 18098 w 74295"/>
                <a:gd name="connsiteY3" fmla="*/ 17145 h 42005"/>
                <a:gd name="connsiteX4" fmla="*/ 28575 w 74295"/>
                <a:gd name="connsiteY4" fmla="*/ 27718 h 42005"/>
                <a:gd name="connsiteX5" fmla="*/ 45720 w 74295"/>
                <a:gd name="connsiteY5" fmla="*/ 27718 h 42005"/>
                <a:gd name="connsiteX6" fmla="*/ 60008 w 74295"/>
                <a:gd name="connsiteY6" fmla="*/ 42005 h 42005"/>
                <a:gd name="connsiteX7" fmla="*/ 66675 w 74295"/>
                <a:gd name="connsiteY7" fmla="*/ 31433 h 42005"/>
                <a:gd name="connsiteX8" fmla="*/ 63818 w 74295"/>
                <a:gd name="connsiteY8" fmla="*/ 17145 h 42005"/>
                <a:gd name="connsiteX9" fmla="*/ 74295 w 74295"/>
                <a:gd name="connsiteY9" fmla="*/ 6763 h 42005"/>
                <a:gd name="connsiteX10" fmla="*/ 74295 w 74295"/>
                <a:gd name="connsiteY10" fmla="*/ 0 h 42005"/>
                <a:gd name="connsiteX11" fmla="*/ 45720 w 74295"/>
                <a:gd name="connsiteY11" fmla="*/ 0 h 42005"/>
                <a:gd name="connsiteX12" fmla="*/ 28575 w 74295"/>
                <a:gd name="connsiteY12" fmla="*/ 0 h 420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4295" h="42005">
                  <a:moveTo>
                    <a:pt x="28575" y="0"/>
                  </a:moveTo>
                  <a:lnTo>
                    <a:pt x="3810" y="0"/>
                  </a:lnTo>
                  <a:lnTo>
                    <a:pt x="0" y="14288"/>
                  </a:lnTo>
                  <a:lnTo>
                    <a:pt x="18098" y="17145"/>
                  </a:lnTo>
                  <a:lnTo>
                    <a:pt x="28575" y="27718"/>
                  </a:lnTo>
                  <a:lnTo>
                    <a:pt x="45720" y="27718"/>
                  </a:lnTo>
                  <a:lnTo>
                    <a:pt x="60008" y="42005"/>
                  </a:lnTo>
                  <a:lnTo>
                    <a:pt x="66675" y="31433"/>
                  </a:lnTo>
                  <a:lnTo>
                    <a:pt x="63818" y="17145"/>
                  </a:lnTo>
                  <a:lnTo>
                    <a:pt x="74295" y="6763"/>
                  </a:lnTo>
                  <a:lnTo>
                    <a:pt x="74295" y="0"/>
                  </a:lnTo>
                  <a:lnTo>
                    <a:pt x="45720" y="0"/>
                  </a:lnTo>
                  <a:lnTo>
                    <a:pt x="28575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58" name="Freeform: Shape 3957">
              <a:extLst>
                <a:ext uri="{FF2B5EF4-FFF2-40B4-BE49-F238E27FC236}">
                  <a16:creationId xmlns:a16="http://schemas.microsoft.com/office/drawing/2014/main" id="{71B04030-B0FB-6582-3D50-EBB2C5F94922}"/>
                </a:ext>
              </a:extLst>
            </p:cNvPr>
            <p:cNvSpPr/>
            <p:nvPr/>
          </p:nvSpPr>
          <p:spPr>
            <a:xfrm>
              <a:off x="9961247" y="5726777"/>
              <a:ext cx="99908" cy="99909"/>
            </a:xfrm>
            <a:custGeom>
              <a:avLst/>
              <a:gdLst>
                <a:gd name="connsiteX0" fmla="*/ 70485 w 101917"/>
                <a:gd name="connsiteY0" fmla="*/ 17050 h 101917"/>
                <a:gd name="connsiteX1" fmla="*/ 45720 w 101917"/>
                <a:gd name="connsiteY1" fmla="*/ 20955 h 101917"/>
                <a:gd name="connsiteX2" fmla="*/ 20955 w 101917"/>
                <a:gd name="connsiteY2" fmla="*/ 10478 h 101917"/>
                <a:gd name="connsiteX3" fmla="*/ 3810 w 101917"/>
                <a:gd name="connsiteY3" fmla="*/ 0 h 101917"/>
                <a:gd name="connsiteX4" fmla="*/ 0 w 101917"/>
                <a:gd name="connsiteY4" fmla="*/ 20955 h 101917"/>
                <a:gd name="connsiteX5" fmla="*/ 14288 w 101917"/>
                <a:gd name="connsiteY5" fmla="*/ 31337 h 101917"/>
                <a:gd name="connsiteX6" fmla="*/ 20955 w 101917"/>
                <a:gd name="connsiteY6" fmla="*/ 45625 h 101917"/>
                <a:gd name="connsiteX7" fmla="*/ 18097 w 101917"/>
                <a:gd name="connsiteY7" fmla="*/ 70390 h 101917"/>
                <a:gd name="connsiteX8" fmla="*/ 28575 w 101917"/>
                <a:gd name="connsiteY8" fmla="*/ 84677 h 101917"/>
                <a:gd name="connsiteX9" fmla="*/ 42863 w 101917"/>
                <a:gd name="connsiteY9" fmla="*/ 98012 h 101917"/>
                <a:gd name="connsiteX10" fmla="*/ 56197 w 101917"/>
                <a:gd name="connsiteY10" fmla="*/ 101918 h 101917"/>
                <a:gd name="connsiteX11" fmla="*/ 70485 w 101917"/>
                <a:gd name="connsiteY11" fmla="*/ 87630 h 101917"/>
                <a:gd name="connsiteX12" fmla="*/ 74295 w 101917"/>
                <a:gd name="connsiteY12" fmla="*/ 80963 h 101917"/>
                <a:gd name="connsiteX13" fmla="*/ 84772 w 101917"/>
                <a:gd name="connsiteY13" fmla="*/ 80963 h 101917"/>
                <a:gd name="connsiteX14" fmla="*/ 91440 w 101917"/>
                <a:gd name="connsiteY14" fmla="*/ 73343 h 101917"/>
                <a:gd name="connsiteX15" fmla="*/ 95250 w 101917"/>
                <a:gd name="connsiteY15" fmla="*/ 59912 h 101917"/>
                <a:gd name="connsiteX16" fmla="*/ 101918 w 101917"/>
                <a:gd name="connsiteY16" fmla="*/ 45625 h 101917"/>
                <a:gd name="connsiteX17" fmla="*/ 101918 w 101917"/>
                <a:gd name="connsiteY17" fmla="*/ 17050 h 101917"/>
                <a:gd name="connsiteX18" fmla="*/ 91440 w 101917"/>
                <a:gd name="connsiteY18" fmla="*/ 14288 h 101917"/>
                <a:gd name="connsiteX19" fmla="*/ 70485 w 101917"/>
                <a:gd name="connsiteY19" fmla="*/ 17050 h 101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1917" h="101917">
                  <a:moveTo>
                    <a:pt x="70485" y="17050"/>
                  </a:moveTo>
                  <a:lnTo>
                    <a:pt x="45720" y="20955"/>
                  </a:lnTo>
                  <a:lnTo>
                    <a:pt x="20955" y="10478"/>
                  </a:lnTo>
                  <a:lnTo>
                    <a:pt x="3810" y="0"/>
                  </a:lnTo>
                  <a:lnTo>
                    <a:pt x="0" y="20955"/>
                  </a:lnTo>
                  <a:lnTo>
                    <a:pt x="14288" y="31337"/>
                  </a:lnTo>
                  <a:lnTo>
                    <a:pt x="20955" y="45625"/>
                  </a:lnTo>
                  <a:lnTo>
                    <a:pt x="18097" y="70390"/>
                  </a:lnTo>
                  <a:lnTo>
                    <a:pt x="28575" y="84677"/>
                  </a:lnTo>
                  <a:lnTo>
                    <a:pt x="42863" y="98012"/>
                  </a:lnTo>
                  <a:lnTo>
                    <a:pt x="56197" y="101918"/>
                  </a:lnTo>
                  <a:lnTo>
                    <a:pt x="70485" y="87630"/>
                  </a:lnTo>
                  <a:lnTo>
                    <a:pt x="74295" y="80963"/>
                  </a:lnTo>
                  <a:lnTo>
                    <a:pt x="84772" y="80963"/>
                  </a:lnTo>
                  <a:lnTo>
                    <a:pt x="91440" y="73343"/>
                  </a:lnTo>
                  <a:lnTo>
                    <a:pt x="95250" y="59912"/>
                  </a:lnTo>
                  <a:lnTo>
                    <a:pt x="101918" y="45625"/>
                  </a:lnTo>
                  <a:lnTo>
                    <a:pt x="101918" y="17050"/>
                  </a:lnTo>
                  <a:lnTo>
                    <a:pt x="91440" y="14288"/>
                  </a:lnTo>
                  <a:lnTo>
                    <a:pt x="70485" y="1705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59" name="Freeform: Shape 3958">
              <a:extLst>
                <a:ext uri="{FF2B5EF4-FFF2-40B4-BE49-F238E27FC236}">
                  <a16:creationId xmlns:a16="http://schemas.microsoft.com/office/drawing/2014/main" id="{62BB839C-6915-EEC2-4F73-43DC2E064520}"/>
                </a:ext>
              </a:extLst>
            </p:cNvPr>
            <p:cNvSpPr/>
            <p:nvPr/>
          </p:nvSpPr>
          <p:spPr>
            <a:xfrm>
              <a:off x="8974300" y="3990968"/>
              <a:ext cx="65361" cy="52289"/>
            </a:xfrm>
            <a:custGeom>
              <a:avLst/>
              <a:gdLst>
                <a:gd name="connsiteX0" fmla="*/ 35243 w 66675"/>
                <a:gd name="connsiteY0" fmla="*/ 0 h 53340"/>
                <a:gd name="connsiteX1" fmla="*/ 17145 w 66675"/>
                <a:gd name="connsiteY1" fmla="*/ 10478 h 53340"/>
                <a:gd name="connsiteX2" fmla="*/ 0 w 66675"/>
                <a:gd name="connsiteY2" fmla="*/ 18097 h 53340"/>
                <a:gd name="connsiteX3" fmla="*/ 0 w 66675"/>
                <a:gd name="connsiteY3" fmla="*/ 35147 h 53340"/>
                <a:gd name="connsiteX4" fmla="*/ 10477 w 66675"/>
                <a:gd name="connsiteY4" fmla="*/ 49435 h 53340"/>
                <a:gd name="connsiteX5" fmla="*/ 27623 w 66675"/>
                <a:gd name="connsiteY5" fmla="*/ 53340 h 53340"/>
                <a:gd name="connsiteX6" fmla="*/ 38100 w 66675"/>
                <a:gd name="connsiteY6" fmla="*/ 45625 h 53340"/>
                <a:gd name="connsiteX7" fmla="*/ 52388 w 66675"/>
                <a:gd name="connsiteY7" fmla="*/ 42863 h 53340"/>
                <a:gd name="connsiteX8" fmla="*/ 52388 w 66675"/>
                <a:gd name="connsiteY8" fmla="*/ 24765 h 53340"/>
                <a:gd name="connsiteX9" fmla="*/ 60007 w 66675"/>
                <a:gd name="connsiteY9" fmla="*/ 14288 h 53340"/>
                <a:gd name="connsiteX10" fmla="*/ 66675 w 66675"/>
                <a:gd name="connsiteY10" fmla="*/ 3810 h 53340"/>
                <a:gd name="connsiteX11" fmla="*/ 52388 w 66675"/>
                <a:gd name="connsiteY11" fmla="*/ 0 h 53340"/>
                <a:gd name="connsiteX12" fmla="*/ 35243 w 66675"/>
                <a:gd name="connsiteY12" fmla="*/ 0 h 53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6675" h="53340">
                  <a:moveTo>
                    <a:pt x="35243" y="0"/>
                  </a:moveTo>
                  <a:lnTo>
                    <a:pt x="17145" y="10478"/>
                  </a:lnTo>
                  <a:lnTo>
                    <a:pt x="0" y="18097"/>
                  </a:lnTo>
                  <a:lnTo>
                    <a:pt x="0" y="35147"/>
                  </a:lnTo>
                  <a:lnTo>
                    <a:pt x="10477" y="49435"/>
                  </a:lnTo>
                  <a:lnTo>
                    <a:pt x="27623" y="53340"/>
                  </a:lnTo>
                  <a:lnTo>
                    <a:pt x="38100" y="45625"/>
                  </a:lnTo>
                  <a:lnTo>
                    <a:pt x="52388" y="42863"/>
                  </a:lnTo>
                  <a:lnTo>
                    <a:pt x="52388" y="24765"/>
                  </a:lnTo>
                  <a:lnTo>
                    <a:pt x="60007" y="14288"/>
                  </a:lnTo>
                  <a:lnTo>
                    <a:pt x="66675" y="3810"/>
                  </a:lnTo>
                  <a:lnTo>
                    <a:pt x="52388" y="0"/>
                  </a:lnTo>
                  <a:lnTo>
                    <a:pt x="35243" y="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60" name="Freeform: Shape 3959">
              <a:extLst>
                <a:ext uri="{FF2B5EF4-FFF2-40B4-BE49-F238E27FC236}">
                  <a16:creationId xmlns:a16="http://schemas.microsoft.com/office/drawing/2014/main" id="{FB7F75F4-E1E7-4C0D-9ECE-21F628DA995B}"/>
                </a:ext>
              </a:extLst>
            </p:cNvPr>
            <p:cNvSpPr/>
            <p:nvPr/>
          </p:nvSpPr>
          <p:spPr>
            <a:xfrm>
              <a:off x="6564358" y="3109432"/>
              <a:ext cx="244635" cy="155933"/>
            </a:xfrm>
            <a:custGeom>
              <a:avLst/>
              <a:gdLst>
                <a:gd name="connsiteX0" fmla="*/ 211455 w 249554"/>
                <a:gd name="connsiteY0" fmla="*/ 49530 h 159067"/>
                <a:gd name="connsiteX1" fmla="*/ 190500 w 249554"/>
                <a:gd name="connsiteY1" fmla="*/ 28575 h 159067"/>
                <a:gd name="connsiteX2" fmla="*/ 186690 w 249554"/>
                <a:gd name="connsiteY2" fmla="*/ 18193 h 159067"/>
                <a:gd name="connsiteX3" fmla="*/ 180022 w 249554"/>
                <a:gd name="connsiteY3" fmla="*/ 0 h 159067"/>
                <a:gd name="connsiteX4" fmla="*/ 158115 w 249554"/>
                <a:gd name="connsiteY4" fmla="*/ 0 h 159067"/>
                <a:gd name="connsiteX5" fmla="*/ 151447 w 249554"/>
                <a:gd name="connsiteY5" fmla="*/ 14288 h 159067"/>
                <a:gd name="connsiteX6" fmla="*/ 116205 w 249554"/>
                <a:gd name="connsiteY6" fmla="*/ 14288 h 159067"/>
                <a:gd name="connsiteX7" fmla="*/ 95250 w 249554"/>
                <a:gd name="connsiteY7" fmla="*/ 3905 h 159067"/>
                <a:gd name="connsiteX8" fmla="*/ 80963 w 249554"/>
                <a:gd name="connsiteY8" fmla="*/ 7715 h 159067"/>
                <a:gd name="connsiteX9" fmla="*/ 56197 w 249554"/>
                <a:gd name="connsiteY9" fmla="*/ 18193 h 159067"/>
                <a:gd name="connsiteX10" fmla="*/ 41910 w 249554"/>
                <a:gd name="connsiteY10" fmla="*/ 28575 h 159067"/>
                <a:gd name="connsiteX11" fmla="*/ 24765 w 249554"/>
                <a:gd name="connsiteY11" fmla="*/ 53435 h 159067"/>
                <a:gd name="connsiteX12" fmla="*/ 0 w 249554"/>
                <a:gd name="connsiteY12" fmla="*/ 78105 h 159067"/>
                <a:gd name="connsiteX13" fmla="*/ 3810 w 249554"/>
                <a:gd name="connsiteY13" fmla="*/ 91535 h 159067"/>
                <a:gd name="connsiteX14" fmla="*/ 14288 w 249554"/>
                <a:gd name="connsiteY14" fmla="*/ 105823 h 159067"/>
                <a:gd name="connsiteX15" fmla="*/ 28575 w 249554"/>
                <a:gd name="connsiteY15" fmla="*/ 126778 h 159067"/>
                <a:gd name="connsiteX16" fmla="*/ 56197 w 249554"/>
                <a:gd name="connsiteY16" fmla="*/ 130492 h 159067"/>
                <a:gd name="connsiteX17" fmla="*/ 56197 w 249554"/>
                <a:gd name="connsiteY17" fmla="*/ 148685 h 159067"/>
                <a:gd name="connsiteX18" fmla="*/ 77152 w 249554"/>
                <a:gd name="connsiteY18" fmla="*/ 155353 h 159067"/>
                <a:gd name="connsiteX19" fmla="*/ 126682 w 249554"/>
                <a:gd name="connsiteY19" fmla="*/ 155353 h 159067"/>
                <a:gd name="connsiteX20" fmla="*/ 147638 w 249554"/>
                <a:gd name="connsiteY20" fmla="*/ 155353 h 159067"/>
                <a:gd name="connsiteX21" fmla="*/ 161925 w 249554"/>
                <a:gd name="connsiteY21" fmla="*/ 141065 h 159067"/>
                <a:gd name="connsiteX22" fmla="*/ 186690 w 249554"/>
                <a:gd name="connsiteY22" fmla="*/ 148685 h 159067"/>
                <a:gd name="connsiteX23" fmla="*/ 207645 w 249554"/>
                <a:gd name="connsiteY23" fmla="*/ 159067 h 159067"/>
                <a:gd name="connsiteX24" fmla="*/ 218122 w 249554"/>
                <a:gd name="connsiteY24" fmla="*/ 159067 h 159067"/>
                <a:gd name="connsiteX25" fmla="*/ 221932 w 249554"/>
                <a:gd name="connsiteY25" fmla="*/ 138113 h 159067"/>
                <a:gd name="connsiteX26" fmla="*/ 228600 w 249554"/>
                <a:gd name="connsiteY26" fmla="*/ 126778 h 159067"/>
                <a:gd name="connsiteX27" fmla="*/ 242888 w 249554"/>
                <a:gd name="connsiteY27" fmla="*/ 120110 h 159067"/>
                <a:gd name="connsiteX28" fmla="*/ 249555 w 249554"/>
                <a:gd name="connsiteY28" fmla="*/ 109538 h 159067"/>
                <a:gd name="connsiteX29" fmla="*/ 239077 w 249554"/>
                <a:gd name="connsiteY29" fmla="*/ 99155 h 159067"/>
                <a:gd name="connsiteX30" fmla="*/ 232410 w 249554"/>
                <a:gd name="connsiteY30" fmla="*/ 105823 h 159067"/>
                <a:gd name="connsiteX31" fmla="*/ 215265 w 249554"/>
                <a:gd name="connsiteY31" fmla="*/ 102965 h 159067"/>
                <a:gd name="connsiteX32" fmla="*/ 211455 w 249554"/>
                <a:gd name="connsiteY32" fmla="*/ 91535 h 159067"/>
                <a:gd name="connsiteX33" fmla="*/ 207645 w 249554"/>
                <a:gd name="connsiteY33" fmla="*/ 74390 h 159067"/>
                <a:gd name="connsiteX34" fmla="*/ 215265 w 249554"/>
                <a:gd name="connsiteY34" fmla="*/ 56293 h 159067"/>
                <a:gd name="connsiteX35" fmla="*/ 211455 w 249554"/>
                <a:gd name="connsiteY35" fmla="*/ 49530 h 159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249554" h="159067">
                  <a:moveTo>
                    <a:pt x="211455" y="49530"/>
                  </a:moveTo>
                  <a:lnTo>
                    <a:pt x="190500" y="28575"/>
                  </a:lnTo>
                  <a:lnTo>
                    <a:pt x="186690" y="18193"/>
                  </a:lnTo>
                  <a:lnTo>
                    <a:pt x="180022" y="0"/>
                  </a:lnTo>
                  <a:lnTo>
                    <a:pt x="158115" y="0"/>
                  </a:lnTo>
                  <a:lnTo>
                    <a:pt x="151447" y="14288"/>
                  </a:lnTo>
                  <a:lnTo>
                    <a:pt x="116205" y="14288"/>
                  </a:lnTo>
                  <a:lnTo>
                    <a:pt x="95250" y="3905"/>
                  </a:lnTo>
                  <a:lnTo>
                    <a:pt x="80963" y="7715"/>
                  </a:lnTo>
                  <a:lnTo>
                    <a:pt x="56197" y="18193"/>
                  </a:lnTo>
                  <a:lnTo>
                    <a:pt x="41910" y="28575"/>
                  </a:lnTo>
                  <a:lnTo>
                    <a:pt x="24765" y="53435"/>
                  </a:lnTo>
                  <a:lnTo>
                    <a:pt x="0" y="78105"/>
                  </a:lnTo>
                  <a:lnTo>
                    <a:pt x="3810" y="91535"/>
                  </a:lnTo>
                  <a:lnTo>
                    <a:pt x="14288" y="105823"/>
                  </a:lnTo>
                  <a:lnTo>
                    <a:pt x="28575" y="126778"/>
                  </a:lnTo>
                  <a:lnTo>
                    <a:pt x="56197" y="130492"/>
                  </a:lnTo>
                  <a:lnTo>
                    <a:pt x="56197" y="148685"/>
                  </a:lnTo>
                  <a:lnTo>
                    <a:pt x="77152" y="155353"/>
                  </a:lnTo>
                  <a:lnTo>
                    <a:pt x="126682" y="155353"/>
                  </a:lnTo>
                  <a:lnTo>
                    <a:pt x="147638" y="155353"/>
                  </a:lnTo>
                  <a:lnTo>
                    <a:pt x="161925" y="141065"/>
                  </a:lnTo>
                  <a:lnTo>
                    <a:pt x="186690" y="148685"/>
                  </a:lnTo>
                  <a:lnTo>
                    <a:pt x="207645" y="159067"/>
                  </a:lnTo>
                  <a:lnTo>
                    <a:pt x="218122" y="159067"/>
                  </a:lnTo>
                  <a:lnTo>
                    <a:pt x="221932" y="138113"/>
                  </a:lnTo>
                  <a:lnTo>
                    <a:pt x="228600" y="126778"/>
                  </a:lnTo>
                  <a:lnTo>
                    <a:pt x="242888" y="120110"/>
                  </a:lnTo>
                  <a:lnTo>
                    <a:pt x="249555" y="109538"/>
                  </a:lnTo>
                  <a:lnTo>
                    <a:pt x="239077" y="99155"/>
                  </a:lnTo>
                  <a:lnTo>
                    <a:pt x="232410" y="105823"/>
                  </a:lnTo>
                  <a:lnTo>
                    <a:pt x="215265" y="102965"/>
                  </a:lnTo>
                  <a:lnTo>
                    <a:pt x="211455" y="91535"/>
                  </a:lnTo>
                  <a:lnTo>
                    <a:pt x="207645" y="74390"/>
                  </a:lnTo>
                  <a:lnTo>
                    <a:pt x="215265" y="56293"/>
                  </a:lnTo>
                  <a:lnTo>
                    <a:pt x="211455" y="49530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61" name="Freeform: Shape 3960">
              <a:extLst>
                <a:ext uri="{FF2B5EF4-FFF2-40B4-BE49-F238E27FC236}">
                  <a16:creationId xmlns:a16="http://schemas.microsoft.com/office/drawing/2014/main" id="{8371998C-49C3-CCDC-8F95-4B374BB41F2B}"/>
                </a:ext>
              </a:extLst>
            </p:cNvPr>
            <p:cNvSpPr/>
            <p:nvPr/>
          </p:nvSpPr>
          <p:spPr>
            <a:xfrm>
              <a:off x="6643724" y="4213103"/>
              <a:ext cx="286653" cy="92439"/>
            </a:xfrm>
            <a:custGeom>
              <a:avLst/>
              <a:gdLst>
                <a:gd name="connsiteX0" fmla="*/ 0 w 292417"/>
                <a:gd name="connsiteY0" fmla="*/ 94297 h 94297"/>
                <a:gd name="connsiteX1" fmla="*/ 27622 w 292417"/>
                <a:gd name="connsiteY1" fmla="*/ 76200 h 94297"/>
                <a:gd name="connsiteX2" fmla="*/ 48577 w 292417"/>
                <a:gd name="connsiteY2" fmla="*/ 76200 h 94297"/>
                <a:gd name="connsiteX3" fmla="*/ 67627 w 292417"/>
                <a:gd name="connsiteY3" fmla="*/ 57150 h 94297"/>
                <a:gd name="connsiteX4" fmla="*/ 79057 w 292417"/>
                <a:gd name="connsiteY4" fmla="*/ 57150 h 94297"/>
                <a:gd name="connsiteX5" fmla="*/ 100013 w 292417"/>
                <a:gd name="connsiteY5" fmla="*/ 73343 h 94297"/>
                <a:gd name="connsiteX6" fmla="*/ 126682 w 292417"/>
                <a:gd name="connsiteY6" fmla="*/ 80010 h 94297"/>
                <a:gd name="connsiteX7" fmla="*/ 140970 w 292417"/>
                <a:gd name="connsiteY7" fmla="*/ 92393 h 94297"/>
                <a:gd name="connsiteX8" fmla="*/ 180975 w 292417"/>
                <a:gd name="connsiteY8" fmla="*/ 63818 h 94297"/>
                <a:gd name="connsiteX9" fmla="*/ 200025 w 292417"/>
                <a:gd name="connsiteY9" fmla="*/ 67628 h 94297"/>
                <a:gd name="connsiteX10" fmla="*/ 214313 w 292417"/>
                <a:gd name="connsiteY10" fmla="*/ 80010 h 94297"/>
                <a:gd name="connsiteX11" fmla="*/ 235267 w 292417"/>
                <a:gd name="connsiteY11" fmla="*/ 21907 h 94297"/>
                <a:gd name="connsiteX12" fmla="*/ 249555 w 292417"/>
                <a:gd name="connsiteY12" fmla="*/ 21907 h 94297"/>
                <a:gd name="connsiteX13" fmla="*/ 263842 w 292417"/>
                <a:gd name="connsiteY13" fmla="*/ 0 h 94297"/>
                <a:gd name="connsiteX14" fmla="*/ 277177 w 292417"/>
                <a:gd name="connsiteY14" fmla="*/ 46672 h 94297"/>
                <a:gd name="connsiteX15" fmla="*/ 281940 w 292417"/>
                <a:gd name="connsiteY15" fmla="*/ 63818 h 94297"/>
                <a:gd name="connsiteX16" fmla="*/ 292417 w 292417"/>
                <a:gd name="connsiteY16" fmla="*/ 76200 h 94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2417" h="94297">
                  <a:moveTo>
                    <a:pt x="0" y="94297"/>
                  </a:moveTo>
                  <a:lnTo>
                    <a:pt x="27622" y="76200"/>
                  </a:lnTo>
                  <a:lnTo>
                    <a:pt x="48577" y="76200"/>
                  </a:lnTo>
                  <a:lnTo>
                    <a:pt x="67627" y="57150"/>
                  </a:lnTo>
                  <a:cubicBezTo>
                    <a:pt x="67627" y="57150"/>
                    <a:pt x="69532" y="51435"/>
                    <a:pt x="79057" y="57150"/>
                  </a:cubicBezTo>
                  <a:cubicBezTo>
                    <a:pt x="88582" y="62865"/>
                    <a:pt x="100013" y="73343"/>
                    <a:pt x="100013" y="73343"/>
                  </a:cubicBezTo>
                  <a:lnTo>
                    <a:pt x="126682" y="80010"/>
                  </a:lnTo>
                  <a:lnTo>
                    <a:pt x="140970" y="92393"/>
                  </a:lnTo>
                  <a:lnTo>
                    <a:pt x="180975" y="63818"/>
                  </a:lnTo>
                  <a:lnTo>
                    <a:pt x="200025" y="67628"/>
                  </a:lnTo>
                  <a:lnTo>
                    <a:pt x="214313" y="80010"/>
                  </a:lnTo>
                  <a:lnTo>
                    <a:pt x="235267" y="21907"/>
                  </a:lnTo>
                  <a:lnTo>
                    <a:pt x="249555" y="21907"/>
                  </a:lnTo>
                  <a:lnTo>
                    <a:pt x="263842" y="0"/>
                  </a:lnTo>
                  <a:lnTo>
                    <a:pt x="277177" y="46672"/>
                  </a:lnTo>
                  <a:lnTo>
                    <a:pt x="281940" y="63818"/>
                  </a:lnTo>
                  <a:lnTo>
                    <a:pt x="292417" y="76200"/>
                  </a:lnTo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62" name="Freeform: Shape 3961">
              <a:extLst>
                <a:ext uri="{FF2B5EF4-FFF2-40B4-BE49-F238E27FC236}">
                  <a16:creationId xmlns:a16="http://schemas.microsoft.com/office/drawing/2014/main" id="{D829D082-B9DD-1FAD-6A3A-2F88628803CE}"/>
                </a:ext>
              </a:extLst>
            </p:cNvPr>
            <p:cNvSpPr/>
            <p:nvPr/>
          </p:nvSpPr>
          <p:spPr>
            <a:xfrm>
              <a:off x="8014432" y="2919885"/>
              <a:ext cx="1677902" cy="1057078"/>
            </a:xfrm>
            <a:custGeom>
              <a:avLst/>
              <a:gdLst>
                <a:gd name="connsiteX0" fmla="*/ 1633538 w 1711642"/>
                <a:gd name="connsiteY0" fmla="*/ 296323 h 1078325"/>
                <a:gd name="connsiteX1" fmla="*/ 1644968 w 1711642"/>
                <a:gd name="connsiteY1" fmla="*/ 306800 h 1078325"/>
                <a:gd name="connsiteX2" fmla="*/ 1665922 w 1711642"/>
                <a:gd name="connsiteY2" fmla="*/ 302895 h 1078325"/>
                <a:gd name="connsiteX3" fmla="*/ 1686877 w 1711642"/>
                <a:gd name="connsiteY3" fmla="*/ 263938 h 1078325"/>
                <a:gd name="connsiteX4" fmla="*/ 1697355 w 1711642"/>
                <a:gd name="connsiteY4" fmla="*/ 225838 h 1078325"/>
                <a:gd name="connsiteX5" fmla="*/ 1711643 w 1711642"/>
                <a:gd name="connsiteY5" fmla="*/ 218218 h 1078325"/>
                <a:gd name="connsiteX6" fmla="*/ 1707832 w 1711642"/>
                <a:gd name="connsiteY6" fmla="*/ 193358 h 1078325"/>
                <a:gd name="connsiteX7" fmla="*/ 1680210 w 1711642"/>
                <a:gd name="connsiteY7" fmla="*/ 197263 h 1078325"/>
                <a:gd name="connsiteX8" fmla="*/ 1655445 w 1711642"/>
                <a:gd name="connsiteY8" fmla="*/ 201073 h 1078325"/>
                <a:gd name="connsiteX9" fmla="*/ 1644968 w 1711642"/>
                <a:gd name="connsiteY9" fmla="*/ 214313 h 1078325"/>
                <a:gd name="connsiteX10" fmla="*/ 1605915 w 1711642"/>
                <a:gd name="connsiteY10" fmla="*/ 211550 h 1078325"/>
                <a:gd name="connsiteX11" fmla="*/ 1599247 w 1711642"/>
                <a:gd name="connsiteY11" fmla="*/ 176213 h 1078325"/>
                <a:gd name="connsiteX12" fmla="*/ 1587818 w 1711642"/>
                <a:gd name="connsiteY12" fmla="*/ 172498 h 1078325"/>
                <a:gd name="connsiteX13" fmla="*/ 1564005 w 1711642"/>
                <a:gd name="connsiteY13" fmla="*/ 158210 h 1078325"/>
                <a:gd name="connsiteX14" fmla="*/ 1545907 w 1711642"/>
                <a:gd name="connsiteY14" fmla="*/ 147638 h 1078325"/>
                <a:gd name="connsiteX15" fmla="*/ 1517332 w 1711642"/>
                <a:gd name="connsiteY15" fmla="*/ 147638 h 1078325"/>
                <a:gd name="connsiteX16" fmla="*/ 1498282 w 1711642"/>
                <a:gd name="connsiteY16" fmla="*/ 102013 h 1078325"/>
                <a:gd name="connsiteX17" fmla="*/ 1493520 w 1711642"/>
                <a:gd name="connsiteY17" fmla="*/ 91535 h 1078325"/>
                <a:gd name="connsiteX18" fmla="*/ 1479232 w 1711642"/>
                <a:gd name="connsiteY18" fmla="*/ 56293 h 1078325"/>
                <a:gd name="connsiteX19" fmla="*/ 1458277 w 1711642"/>
                <a:gd name="connsiteY19" fmla="*/ 21050 h 1078325"/>
                <a:gd name="connsiteX20" fmla="*/ 1404938 w 1711642"/>
                <a:gd name="connsiteY20" fmla="*/ 0 h 1078325"/>
                <a:gd name="connsiteX21" fmla="*/ 1373505 w 1711642"/>
                <a:gd name="connsiteY21" fmla="*/ 2858 h 1078325"/>
                <a:gd name="connsiteX22" fmla="*/ 1327785 w 1711642"/>
                <a:gd name="connsiteY22" fmla="*/ 6763 h 1078325"/>
                <a:gd name="connsiteX23" fmla="*/ 1303020 w 1711642"/>
                <a:gd name="connsiteY23" fmla="*/ 17145 h 1078325"/>
                <a:gd name="connsiteX24" fmla="*/ 1299210 w 1711642"/>
                <a:gd name="connsiteY24" fmla="*/ 31433 h 1078325"/>
                <a:gd name="connsiteX25" fmla="*/ 1320165 w 1711642"/>
                <a:gd name="connsiteY25" fmla="*/ 35338 h 1078325"/>
                <a:gd name="connsiteX26" fmla="*/ 1320165 w 1711642"/>
                <a:gd name="connsiteY26" fmla="*/ 60008 h 1078325"/>
                <a:gd name="connsiteX27" fmla="*/ 1303020 w 1711642"/>
                <a:gd name="connsiteY27" fmla="*/ 70580 h 1078325"/>
                <a:gd name="connsiteX28" fmla="*/ 1284922 w 1711642"/>
                <a:gd name="connsiteY28" fmla="*/ 102013 h 1078325"/>
                <a:gd name="connsiteX29" fmla="*/ 1278255 w 1711642"/>
                <a:gd name="connsiteY29" fmla="*/ 130588 h 1078325"/>
                <a:gd name="connsiteX30" fmla="*/ 1257300 w 1711642"/>
                <a:gd name="connsiteY30" fmla="*/ 133350 h 1078325"/>
                <a:gd name="connsiteX31" fmla="*/ 1239202 w 1711642"/>
                <a:gd name="connsiteY31" fmla="*/ 151543 h 1078325"/>
                <a:gd name="connsiteX32" fmla="*/ 1207770 w 1711642"/>
                <a:gd name="connsiteY32" fmla="*/ 133350 h 1078325"/>
                <a:gd name="connsiteX33" fmla="*/ 1197293 w 1711642"/>
                <a:gd name="connsiteY33" fmla="*/ 147638 h 1078325"/>
                <a:gd name="connsiteX34" fmla="*/ 1183005 w 1711642"/>
                <a:gd name="connsiteY34" fmla="*/ 179070 h 1078325"/>
                <a:gd name="connsiteX35" fmla="*/ 1176338 w 1711642"/>
                <a:gd name="connsiteY35" fmla="*/ 203930 h 1078325"/>
                <a:gd name="connsiteX36" fmla="*/ 1225868 w 1711642"/>
                <a:gd name="connsiteY36" fmla="*/ 207645 h 1078325"/>
                <a:gd name="connsiteX37" fmla="*/ 1239202 w 1711642"/>
                <a:gd name="connsiteY37" fmla="*/ 197263 h 1078325"/>
                <a:gd name="connsiteX38" fmla="*/ 1257300 w 1711642"/>
                <a:gd name="connsiteY38" fmla="*/ 201073 h 1078325"/>
                <a:gd name="connsiteX39" fmla="*/ 1292543 w 1711642"/>
                <a:gd name="connsiteY39" fmla="*/ 236220 h 1078325"/>
                <a:gd name="connsiteX40" fmla="*/ 1296352 w 1711642"/>
                <a:gd name="connsiteY40" fmla="*/ 253460 h 1078325"/>
                <a:gd name="connsiteX41" fmla="*/ 1267777 w 1711642"/>
                <a:gd name="connsiteY41" fmla="*/ 249650 h 1078325"/>
                <a:gd name="connsiteX42" fmla="*/ 1246822 w 1711642"/>
                <a:gd name="connsiteY42" fmla="*/ 249650 h 1078325"/>
                <a:gd name="connsiteX43" fmla="*/ 1211580 w 1711642"/>
                <a:gd name="connsiteY43" fmla="*/ 263938 h 1078325"/>
                <a:gd name="connsiteX44" fmla="*/ 1180147 w 1711642"/>
                <a:gd name="connsiteY44" fmla="*/ 288608 h 1078325"/>
                <a:gd name="connsiteX45" fmla="*/ 1151572 w 1711642"/>
                <a:gd name="connsiteY45" fmla="*/ 288608 h 1078325"/>
                <a:gd name="connsiteX46" fmla="*/ 1126807 w 1711642"/>
                <a:gd name="connsiteY46" fmla="*/ 313468 h 1078325"/>
                <a:gd name="connsiteX47" fmla="*/ 1095375 w 1711642"/>
                <a:gd name="connsiteY47" fmla="*/ 309563 h 1078325"/>
                <a:gd name="connsiteX48" fmla="*/ 1070610 w 1711642"/>
                <a:gd name="connsiteY48" fmla="*/ 309563 h 1078325"/>
                <a:gd name="connsiteX49" fmla="*/ 1060132 w 1711642"/>
                <a:gd name="connsiteY49" fmla="*/ 331470 h 1078325"/>
                <a:gd name="connsiteX50" fmla="*/ 1070610 w 1711642"/>
                <a:gd name="connsiteY50" fmla="*/ 352425 h 1078325"/>
                <a:gd name="connsiteX51" fmla="*/ 1039177 w 1711642"/>
                <a:gd name="connsiteY51" fmla="*/ 369570 h 1078325"/>
                <a:gd name="connsiteX52" fmla="*/ 1039177 w 1711642"/>
                <a:gd name="connsiteY52" fmla="*/ 380143 h 1078325"/>
                <a:gd name="connsiteX53" fmla="*/ 1006793 w 1711642"/>
                <a:gd name="connsiteY53" fmla="*/ 398145 h 1078325"/>
                <a:gd name="connsiteX54" fmla="*/ 929640 w 1711642"/>
                <a:gd name="connsiteY54" fmla="*/ 398145 h 1078325"/>
                <a:gd name="connsiteX55" fmla="*/ 890588 w 1711642"/>
                <a:gd name="connsiteY55" fmla="*/ 423005 h 1078325"/>
                <a:gd name="connsiteX56" fmla="*/ 827722 w 1711642"/>
                <a:gd name="connsiteY56" fmla="*/ 415385 h 1078325"/>
                <a:gd name="connsiteX57" fmla="*/ 784860 w 1711642"/>
                <a:gd name="connsiteY57" fmla="*/ 394430 h 1078325"/>
                <a:gd name="connsiteX58" fmla="*/ 736282 w 1711642"/>
                <a:gd name="connsiteY58" fmla="*/ 391573 h 1078325"/>
                <a:gd name="connsiteX59" fmla="*/ 641032 w 1711642"/>
                <a:gd name="connsiteY59" fmla="*/ 387763 h 1078325"/>
                <a:gd name="connsiteX60" fmla="*/ 630555 w 1711642"/>
                <a:gd name="connsiteY60" fmla="*/ 373475 h 1078325"/>
                <a:gd name="connsiteX61" fmla="*/ 620077 w 1711642"/>
                <a:gd name="connsiteY61" fmla="*/ 348710 h 1078325"/>
                <a:gd name="connsiteX62" fmla="*/ 581025 w 1711642"/>
                <a:gd name="connsiteY62" fmla="*/ 327755 h 1078325"/>
                <a:gd name="connsiteX63" fmla="*/ 562927 w 1711642"/>
                <a:gd name="connsiteY63" fmla="*/ 309563 h 1078325"/>
                <a:gd name="connsiteX64" fmla="*/ 503872 w 1711642"/>
                <a:gd name="connsiteY64" fmla="*/ 306800 h 1078325"/>
                <a:gd name="connsiteX65" fmla="*/ 489585 w 1711642"/>
                <a:gd name="connsiteY65" fmla="*/ 299180 h 1078325"/>
                <a:gd name="connsiteX66" fmla="*/ 481965 w 1711642"/>
                <a:gd name="connsiteY66" fmla="*/ 278225 h 1078325"/>
                <a:gd name="connsiteX67" fmla="*/ 493395 w 1711642"/>
                <a:gd name="connsiteY67" fmla="*/ 263938 h 1078325"/>
                <a:gd name="connsiteX68" fmla="*/ 493395 w 1711642"/>
                <a:gd name="connsiteY68" fmla="*/ 249650 h 1078325"/>
                <a:gd name="connsiteX69" fmla="*/ 479107 w 1711642"/>
                <a:gd name="connsiteY69" fmla="*/ 228600 h 1078325"/>
                <a:gd name="connsiteX70" fmla="*/ 454343 w 1711642"/>
                <a:gd name="connsiteY70" fmla="*/ 203930 h 1078325"/>
                <a:gd name="connsiteX71" fmla="*/ 425768 w 1711642"/>
                <a:gd name="connsiteY71" fmla="*/ 201073 h 1078325"/>
                <a:gd name="connsiteX72" fmla="*/ 408622 w 1711642"/>
                <a:gd name="connsiteY72" fmla="*/ 182975 h 1078325"/>
                <a:gd name="connsiteX73" fmla="*/ 401002 w 1711642"/>
                <a:gd name="connsiteY73" fmla="*/ 165830 h 1078325"/>
                <a:gd name="connsiteX74" fmla="*/ 373380 w 1711642"/>
                <a:gd name="connsiteY74" fmla="*/ 165830 h 1078325"/>
                <a:gd name="connsiteX75" fmla="*/ 369570 w 1711642"/>
                <a:gd name="connsiteY75" fmla="*/ 182975 h 1078325"/>
                <a:gd name="connsiteX76" fmla="*/ 348615 w 1711642"/>
                <a:gd name="connsiteY76" fmla="*/ 182975 h 1078325"/>
                <a:gd name="connsiteX77" fmla="*/ 341947 w 1711642"/>
                <a:gd name="connsiteY77" fmla="*/ 207645 h 1078325"/>
                <a:gd name="connsiteX78" fmla="*/ 341947 w 1711642"/>
                <a:gd name="connsiteY78" fmla="*/ 232505 h 1078325"/>
                <a:gd name="connsiteX79" fmla="*/ 323850 w 1711642"/>
                <a:gd name="connsiteY79" fmla="*/ 236220 h 1078325"/>
                <a:gd name="connsiteX80" fmla="*/ 299085 w 1711642"/>
                <a:gd name="connsiteY80" fmla="*/ 236220 h 1078325"/>
                <a:gd name="connsiteX81" fmla="*/ 267652 w 1711642"/>
                <a:gd name="connsiteY81" fmla="*/ 232505 h 1078325"/>
                <a:gd name="connsiteX82" fmla="*/ 249555 w 1711642"/>
                <a:gd name="connsiteY82" fmla="*/ 274320 h 1078325"/>
                <a:gd name="connsiteX83" fmla="*/ 242888 w 1711642"/>
                <a:gd name="connsiteY83" fmla="*/ 299180 h 1078325"/>
                <a:gd name="connsiteX84" fmla="*/ 211455 w 1711642"/>
                <a:gd name="connsiteY84" fmla="*/ 299180 h 1078325"/>
                <a:gd name="connsiteX85" fmla="*/ 190500 w 1711642"/>
                <a:gd name="connsiteY85" fmla="*/ 309563 h 1078325"/>
                <a:gd name="connsiteX86" fmla="*/ 193357 w 1711642"/>
                <a:gd name="connsiteY86" fmla="*/ 342043 h 1078325"/>
                <a:gd name="connsiteX87" fmla="*/ 203835 w 1711642"/>
                <a:gd name="connsiteY87" fmla="*/ 369570 h 1078325"/>
                <a:gd name="connsiteX88" fmla="*/ 190500 w 1711642"/>
                <a:gd name="connsiteY88" fmla="*/ 383858 h 1078325"/>
                <a:gd name="connsiteX89" fmla="*/ 190500 w 1711642"/>
                <a:gd name="connsiteY89" fmla="*/ 402050 h 1078325"/>
                <a:gd name="connsiteX90" fmla="*/ 179070 w 1711642"/>
                <a:gd name="connsiteY90" fmla="*/ 408718 h 1078325"/>
                <a:gd name="connsiteX91" fmla="*/ 133350 w 1711642"/>
                <a:gd name="connsiteY91" fmla="*/ 429673 h 1078325"/>
                <a:gd name="connsiteX92" fmla="*/ 126682 w 1711642"/>
                <a:gd name="connsiteY92" fmla="*/ 443960 h 1078325"/>
                <a:gd name="connsiteX93" fmla="*/ 91440 w 1711642"/>
                <a:gd name="connsiteY93" fmla="*/ 443960 h 1078325"/>
                <a:gd name="connsiteX94" fmla="*/ 84772 w 1711642"/>
                <a:gd name="connsiteY94" fmla="*/ 461963 h 1078325"/>
                <a:gd name="connsiteX95" fmla="*/ 56197 w 1711642"/>
                <a:gd name="connsiteY95" fmla="*/ 468725 h 1078325"/>
                <a:gd name="connsiteX96" fmla="*/ 56197 w 1711642"/>
                <a:gd name="connsiteY96" fmla="*/ 458248 h 1078325"/>
                <a:gd name="connsiteX97" fmla="*/ 31432 w 1711642"/>
                <a:gd name="connsiteY97" fmla="*/ 458248 h 1078325"/>
                <a:gd name="connsiteX98" fmla="*/ 27622 w 1711642"/>
                <a:gd name="connsiteY98" fmla="*/ 468725 h 1078325"/>
                <a:gd name="connsiteX99" fmla="*/ 6668 w 1711642"/>
                <a:gd name="connsiteY99" fmla="*/ 483013 h 1078325"/>
                <a:gd name="connsiteX100" fmla="*/ 3810 w 1711642"/>
                <a:gd name="connsiteY100" fmla="*/ 500063 h 1078325"/>
                <a:gd name="connsiteX101" fmla="*/ 0 w 1711642"/>
                <a:gd name="connsiteY101" fmla="*/ 510635 h 1078325"/>
                <a:gd name="connsiteX102" fmla="*/ 3810 w 1711642"/>
                <a:gd name="connsiteY102" fmla="*/ 524923 h 1078325"/>
                <a:gd name="connsiteX103" fmla="*/ 14288 w 1711642"/>
                <a:gd name="connsiteY103" fmla="*/ 528638 h 1078325"/>
                <a:gd name="connsiteX104" fmla="*/ 35243 w 1711642"/>
                <a:gd name="connsiteY104" fmla="*/ 524923 h 1078325"/>
                <a:gd name="connsiteX105" fmla="*/ 35243 w 1711642"/>
                <a:gd name="connsiteY105" fmla="*/ 560070 h 1078325"/>
                <a:gd name="connsiteX106" fmla="*/ 35243 w 1711642"/>
                <a:gd name="connsiteY106" fmla="*/ 574358 h 1078325"/>
                <a:gd name="connsiteX107" fmla="*/ 66675 w 1711642"/>
                <a:gd name="connsiteY107" fmla="*/ 584930 h 1078325"/>
                <a:gd name="connsiteX108" fmla="*/ 66675 w 1711642"/>
                <a:gd name="connsiteY108" fmla="*/ 602933 h 1078325"/>
                <a:gd name="connsiteX109" fmla="*/ 101918 w 1711642"/>
                <a:gd name="connsiteY109" fmla="*/ 616363 h 1078325"/>
                <a:gd name="connsiteX110" fmla="*/ 113347 w 1711642"/>
                <a:gd name="connsiteY110" fmla="*/ 638175 h 1078325"/>
                <a:gd name="connsiteX111" fmla="*/ 141922 w 1711642"/>
                <a:gd name="connsiteY111" fmla="*/ 661035 h 1078325"/>
                <a:gd name="connsiteX112" fmla="*/ 160972 w 1711642"/>
                <a:gd name="connsiteY112" fmla="*/ 654463 h 1078325"/>
                <a:gd name="connsiteX113" fmla="*/ 177165 w 1711642"/>
                <a:gd name="connsiteY113" fmla="*/ 641033 h 1078325"/>
                <a:gd name="connsiteX114" fmla="*/ 176213 w 1711642"/>
                <a:gd name="connsiteY114" fmla="*/ 655415 h 1078325"/>
                <a:gd name="connsiteX115" fmla="*/ 147638 w 1711642"/>
                <a:gd name="connsiteY115" fmla="*/ 669703 h 1078325"/>
                <a:gd name="connsiteX116" fmla="*/ 147638 w 1711642"/>
                <a:gd name="connsiteY116" fmla="*/ 687800 h 1078325"/>
                <a:gd name="connsiteX117" fmla="*/ 168593 w 1711642"/>
                <a:gd name="connsiteY117" fmla="*/ 701135 h 1078325"/>
                <a:gd name="connsiteX118" fmla="*/ 165735 w 1711642"/>
                <a:gd name="connsiteY118" fmla="*/ 715423 h 1078325"/>
                <a:gd name="connsiteX119" fmla="*/ 147638 w 1711642"/>
                <a:gd name="connsiteY119" fmla="*/ 719138 h 1078325"/>
                <a:gd name="connsiteX120" fmla="*/ 140970 w 1711642"/>
                <a:gd name="connsiteY120" fmla="*/ 736378 h 1078325"/>
                <a:gd name="connsiteX121" fmla="*/ 140970 w 1711642"/>
                <a:gd name="connsiteY121" fmla="*/ 750665 h 1078325"/>
                <a:gd name="connsiteX122" fmla="*/ 177165 w 1711642"/>
                <a:gd name="connsiteY122" fmla="*/ 781050 h 1078325"/>
                <a:gd name="connsiteX123" fmla="*/ 207645 w 1711642"/>
                <a:gd name="connsiteY123" fmla="*/ 810673 h 1078325"/>
                <a:gd name="connsiteX124" fmla="*/ 232410 w 1711642"/>
                <a:gd name="connsiteY124" fmla="*/ 791623 h 1078325"/>
                <a:gd name="connsiteX125" fmla="*/ 255270 w 1711642"/>
                <a:gd name="connsiteY125" fmla="*/ 814388 h 1078325"/>
                <a:gd name="connsiteX126" fmla="*/ 284797 w 1711642"/>
                <a:gd name="connsiteY126" fmla="*/ 823913 h 1078325"/>
                <a:gd name="connsiteX127" fmla="*/ 302895 w 1711642"/>
                <a:gd name="connsiteY127" fmla="*/ 841153 h 1078325"/>
                <a:gd name="connsiteX128" fmla="*/ 338138 w 1711642"/>
                <a:gd name="connsiteY128" fmla="*/ 856297 h 1078325"/>
                <a:gd name="connsiteX129" fmla="*/ 365760 w 1711642"/>
                <a:gd name="connsiteY129" fmla="*/ 863060 h 1078325"/>
                <a:gd name="connsiteX130" fmla="*/ 404813 w 1711642"/>
                <a:gd name="connsiteY130" fmla="*/ 860203 h 1078325"/>
                <a:gd name="connsiteX131" fmla="*/ 433388 w 1711642"/>
                <a:gd name="connsiteY131" fmla="*/ 860203 h 1078325"/>
                <a:gd name="connsiteX132" fmla="*/ 440055 w 1711642"/>
                <a:gd name="connsiteY132" fmla="*/ 860203 h 1078325"/>
                <a:gd name="connsiteX133" fmla="*/ 450532 w 1711642"/>
                <a:gd name="connsiteY133" fmla="*/ 849725 h 1078325"/>
                <a:gd name="connsiteX134" fmla="*/ 468630 w 1711642"/>
                <a:gd name="connsiteY134" fmla="*/ 849725 h 1078325"/>
                <a:gd name="connsiteX135" fmla="*/ 489585 w 1711642"/>
                <a:gd name="connsiteY135" fmla="*/ 856297 h 1078325"/>
                <a:gd name="connsiteX136" fmla="*/ 514350 w 1711642"/>
                <a:gd name="connsiteY136" fmla="*/ 860203 h 1078325"/>
                <a:gd name="connsiteX137" fmla="*/ 531495 w 1711642"/>
                <a:gd name="connsiteY137" fmla="*/ 856297 h 1078325"/>
                <a:gd name="connsiteX138" fmla="*/ 549593 w 1711642"/>
                <a:gd name="connsiteY138" fmla="*/ 831628 h 1078325"/>
                <a:gd name="connsiteX139" fmla="*/ 570547 w 1711642"/>
                <a:gd name="connsiteY139" fmla="*/ 831628 h 1078325"/>
                <a:gd name="connsiteX140" fmla="*/ 581025 w 1711642"/>
                <a:gd name="connsiteY140" fmla="*/ 817340 h 1078325"/>
                <a:gd name="connsiteX141" fmla="*/ 600075 w 1711642"/>
                <a:gd name="connsiteY141" fmla="*/ 851535 h 1078325"/>
                <a:gd name="connsiteX142" fmla="*/ 620077 w 1711642"/>
                <a:gd name="connsiteY142" fmla="*/ 852488 h 1078325"/>
                <a:gd name="connsiteX143" fmla="*/ 637222 w 1711642"/>
                <a:gd name="connsiteY143" fmla="*/ 839248 h 1078325"/>
                <a:gd name="connsiteX144" fmla="*/ 665797 w 1711642"/>
                <a:gd name="connsiteY144" fmla="*/ 842010 h 1078325"/>
                <a:gd name="connsiteX145" fmla="*/ 679132 w 1711642"/>
                <a:gd name="connsiteY145" fmla="*/ 845915 h 1078325"/>
                <a:gd name="connsiteX146" fmla="*/ 690563 w 1711642"/>
                <a:gd name="connsiteY146" fmla="*/ 864013 h 1078325"/>
                <a:gd name="connsiteX147" fmla="*/ 703897 w 1711642"/>
                <a:gd name="connsiteY147" fmla="*/ 874490 h 1078325"/>
                <a:gd name="connsiteX148" fmla="*/ 701040 w 1711642"/>
                <a:gd name="connsiteY148" fmla="*/ 916400 h 1078325"/>
                <a:gd name="connsiteX149" fmla="*/ 672465 w 1711642"/>
                <a:gd name="connsiteY149" fmla="*/ 955453 h 1078325"/>
                <a:gd name="connsiteX150" fmla="*/ 672465 w 1711642"/>
                <a:gd name="connsiteY150" fmla="*/ 962025 h 1078325"/>
                <a:gd name="connsiteX151" fmla="*/ 707707 w 1711642"/>
                <a:gd name="connsiteY151" fmla="*/ 972598 h 1078325"/>
                <a:gd name="connsiteX152" fmla="*/ 707707 w 1711642"/>
                <a:gd name="connsiteY152" fmla="*/ 997363 h 1078325"/>
                <a:gd name="connsiteX153" fmla="*/ 725805 w 1711642"/>
                <a:gd name="connsiteY153" fmla="*/ 1004888 h 1078325"/>
                <a:gd name="connsiteX154" fmla="*/ 725805 w 1711642"/>
                <a:gd name="connsiteY154" fmla="*/ 1004888 h 1078325"/>
                <a:gd name="connsiteX155" fmla="*/ 725805 w 1711642"/>
                <a:gd name="connsiteY155" fmla="*/ 1032510 h 1078325"/>
                <a:gd name="connsiteX156" fmla="*/ 739140 w 1711642"/>
                <a:gd name="connsiteY156" fmla="*/ 1036415 h 1078325"/>
                <a:gd name="connsiteX157" fmla="*/ 739140 w 1711642"/>
                <a:gd name="connsiteY157" fmla="*/ 1046797 h 1078325"/>
                <a:gd name="connsiteX158" fmla="*/ 753427 w 1711642"/>
                <a:gd name="connsiteY158" fmla="*/ 1046797 h 1078325"/>
                <a:gd name="connsiteX159" fmla="*/ 767715 w 1711642"/>
                <a:gd name="connsiteY159" fmla="*/ 1046797 h 1078325"/>
                <a:gd name="connsiteX160" fmla="*/ 774382 w 1711642"/>
                <a:gd name="connsiteY160" fmla="*/ 1054513 h 1078325"/>
                <a:gd name="connsiteX161" fmla="*/ 788670 w 1711642"/>
                <a:gd name="connsiteY161" fmla="*/ 1054513 h 1078325"/>
                <a:gd name="connsiteX162" fmla="*/ 792480 w 1711642"/>
                <a:gd name="connsiteY162" fmla="*/ 1040225 h 1078325"/>
                <a:gd name="connsiteX163" fmla="*/ 782002 w 1711642"/>
                <a:gd name="connsiteY163" fmla="*/ 1036415 h 1078325"/>
                <a:gd name="connsiteX164" fmla="*/ 782002 w 1711642"/>
                <a:gd name="connsiteY164" fmla="*/ 1022128 h 1078325"/>
                <a:gd name="connsiteX165" fmla="*/ 802957 w 1711642"/>
                <a:gd name="connsiteY165" fmla="*/ 1022128 h 1078325"/>
                <a:gd name="connsiteX166" fmla="*/ 806768 w 1711642"/>
                <a:gd name="connsiteY166" fmla="*/ 1015460 h 1078325"/>
                <a:gd name="connsiteX167" fmla="*/ 865822 w 1711642"/>
                <a:gd name="connsiteY167" fmla="*/ 1015460 h 1078325"/>
                <a:gd name="connsiteX168" fmla="*/ 880110 w 1711642"/>
                <a:gd name="connsiteY168" fmla="*/ 1001173 h 1078325"/>
                <a:gd name="connsiteX169" fmla="*/ 894397 w 1711642"/>
                <a:gd name="connsiteY169" fmla="*/ 1001173 h 1078325"/>
                <a:gd name="connsiteX170" fmla="*/ 904875 w 1711642"/>
                <a:gd name="connsiteY170" fmla="*/ 1007840 h 1078325"/>
                <a:gd name="connsiteX171" fmla="*/ 925830 w 1711642"/>
                <a:gd name="connsiteY171" fmla="*/ 1011650 h 1078325"/>
                <a:gd name="connsiteX172" fmla="*/ 929640 w 1711642"/>
                <a:gd name="connsiteY172" fmla="*/ 1040225 h 1078325"/>
                <a:gd name="connsiteX173" fmla="*/ 943927 w 1711642"/>
                <a:gd name="connsiteY173" fmla="*/ 1046797 h 1078325"/>
                <a:gd name="connsiteX174" fmla="*/ 961072 w 1711642"/>
                <a:gd name="connsiteY174" fmla="*/ 1046797 h 1078325"/>
                <a:gd name="connsiteX175" fmla="*/ 979170 w 1711642"/>
                <a:gd name="connsiteY175" fmla="*/ 1040225 h 1078325"/>
                <a:gd name="connsiteX176" fmla="*/ 996315 w 1711642"/>
                <a:gd name="connsiteY176" fmla="*/ 1046797 h 1078325"/>
                <a:gd name="connsiteX177" fmla="*/ 1014413 w 1711642"/>
                <a:gd name="connsiteY177" fmla="*/ 1046797 h 1078325"/>
                <a:gd name="connsiteX178" fmla="*/ 1014413 w 1711642"/>
                <a:gd name="connsiteY178" fmla="*/ 1057275 h 1078325"/>
                <a:gd name="connsiteX179" fmla="*/ 1014413 w 1711642"/>
                <a:gd name="connsiteY179" fmla="*/ 1071563 h 1078325"/>
                <a:gd name="connsiteX180" fmla="*/ 1028700 w 1711642"/>
                <a:gd name="connsiteY180" fmla="*/ 1078325 h 1078325"/>
                <a:gd name="connsiteX181" fmla="*/ 1024890 w 1711642"/>
                <a:gd name="connsiteY181" fmla="*/ 1064990 h 1078325"/>
                <a:gd name="connsiteX182" fmla="*/ 1031557 w 1711642"/>
                <a:gd name="connsiteY182" fmla="*/ 1050703 h 1078325"/>
                <a:gd name="connsiteX183" fmla="*/ 1052513 w 1711642"/>
                <a:gd name="connsiteY183" fmla="*/ 1046797 h 1078325"/>
                <a:gd name="connsiteX184" fmla="*/ 1087755 w 1711642"/>
                <a:gd name="connsiteY184" fmla="*/ 1036415 h 1078325"/>
                <a:gd name="connsiteX185" fmla="*/ 1112520 w 1711642"/>
                <a:gd name="connsiteY185" fmla="*/ 1029748 h 1078325"/>
                <a:gd name="connsiteX186" fmla="*/ 1112520 w 1711642"/>
                <a:gd name="connsiteY186" fmla="*/ 1004888 h 1078325"/>
                <a:gd name="connsiteX187" fmla="*/ 1122997 w 1711642"/>
                <a:gd name="connsiteY187" fmla="*/ 1001173 h 1078325"/>
                <a:gd name="connsiteX188" fmla="*/ 1133475 w 1711642"/>
                <a:gd name="connsiteY188" fmla="*/ 1015460 h 1078325"/>
                <a:gd name="connsiteX189" fmla="*/ 1155382 w 1711642"/>
                <a:gd name="connsiteY189" fmla="*/ 1015460 h 1078325"/>
                <a:gd name="connsiteX190" fmla="*/ 1193482 w 1711642"/>
                <a:gd name="connsiteY190" fmla="*/ 1007840 h 1078325"/>
                <a:gd name="connsiteX191" fmla="*/ 1218247 w 1711642"/>
                <a:gd name="connsiteY191" fmla="*/ 986885 h 1078325"/>
                <a:gd name="connsiteX192" fmla="*/ 1257300 w 1711642"/>
                <a:gd name="connsiteY192" fmla="*/ 955453 h 1078325"/>
                <a:gd name="connsiteX193" fmla="*/ 1274445 w 1711642"/>
                <a:gd name="connsiteY193" fmla="*/ 923925 h 1078325"/>
                <a:gd name="connsiteX194" fmla="*/ 1299210 w 1711642"/>
                <a:gd name="connsiteY194" fmla="*/ 888778 h 1078325"/>
                <a:gd name="connsiteX195" fmla="*/ 1334452 w 1711642"/>
                <a:gd name="connsiteY195" fmla="*/ 845915 h 1078325"/>
                <a:gd name="connsiteX196" fmla="*/ 1348740 w 1711642"/>
                <a:gd name="connsiteY196" fmla="*/ 814388 h 1078325"/>
                <a:gd name="connsiteX197" fmla="*/ 1348740 w 1711642"/>
                <a:gd name="connsiteY197" fmla="*/ 793528 h 1078325"/>
                <a:gd name="connsiteX198" fmla="*/ 1331595 w 1711642"/>
                <a:gd name="connsiteY198" fmla="*/ 789622 h 1078325"/>
                <a:gd name="connsiteX199" fmla="*/ 1306830 w 1711642"/>
                <a:gd name="connsiteY199" fmla="*/ 785813 h 1078325"/>
                <a:gd name="connsiteX200" fmla="*/ 1309688 w 1711642"/>
                <a:gd name="connsiteY200" fmla="*/ 782098 h 1078325"/>
                <a:gd name="connsiteX201" fmla="*/ 1320165 w 1711642"/>
                <a:gd name="connsiteY201" fmla="*/ 775335 h 1078325"/>
                <a:gd name="connsiteX202" fmla="*/ 1338263 w 1711642"/>
                <a:gd name="connsiteY202" fmla="*/ 771525 h 1078325"/>
                <a:gd name="connsiteX203" fmla="*/ 1352550 w 1711642"/>
                <a:gd name="connsiteY203" fmla="*/ 768763 h 1078325"/>
                <a:gd name="connsiteX204" fmla="*/ 1344930 w 1711642"/>
                <a:gd name="connsiteY204" fmla="*/ 758285 h 1078325"/>
                <a:gd name="connsiteX205" fmla="*/ 1323975 w 1711642"/>
                <a:gd name="connsiteY205" fmla="*/ 750665 h 1078325"/>
                <a:gd name="connsiteX206" fmla="*/ 1331595 w 1711642"/>
                <a:gd name="connsiteY206" fmla="*/ 736378 h 1078325"/>
                <a:gd name="connsiteX207" fmla="*/ 1348740 w 1711642"/>
                <a:gd name="connsiteY207" fmla="*/ 743998 h 1078325"/>
                <a:gd name="connsiteX208" fmla="*/ 1352550 w 1711642"/>
                <a:gd name="connsiteY208" fmla="*/ 736378 h 1078325"/>
                <a:gd name="connsiteX209" fmla="*/ 1323975 w 1711642"/>
                <a:gd name="connsiteY209" fmla="*/ 715423 h 1078325"/>
                <a:gd name="connsiteX210" fmla="*/ 1320165 w 1711642"/>
                <a:gd name="connsiteY210" fmla="*/ 701135 h 1078325"/>
                <a:gd name="connsiteX211" fmla="*/ 1306830 w 1711642"/>
                <a:gd name="connsiteY211" fmla="*/ 665797 h 1078325"/>
                <a:gd name="connsiteX212" fmla="*/ 1296352 w 1711642"/>
                <a:gd name="connsiteY212" fmla="*/ 655415 h 1078325"/>
                <a:gd name="connsiteX213" fmla="*/ 1278255 w 1711642"/>
                <a:gd name="connsiteY213" fmla="*/ 648748 h 1078325"/>
                <a:gd name="connsiteX214" fmla="*/ 1284922 w 1711642"/>
                <a:gd name="connsiteY214" fmla="*/ 630650 h 1078325"/>
                <a:gd name="connsiteX215" fmla="*/ 1303020 w 1711642"/>
                <a:gd name="connsiteY215" fmla="*/ 605885 h 1078325"/>
                <a:gd name="connsiteX216" fmla="*/ 1320165 w 1711642"/>
                <a:gd name="connsiteY216" fmla="*/ 599218 h 1078325"/>
                <a:gd name="connsiteX217" fmla="*/ 1323975 w 1711642"/>
                <a:gd name="connsiteY217" fmla="*/ 588645 h 1078325"/>
                <a:gd name="connsiteX218" fmla="*/ 1338263 w 1711642"/>
                <a:gd name="connsiteY218" fmla="*/ 581025 h 1078325"/>
                <a:gd name="connsiteX219" fmla="*/ 1359218 w 1711642"/>
                <a:gd name="connsiteY219" fmla="*/ 581025 h 1078325"/>
                <a:gd name="connsiteX220" fmla="*/ 1369695 w 1711642"/>
                <a:gd name="connsiteY220" fmla="*/ 578263 h 1078325"/>
                <a:gd name="connsiteX221" fmla="*/ 1363027 w 1711642"/>
                <a:gd name="connsiteY221" fmla="*/ 563975 h 1078325"/>
                <a:gd name="connsiteX222" fmla="*/ 1334452 w 1711642"/>
                <a:gd name="connsiteY222" fmla="*/ 557213 h 1078325"/>
                <a:gd name="connsiteX223" fmla="*/ 1320165 w 1711642"/>
                <a:gd name="connsiteY223" fmla="*/ 549688 h 1078325"/>
                <a:gd name="connsiteX224" fmla="*/ 1306830 w 1711642"/>
                <a:gd name="connsiteY224" fmla="*/ 553498 h 1078325"/>
                <a:gd name="connsiteX225" fmla="*/ 1292543 w 1711642"/>
                <a:gd name="connsiteY225" fmla="*/ 567785 h 1078325"/>
                <a:gd name="connsiteX226" fmla="*/ 1271588 w 1711642"/>
                <a:gd name="connsiteY226" fmla="*/ 570643 h 1078325"/>
                <a:gd name="connsiteX227" fmla="*/ 1267777 w 1711642"/>
                <a:gd name="connsiteY227" fmla="*/ 557213 h 1078325"/>
                <a:gd name="connsiteX228" fmla="*/ 1267777 w 1711642"/>
                <a:gd name="connsiteY228" fmla="*/ 545783 h 1078325"/>
                <a:gd name="connsiteX229" fmla="*/ 1243013 w 1711642"/>
                <a:gd name="connsiteY229" fmla="*/ 542925 h 1078325"/>
                <a:gd name="connsiteX230" fmla="*/ 1232535 w 1711642"/>
                <a:gd name="connsiteY230" fmla="*/ 518255 h 1078325"/>
                <a:gd name="connsiteX231" fmla="*/ 1239202 w 1711642"/>
                <a:gd name="connsiteY231" fmla="*/ 503968 h 1078325"/>
                <a:gd name="connsiteX232" fmla="*/ 1274445 w 1711642"/>
                <a:gd name="connsiteY232" fmla="*/ 503968 h 1078325"/>
                <a:gd name="connsiteX233" fmla="*/ 1282065 w 1711642"/>
                <a:gd name="connsiteY233" fmla="*/ 485775 h 1078325"/>
                <a:gd name="connsiteX234" fmla="*/ 1320165 w 1711642"/>
                <a:gd name="connsiteY234" fmla="*/ 454438 h 1078325"/>
                <a:gd name="connsiteX235" fmla="*/ 1342072 w 1711642"/>
                <a:gd name="connsiteY235" fmla="*/ 450533 h 1078325"/>
                <a:gd name="connsiteX236" fmla="*/ 1355407 w 1711642"/>
                <a:gd name="connsiteY236" fmla="*/ 450533 h 1078325"/>
                <a:gd name="connsiteX237" fmla="*/ 1359218 w 1711642"/>
                <a:gd name="connsiteY237" fmla="*/ 468725 h 1078325"/>
                <a:gd name="connsiteX238" fmla="*/ 1342072 w 1711642"/>
                <a:gd name="connsiteY238" fmla="*/ 479108 h 1078325"/>
                <a:gd name="connsiteX239" fmla="*/ 1334452 w 1711642"/>
                <a:gd name="connsiteY239" fmla="*/ 497300 h 1078325"/>
                <a:gd name="connsiteX240" fmla="*/ 1338263 w 1711642"/>
                <a:gd name="connsiteY240" fmla="*/ 518255 h 1078325"/>
                <a:gd name="connsiteX241" fmla="*/ 1387793 w 1711642"/>
                <a:gd name="connsiteY241" fmla="*/ 485775 h 1078325"/>
                <a:gd name="connsiteX242" fmla="*/ 1404938 w 1711642"/>
                <a:gd name="connsiteY242" fmla="*/ 483013 h 1078325"/>
                <a:gd name="connsiteX243" fmla="*/ 1423035 w 1711642"/>
                <a:gd name="connsiteY243" fmla="*/ 479108 h 1078325"/>
                <a:gd name="connsiteX244" fmla="*/ 1440180 w 1711642"/>
                <a:gd name="connsiteY244" fmla="*/ 461963 h 1078325"/>
                <a:gd name="connsiteX245" fmla="*/ 1461135 w 1711642"/>
                <a:gd name="connsiteY245" fmla="*/ 447675 h 1078325"/>
                <a:gd name="connsiteX246" fmla="*/ 1485900 w 1711642"/>
                <a:gd name="connsiteY246" fmla="*/ 423005 h 1078325"/>
                <a:gd name="connsiteX247" fmla="*/ 1493520 w 1711642"/>
                <a:gd name="connsiteY247" fmla="*/ 419100 h 1078325"/>
                <a:gd name="connsiteX248" fmla="*/ 1510665 w 1711642"/>
                <a:gd name="connsiteY248" fmla="*/ 426720 h 1078325"/>
                <a:gd name="connsiteX249" fmla="*/ 1528763 w 1711642"/>
                <a:gd name="connsiteY249" fmla="*/ 423005 h 1078325"/>
                <a:gd name="connsiteX250" fmla="*/ 1531620 w 1711642"/>
                <a:gd name="connsiteY250" fmla="*/ 408718 h 1078325"/>
                <a:gd name="connsiteX251" fmla="*/ 1549718 w 1711642"/>
                <a:gd name="connsiteY251" fmla="*/ 408718 h 1078325"/>
                <a:gd name="connsiteX252" fmla="*/ 1577340 w 1711642"/>
                <a:gd name="connsiteY252" fmla="*/ 380143 h 1078325"/>
                <a:gd name="connsiteX253" fmla="*/ 1595438 w 1711642"/>
                <a:gd name="connsiteY253" fmla="*/ 394430 h 1078325"/>
                <a:gd name="connsiteX254" fmla="*/ 1609725 w 1711642"/>
                <a:gd name="connsiteY254" fmla="*/ 377285 h 1078325"/>
                <a:gd name="connsiteX255" fmla="*/ 1609725 w 1711642"/>
                <a:gd name="connsiteY255" fmla="*/ 313468 h 1078325"/>
                <a:gd name="connsiteX256" fmla="*/ 1633538 w 1711642"/>
                <a:gd name="connsiteY256" fmla="*/ 296323 h 1078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</a:cxnLst>
              <a:rect l="l" t="t" r="r" b="b"/>
              <a:pathLst>
                <a:path w="1711642" h="1078325">
                  <a:moveTo>
                    <a:pt x="1633538" y="296323"/>
                  </a:moveTo>
                  <a:lnTo>
                    <a:pt x="1644968" y="306800"/>
                  </a:lnTo>
                  <a:lnTo>
                    <a:pt x="1665922" y="302895"/>
                  </a:lnTo>
                  <a:lnTo>
                    <a:pt x="1686877" y="263938"/>
                  </a:lnTo>
                  <a:lnTo>
                    <a:pt x="1697355" y="225838"/>
                  </a:lnTo>
                  <a:lnTo>
                    <a:pt x="1711643" y="218218"/>
                  </a:lnTo>
                  <a:lnTo>
                    <a:pt x="1707832" y="193358"/>
                  </a:lnTo>
                  <a:lnTo>
                    <a:pt x="1680210" y="197263"/>
                  </a:lnTo>
                  <a:lnTo>
                    <a:pt x="1655445" y="201073"/>
                  </a:lnTo>
                  <a:lnTo>
                    <a:pt x="1644968" y="214313"/>
                  </a:lnTo>
                  <a:lnTo>
                    <a:pt x="1605915" y="211550"/>
                  </a:lnTo>
                  <a:lnTo>
                    <a:pt x="1599247" y="176213"/>
                  </a:lnTo>
                  <a:lnTo>
                    <a:pt x="1587818" y="172498"/>
                  </a:lnTo>
                  <a:lnTo>
                    <a:pt x="1564005" y="158210"/>
                  </a:lnTo>
                  <a:lnTo>
                    <a:pt x="1545907" y="147638"/>
                  </a:lnTo>
                  <a:lnTo>
                    <a:pt x="1517332" y="147638"/>
                  </a:lnTo>
                  <a:lnTo>
                    <a:pt x="1498282" y="102013"/>
                  </a:lnTo>
                  <a:lnTo>
                    <a:pt x="1493520" y="91535"/>
                  </a:lnTo>
                  <a:lnTo>
                    <a:pt x="1479232" y="56293"/>
                  </a:lnTo>
                  <a:lnTo>
                    <a:pt x="1458277" y="21050"/>
                  </a:lnTo>
                  <a:lnTo>
                    <a:pt x="1404938" y="0"/>
                  </a:lnTo>
                  <a:lnTo>
                    <a:pt x="1373505" y="2858"/>
                  </a:lnTo>
                  <a:lnTo>
                    <a:pt x="1327785" y="6763"/>
                  </a:lnTo>
                  <a:lnTo>
                    <a:pt x="1303020" y="17145"/>
                  </a:lnTo>
                  <a:lnTo>
                    <a:pt x="1299210" y="31433"/>
                  </a:lnTo>
                  <a:lnTo>
                    <a:pt x="1320165" y="35338"/>
                  </a:lnTo>
                  <a:lnTo>
                    <a:pt x="1320165" y="60008"/>
                  </a:lnTo>
                  <a:lnTo>
                    <a:pt x="1303020" y="70580"/>
                  </a:lnTo>
                  <a:lnTo>
                    <a:pt x="1284922" y="102013"/>
                  </a:lnTo>
                  <a:lnTo>
                    <a:pt x="1278255" y="130588"/>
                  </a:lnTo>
                  <a:lnTo>
                    <a:pt x="1257300" y="133350"/>
                  </a:lnTo>
                  <a:lnTo>
                    <a:pt x="1239202" y="151543"/>
                  </a:lnTo>
                  <a:lnTo>
                    <a:pt x="1207770" y="133350"/>
                  </a:lnTo>
                  <a:lnTo>
                    <a:pt x="1197293" y="147638"/>
                  </a:lnTo>
                  <a:lnTo>
                    <a:pt x="1183005" y="179070"/>
                  </a:lnTo>
                  <a:lnTo>
                    <a:pt x="1176338" y="203930"/>
                  </a:lnTo>
                  <a:lnTo>
                    <a:pt x="1225868" y="207645"/>
                  </a:lnTo>
                  <a:lnTo>
                    <a:pt x="1239202" y="197263"/>
                  </a:lnTo>
                  <a:lnTo>
                    <a:pt x="1257300" y="201073"/>
                  </a:lnTo>
                  <a:lnTo>
                    <a:pt x="1292543" y="236220"/>
                  </a:lnTo>
                  <a:lnTo>
                    <a:pt x="1296352" y="253460"/>
                  </a:lnTo>
                  <a:lnTo>
                    <a:pt x="1267777" y="249650"/>
                  </a:lnTo>
                  <a:lnTo>
                    <a:pt x="1246822" y="249650"/>
                  </a:lnTo>
                  <a:lnTo>
                    <a:pt x="1211580" y="263938"/>
                  </a:lnTo>
                  <a:lnTo>
                    <a:pt x="1180147" y="288608"/>
                  </a:lnTo>
                  <a:lnTo>
                    <a:pt x="1151572" y="288608"/>
                  </a:lnTo>
                  <a:lnTo>
                    <a:pt x="1126807" y="313468"/>
                  </a:lnTo>
                  <a:lnTo>
                    <a:pt x="1095375" y="309563"/>
                  </a:lnTo>
                  <a:lnTo>
                    <a:pt x="1070610" y="309563"/>
                  </a:lnTo>
                  <a:lnTo>
                    <a:pt x="1060132" y="331470"/>
                  </a:lnTo>
                  <a:lnTo>
                    <a:pt x="1070610" y="352425"/>
                  </a:lnTo>
                  <a:lnTo>
                    <a:pt x="1039177" y="369570"/>
                  </a:lnTo>
                  <a:lnTo>
                    <a:pt x="1039177" y="380143"/>
                  </a:lnTo>
                  <a:lnTo>
                    <a:pt x="1006793" y="398145"/>
                  </a:lnTo>
                  <a:lnTo>
                    <a:pt x="929640" y="398145"/>
                  </a:lnTo>
                  <a:lnTo>
                    <a:pt x="890588" y="423005"/>
                  </a:lnTo>
                  <a:lnTo>
                    <a:pt x="827722" y="415385"/>
                  </a:lnTo>
                  <a:lnTo>
                    <a:pt x="784860" y="394430"/>
                  </a:lnTo>
                  <a:lnTo>
                    <a:pt x="736282" y="391573"/>
                  </a:lnTo>
                  <a:lnTo>
                    <a:pt x="641032" y="387763"/>
                  </a:lnTo>
                  <a:lnTo>
                    <a:pt x="630555" y="373475"/>
                  </a:lnTo>
                  <a:lnTo>
                    <a:pt x="620077" y="348710"/>
                  </a:lnTo>
                  <a:lnTo>
                    <a:pt x="581025" y="327755"/>
                  </a:lnTo>
                  <a:lnTo>
                    <a:pt x="562927" y="309563"/>
                  </a:lnTo>
                  <a:lnTo>
                    <a:pt x="503872" y="306800"/>
                  </a:lnTo>
                  <a:lnTo>
                    <a:pt x="489585" y="299180"/>
                  </a:lnTo>
                  <a:lnTo>
                    <a:pt x="481965" y="278225"/>
                  </a:lnTo>
                  <a:lnTo>
                    <a:pt x="493395" y="263938"/>
                  </a:lnTo>
                  <a:lnTo>
                    <a:pt x="493395" y="249650"/>
                  </a:lnTo>
                  <a:lnTo>
                    <a:pt x="479107" y="228600"/>
                  </a:lnTo>
                  <a:lnTo>
                    <a:pt x="454343" y="203930"/>
                  </a:lnTo>
                  <a:lnTo>
                    <a:pt x="425768" y="201073"/>
                  </a:lnTo>
                  <a:lnTo>
                    <a:pt x="408622" y="182975"/>
                  </a:lnTo>
                  <a:lnTo>
                    <a:pt x="401002" y="165830"/>
                  </a:lnTo>
                  <a:lnTo>
                    <a:pt x="373380" y="165830"/>
                  </a:lnTo>
                  <a:lnTo>
                    <a:pt x="369570" y="182975"/>
                  </a:lnTo>
                  <a:lnTo>
                    <a:pt x="348615" y="182975"/>
                  </a:lnTo>
                  <a:lnTo>
                    <a:pt x="341947" y="207645"/>
                  </a:lnTo>
                  <a:lnTo>
                    <a:pt x="341947" y="232505"/>
                  </a:lnTo>
                  <a:lnTo>
                    <a:pt x="323850" y="236220"/>
                  </a:lnTo>
                  <a:lnTo>
                    <a:pt x="299085" y="236220"/>
                  </a:lnTo>
                  <a:lnTo>
                    <a:pt x="267652" y="232505"/>
                  </a:lnTo>
                  <a:lnTo>
                    <a:pt x="249555" y="274320"/>
                  </a:lnTo>
                  <a:lnTo>
                    <a:pt x="242888" y="299180"/>
                  </a:lnTo>
                  <a:lnTo>
                    <a:pt x="211455" y="299180"/>
                  </a:lnTo>
                  <a:lnTo>
                    <a:pt x="190500" y="309563"/>
                  </a:lnTo>
                  <a:lnTo>
                    <a:pt x="193357" y="342043"/>
                  </a:lnTo>
                  <a:lnTo>
                    <a:pt x="203835" y="369570"/>
                  </a:lnTo>
                  <a:lnTo>
                    <a:pt x="190500" y="383858"/>
                  </a:lnTo>
                  <a:lnTo>
                    <a:pt x="190500" y="402050"/>
                  </a:lnTo>
                  <a:lnTo>
                    <a:pt x="179070" y="408718"/>
                  </a:lnTo>
                  <a:lnTo>
                    <a:pt x="133350" y="429673"/>
                  </a:lnTo>
                  <a:lnTo>
                    <a:pt x="126682" y="443960"/>
                  </a:lnTo>
                  <a:lnTo>
                    <a:pt x="91440" y="443960"/>
                  </a:lnTo>
                  <a:lnTo>
                    <a:pt x="84772" y="461963"/>
                  </a:lnTo>
                  <a:lnTo>
                    <a:pt x="56197" y="468725"/>
                  </a:lnTo>
                  <a:lnTo>
                    <a:pt x="56197" y="458248"/>
                  </a:lnTo>
                  <a:lnTo>
                    <a:pt x="31432" y="458248"/>
                  </a:lnTo>
                  <a:lnTo>
                    <a:pt x="27622" y="468725"/>
                  </a:lnTo>
                  <a:lnTo>
                    <a:pt x="6668" y="483013"/>
                  </a:lnTo>
                  <a:lnTo>
                    <a:pt x="3810" y="500063"/>
                  </a:lnTo>
                  <a:lnTo>
                    <a:pt x="0" y="510635"/>
                  </a:lnTo>
                  <a:lnTo>
                    <a:pt x="3810" y="524923"/>
                  </a:lnTo>
                  <a:lnTo>
                    <a:pt x="14288" y="528638"/>
                  </a:lnTo>
                  <a:lnTo>
                    <a:pt x="35243" y="524923"/>
                  </a:lnTo>
                  <a:lnTo>
                    <a:pt x="35243" y="560070"/>
                  </a:lnTo>
                  <a:lnTo>
                    <a:pt x="35243" y="574358"/>
                  </a:lnTo>
                  <a:lnTo>
                    <a:pt x="66675" y="584930"/>
                  </a:lnTo>
                  <a:lnTo>
                    <a:pt x="66675" y="602933"/>
                  </a:lnTo>
                  <a:lnTo>
                    <a:pt x="101918" y="616363"/>
                  </a:lnTo>
                  <a:lnTo>
                    <a:pt x="113347" y="638175"/>
                  </a:lnTo>
                  <a:lnTo>
                    <a:pt x="141922" y="661035"/>
                  </a:lnTo>
                  <a:lnTo>
                    <a:pt x="160972" y="654463"/>
                  </a:lnTo>
                  <a:lnTo>
                    <a:pt x="177165" y="641033"/>
                  </a:lnTo>
                  <a:lnTo>
                    <a:pt x="176213" y="655415"/>
                  </a:lnTo>
                  <a:lnTo>
                    <a:pt x="147638" y="669703"/>
                  </a:lnTo>
                  <a:lnTo>
                    <a:pt x="147638" y="687800"/>
                  </a:lnTo>
                  <a:lnTo>
                    <a:pt x="168593" y="701135"/>
                  </a:lnTo>
                  <a:lnTo>
                    <a:pt x="165735" y="715423"/>
                  </a:lnTo>
                  <a:lnTo>
                    <a:pt x="147638" y="719138"/>
                  </a:lnTo>
                  <a:lnTo>
                    <a:pt x="140970" y="736378"/>
                  </a:lnTo>
                  <a:lnTo>
                    <a:pt x="140970" y="750665"/>
                  </a:lnTo>
                  <a:lnTo>
                    <a:pt x="177165" y="781050"/>
                  </a:lnTo>
                  <a:lnTo>
                    <a:pt x="207645" y="810673"/>
                  </a:lnTo>
                  <a:lnTo>
                    <a:pt x="232410" y="791623"/>
                  </a:lnTo>
                  <a:lnTo>
                    <a:pt x="255270" y="814388"/>
                  </a:lnTo>
                  <a:lnTo>
                    <a:pt x="284797" y="823913"/>
                  </a:lnTo>
                  <a:lnTo>
                    <a:pt x="302895" y="841153"/>
                  </a:lnTo>
                  <a:lnTo>
                    <a:pt x="338138" y="856297"/>
                  </a:lnTo>
                  <a:lnTo>
                    <a:pt x="365760" y="863060"/>
                  </a:lnTo>
                  <a:lnTo>
                    <a:pt x="404813" y="860203"/>
                  </a:lnTo>
                  <a:lnTo>
                    <a:pt x="433388" y="860203"/>
                  </a:lnTo>
                  <a:lnTo>
                    <a:pt x="440055" y="860203"/>
                  </a:lnTo>
                  <a:lnTo>
                    <a:pt x="450532" y="849725"/>
                  </a:lnTo>
                  <a:lnTo>
                    <a:pt x="468630" y="849725"/>
                  </a:lnTo>
                  <a:lnTo>
                    <a:pt x="489585" y="856297"/>
                  </a:lnTo>
                  <a:lnTo>
                    <a:pt x="514350" y="860203"/>
                  </a:lnTo>
                  <a:lnTo>
                    <a:pt x="531495" y="856297"/>
                  </a:lnTo>
                  <a:lnTo>
                    <a:pt x="549593" y="831628"/>
                  </a:lnTo>
                  <a:lnTo>
                    <a:pt x="570547" y="831628"/>
                  </a:lnTo>
                  <a:lnTo>
                    <a:pt x="581025" y="817340"/>
                  </a:lnTo>
                  <a:lnTo>
                    <a:pt x="600075" y="851535"/>
                  </a:lnTo>
                  <a:lnTo>
                    <a:pt x="620077" y="852488"/>
                  </a:lnTo>
                  <a:lnTo>
                    <a:pt x="637222" y="839248"/>
                  </a:lnTo>
                  <a:lnTo>
                    <a:pt x="665797" y="842010"/>
                  </a:lnTo>
                  <a:lnTo>
                    <a:pt x="679132" y="845915"/>
                  </a:lnTo>
                  <a:lnTo>
                    <a:pt x="690563" y="864013"/>
                  </a:lnTo>
                  <a:lnTo>
                    <a:pt x="703897" y="874490"/>
                  </a:lnTo>
                  <a:lnTo>
                    <a:pt x="701040" y="916400"/>
                  </a:lnTo>
                  <a:lnTo>
                    <a:pt x="672465" y="955453"/>
                  </a:lnTo>
                  <a:lnTo>
                    <a:pt x="672465" y="962025"/>
                  </a:lnTo>
                  <a:lnTo>
                    <a:pt x="707707" y="972598"/>
                  </a:lnTo>
                  <a:lnTo>
                    <a:pt x="707707" y="997363"/>
                  </a:lnTo>
                  <a:lnTo>
                    <a:pt x="725805" y="1004888"/>
                  </a:lnTo>
                  <a:lnTo>
                    <a:pt x="725805" y="1004888"/>
                  </a:lnTo>
                  <a:lnTo>
                    <a:pt x="725805" y="1032510"/>
                  </a:lnTo>
                  <a:lnTo>
                    <a:pt x="739140" y="1036415"/>
                  </a:lnTo>
                  <a:lnTo>
                    <a:pt x="739140" y="1046797"/>
                  </a:lnTo>
                  <a:lnTo>
                    <a:pt x="753427" y="1046797"/>
                  </a:lnTo>
                  <a:lnTo>
                    <a:pt x="767715" y="1046797"/>
                  </a:lnTo>
                  <a:lnTo>
                    <a:pt x="774382" y="1054513"/>
                  </a:lnTo>
                  <a:lnTo>
                    <a:pt x="788670" y="1054513"/>
                  </a:lnTo>
                  <a:lnTo>
                    <a:pt x="792480" y="1040225"/>
                  </a:lnTo>
                  <a:lnTo>
                    <a:pt x="782002" y="1036415"/>
                  </a:lnTo>
                  <a:lnTo>
                    <a:pt x="782002" y="1022128"/>
                  </a:lnTo>
                  <a:lnTo>
                    <a:pt x="802957" y="1022128"/>
                  </a:lnTo>
                  <a:lnTo>
                    <a:pt x="806768" y="1015460"/>
                  </a:lnTo>
                  <a:lnTo>
                    <a:pt x="865822" y="1015460"/>
                  </a:lnTo>
                  <a:lnTo>
                    <a:pt x="880110" y="1001173"/>
                  </a:lnTo>
                  <a:lnTo>
                    <a:pt x="894397" y="1001173"/>
                  </a:lnTo>
                  <a:lnTo>
                    <a:pt x="904875" y="1007840"/>
                  </a:lnTo>
                  <a:lnTo>
                    <a:pt x="925830" y="1011650"/>
                  </a:lnTo>
                  <a:lnTo>
                    <a:pt x="929640" y="1040225"/>
                  </a:lnTo>
                  <a:lnTo>
                    <a:pt x="943927" y="1046797"/>
                  </a:lnTo>
                  <a:lnTo>
                    <a:pt x="961072" y="1046797"/>
                  </a:lnTo>
                  <a:lnTo>
                    <a:pt x="979170" y="1040225"/>
                  </a:lnTo>
                  <a:lnTo>
                    <a:pt x="996315" y="1046797"/>
                  </a:lnTo>
                  <a:lnTo>
                    <a:pt x="1014413" y="1046797"/>
                  </a:lnTo>
                  <a:lnTo>
                    <a:pt x="1014413" y="1057275"/>
                  </a:lnTo>
                  <a:lnTo>
                    <a:pt x="1014413" y="1071563"/>
                  </a:lnTo>
                  <a:lnTo>
                    <a:pt x="1028700" y="1078325"/>
                  </a:lnTo>
                  <a:lnTo>
                    <a:pt x="1024890" y="1064990"/>
                  </a:lnTo>
                  <a:lnTo>
                    <a:pt x="1031557" y="1050703"/>
                  </a:lnTo>
                  <a:lnTo>
                    <a:pt x="1052513" y="1046797"/>
                  </a:lnTo>
                  <a:lnTo>
                    <a:pt x="1087755" y="1036415"/>
                  </a:lnTo>
                  <a:lnTo>
                    <a:pt x="1112520" y="1029748"/>
                  </a:lnTo>
                  <a:lnTo>
                    <a:pt x="1112520" y="1004888"/>
                  </a:lnTo>
                  <a:lnTo>
                    <a:pt x="1122997" y="1001173"/>
                  </a:lnTo>
                  <a:lnTo>
                    <a:pt x="1133475" y="1015460"/>
                  </a:lnTo>
                  <a:lnTo>
                    <a:pt x="1155382" y="1015460"/>
                  </a:lnTo>
                  <a:lnTo>
                    <a:pt x="1193482" y="1007840"/>
                  </a:lnTo>
                  <a:lnTo>
                    <a:pt x="1218247" y="986885"/>
                  </a:lnTo>
                  <a:lnTo>
                    <a:pt x="1257300" y="955453"/>
                  </a:lnTo>
                  <a:lnTo>
                    <a:pt x="1274445" y="923925"/>
                  </a:lnTo>
                  <a:lnTo>
                    <a:pt x="1299210" y="888778"/>
                  </a:lnTo>
                  <a:lnTo>
                    <a:pt x="1334452" y="845915"/>
                  </a:lnTo>
                  <a:lnTo>
                    <a:pt x="1348740" y="814388"/>
                  </a:lnTo>
                  <a:lnTo>
                    <a:pt x="1348740" y="793528"/>
                  </a:lnTo>
                  <a:lnTo>
                    <a:pt x="1331595" y="789622"/>
                  </a:lnTo>
                  <a:lnTo>
                    <a:pt x="1306830" y="785813"/>
                  </a:lnTo>
                  <a:lnTo>
                    <a:pt x="1309688" y="782098"/>
                  </a:lnTo>
                  <a:lnTo>
                    <a:pt x="1320165" y="775335"/>
                  </a:lnTo>
                  <a:lnTo>
                    <a:pt x="1338263" y="771525"/>
                  </a:lnTo>
                  <a:lnTo>
                    <a:pt x="1352550" y="768763"/>
                  </a:lnTo>
                  <a:lnTo>
                    <a:pt x="1344930" y="758285"/>
                  </a:lnTo>
                  <a:lnTo>
                    <a:pt x="1323975" y="750665"/>
                  </a:lnTo>
                  <a:lnTo>
                    <a:pt x="1331595" y="736378"/>
                  </a:lnTo>
                  <a:lnTo>
                    <a:pt x="1348740" y="743998"/>
                  </a:lnTo>
                  <a:lnTo>
                    <a:pt x="1352550" y="736378"/>
                  </a:lnTo>
                  <a:lnTo>
                    <a:pt x="1323975" y="715423"/>
                  </a:lnTo>
                  <a:lnTo>
                    <a:pt x="1320165" y="701135"/>
                  </a:lnTo>
                  <a:lnTo>
                    <a:pt x="1306830" y="665797"/>
                  </a:lnTo>
                  <a:lnTo>
                    <a:pt x="1296352" y="655415"/>
                  </a:lnTo>
                  <a:lnTo>
                    <a:pt x="1278255" y="648748"/>
                  </a:lnTo>
                  <a:lnTo>
                    <a:pt x="1284922" y="630650"/>
                  </a:lnTo>
                  <a:lnTo>
                    <a:pt x="1303020" y="605885"/>
                  </a:lnTo>
                  <a:lnTo>
                    <a:pt x="1320165" y="599218"/>
                  </a:lnTo>
                  <a:lnTo>
                    <a:pt x="1323975" y="588645"/>
                  </a:lnTo>
                  <a:lnTo>
                    <a:pt x="1338263" y="581025"/>
                  </a:lnTo>
                  <a:lnTo>
                    <a:pt x="1359218" y="581025"/>
                  </a:lnTo>
                  <a:lnTo>
                    <a:pt x="1369695" y="578263"/>
                  </a:lnTo>
                  <a:lnTo>
                    <a:pt x="1363027" y="563975"/>
                  </a:lnTo>
                  <a:lnTo>
                    <a:pt x="1334452" y="557213"/>
                  </a:lnTo>
                  <a:lnTo>
                    <a:pt x="1320165" y="549688"/>
                  </a:lnTo>
                  <a:lnTo>
                    <a:pt x="1306830" y="553498"/>
                  </a:lnTo>
                  <a:lnTo>
                    <a:pt x="1292543" y="567785"/>
                  </a:lnTo>
                  <a:lnTo>
                    <a:pt x="1271588" y="570643"/>
                  </a:lnTo>
                  <a:lnTo>
                    <a:pt x="1267777" y="557213"/>
                  </a:lnTo>
                  <a:lnTo>
                    <a:pt x="1267777" y="545783"/>
                  </a:lnTo>
                  <a:lnTo>
                    <a:pt x="1243013" y="542925"/>
                  </a:lnTo>
                  <a:lnTo>
                    <a:pt x="1232535" y="518255"/>
                  </a:lnTo>
                  <a:lnTo>
                    <a:pt x="1239202" y="503968"/>
                  </a:lnTo>
                  <a:lnTo>
                    <a:pt x="1274445" y="503968"/>
                  </a:lnTo>
                  <a:lnTo>
                    <a:pt x="1282065" y="485775"/>
                  </a:lnTo>
                  <a:lnTo>
                    <a:pt x="1320165" y="454438"/>
                  </a:lnTo>
                  <a:lnTo>
                    <a:pt x="1342072" y="450533"/>
                  </a:lnTo>
                  <a:lnTo>
                    <a:pt x="1355407" y="450533"/>
                  </a:lnTo>
                  <a:lnTo>
                    <a:pt x="1359218" y="468725"/>
                  </a:lnTo>
                  <a:lnTo>
                    <a:pt x="1342072" y="479108"/>
                  </a:lnTo>
                  <a:lnTo>
                    <a:pt x="1334452" y="497300"/>
                  </a:lnTo>
                  <a:lnTo>
                    <a:pt x="1338263" y="518255"/>
                  </a:lnTo>
                  <a:lnTo>
                    <a:pt x="1387793" y="485775"/>
                  </a:lnTo>
                  <a:lnTo>
                    <a:pt x="1404938" y="483013"/>
                  </a:lnTo>
                  <a:lnTo>
                    <a:pt x="1423035" y="479108"/>
                  </a:lnTo>
                  <a:lnTo>
                    <a:pt x="1440180" y="461963"/>
                  </a:lnTo>
                  <a:lnTo>
                    <a:pt x="1461135" y="447675"/>
                  </a:lnTo>
                  <a:lnTo>
                    <a:pt x="1485900" y="423005"/>
                  </a:lnTo>
                  <a:lnTo>
                    <a:pt x="1493520" y="419100"/>
                  </a:lnTo>
                  <a:lnTo>
                    <a:pt x="1510665" y="426720"/>
                  </a:lnTo>
                  <a:lnTo>
                    <a:pt x="1528763" y="423005"/>
                  </a:lnTo>
                  <a:lnTo>
                    <a:pt x="1531620" y="408718"/>
                  </a:lnTo>
                  <a:lnTo>
                    <a:pt x="1549718" y="408718"/>
                  </a:lnTo>
                  <a:lnTo>
                    <a:pt x="1577340" y="380143"/>
                  </a:lnTo>
                  <a:lnTo>
                    <a:pt x="1595438" y="394430"/>
                  </a:lnTo>
                  <a:lnTo>
                    <a:pt x="1609725" y="377285"/>
                  </a:lnTo>
                  <a:lnTo>
                    <a:pt x="1609725" y="313468"/>
                  </a:lnTo>
                  <a:lnTo>
                    <a:pt x="1633538" y="296323"/>
                  </a:ln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63" name="Freeform: Shape 3962">
              <a:extLst>
                <a:ext uri="{FF2B5EF4-FFF2-40B4-BE49-F238E27FC236}">
                  <a16:creationId xmlns:a16="http://schemas.microsoft.com/office/drawing/2014/main" id="{C301296D-EF83-689D-A1A7-BB2A283B87FC}"/>
                </a:ext>
              </a:extLst>
            </p:cNvPr>
            <p:cNvSpPr/>
            <p:nvPr/>
          </p:nvSpPr>
          <p:spPr>
            <a:xfrm>
              <a:off x="8505571" y="3733258"/>
              <a:ext cx="251171" cy="523823"/>
            </a:xfrm>
            <a:custGeom>
              <a:avLst/>
              <a:gdLst>
                <a:gd name="connsiteX0" fmla="*/ 238125 w 256222"/>
                <a:gd name="connsiteY0" fmla="*/ 206692 h 534352"/>
                <a:gd name="connsiteX1" fmla="*/ 224790 w 256222"/>
                <a:gd name="connsiteY1" fmla="*/ 202787 h 534352"/>
                <a:gd name="connsiteX2" fmla="*/ 224790 w 256222"/>
                <a:gd name="connsiteY2" fmla="*/ 175165 h 534352"/>
                <a:gd name="connsiteX3" fmla="*/ 206693 w 256222"/>
                <a:gd name="connsiteY3" fmla="*/ 167640 h 534352"/>
                <a:gd name="connsiteX4" fmla="*/ 206693 w 256222"/>
                <a:gd name="connsiteY4" fmla="*/ 167640 h 534352"/>
                <a:gd name="connsiteX5" fmla="*/ 206693 w 256222"/>
                <a:gd name="connsiteY5" fmla="*/ 167640 h 534352"/>
                <a:gd name="connsiteX6" fmla="*/ 206693 w 256222"/>
                <a:gd name="connsiteY6" fmla="*/ 142875 h 534352"/>
                <a:gd name="connsiteX7" fmla="*/ 171450 w 256222"/>
                <a:gd name="connsiteY7" fmla="*/ 132302 h 534352"/>
                <a:gd name="connsiteX8" fmla="*/ 171450 w 256222"/>
                <a:gd name="connsiteY8" fmla="*/ 125730 h 534352"/>
                <a:gd name="connsiteX9" fmla="*/ 185738 w 256222"/>
                <a:gd name="connsiteY9" fmla="*/ 104775 h 534352"/>
                <a:gd name="connsiteX10" fmla="*/ 200025 w 256222"/>
                <a:gd name="connsiteY10" fmla="*/ 86677 h 534352"/>
                <a:gd name="connsiteX11" fmla="*/ 202882 w 256222"/>
                <a:gd name="connsiteY11" fmla="*/ 44767 h 534352"/>
                <a:gd name="connsiteX12" fmla="*/ 189548 w 256222"/>
                <a:gd name="connsiteY12" fmla="*/ 34290 h 534352"/>
                <a:gd name="connsiteX13" fmla="*/ 178118 w 256222"/>
                <a:gd name="connsiteY13" fmla="*/ 16192 h 534352"/>
                <a:gd name="connsiteX14" fmla="*/ 133350 w 256222"/>
                <a:gd name="connsiteY14" fmla="*/ 0 h 534352"/>
                <a:gd name="connsiteX15" fmla="*/ 122873 w 256222"/>
                <a:gd name="connsiteY15" fmla="*/ 18002 h 534352"/>
                <a:gd name="connsiteX16" fmla="*/ 122873 w 256222"/>
                <a:gd name="connsiteY16" fmla="*/ 35242 h 534352"/>
                <a:gd name="connsiteX17" fmla="*/ 98107 w 256222"/>
                <a:gd name="connsiteY17" fmla="*/ 35242 h 534352"/>
                <a:gd name="connsiteX18" fmla="*/ 70485 w 256222"/>
                <a:gd name="connsiteY18" fmla="*/ 59912 h 534352"/>
                <a:gd name="connsiteX19" fmla="*/ 66675 w 256222"/>
                <a:gd name="connsiteY19" fmla="*/ 80963 h 534352"/>
                <a:gd name="connsiteX20" fmla="*/ 52388 w 256222"/>
                <a:gd name="connsiteY20" fmla="*/ 95250 h 534352"/>
                <a:gd name="connsiteX21" fmla="*/ 45720 w 256222"/>
                <a:gd name="connsiteY21" fmla="*/ 130492 h 534352"/>
                <a:gd name="connsiteX22" fmla="*/ 20955 w 256222"/>
                <a:gd name="connsiteY22" fmla="*/ 134302 h 534352"/>
                <a:gd name="connsiteX23" fmla="*/ 10478 w 256222"/>
                <a:gd name="connsiteY23" fmla="*/ 183737 h 534352"/>
                <a:gd name="connsiteX24" fmla="*/ 0 w 256222"/>
                <a:gd name="connsiteY24" fmla="*/ 194215 h 534352"/>
                <a:gd name="connsiteX25" fmla="*/ 0 w 256222"/>
                <a:gd name="connsiteY25" fmla="*/ 211455 h 534352"/>
                <a:gd name="connsiteX26" fmla="*/ 20003 w 256222"/>
                <a:gd name="connsiteY26" fmla="*/ 231362 h 534352"/>
                <a:gd name="connsiteX27" fmla="*/ 44768 w 256222"/>
                <a:gd name="connsiteY27" fmla="*/ 256127 h 534352"/>
                <a:gd name="connsiteX28" fmla="*/ 65723 w 256222"/>
                <a:gd name="connsiteY28" fmla="*/ 291465 h 534352"/>
                <a:gd name="connsiteX29" fmla="*/ 80010 w 256222"/>
                <a:gd name="connsiteY29" fmla="*/ 305752 h 534352"/>
                <a:gd name="connsiteX30" fmla="*/ 86678 w 256222"/>
                <a:gd name="connsiteY30" fmla="*/ 322802 h 534352"/>
                <a:gd name="connsiteX31" fmla="*/ 83820 w 256222"/>
                <a:gd name="connsiteY31" fmla="*/ 347662 h 534352"/>
                <a:gd name="connsiteX32" fmla="*/ 83820 w 256222"/>
                <a:gd name="connsiteY32" fmla="*/ 372427 h 534352"/>
                <a:gd name="connsiteX33" fmla="*/ 94298 w 256222"/>
                <a:gd name="connsiteY33" fmla="*/ 386715 h 534352"/>
                <a:gd name="connsiteX34" fmla="*/ 115253 w 256222"/>
                <a:gd name="connsiteY34" fmla="*/ 386715 h 534352"/>
                <a:gd name="connsiteX35" fmla="*/ 119063 w 256222"/>
                <a:gd name="connsiteY35" fmla="*/ 372427 h 534352"/>
                <a:gd name="connsiteX36" fmla="*/ 140018 w 256222"/>
                <a:gd name="connsiteY36" fmla="*/ 365665 h 534352"/>
                <a:gd name="connsiteX37" fmla="*/ 150495 w 256222"/>
                <a:gd name="connsiteY37" fmla="*/ 343852 h 534352"/>
                <a:gd name="connsiteX38" fmla="*/ 167640 w 256222"/>
                <a:gd name="connsiteY38" fmla="*/ 365665 h 534352"/>
                <a:gd name="connsiteX39" fmla="*/ 178118 w 256222"/>
                <a:gd name="connsiteY39" fmla="*/ 390525 h 534352"/>
                <a:gd name="connsiteX40" fmla="*/ 178118 w 256222"/>
                <a:gd name="connsiteY40" fmla="*/ 418052 h 534352"/>
                <a:gd name="connsiteX41" fmla="*/ 192405 w 256222"/>
                <a:gd name="connsiteY41" fmla="*/ 453390 h 534352"/>
                <a:gd name="connsiteX42" fmla="*/ 196215 w 256222"/>
                <a:gd name="connsiteY42" fmla="*/ 463867 h 534352"/>
                <a:gd name="connsiteX43" fmla="*/ 196215 w 256222"/>
                <a:gd name="connsiteY43" fmla="*/ 488537 h 534352"/>
                <a:gd name="connsiteX44" fmla="*/ 196215 w 256222"/>
                <a:gd name="connsiteY44" fmla="*/ 506730 h 534352"/>
                <a:gd name="connsiteX45" fmla="*/ 192405 w 256222"/>
                <a:gd name="connsiteY45" fmla="*/ 520065 h 534352"/>
                <a:gd name="connsiteX46" fmla="*/ 196215 w 256222"/>
                <a:gd name="connsiteY46" fmla="*/ 534352 h 534352"/>
                <a:gd name="connsiteX47" fmla="*/ 217170 w 256222"/>
                <a:gd name="connsiteY47" fmla="*/ 517112 h 534352"/>
                <a:gd name="connsiteX48" fmla="*/ 224790 w 256222"/>
                <a:gd name="connsiteY48" fmla="*/ 496252 h 534352"/>
                <a:gd name="connsiteX49" fmla="*/ 213360 w 256222"/>
                <a:gd name="connsiteY49" fmla="*/ 478155 h 534352"/>
                <a:gd name="connsiteX50" fmla="*/ 213360 w 256222"/>
                <a:gd name="connsiteY50" fmla="*/ 449580 h 534352"/>
                <a:gd name="connsiteX51" fmla="*/ 200025 w 256222"/>
                <a:gd name="connsiteY51" fmla="*/ 428625 h 534352"/>
                <a:gd name="connsiteX52" fmla="*/ 189548 w 256222"/>
                <a:gd name="connsiteY52" fmla="*/ 414337 h 534352"/>
                <a:gd name="connsiteX53" fmla="*/ 196215 w 256222"/>
                <a:gd name="connsiteY53" fmla="*/ 397192 h 534352"/>
                <a:gd name="connsiteX54" fmla="*/ 202882 w 256222"/>
                <a:gd name="connsiteY54" fmla="*/ 379000 h 534352"/>
                <a:gd name="connsiteX55" fmla="*/ 192405 w 256222"/>
                <a:gd name="connsiteY55" fmla="*/ 351377 h 534352"/>
                <a:gd name="connsiteX56" fmla="*/ 175260 w 256222"/>
                <a:gd name="connsiteY56" fmla="*/ 337090 h 534352"/>
                <a:gd name="connsiteX57" fmla="*/ 171450 w 256222"/>
                <a:gd name="connsiteY57" fmla="*/ 326612 h 534352"/>
                <a:gd name="connsiteX58" fmla="*/ 167640 w 256222"/>
                <a:gd name="connsiteY58" fmla="*/ 308515 h 534352"/>
                <a:gd name="connsiteX59" fmla="*/ 171450 w 256222"/>
                <a:gd name="connsiteY59" fmla="*/ 298037 h 534352"/>
                <a:gd name="connsiteX60" fmla="*/ 175260 w 256222"/>
                <a:gd name="connsiteY60" fmla="*/ 291465 h 534352"/>
                <a:gd name="connsiteX61" fmla="*/ 175260 w 256222"/>
                <a:gd name="connsiteY61" fmla="*/ 270415 h 534352"/>
                <a:gd name="connsiteX62" fmla="*/ 206693 w 256222"/>
                <a:gd name="connsiteY62" fmla="*/ 266700 h 534352"/>
                <a:gd name="connsiteX63" fmla="*/ 224790 w 256222"/>
                <a:gd name="connsiteY63" fmla="*/ 252412 h 534352"/>
                <a:gd name="connsiteX64" fmla="*/ 256223 w 256222"/>
                <a:gd name="connsiteY64" fmla="*/ 235267 h 534352"/>
                <a:gd name="connsiteX65" fmla="*/ 252413 w 256222"/>
                <a:gd name="connsiteY65" fmla="*/ 217075 h 534352"/>
                <a:gd name="connsiteX66" fmla="*/ 238125 w 256222"/>
                <a:gd name="connsiteY66" fmla="*/ 217075 h 534352"/>
                <a:gd name="connsiteX67" fmla="*/ 238125 w 256222"/>
                <a:gd name="connsiteY67" fmla="*/ 206692 h 534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256222" h="534352">
                  <a:moveTo>
                    <a:pt x="238125" y="206692"/>
                  </a:moveTo>
                  <a:lnTo>
                    <a:pt x="224790" y="202787"/>
                  </a:lnTo>
                  <a:lnTo>
                    <a:pt x="224790" y="175165"/>
                  </a:lnTo>
                  <a:lnTo>
                    <a:pt x="206693" y="167640"/>
                  </a:lnTo>
                  <a:lnTo>
                    <a:pt x="206693" y="167640"/>
                  </a:lnTo>
                  <a:lnTo>
                    <a:pt x="206693" y="167640"/>
                  </a:lnTo>
                  <a:lnTo>
                    <a:pt x="206693" y="142875"/>
                  </a:lnTo>
                  <a:lnTo>
                    <a:pt x="171450" y="132302"/>
                  </a:lnTo>
                  <a:lnTo>
                    <a:pt x="171450" y="125730"/>
                  </a:lnTo>
                  <a:lnTo>
                    <a:pt x="185738" y="104775"/>
                  </a:lnTo>
                  <a:lnTo>
                    <a:pt x="200025" y="86677"/>
                  </a:lnTo>
                  <a:lnTo>
                    <a:pt x="202882" y="44767"/>
                  </a:lnTo>
                  <a:lnTo>
                    <a:pt x="189548" y="34290"/>
                  </a:lnTo>
                  <a:lnTo>
                    <a:pt x="178118" y="16192"/>
                  </a:lnTo>
                  <a:lnTo>
                    <a:pt x="133350" y="0"/>
                  </a:lnTo>
                  <a:lnTo>
                    <a:pt x="122873" y="18002"/>
                  </a:lnTo>
                  <a:lnTo>
                    <a:pt x="122873" y="35242"/>
                  </a:lnTo>
                  <a:lnTo>
                    <a:pt x="98107" y="35242"/>
                  </a:lnTo>
                  <a:lnTo>
                    <a:pt x="70485" y="59912"/>
                  </a:lnTo>
                  <a:lnTo>
                    <a:pt x="66675" y="80963"/>
                  </a:lnTo>
                  <a:lnTo>
                    <a:pt x="52388" y="95250"/>
                  </a:lnTo>
                  <a:lnTo>
                    <a:pt x="45720" y="130492"/>
                  </a:lnTo>
                  <a:lnTo>
                    <a:pt x="20955" y="134302"/>
                  </a:lnTo>
                  <a:lnTo>
                    <a:pt x="10478" y="183737"/>
                  </a:lnTo>
                  <a:lnTo>
                    <a:pt x="0" y="194215"/>
                  </a:lnTo>
                  <a:lnTo>
                    <a:pt x="0" y="211455"/>
                  </a:lnTo>
                  <a:lnTo>
                    <a:pt x="20003" y="231362"/>
                  </a:lnTo>
                  <a:lnTo>
                    <a:pt x="44768" y="256127"/>
                  </a:lnTo>
                  <a:lnTo>
                    <a:pt x="65723" y="291465"/>
                  </a:lnTo>
                  <a:lnTo>
                    <a:pt x="80010" y="305752"/>
                  </a:lnTo>
                  <a:lnTo>
                    <a:pt x="86678" y="322802"/>
                  </a:lnTo>
                  <a:lnTo>
                    <a:pt x="83820" y="347662"/>
                  </a:lnTo>
                  <a:lnTo>
                    <a:pt x="83820" y="372427"/>
                  </a:lnTo>
                  <a:lnTo>
                    <a:pt x="94298" y="386715"/>
                  </a:lnTo>
                  <a:lnTo>
                    <a:pt x="115253" y="386715"/>
                  </a:lnTo>
                  <a:lnTo>
                    <a:pt x="119063" y="372427"/>
                  </a:lnTo>
                  <a:lnTo>
                    <a:pt x="140018" y="365665"/>
                  </a:lnTo>
                  <a:lnTo>
                    <a:pt x="150495" y="343852"/>
                  </a:lnTo>
                  <a:lnTo>
                    <a:pt x="167640" y="365665"/>
                  </a:lnTo>
                  <a:lnTo>
                    <a:pt x="178118" y="390525"/>
                  </a:lnTo>
                  <a:lnTo>
                    <a:pt x="178118" y="418052"/>
                  </a:lnTo>
                  <a:lnTo>
                    <a:pt x="192405" y="453390"/>
                  </a:lnTo>
                  <a:lnTo>
                    <a:pt x="196215" y="463867"/>
                  </a:lnTo>
                  <a:lnTo>
                    <a:pt x="196215" y="488537"/>
                  </a:lnTo>
                  <a:lnTo>
                    <a:pt x="196215" y="506730"/>
                  </a:lnTo>
                  <a:lnTo>
                    <a:pt x="192405" y="520065"/>
                  </a:lnTo>
                  <a:lnTo>
                    <a:pt x="196215" y="534352"/>
                  </a:lnTo>
                  <a:lnTo>
                    <a:pt x="217170" y="517112"/>
                  </a:lnTo>
                  <a:lnTo>
                    <a:pt x="224790" y="496252"/>
                  </a:lnTo>
                  <a:lnTo>
                    <a:pt x="213360" y="478155"/>
                  </a:lnTo>
                  <a:lnTo>
                    <a:pt x="213360" y="449580"/>
                  </a:lnTo>
                  <a:lnTo>
                    <a:pt x="200025" y="428625"/>
                  </a:lnTo>
                  <a:lnTo>
                    <a:pt x="189548" y="414337"/>
                  </a:lnTo>
                  <a:lnTo>
                    <a:pt x="196215" y="397192"/>
                  </a:lnTo>
                  <a:lnTo>
                    <a:pt x="202882" y="379000"/>
                  </a:lnTo>
                  <a:lnTo>
                    <a:pt x="192405" y="351377"/>
                  </a:lnTo>
                  <a:lnTo>
                    <a:pt x="175260" y="337090"/>
                  </a:lnTo>
                  <a:lnTo>
                    <a:pt x="171450" y="326612"/>
                  </a:lnTo>
                  <a:lnTo>
                    <a:pt x="167640" y="308515"/>
                  </a:lnTo>
                  <a:lnTo>
                    <a:pt x="171450" y="298037"/>
                  </a:lnTo>
                  <a:lnTo>
                    <a:pt x="175260" y="291465"/>
                  </a:lnTo>
                  <a:lnTo>
                    <a:pt x="175260" y="270415"/>
                  </a:lnTo>
                  <a:lnTo>
                    <a:pt x="206693" y="266700"/>
                  </a:lnTo>
                  <a:lnTo>
                    <a:pt x="224790" y="252412"/>
                  </a:lnTo>
                  <a:lnTo>
                    <a:pt x="256223" y="235267"/>
                  </a:lnTo>
                  <a:lnTo>
                    <a:pt x="252413" y="217075"/>
                  </a:lnTo>
                  <a:lnTo>
                    <a:pt x="238125" y="217075"/>
                  </a:lnTo>
                  <a:lnTo>
                    <a:pt x="238125" y="20669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64" name="Freeform: Shape 3963">
              <a:extLst>
                <a:ext uri="{FF2B5EF4-FFF2-40B4-BE49-F238E27FC236}">
                  <a16:creationId xmlns:a16="http://schemas.microsoft.com/office/drawing/2014/main" id="{6BC6BF42-0F0D-AEDC-4662-1F4F96238B10}"/>
                </a:ext>
              </a:extLst>
            </p:cNvPr>
            <p:cNvSpPr/>
            <p:nvPr/>
          </p:nvSpPr>
          <p:spPr>
            <a:xfrm>
              <a:off x="8396324" y="3796659"/>
              <a:ext cx="120450" cy="155000"/>
            </a:xfrm>
            <a:custGeom>
              <a:avLst/>
              <a:gdLst>
                <a:gd name="connsiteX0" fmla="*/ 24765 w 122872"/>
                <a:gd name="connsiteY0" fmla="*/ 130588 h 158115"/>
                <a:gd name="connsiteX1" fmla="*/ 17145 w 122872"/>
                <a:gd name="connsiteY1" fmla="*/ 87725 h 158115"/>
                <a:gd name="connsiteX2" fmla="*/ 14288 w 122872"/>
                <a:gd name="connsiteY2" fmla="*/ 66675 h 158115"/>
                <a:gd name="connsiteX3" fmla="*/ 2858 w 122872"/>
                <a:gd name="connsiteY3" fmla="*/ 60103 h 158115"/>
                <a:gd name="connsiteX4" fmla="*/ 0 w 122872"/>
                <a:gd name="connsiteY4" fmla="*/ 45815 h 158115"/>
                <a:gd name="connsiteX5" fmla="*/ 20955 w 122872"/>
                <a:gd name="connsiteY5" fmla="*/ 35338 h 158115"/>
                <a:gd name="connsiteX6" fmla="*/ 6668 w 122872"/>
                <a:gd name="connsiteY6" fmla="*/ 21050 h 158115"/>
                <a:gd name="connsiteX7" fmla="*/ 6668 w 122872"/>
                <a:gd name="connsiteY7" fmla="*/ 10478 h 158115"/>
                <a:gd name="connsiteX8" fmla="*/ 17145 w 122872"/>
                <a:gd name="connsiteY8" fmla="*/ 0 h 158115"/>
                <a:gd name="connsiteX9" fmla="*/ 24765 w 122872"/>
                <a:gd name="connsiteY9" fmla="*/ 10478 h 158115"/>
                <a:gd name="connsiteX10" fmla="*/ 41910 w 122872"/>
                <a:gd name="connsiteY10" fmla="*/ 17240 h 158115"/>
                <a:gd name="connsiteX11" fmla="*/ 52388 w 122872"/>
                <a:gd name="connsiteY11" fmla="*/ 38100 h 158115"/>
                <a:gd name="connsiteX12" fmla="*/ 112395 w 122872"/>
                <a:gd name="connsiteY12" fmla="*/ 38100 h 158115"/>
                <a:gd name="connsiteX13" fmla="*/ 112395 w 122872"/>
                <a:gd name="connsiteY13" fmla="*/ 60103 h 158115"/>
                <a:gd name="connsiteX14" fmla="*/ 98108 w 122872"/>
                <a:gd name="connsiteY14" fmla="*/ 66675 h 158115"/>
                <a:gd name="connsiteX15" fmla="*/ 91440 w 122872"/>
                <a:gd name="connsiteY15" fmla="*/ 70580 h 158115"/>
                <a:gd name="connsiteX16" fmla="*/ 84773 w 122872"/>
                <a:gd name="connsiteY16" fmla="*/ 80963 h 158115"/>
                <a:gd name="connsiteX17" fmla="*/ 84773 w 122872"/>
                <a:gd name="connsiteY17" fmla="*/ 87725 h 158115"/>
                <a:gd name="connsiteX18" fmla="*/ 84773 w 122872"/>
                <a:gd name="connsiteY18" fmla="*/ 95250 h 158115"/>
                <a:gd name="connsiteX19" fmla="*/ 98108 w 122872"/>
                <a:gd name="connsiteY19" fmla="*/ 102013 h 158115"/>
                <a:gd name="connsiteX20" fmla="*/ 105728 w 122872"/>
                <a:gd name="connsiteY20" fmla="*/ 80963 h 158115"/>
                <a:gd name="connsiteX21" fmla="*/ 122873 w 122872"/>
                <a:gd name="connsiteY21" fmla="*/ 83915 h 158115"/>
                <a:gd name="connsiteX22" fmla="*/ 119063 w 122872"/>
                <a:gd name="connsiteY22" fmla="*/ 105728 h 158115"/>
                <a:gd name="connsiteX23" fmla="*/ 119063 w 122872"/>
                <a:gd name="connsiteY23" fmla="*/ 122968 h 158115"/>
                <a:gd name="connsiteX24" fmla="*/ 122873 w 122872"/>
                <a:gd name="connsiteY24" fmla="*/ 133350 h 158115"/>
                <a:gd name="connsiteX25" fmla="*/ 122873 w 122872"/>
                <a:gd name="connsiteY25" fmla="*/ 151543 h 158115"/>
                <a:gd name="connsiteX26" fmla="*/ 112395 w 122872"/>
                <a:gd name="connsiteY26" fmla="*/ 158115 h 158115"/>
                <a:gd name="connsiteX27" fmla="*/ 105728 w 122872"/>
                <a:gd name="connsiteY27" fmla="*/ 143828 h 158115"/>
                <a:gd name="connsiteX28" fmla="*/ 101918 w 122872"/>
                <a:gd name="connsiteY28" fmla="*/ 119063 h 158115"/>
                <a:gd name="connsiteX29" fmla="*/ 95250 w 122872"/>
                <a:gd name="connsiteY29" fmla="*/ 112490 h 158115"/>
                <a:gd name="connsiteX30" fmla="*/ 84773 w 122872"/>
                <a:gd name="connsiteY30" fmla="*/ 108680 h 158115"/>
                <a:gd name="connsiteX31" fmla="*/ 70485 w 122872"/>
                <a:gd name="connsiteY31" fmla="*/ 98203 h 158115"/>
                <a:gd name="connsiteX32" fmla="*/ 62865 w 122872"/>
                <a:gd name="connsiteY32" fmla="*/ 108680 h 158115"/>
                <a:gd name="connsiteX33" fmla="*/ 62865 w 122872"/>
                <a:gd name="connsiteY33" fmla="*/ 130588 h 158115"/>
                <a:gd name="connsiteX34" fmla="*/ 45720 w 122872"/>
                <a:gd name="connsiteY34" fmla="*/ 130588 h 158115"/>
                <a:gd name="connsiteX35" fmla="*/ 24765 w 122872"/>
                <a:gd name="connsiteY35" fmla="*/ 130588 h 158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22872" h="158115">
                  <a:moveTo>
                    <a:pt x="24765" y="130588"/>
                  </a:moveTo>
                  <a:lnTo>
                    <a:pt x="17145" y="87725"/>
                  </a:lnTo>
                  <a:lnTo>
                    <a:pt x="14288" y="66675"/>
                  </a:lnTo>
                  <a:lnTo>
                    <a:pt x="2858" y="60103"/>
                  </a:lnTo>
                  <a:lnTo>
                    <a:pt x="0" y="45815"/>
                  </a:lnTo>
                  <a:lnTo>
                    <a:pt x="20955" y="35338"/>
                  </a:lnTo>
                  <a:lnTo>
                    <a:pt x="6668" y="21050"/>
                  </a:lnTo>
                  <a:lnTo>
                    <a:pt x="6668" y="10478"/>
                  </a:lnTo>
                  <a:lnTo>
                    <a:pt x="17145" y="0"/>
                  </a:lnTo>
                  <a:lnTo>
                    <a:pt x="24765" y="10478"/>
                  </a:lnTo>
                  <a:lnTo>
                    <a:pt x="41910" y="17240"/>
                  </a:lnTo>
                  <a:lnTo>
                    <a:pt x="52388" y="38100"/>
                  </a:lnTo>
                  <a:lnTo>
                    <a:pt x="112395" y="38100"/>
                  </a:lnTo>
                  <a:lnTo>
                    <a:pt x="112395" y="60103"/>
                  </a:lnTo>
                  <a:lnTo>
                    <a:pt x="98108" y="66675"/>
                  </a:lnTo>
                  <a:lnTo>
                    <a:pt x="91440" y="70580"/>
                  </a:lnTo>
                  <a:lnTo>
                    <a:pt x="84773" y="80963"/>
                  </a:lnTo>
                  <a:lnTo>
                    <a:pt x="84773" y="87725"/>
                  </a:lnTo>
                  <a:lnTo>
                    <a:pt x="84773" y="95250"/>
                  </a:lnTo>
                  <a:lnTo>
                    <a:pt x="98108" y="102013"/>
                  </a:lnTo>
                  <a:lnTo>
                    <a:pt x="105728" y="80963"/>
                  </a:lnTo>
                  <a:lnTo>
                    <a:pt x="122873" y="83915"/>
                  </a:lnTo>
                  <a:lnTo>
                    <a:pt x="119063" y="105728"/>
                  </a:lnTo>
                  <a:lnTo>
                    <a:pt x="119063" y="122968"/>
                  </a:lnTo>
                  <a:lnTo>
                    <a:pt x="122873" y="133350"/>
                  </a:lnTo>
                  <a:lnTo>
                    <a:pt x="122873" y="151543"/>
                  </a:lnTo>
                  <a:lnTo>
                    <a:pt x="112395" y="158115"/>
                  </a:lnTo>
                  <a:lnTo>
                    <a:pt x="105728" y="143828"/>
                  </a:lnTo>
                  <a:lnTo>
                    <a:pt x="101918" y="119063"/>
                  </a:lnTo>
                  <a:lnTo>
                    <a:pt x="95250" y="112490"/>
                  </a:lnTo>
                  <a:lnTo>
                    <a:pt x="84773" y="108680"/>
                  </a:lnTo>
                  <a:lnTo>
                    <a:pt x="70485" y="98203"/>
                  </a:lnTo>
                  <a:lnTo>
                    <a:pt x="62865" y="108680"/>
                  </a:lnTo>
                  <a:lnTo>
                    <a:pt x="62865" y="130588"/>
                  </a:lnTo>
                  <a:lnTo>
                    <a:pt x="45720" y="130588"/>
                  </a:lnTo>
                  <a:lnTo>
                    <a:pt x="24765" y="130588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65" name="Freeform: Shape 3964">
              <a:extLst>
                <a:ext uri="{FF2B5EF4-FFF2-40B4-BE49-F238E27FC236}">
                  <a16:creationId xmlns:a16="http://schemas.microsoft.com/office/drawing/2014/main" id="{67A1EDC1-78C1-FCCE-E2E8-E0F5F1E24C76}"/>
                </a:ext>
              </a:extLst>
            </p:cNvPr>
            <p:cNvSpPr/>
            <p:nvPr/>
          </p:nvSpPr>
          <p:spPr>
            <a:xfrm>
              <a:off x="7672688" y="3482925"/>
              <a:ext cx="441651" cy="390393"/>
            </a:xfrm>
            <a:custGeom>
              <a:avLst/>
              <a:gdLst>
                <a:gd name="connsiteX0" fmla="*/ 224790 w 450532"/>
                <a:gd name="connsiteY0" fmla="*/ 379190 h 398240"/>
                <a:gd name="connsiteX1" fmla="*/ 228600 w 450532"/>
                <a:gd name="connsiteY1" fmla="*/ 387667 h 398240"/>
                <a:gd name="connsiteX2" fmla="*/ 242888 w 450532"/>
                <a:gd name="connsiteY2" fmla="*/ 398240 h 398240"/>
                <a:gd name="connsiteX3" fmla="*/ 249555 w 450532"/>
                <a:gd name="connsiteY3" fmla="*/ 387667 h 398240"/>
                <a:gd name="connsiteX4" fmla="*/ 274320 w 450532"/>
                <a:gd name="connsiteY4" fmla="*/ 387667 h 398240"/>
                <a:gd name="connsiteX5" fmla="*/ 274320 w 450532"/>
                <a:gd name="connsiteY5" fmla="*/ 370618 h 398240"/>
                <a:gd name="connsiteX6" fmla="*/ 297180 w 450532"/>
                <a:gd name="connsiteY6" fmla="*/ 363855 h 398240"/>
                <a:gd name="connsiteX7" fmla="*/ 287655 w 450532"/>
                <a:gd name="connsiteY7" fmla="*/ 343852 h 398240"/>
                <a:gd name="connsiteX8" fmla="*/ 280035 w 450532"/>
                <a:gd name="connsiteY8" fmla="*/ 319183 h 398240"/>
                <a:gd name="connsiteX9" fmla="*/ 272415 w 450532"/>
                <a:gd name="connsiteY9" fmla="*/ 313468 h 398240"/>
                <a:gd name="connsiteX10" fmla="*/ 274320 w 450532"/>
                <a:gd name="connsiteY10" fmla="*/ 305752 h 398240"/>
                <a:gd name="connsiteX11" fmla="*/ 268605 w 450532"/>
                <a:gd name="connsiteY11" fmla="*/ 296227 h 398240"/>
                <a:gd name="connsiteX12" fmla="*/ 263843 w 450532"/>
                <a:gd name="connsiteY12" fmla="*/ 281940 h 398240"/>
                <a:gd name="connsiteX13" fmla="*/ 278130 w 450532"/>
                <a:gd name="connsiteY13" fmla="*/ 289655 h 398240"/>
                <a:gd name="connsiteX14" fmla="*/ 302895 w 450532"/>
                <a:gd name="connsiteY14" fmla="*/ 281940 h 398240"/>
                <a:gd name="connsiteX15" fmla="*/ 390525 w 450532"/>
                <a:gd name="connsiteY15" fmla="*/ 199168 h 398240"/>
                <a:gd name="connsiteX16" fmla="*/ 418148 w 450532"/>
                <a:gd name="connsiteY16" fmla="*/ 151543 h 398240"/>
                <a:gd name="connsiteX17" fmla="*/ 403860 w 450532"/>
                <a:gd name="connsiteY17" fmla="*/ 142970 h 398240"/>
                <a:gd name="connsiteX18" fmla="*/ 393383 w 450532"/>
                <a:gd name="connsiteY18" fmla="*/ 135255 h 398240"/>
                <a:gd name="connsiteX19" fmla="*/ 381953 w 450532"/>
                <a:gd name="connsiteY19" fmla="*/ 119158 h 398240"/>
                <a:gd name="connsiteX20" fmla="*/ 373380 w 450532"/>
                <a:gd name="connsiteY20" fmla="*/ 83915 h 398240"/>
                <a:gd name="connsiteX21" fmla="*/ 411480 w 450532"/>
                <a:gd name="connsiteY21" fmla="*/ 81058 h 398240"/>
                <a:gd name="connsiteX22" fmla="*/ 440055 w 450532"/>
                <a:gd name="connsiteY22" fmla="*/ 74390 h 398240"/>
                <a:gd name="connsiteX23" fmla="*/ 446723 w 450532"/>
                <a:gd name="connsiteY23" fmla="*/ 53435 h 398240"/>
                <a:gd name="connsiteX24" fmla="*/ 450533 w 450532"/>
                <a:gd name="connsiteY24" fmla="*/ 42005 h 398240"/>
                <a:gd name="connsiteX25" fmla="*/ 415290 w 450532"/>
                <a:gd name="connsiteY25" fmla="*/ 28575 h 398240"/>
                <a:gd name="connsiteX26" fmla="*/ 415290 w 450532"/>
                <a:gd name="connsiteY26" fmla="*/ 10573 h 398240"/>
                <a:gd name="connsiteX27" fmla="*/ 394335 w 450532"/>
                <a:gd name="connsiteY27" fmla="*/ 3905 h 398240"/>
                <a:gd name="connsiteX28" fmla="*/ 383858 w 450532"/>
                <a:gd name="connsiteY28" fmla="*/ 0 h 398240"/>
                <a:gd name="connsiteX29" fmla="*/ 362903 w 450532"/>
                <a:gd name="connsiteY29" fmla="*/ 3905 h 398240"/>
                <a:gd name="connsiteX30" fmla="*/ 334328 w 450532"/>
                <a:gd name="connsiteY30" fmla="*/ 3905 h 398240"/>
                <a:gd name="connsiteX31" fmla="*/ 320040 w 450532"/>
                <a:gd name="connsiteY31" fmla="*/ 3905 h 398240"/>
                <a:gd name="connsiteX32" fmla="*/ 292418 w 450532"/>
                <a:gd name="connsiteY32" fmla="*/ 20955 h 398240"/>
                <a:gd name="connsiteX33" fmla="*/ 281940 w 450532"/>
                <a:gd name="connsiteY33" fmla="*/ 31528 h 398240"/>
                <a:gd name="connsiteX34" fmla="*/ 292418 w 450532"/>
                <a:gd name="connsiteY34" fmla="*/ 53435 h 398240"/>
                <a:gd name="connsiteX35" fmla="*/ 281940 w 450532"/>
                <a:gd name="connsiteY35" fmla="*/ 88678 h 398240"/>
                <a:gd name="connsiteX36" fmla="*/ 253365 w 450532"/>
                <a:gd name="connsiteY36" fmla="*/ 99155 h 398240"/>
                <a:gd name="connsiteX37" fmla="*/ 246698 w 450532"/>
                <a:gd name="connsiteY37" fmla="*/ 120015 h 398240"/>
                <a:gd name="connsiteX38" fmla="*/ 236220 w 450532"/>
                <a:gd name="connsiteY38" fmla="*/ 126778 h 398240"/>
                <a:gd name="connsiteX39" fmla="*/ 228600 w 450532"/>
                <a:gd name="connsiteY39" fmla="*/ 144780 h 398240"/>
                <a:gd name="connsiteX40" fmla="*/ 228600 w 450532"/>
                <a:gd name="connsiteY40" fmla="*/ 169640 h 398240"/>
                <a:gd name="connsiteX41" fmla="*/ 186690 w 450532"/>
                <a:gd name="connsiteY41" fmla="*/ 169640 h 398240"/>
                <a:gd name="connsiteX42" fmla="*/ 179070 w 450532"/>
                <a:gd name="connsiteY42" fmla="*/ 183928 h 398240"/>
                <a:gd name="connsiteX43" fmla="*/ 151448 w 450532"/>
                <a:gd name="connsiteY43" fmla="*/ 183928 h 398240"/>
                <a:gd name="connsiteX44" fmla="*/ 143828 w 450532"/>
                <a:gd name="connsiteY44" fmla="*/ 194405 h 398240"/>
                <a:gd name="connsiteX45" fmla="*/ 140970 w 450532"/>
                <a:gd name="connsiteY45" fmla="*/ 225742 h 398240"/>
                <a:gd name="connsiteX46" fmla="*/ 122873 w 450532"/>
                <a:gd name="connsiteY46" fmla="*/ 229552 h 398240"/>
                <a:gd name="connsiteX47" fmla="*/ 95250 w 450532"/>
                <a:gd name="connsiteY47" fmla="*/ 232505 h 398240"/>
                <a:gd name="connsiteX48" fmla="*/ 60008 w 450532"/>
                <a:gd name="connsiteY48" fmla="*/ 236315 h 398240"/>
                <a:gd name="connsiteX49" fmla="*/ 27623 w 450532"/>
                <a:gd name="connsiteY49" fmla="*/ 236315 h 398240"/>
                <a:gd name="connsiteX50" fmla="*/ 17145 w 450532"/>
                <a:gd name="connsiteY50" fmla="*/ 225742 h 398240"/>
                <a:gd name="connsiteX51" fmla="*/ 0 w 450532"/>
                <a:gd name="connsiteY51" fmla="*/ 232505 h 398240"/>
                <a:gd name="connsiteX52" fmla="*/ 27623 w 450532"/>
                <a:gd name="connsiteY52" fmla="*/ 267652 h 398240"/>
                <a:gd name="connsiteX53" fmla="*/ 49530 w 450532"/>
                <a:gd name="connsiteY53" fmla="*/ 285845 h 398240"/>
                <a:gd name="connsiteX54" fmla="*/ 49530 w 450532"/>
                <a:gd name="connsiteY54" fmla="*/ 306705 h 398240"/>
                <a:gd name="connsiteX55" fmla="*/ 62865 w 450532"/>
                <a:gd name="connsiteY55" fmla="*/ 306705 h 398240"/>
                <a:gd name="connsiteX56" fmla="*/ 62865 w 450532"/>
                <a:gd name="connsiteY56" fmla="*/ 320992 h 398240"/>
                <a:gd name="connsiteX57" fmla="*/ 39053 w 450532"/>
                <a:gd name="connsiteY57" fmla="*/ 324802 h 398240"/>
                <a:gd name="connsiteX58" fmla="*/ 14288 w 450532"/>
                <a:gd name="connsiteY58" fmla="*/ 338233 h 398240"/>
                <a:gd name="connsiteX59" fmla="*/ 14288 w 450532"/>
                <a:gd name="connsiteY59" fmla="*/ 366808 h 398240"/>
                <a:gd name="connsiteX60" fmla="*/ 60008 w 450532"/>
                <a:gd name="connsiteY60" fmla="*/ 370618 h 398240"/>
                <a:gd name="connsiteX61" fmla="*/ 66675 w 450532"/>
                <a:gd name="connsiteY61" fmla="*/ 360140 h 398240"/>
                <a:gd name="connsiteX62" fmla="*/ 151448 w 450532"/>
                <a:gd name="connsiteY62" fmla="*/ 352520 h 398240"/>
                <a:gd name="connsiteX63" fmla="*/ 153353 w 450532"/>
                <a:gd name="connsiteY63" fmla="*/ 374428 h 398240"/>
                <a:gd name="connsiteX64" fmla="*/ 224790 w 450532"/>
                <a:gd name="connsiteY64" fmla="*/ 379190 h 398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450532" h="398240">
                  <a:moveTo>
                    <a:pt x="224790" y="379190"/>
                  </a:moveTo>
                  <a:lnTo>
                    <a:pt x="228600" y="387667"/>
                  </a:lnTo>
                  <a:lnTo>
                    <a:pt x="242888" y="398240"/>
                  </a:lnTo>
                  <a:lnTo>
                    <a:pt x="249555" y="387667"/>
                  </a:lnTo>
                  <a:lnTo>
                    <a:pt x="274320" y="387667"/>
                  </a:lnTo>
                  <a:lnTo>
                    <a:pt x="274320" y="370618"/>
                  </a:lnTo>
                  <a:lnTo>
                    <a:pt x="297180" y="363855"/>
                  </a:lnTo>
                  <a:lnTo>
                    <a:pt x="287655" y="343852"/>
                  </a:lnTo>
                  <a:lnTo>
                    <a:pt x="280035" y="319183"/>
                  </a:lnTo>
                  <a:lnTo>
                    <a:pt x="272415" y="313468"/>
                  </a:lnTo>
                  <a:lnTo>
                    <a:pt x="274320" y="305752"/>
                  </a:lnTo>
                  <a:lnTo>
                    <a:pt x="268605" y="296227"/>
                  </a:lnTo>
                  <a:lnTo>
                    <a:pt x="263843" y="281940"/>
                  </a:lnTo>
                  <a:lnTo>
                    <a:pt x="278130" y="289655"/>
                  </a:lnTo>
                  <a:lnTo>
                    <a:pt x="302895" y="281940"/>
                  </a:lnTo>
                  <a:lnTo>
                    <a:pt x="390525" y="199168"/>
                  </a:lnTo>
                  <a:lnTo>
                    <a:pt x="418148" y="151543"/>
                  </a:lnTo>
                  <a:lnTo>
                    <a:pt x="403860" y="142970"/>
                  </a:lnTo>
                  <a:lnTo>
                    <a:pt x="393383" y="135255"/>
                  </a:lnTo>
                  <a:lnTo>
                    <a:pt x="381953" y="119158"/>
                  </a:lnTo>
                  <a:lnTo>
                    <a:pt x="373380" y="83915"/>
                  </a:lnTo>
                  <a:lnTo>
                    <a:pt x="411480" y="81058"/>
                  </a:lnTo>
                  <a:lnTo>
                    <a:pt x="440055" y="74390"/>
                  </a:lnTo>
                  <a:lnTo>
                    <a:pt x="446723" y="53435"/>
                  </a:lnTo>
                  <a:lnTo>
                    <a:pt x="450533" y="42005"/>
                  </a:lnTo>
                  <a:lnTo>
                    <a:pt x="415290" y="28575"/>
                  </a:lnTo>
                  <a:lnTo>
                    <a:pt x="415290" y="10573"/>
                  </a:lnTo>
                  <a:lnTo>
                    <a:pt x="394335" y="3905"/>
                  </a:lnTo>
                  <a:lnTo>
                    <a:pt x="383858" y="0"/>
                  </a:lnTo>
                  <a:lnTo>
                    <a:pt x="362903" y="3905"/>
                  </a:lnTo>
                  <a:lnTo>
                    <a:pt x="334328" y="3905"/>
                  </a:lnTo>
                  <a:lnTo>
                    <a:pt x="320040" y="3905"/>
                  </a:lnTo>
                  <a:lnTo>
                    <a:pt x="292418" y="20955"/>
                  </a:lnTo>
                  <a:lnTo>
                    <a:pt x="281940" y="31528"/>
                  </a:lnTo>
                  <a:lnTo>
                    <a:pt x="292418" y="53435"/>
                  </a:lnTo>
                  <a:lnTo>
                    <a:pt x="281940" y="88678"/>
                  </a:lnTo>
                  <a:lnTo>
                    <a:pt x="253365" y="99155"/>
                  </a:lnTo>
                  <a:lnTo>
                    <a:pt x="246698" y="120015"/>
                  </a:lnTo>
                  <a:lnTo>
                    <a:pt x="236220" y="126778"/>
                  </a:lnTo>
                  <a:lnTo>
                    <a:pt x="228600" y="144780"/>
                  </a:lnTo>
                  <a:lnTo>
                    <a:pt x="228600" y="169640"/>
                  </a:lnTo>
                  <a:lnTo>
                    <a:pt x="186690" y="169640"/>
                  </a:lnTo>
                  <a:lnTo>
                    <a:pt x="179070" y="183928"/>
                  </a:lnTo>
                  <a:lnTo>
                    <a:pt x="151448" y="183928"/>
                  </a:lnTo>
                  <a:lnTo>
                    <a:pt x="143828" y="194405"/>
                  </a:lnTo>
                  <a:lnTo>
                    <a:pt x="140970" y="225742"/>
                  </a:lnTo>
                  <a:lnTo>
                    <a:pt x="122873" y="229552"/>
                  </a:lnTo>
                  <a:lnTo>
                    <a:pt x="95250" y="232505"/>
                  </a:lnTo>
                  <a:lnTo>
                    <a:pt x="60008" y="236315"/>
                  </a:lnTo>
                  <a:lnTo>
                    <a:pt x="27623" y="236315"/>
                  </a:lnTo>
                  <a:lnTo>
                    <a:pt x="17145" y="225742"/>
                  </a:lnTo>
                  <a:lnTo>
                    <a:pt x="0" y="232505"/>
                  </a:lnTo>
                  <a:lnTo>
                    <a:pt x="27623" y="267652"/>
                  </a:lnTo>
                  <a:lnTo>
                    <a:pt x="49530" y="285845"/>
                  </a:lnTo>
                  <a:lnTo>
                    <a:pt x="49530" y="306705"/>
                  </a:lnTo>
                  <a:lnTo>
                    <a:pt x="62865" y="306705"/>
                  </a:lnTo>
                  <a:lnTo>
                    <a:pt x="62865" y="320992"/>
                  </a:lnTo>
                  <a:lnTo>
                    <a:pt x="39053" y="324802"/>
                  </a:lnTo>
                  <a:lnTo>
                    <a:pt x="14288" y="338233"/>
                  </a:lnTo>
                  <a:lnTo>
                    <a:pt x="14288" y="366808"/>
                  </a:lnTo>
                  <a:lnTo>
                    <a:pt x="60008" y="370618"/>
                  </a:lnTo>
                  <a:lnTo>
                    <a:pt x="66675" y="360140"/>
                  </a:lnTo>
                  <a:lnTo>
                    <a:pt x="151448" y="352520"/>
                  </a:lnTo>
                  <a:lnTo>
                    <a:pt x="153353" y="374428"/>
                  </a:lnTo>
                  <a:lnTo>
                    <a:pt x="224790" y="37919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66" name="Freeform: Shape 3965">
              <a:extLst>
                <a:ext uri="{FF2B5EF4-FFF2-40B4-BE49-F238E27FC236}">
                  <a16:creationId xmlns:a16="http://schemas.microsoft.com/office/drawing/2014/main" id="{58EE815B-AE7E-2DDC-C3FE-B9FE1F514871}"/>
                </a:ext>
              </a:extLst>
            </p:cNvPr>
            <p:cNvSpPr/>
            <p:nvPr/>
          </p:nvSpPr>
          <p:spPr>
            <a:xfrm>
              <a:off x="8189972" y="3683771"/>
              <a:ext cx="221292" cy="124186"/>
            </a:xfrm>
            <a:custGeom>
              <a:avLst/>
              <a:gdLst>
                <a:gd name="connsiteX0" fmla="*/ 28575 w 225742"/>
                <a:gd name="connsiteY0" fmla="*/ 10382 h 126682"/>
                <a:gd name="connsiteX1" fmla="*/ 53340 w 225742"/>
                <a:gd name="connsiteY1" fmla="*/ 0 h 126682"/>
                <a:gd name="connsiteX2" fmla="*/ 78105 w 225742"/>
                <a:gd name="connsiteY2" fmla="*/ 24670 h 126682"/>
                <a:gd name="connsiteX3" fmla="*/ 105727 w 225742"/>
                <a:gd name="connsiteY3" fmla="*/ 38100 h 126682"/>
                <a:gd name="connsiteX4" fmla="*/ 127635 w 225742"/>
                <a:gd name="connsiteY4" fmla="*/ 52388 h 126682"/>
                <a:gd name="connsiteX5" fmla="*/ 155257 w 225742"/>
                <a:gd name="connsiteY5" fmla="*/ 70485 h 126682"/>
                <a:gd name="connsiteX6" fmla="*/ 183832 w 225742"/>
                <a:gd name="connsiteY6" fmla="*/ 77057 h 126682"/>
                <a:gd name="connsiteX7" fmla="*/ 225743 w 225742"/>
                <a:gd name="connsiteY7" fmla="*/ 80963 h 126682"/>
                <a:gd name="connsiteX8" fmla="*/ 225743 w 225742"/>
                <a:gd name="connsiteY8" fmla="*/ 101822 h 126682"/>
                <a:gd name="connsiteX9" fmla="*/ 220027 w 225742"/>
                <a:gd name="connsiteY9" fmla="*/ 111347 h 126682"/>
                <a:gd name="connsiteX10" fmla="*/ 180023 w 225742"/>
                <a:gd name="connsiteY10" fmla="*/ 126683 h 126682"/>
                <a:gd name="connsiteX11" fmla="*/ 155257 w 225742"/>
                <a:gd name="connsiteY11" fmla="*/ 124682 h 126682"/>
                <a:gd name="connsiteX12" fmla="*/ 121920 w 225742"/>
                <a:gd name="connsiteY12" fmla="*/ 117158 h 126682"/>
                <a:gd name="connsiteX13" fmla="*/ 84773 w 225742"/>
                <a:gd name="connsiteY13" fmla="*/ 98108 h 126682"/>
                <a:gd name="connsiteX14" fmla="*/ 58102 w 225742"/>
                <a:gd name="connsiteY14" fmla="*/ 95250 h 126682"/>
                <a:gd name="connsiteX15" fmla="*/ 32385 w 225742"/>
                <a:gd name="connsiteY15" fmla="*/ 78010 h 126682"/>
                <a:gd name="connsiteX16" fmla="*/ 0 w 225742"/>
                <a:gd name="connsiteY16" fmla="*/ 52388 h 126682"/>
                <a:gd name="connsiteX17" fmla="*/ 7620 w 225742"/>
                <a:gd name="connsiteY17" fmla="*/ 24670 h 126682"/>
                <a:gd name="connsiteX18" fmla="*/ 28575 w 225742"/>
                <a:gd name="connsiteY18" fmla="*/ 10382 h 1266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5742" h="126682">
                  <a:moveTo>
                    <a:pt x="28575" y="10382"/>
                  </a:moveTo>
                  <a:lnTo>
                    <a:pt x="53340" y="0"/>
                  </a:lnTo>
                  <a:lnTo>
                    <a:pt x="78105" y="24670"/>
                  </a:lnTo>
                  <a:lnTo>
                    <a:pt x="105727" y="38100"/>
                  </a:lnTo>
                  <a:lnTo>
                    <a:pt x="127635" y="52388"/>
                  </a:lnTo>
                  <a:lnTo>
                    <a:pt x="155257" y="70485"/>
                  </a:lnTo>
                  <a:lnTo>
                    <a:pt x="183832" y="77057"/>
                  </a:lnTo>
                  <a:lnTo>
                    <a:pt x="225743" y="80963"/>
                  </a:lnTo>
                  <a:lnTo>
                    <a:pt x="225743" y="101822"/>
                  </a:lnTo>
                  <a:lnTo>
                    <a:pt x="220027" y="111347"/>
                  </a:lnTo>
                  <a:lnTo>
                    <a:pt x="180023" y="126683"/>
                  </a:lnTo>
                  <a:lnTo>
                    <a:pt x="155257" y="124682"/>
                  </a:lnTo>
                  <a:lnTo>
                    <a:pt x="121920" y="117158"/>
                  </a:lnTo>
                  <a:lnTo>
                    <a:pt x="84773" y="98108"/>
                  </a:lnTo>
                  <a:lnTo>
                    <a:pt x="58102" y="95250"/>
                  </a:lnTo>
                  <a:lnTo>
                    <a:pt x="32385" y="78010"/>
                  </a:lnTo>
                  <a:lnTo>
                    <a:pt x="0" y="52388"/>
                  </a:lnTo>
                  <a:lnTo>
                    <a:pt x="7620" y="24670"/>
                  </a:lnTo>
                  <a:lnTo>
                    <a:pt x="28575" y="10382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67" name="Freeform: Shape 3966">
              <a:extLst>
                <a:ext uri="{FF2B5EF4-FFF2-40B4-BE49-F238E27FC236}">
                  <a16:creationId xmlns:a16="http://schemas.microsoft.com/office/drawing/2014/main" id="{AA801B82-9048-EF03-D70D-8E2685238A2E}"/>
                </a:ext>
              </a:extLst>
            </p:cNvPr>
            <p:cNvSpPr/>
            <p:nvPr/>
          </p:nvSpPr>
          <p:spPr>
            <a:xfrm>
              <a:off x="8414999" y="3745303"/>
              <a:ext cx="85903" cy="44912"/>
            </a:xfrm>
            <a:custGeom>
              <a:avLst/>
              <a:gdLst>
                <a:gd name="connsiteX0" fmla="*/ 17145 w 87630"/>
                <a:gd name="connsiteY0" fmla="*/ 0 h 45815"/>
                <a:gd name="connsiteX1" fmla="*/ 6668 w 87630"/>
                <a:gd name="connsiteY1" fmla="*/ 10478 h 45815"/>
                <a:gd name="connsiteX2" fmla="*/ 3810 w 87630"/>
                <a:gd name="connsiteY2" fmla="*/ 10478 h 45815"/>
                <a:gd name="connsiteX3" fmla="*/ 0 w 87630"/>
                <a:gd name="connsiteY3" fmla="*/ 24765 h 45815"/>
                <a:gd name="connsiteX4" fmla="*/ 3810 w 87630"/>
                <a:gd name="connsiteY4" fmla="*/ 35338 h 45815"/>
                <a:gd name="connsiteX5" fmla="*/ 14288 w 87630"/>
                <a:gd name="connsiteY5" fmla="*/ 42863 h 45815"/>
                <a:gd name="connsiteX6" fmla="*/ 28575 w 87630"/>
                <a:gd name="connsiteY6" fmla="*/ 45815 h 45815"/>
                <a:gd name="connsiteX7" fmla="*/ 56198 w 87630"/>
                <a:gd name="connsiteY7" fmla="*/ 42863 h 45815"/>
                <a:gd name="connsiteX8" fmla="*/ 80963 w 87630"/>
                <a:gd name="connsiteY8" fmla="*/ 39053 h 45815"/>
                <a:gd name="connsiteX9" fmla="*/ 87630 w 87630"/>
                <a:gd name="connsiteY9" fmla="*/ 28575 h 45815"/>
                <a:gd name="connsiteX10" fmla="*/ 80963 w 87630"/>
                <a:gd name="connsiteY10" fmla="*/ 10478 h 45815"/>
                <a:gd name="connsiteX11" fmla="*/ 56198 w 87630"/>
                <a:gd name="connsiteY11" fmla="*/ 7715 h 45815"/>
                <a:gd name="connsiteX12" fmla="*/ 35243 w 87630"/>
                <a:gd name="connsiteY12" fmla="*/ 0 h 45815"/>
                <a:gd name="connsiteX13" fmla="*/ 17145 w 87630"/>
                <a:gd name="connsiteY13" fmla="*/ 0 h 458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7630" h="45815">
                  <a:moveTo>
                    <a:pt x="17145" y="0"/>
                  </a:moveTo>
                  <a:lnTo>
                    <a:pt x="6668" y="10478"/>
                  </a:lnTo>
                  <a:lnTo>
                    <a:pt x="3810" y="10478"/>
                  </a:lnTo>
                  <a:lnTo>
                    <a:pt x="0" y="24765"/>
                  </a:lnTo>
                  <a:lnTo>
                    <a:pt x="3810" y="35338"/>
                  </a:lnTo>
                  <a:lnTo>
                    <a:pt x="14288" y="42863"/>
                  </a:lnTo>
                  <a:lnTo>
                    <a:pt x="28575" y="45815"/>
                  </a:lnTo>
                  <a:lnTo>
                    <a:pt x="56198" y="42863"/>
                  </a:lnTo>
                  <a:lnTo>
                    <a:pt x="80963" y="39053"/>
                  </a:lnTo>
                  <a:lnTo>
                    <a:pt x="87630" y="28575"/>
                  </a:lnTo>
                  <a:lnTo>
                    <a:pt x="80963" y="10478"/>
                  </a:lnTo>
                  <a:lnTo>
                    <a:pt x="56198" y="7715"/>
                  </a:lnTo>
                  <a:lnTo>
                    <a:pt x="35243" y="0"/>
                  </a:lnTo>
                  <a:lnTo>
                    <a:pt x="17145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68" name="Freeform: Shape 3967">
              <a:extLst>
                <a:ext uri="{FF2B5EF4-FFF2-40B4-BE49-F238E27FC236}">
                  <a16:creationId xmlns:a16="http://schemas.microsoft.com/office/drawing/2014/main" id="{C4C0A31B-BB56-02E1-4A99-7C72BD9F9C88}"/>
                </a:ext>
              </a:extLst>
            </p:cNvPr>
            <p:cNvSpPr/>
            <p:nvPr/>
          </p:nvSpPr>
          <p:spPr>
            <a:xfrm>
              <a:off x="8187171" y="4278465"/>
              <a:ext cx="55089" cy="100002"/>
            </a:xfrm>
            <a:custGeom>
              <a:avLst/>
              <a:gdLst>
                <a:gd name="connsiteX0" fmla="*/ 10477 w 56197"/>
                <a:gd name="connsiteY0" fmla="*/ 0 h 102012"/>
                <a:gd name="connsiteX1" fmla="*/ 27622 w 56197"/>
                <a:gd name="connsiteY1" fmla="*/ 21050 h 102012"/>
                <a:gd name="connsiteX2" fmla="*/ 45720 w 56197"/>
                <a:gd name="connsiteY2" fmla="*/ 45815 h 102012"/>
                <a:gd name="connsiteX3" fmla="*/ 56197 w 56197"/>
                <a:gd name="connsiteY3" fmla="*/ 70485 h 102012"/>
                <a:gd name="connsiteX4" fmla="*/ 45720 w 56197"/>
                <a:gd name="connsiteY4" fmla="*/ 98203 h 102012"/>
                <a:gd name="connsiteX5" fmla="*/ 27622 w 56197"/>
                <a:gd name="connsiteY5" fmla="*/ 102013 h 102012"/>
                <a:gd name="connsiteX6" fmla="*/ 10477 w 56197"/>
                <a:gd name="connsiteY6" fmla="*/ 98203 h 102012"/>
                <a:gd name="connsiteX7" fmla="*/ 0 w 56197"/>
                <a:gd name="connsiteY7" fmla="*/ 77248 h 102012"/>
                <a:gd name="connsiteX8" fmla="*/ 0 w 56197"/>
                <a:gd name="connsiteY8" fmla="*/ 45815 h 102012"/>
                <a:gd name="connsiteX9" fmla="*/ 6668 w 56197"/>
                <a:gd name="connsiteY9" fmla="*/ 21050 h 102012"/>
                <a:gd name="connsiteX10" fmla="*/ 10477 w 56197"/>
                <a:gd name="connsiteY10" fmla="*/ 0 h 1020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6197" h="102012">
                  <a:moveTo>
                    <a:pt x="10477" y="0"/>
                  </a:moveTo>
                  <a:lnTo>
                    <a:pt x="27622" y="21050"/>
                  </a:lnTo>
                  <a:lnTo>
                    <a:pt x="45720" y="45815"/>
                  </a:lnTo>
                  <a:lnTo>
                    <a:pt x="56197" y="70485"/>
                  </a:lnTo>
                  <a:lnTo>
                    <a:pt x="45720" y="98203"/>
                  </a:lnTo>
                  <a:lnTo>
                    <a:pt x="27622" y="102013"/>
                  </a:lnTo>
                  <a:lnTo>
                    <a:pt x="10477" y="98203"/>
                  </a:lnTo>
                  <a:lnTo>
                    <a:pt x="0" y="77248"/>
                  </a:lnTo>
                  <a:lnTo>
                    <a:pt x="0" y="45815"/>
                  </a:lnTo>
                  <a:lnTo>
                    <a:pt x="6668" y="21050"/>
                  </a:lnTo>
                  <a:lnTo>
                    <a:pt x="10477" y="0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69" name="Freeform: Shape 3968">
              <a:extLst>
                <a:ext uri="{FF2B5EF4-FFF2-40B4-BE49-F238E27FC236}">
                  <a16:creationId xmlns:a16="http://schemas.microsoft.com/office/drawing/2014/main" id="{3FF9600C-083A-2B12-371E-A99763F08850}"/>
                </a:ext>
              </a:extLst>
            </p:cNvPr>
            <p:cNvSpPr/>
            <p:nvPr/>
          </p:nvSpPr>
          <p:spPr>
            <a:xfrm>
              <a:off x="7867836" y="3488621"/>
              <a:ext cx="766587" cy="818882"/>
            </a:xfrm>
            <a:custGeom>
              <a:avLst/>
              <a:gdLst>
                <a:gd name="connsiteX0" fmla="*/ 782002 w 782002"/>
                <a:gd name="connsiteY0" fmla="*/ 264795 h 835342"/>
                <a:gd name="connsiteX1" fmla="*/ 782002 w 782002"/>
                <a:gd name="connsiteY1" fmla="*/ 253365 h 835342"/>
                <a:gd name="connsiteX2" fmla="*/ 751523 w 782002"/>
                <a:gd name="connsiteY2" fmla="*/ 250507 h 835342"/>
                <a:gd name="connsiteX3" fmla="*/ 751523 w 782002"/>
                <a:gd name="connsiteY3" fmla="*/ 232410 h 835342"/>
                <a:gd name="connsiteX4" fmla="*/ 752475 w 782002"/>
                <a:gd name="connsiteY4" fmla="*/ 225742 h 835342"/>
                <a:gd name="connsiteX5" fmla="*/ 739140 w 782002"/>
                <a:gd name="connsiteY5" fmla="*/ 220980 h 835342"/>
                <a:gd name="connsiteX6" fmla="*/ 730568 w 782002"/>
                <a:gd name="connsiteY6" fmla="*/ 228600 h 835342"/>
                <a:gd name="connsiteX7" fmla="*/ 712470 w 782002"/>
                <a:gd name="connsiteY7" fmla="*/ 230505 h 835342"/>
                <a:gd name="connsiteX8" fmla="*/ 707707 w 782002"/>
                <a:gd name="connsiteY8" fmla="*/ 225742 h 835342"/>
                <a:gd name="connsiteX9" fmla="*/ 688657 w 782002"/>
                <a:gd name="connsiteY9" fmla="*/ 243840 h 835342"/>
                <a:gd name="connsiteX10" fmla="*/ 670560 w 782002"/>
                <a:gd name="connsiteY10" fmla="*/ 252413 h 835342"/>
                <a:gd name="connsiteX11" fmla="*/ 637223 w 782002"/>
                <a:gd name="connsiteY11" fmla="*/ 274320 h 835342"/>
                <a:gd name="connsiteX12" fmla="*/ 628650 w 782002"/>
                <a:gd name="connsiteY12" fmla="*/ 271463 h 835342"/>
                <a:gd name="connsiteX13" fmla="*/ 630555 w 782002"/>
                <a:gd name="connsiteY13" fmla="*/ 287655 h 835342"/>
                <a:gd name="connsiteX14" fmla="*/ 641985 w 782002"/>
                <a:gd name="connsiteY14" fmla="*/ 288607 h 835342"/>
                <a:gd name="connsiteX15" fmla="*/ 642938 w 782002"/>
                <a:gd name="connsiteY15" fmla="*/ 300990 h 835342"/>
                <a:gd name="connsiteX16" fmla="*/ 618173 w 782002"/>
                <a:gd name="connsiteY16" fmla="*/ 304800 h 835342"/>
                <a:gd name="connsiteX17" fmla="*/ 591502 w 782002"/>
                <a:gd name="connsiteY17" fmla="*/ 306705 h 835342"/>
                <a:gd name="connsiteX18" fmla="*/ 564832 w 782002"/>
                <a:gd name="connsiteY18" fmla="*/ 300990 h 835342"/>
                <a:gd name="connsiteX19" fmla="*/ 565785 w 782002"/>
                <a:gd name="connsiteY19" fmla="*/ 275272 h 835342"/>
                <a:gd name="connsiteX20" fmla="*/ 553402 w 782002"/>
                <a:gd name="connsiteY20" fmla="*/ 262890 h 835342"/>
                <a:gd name="connsiteX21" fmla="*/ 536257 w 782002"/>
                <a:gd name="connsiteY21" fmla="*/ 286702 h 835342"/>
                <a:gd name="connsiteX22" fmla="*/ 537210 w 782002"/>
                <a:gd name="connsiteY22" fmla="*/ 317182 h 835342"/>
                <a:gd name="connsiteX23" fmla="*/ 514350 w 782002"/>
                <a:gd name="connsiteY23" fmla="*/ 313372 h 835342"/>
                <a:gd name="connsiteX24" fmla="*/ 487680 w 782002"/>
                <a:gd name="connsiteY24" fmla="*/ 309563 h 835342"/>
                <a:gd name="connsiteX25" fmla="*/ 481965 w 782002"/>
                <a:gd name="connsiteY25" fmla="*/ 311467 h 835342"/>
                <a:gd name="connsiteX26" fmla="*/ 468630 w 782002"/>
                <a:gd name="connsiteY26" fmla="*/ 307657 h 835342"/>
                <a:gd name="connsiteX27" fmla="*/ 453390 w 782002"/>
                <a:gd name="connsiteY27" fmla="*/ 296227 h 835342"/>
                <a:gd name="connsiteX28" fmla="*/ 426720 w 782002"/>
                <a:gd name="connsiteY28" fmla="*/ 290513 h 835342"/>
                <a:gd name="connsiteX29" fmla="*/ 415290 w 782002"/>
                <a:gd name="connsiteY29" fmla="*/ 289560 h 835342"/>
                <a:gd name="connsiteX30" fmla="*/ 404813 w 782002"/>
                <a:gd name="connsiteY30" fmla="*/ 285750 h 835342"/>
                <a:gd name="connsiteX31" fmla="*/ 401002 w 782002"/>
                <a:gd name="connsiteY31" fmla="*/ 281940 h 835342"/>
                <a:gd name="connsiteX32" fmla="*/ 376238 w 782002"/>
                <a:gd name="connsiteY32" fmla="*/ 274320 h 835342"/>
                <a:gd name="connsiteX33" fmla="*/ 348615 w 782002"/>
                <a:gd name="connsiteY33" fmla="*/ 252413 h 835342"/>
                <a:gd name="connsiteX34" fmla="*/ 338138 w 782002"/>
                <a:gd name="connsiteY34" fmla="*/ 245745 h 835342"/>
                <a:gd name="connsiteX35" fmla="*/ 351473 w 782002"/>
                <a:gd name="connsiteY35" fmla="*/ 215265 h 835342"/>
                <a:gd name="connsiteX36" fmla="*/ 360998 w 782002"/>
                <a:gd name="connsiteY36" fmla="*/ 212407 h 835342"/>
                <a:gd name="connsiteX37" fmla="*/ 343852 w 782002"/>
                <a:gd name="connsiteY37" fmla="*/ 200025 h 835342"/>
                <a:gd name="connsiteX38" fmla="*/ 331470 w 782002"/>
                <a:gd name="connsiteY38" fmla="*/ 186690 h 835342"/>
                <a:gd name="connsiteX39" fmla="*/ 316230 w 782002"/>
                <a:gd name="connsiteY39" fmla="*/ 174307 h 835342"/>
                <a:gd name="connsiteX40" fmla="*/ 307657 w 782002"/>
                <a:gd name="connsiteY40" fmla="*/ 172402 h 835342"/>
                <a:gd name="connsiteX41" fmla="*/ 305752 w 782002"/>
                <a:gd name="connsiteY41" fmla="*/ 149542 h 835342"/>
                <a:gd name="connsiteX42" fmla="*/ 303848 w 782002"/>
                <a:gd name="connsiteY42" fmla="*/ 145732 h 835342"/>
                <a:gd name="connsiteX43" fmla="*/ 318135 w 782002"/>
                <a:gd name="connsiteY43" fmla="*/ 143827 h 835342"/>
                <a:gd name="connsiteX44" fmla="*/ 325755 w 782002"/>
                <a:gd name="connsiteY44" fmla="*/ 120967 h 835342"/>
                <a:gd name="connsiteX45" fmla="*/ 312420 w 782002"/>
                <a:gd name="connsiteY45" fmla="*/ 115252 h 835342"/>
                <a:gd name="connsiteX46" fmla="*/ 315277 w 782002"/>
                <a:gd name="connsiteY46" fmla="*/ 100013 h 835342"/>
                <a:gd name="connsiteX47" fmla="*/ 350520 w 782002"/>
                <a:gd name="connsiteY47" fmla="*/ 78105 h 835342"/>
                <a:gd name="connsiteX48" fmla="*/ 346710 w 782002"/>
                <a:gd name="connsiteY48" fmla="*/ 50482 h 835342"/>
                <a:gd name="connsiteX49" fmla="*/ 316230 w 782002"/>
                <a:gd name="connsiteY49" fmla="*/ 37147 h 835342"/>
                <a:gd name="connsiteX50" fmla="*/ 314325 w 782002"/>
                <a:gd name="connsiteY50" fmla="*/ 41910 h 835342"/>
                <a:gd name="connsiteX51" fmla="*/ 278130 w 782002"/>
                <a:gd name="connsiteY51" fmla="*/ 52388 h 835342"/>
                <a:gd name="connsiteX52" fmla="*/ 277177 w 782002"/>
                <a:gd name="connsiteY52" fmla="*/ 46672 h 835342"/>
                <a:gd name="connsiteX53" fmla="*/ 247650 w 782002"/>
                <a:gd name="connsiteY53" fmla="*/ 20955 h 835342"/>
                <a:gd name="connsiteX54" fmla="*/ 229552 w 782002"/>
                <a:gd name="connsiteY54" fmla="*/ 1905 h 835342"/>
                <a:gd name="connsiteX55" fmla="*/ 213360 w 782002"/>
                <a:gd name="connsiteY55" fmla="*/ 0 h 835342"/>
                <a:gd name="connsiteX56" fmla="*/ 209550 w 782002"/>
                <a:gd name="connsiteY56" fmla="*/ 0 h 835342"/>
                <a:gd name="connsiteX57" fmla="*/ 185738 w 782002"/>
                <a:gd name="connsiteY57" fmla="*/ 2857 h 835342"/>
                <a:gd name="connsiteX58" fmla="*/ 184785 w 782002"/>
                <a:gd name="connsiteY58" fmla="*/ 6667 h 835342"/>
                <a:gd name="connsiteX59" fmla="*/ 159068 w 782002"/>
                <a:gd name="connsiteY59" fmla="*/ 21907 h 835342"/>
                <a:gd name="connsiteX60" fmla="*/ 163830 w 782002"/>
                <a:gd name="connsiteY60" fmla="*/ 36195 h 835342"/>
                <a:gd name="connsiteX61" fmla="*/ 178118 w 782002"/>
                <a:gd name="connsiteY61" fmla="*/ 45720 h 835342"/>
                <a:gd name="connsiteX62" fmla="*/ 184785 w 782002"/>
                <a:gd name="connsiteY62" fmla="*/ 46672 h 835342"/>
                <a:gd name="connsiteX63" fmla="*/ 180975 w 782002"/>
                <a:gd name="connsiteY63" fmla="*/ 52388 h 835342"/>
                <a:gd name="connsiteX64" fmla="*/ 191452 w 782002"/>
                <a:gd name="connsiteY64" fmla="*/ 58102 h 835342"/>
                <a:gd name="connsiteX65" fmla="*/ 172402 w 782002"/>
                <a:gd name="connsiteY65" fmla="*/ 75247 h 835342"/>
                <a:gd name="connsiteX66" fmla="*/ 176213 w 782002"/>
                <a:gd name="connsiteY66" fmla="*/ 89535 h 835342"/>
                <a:gd name="connsiteX67" fmla="*/ 178118 w 782002"/>
                <a:gd name="connsiteY67" fmla="*/ 119063 h 835342"/>
                <a:gd name="connsiteX68" fmla="*/ 196215 w 782002"/>
                <a:gd name="connsiteY68" fmla="*/ 126682 h 835342"/>
                <a:gd name="connsiteX69" fmla="*/ 200977 w 782002"/>
                <a:gd name="connsiteY69" fmla="*/ 136207 h 835342"/>
                <a:gd name="connsiteX70" fmla="*/ 215265 w 782002"/>
                <a:gd name="connsiteY70" fmla="*/ 142875 h 835342"/>
                <a:gd name="connsiteX71" fmla="*/ 195263 w 782002"/>
                <a:gd name="connsiteY71" fmla="*/ 156210 h 835342"/>
                <a:gd name="connsiteX72" fmla="*/ 191452 w 782002"/>
                <a:gd name="connsiteY72" fmla="*/ 176213 h 835342"/>
                <a:gd name="connsiteX73" fmla="*/ 174307 w 782002"/>
                <a:gd name="connsiteY73" fmla="*/ 195263 h 835342"/>
                <a:gd name="connsiteX74" fmla="*/ 159068 w 782002"/>
                <a:gd name="connsiteY74" fmla="*/ 206692 h 835342"/>
                <a:gd name="connsiteX75" fmla="*/ 148590 w 782002"/>
                <a:gd name="connsiteY75" fmla="*/ 224790 h 835342"/>
                <a:gd name="connsiteX76" fmla="*/ 129540 w 782002"/>
                <a:gd name="connsiteY76" fmla="*/ 239077 h 835342"/>
                <a:gd name="connsiteX77" fmla="*/ 113348 w 782002"/>
                <a:gd name="connsiteY77" fmla="*/ 258127 h 835342"/>
                <a:gd name="connsiteX78" fmla="*/ 89535 w 782002"/>
                <a:gd name="connsiteY78" fmla="*/ 260032 h 835342"/>
                <a:gd name="connsiteX79" fmla="*/ 84773 w 782002"/>
                <a:gd name="connsiteY79" fmla="*/ 250507 h 835342"/>
                <a:gd name="connsiteX80" fmla="*/ 66675 w 782002"/>
                <a:gd name="connsiteY80" fmla="*/ 261938 h 835342"/>
                <a:gd name="connsiteX81" fmla="*/ 53340 w 782002"/>
                <a:gd name="connsiteY81" fmla="*/ 274320 h 835342"/>
                <a:gd name="connsiteX82" fmla="*/ 53340 w 782002"/>
                <a:gd name="connsiteY82" fmla="*/ 288607 h 835342"/>
                <a:gd name="connsiteX83" fmla="*/ 66675 w 782002"/>
                <a:gd name="connsiteY83" fmla="*/ 297180 h 835342"/>
                <a:gd name="connsiteX84" fmla="*/ 63818 w 782002"/>
                <a:gd name="connsiteY84" fmla="*/ 312420 h 835342"/>
                <a:gd name="connsiteX85" fmla="*/ 78105 w 782002"/>
                <a:gd name="connsiteY85" fmla="*/ 326707 h 835342"/>
                <a:gd name="connsiteX86" fmla="*/ 82868 w 782002"/>
                <a:gd name="connsiteY86" fmla="*/ 357188 h 835342"/>
                <a:gd name="connsiteX87" fmla="*/ 70485 w 782002"/>
                <a:gd name="connsiteY87" fmla="*/ 352425 h 835342"/>
                <a:gd name="connsiteX88" fmla="*/ 55245 w 782002"/>
                <a:gd name="connsiteY88" fmla="*/ 356235 h 835342"/>
                <a:gd name="connsiteX89" fmla="*/ 25718 w 782002"/>
                <a:gd name="connsiteY89" fmla="*/ 353378 h 835342"/>
                <a:gd name="connsiteX90" fmla="*/ 20002 w 782002"/>
                <a:gd name="connsiteY90" fmla="*/ 360045 h 835342"/>
                <a:gd name="connsiteX91" fmla="*/ 0 w 782002"/>
                <a:gd name="connsiteY91" fmla="*/ 367665 h 835342"/>
                <a:gd name="connsiteX92" fmla="*/ 0 w 782002"/>
                <a:gd name="connsiteY92" fmla="*/ 371475 h 835342"/>
                <a:gd name="connsiteX93" fmla="*/ 15240 w 782002"/>
                <a:gd name="connsiteY93" fmla="*/ 372428 h 835342"/>
                <a:gd name="connsiteX94" fmla="*/ 40957 w 782002"/>
                <a:gd name="connsiteY94" fmla="*/ 399097 h 835342"/>
                <a:gd name="connsiteX95" fmla="*/ 62865 w 782002"/>
                <a:gd name="connsiteY95" fmla="*/ 400050 h 835342"/>
                <a:gd name="connsiteX96" fmla="*/ 35243 w 782002"/>
                <a:gd name="connsiteY96" fmla="*/ 410528 h 835342"/>
                <a:gd name="connsiteX97" fmla="*/ 25718 w 782002"/>
                <a:gd name="connsiteY97" fmla="*/ 409575 h 835342"/>
                <a:gd name="connsiteX98" fmla="*/ 33338 w 782002"/>
                <a:gd name="connsiteY98" fmla="*/ 421005 h 835342"/>
                <a:gd name="connsiteX99" fmla="*/ 58102 w 782002"/>
                <a:gd name="connsiteY99" fmla="*/ 452438 h 835342"/>
                <a:gd name="connsiteX100" fmla="*/ 84773 w 782002"/>
                <a:gd name="connsiteY100" fmla="*/ 459105 h 835342"/>
                <a:gd name="connsiteX101" fmla="*/ 109538 w 782002"/>
                <a:gd name="connsiteY101" fmla="*/ 449580 h 835342"/>
                <a:gd name="connsiteX102" fmla="*/ 116205 w 782002"/>
                <a:gd name="connsiteY102" fmla="*/ 422910 h 835342"/>
                <a:gd name="connsiteX103" fmla="*/ 119063 w 782002"/>
                <a:gd name="connsiteY103" fmla="*/ 435292 h 835342"/>
                <a:gd name="connsiteX104" fmla="*/ 124777 w 782002"/>
                <a:gd name="connsiteY104" fmla="*/ 440055 h 835342"/>
                <a:gd name="connsiteX105" fmla="*/ 123825 w 782002"/>
                <a:gd name="connsiteY105" fmla="*/ 463867 h 835342"/>
                <a:gd name="connsiteX106" fmla="*/ 120015 w 782002"/>
                <a:gd name="connsiteY106" fmla="*/ 493395 h 835342"/>
                <a:gd name="connsiteX107" fmla="*/ 125730 w 782002"/>
                <a:gd name="connsiteY107" fmla="*/ 547688 h 835342"/>
                <a:gd name="connsiteX108" fmla="*/ 133350 w 782002"/>
                <a:gd name="connsiteY108" fmla="*/ 601028 h 835342"/>
                <a:gd name="connsiteX109" fmla="*/ 141923 w 782002"/>
                <a:gd name="connsiteY109" fmla="*/ 621982 h 835342"/>
                <a:gd name="connsiteX110" fmla="*/ 153352 w 782002"/>
                <a:gd name="connsiteY110" fmla="*/ 644842 h 835342"/>
                <a:gd name="connsiteX111" fmla="*/ 160020 w 782002"/>
                <a:gd name="connsiteY111" fmla="*/ 669607 h 835342"/>
                <a:gd name="connsiteX112" fmla="*/ 168593 w 782002"/>
                <a:gd name="connsiteY112" fmla="*/ 703897 h 835342"/>
                <a:gd name="connsiteX113" fmla="*/ 191452 w 782002"/>
                <a:gd name="connsiteY113" fmla="*/ 747713 h 835342"/>
                <a:gd name="connsiteX114" fmla="*/ 196215 w 782002"/>
                <a:gd name="connsiteY114" fmla="*/ 766763 h 835342"/>
                <a:gd name="connsiteX115" fmla="*/ 204788 w 782002"/>
                <a:gd name="connsiteY115" fmla="*/ 798195 h 835342"/>
                <a:gd name="connsiteX116" fmla="*/ 216218 w 782002"/>
                <a:gd name="connsiteY116" fmla="*/ 822960 h 835342"/>
                <a:gd name="connsiteX117" fmla="*/ 235268 w 782002"/>
                <a:gd name="connsiteY117" fmla="*/ 835342 h 835342"/>
                <a:gd name="connsiteX118" fmla="*/ 244793 w 782002"/>
                <a:gd name="connsiteY118" fmla="*/ 835342 h 835342"/>
                <a:gd name="connsiteX119" fmla="*/ 261938 w 782002"/>
                <a:gd name="connsiteY119" fmla="*/ 814388 h 835342"/>
                <a:gd name="connsiteX120" fmla="*/ 280035 w 782002"/>
                <a:gd name="connsiteY120" fmla="*/ 796290 h 835342"/>
                <a:gd name="connsiteX121" fmla="*/ 285750 w 782002"/>
                <a:gd name="connsiteY121" fmla="*/ 791528 h 835342"/>
                <a:gd name="connsiteX122" fmla="*/ 292418 w 782002"/>
                <a:gd name="connsiteY122" fmla="*/ 777240 h 835342"/>
                <a:gd name="connsiteX123" fmla="*/ 307657 w 782002"/>
                <a:gd name="connsiteY123" fmla="*/ 773430 h 835342"/>
                <a:gd name="connsiteX124" fmla="*/ 310515 w 782002"/>
                <a:gd name="connsiteY124" fmla="*/ 730567 h 835342"/>
                <a:gd name="connsiteX125" fmla="*/ 320993 w 782002"/>
                <a:gd name="connsiteY125" fmla="*/ 711517 h 835342"/>
                <a:gd name="connsiteX126" fmla="*/ 322898 w 782002"/>
                <a:gd name="connsiteY126" fmla="*/ 688657 h 835342"/>
                <a:gd name="connsiteX127" fmla="*/ 324802 w 782002"/>
                <a:gd name="connsiteY127" fmla="*/ 670560 h 835342"/>
                <a:gd name="connsiteX128" fmla="*/ 322898 w 782002"/>
                <a:gd name="connsiteY128" fmla="*/ 641032 h 835342"/>
                <a:gd name="connsiteX129" fmla="*/ 340043 w 782002"/>
                <a:gd name="connsiteY129" fmla="*/ 611505 h 835342"/>
                <a:gd name="connsiteX130" fmla="*/ 343852 w 782002"/>
                <a:gd name="connsiteY130" fmla="*/ 617220 h 835342"/>
                <a:gd name="connsiteX131" fmla="*/ 355282 w 782002"/>
                <a:gd name="connsiteY131" fmla="*/ 601028 h 835342"/>
                <a:gd name="connsiteX132" fmla="*/ 381000 w 782002"/>
                <a:gd name="connsiteY132" fmla="*/ 594360 h 835342"/>
                <a:gd name="connsiteX133" fmla="*/ 385763 w 782002"/>
                <a:gd name="connsiteY133" fmla="*/ 580072 h 835342"/>
                <a:gd name="connsiteX134" fmla="*/ 412432 w 782002"/>
                <a:gd name="connsiteY134" fmla="*/ 561022 h 835342"/>
                <a:gd name="connsiteX135" fmla="*/ 437198 w 782002"/>
                <a:gd name="connsiteY135" fmla="*/ 541972 h 835342"/>
                <a:gd name="connsiteX136" fmla="*/ 462915 w 782002"/>
                <a:gd name="connsiteY136" fmla="*/ 512445 h 835342"/>
                <a:gd name="connsiteX137" fmla="*/ 469582 w 782002"/>
                <a:gd name="connsiteY137" fmla="*/ 501015 h 835342"/>
                <a:gd name="connsiteX138" fmla="*/ 486727 w 782002"/>
                <a:gd name="connsiteY138" fmla="*/ 501015 h 835342"/>
                <a:gd name="connsiteX139" fmla="*/ 512445 w 782002"/>
                <a:gd name="connsiteY139" fmla="*/ 475297 h 835342"/>
                <a:gd name="connsiteX140" fmla="*/ 512445 w 782002"/>
                <a:gd name="connsiteY140" fmla="*/ 459105 h 835342"/>
                <a:gd name="connsiteX141" fmla="*/ 541973 w 782002"/>
                <a:gd name="connsiteY141" fmla="*/ 439103 h 835342"/>
                <a:gd name="connsiteX142" fmla="*/ 544830 w 782002"/>
                <a:gd name="connsiteY142" fmla="*/ 439103 h 835342"/>
                <a:gd name="connsiteX143" fmla="*/ 546735 w 782002"/>
                <a:gd name="connsiteY143" fmla="*/ 445770 h 835342"/>
                <a:gd name="connsiteX144" fmla="*/ 554355 w 782002"/>
                <a:gd name="connsiteY144" fmla="*/ 446722 h 835342"/>
                <a:gd name="connsiteX145" fmla="*/ 563880 w 782002"/>
                <a:gd name="connsiteY145" fmla="*/ 443865 h 835342"/>
                <a:gd name="connsiteX146" fmla="*/ 562927 w 782002"/>
                <a:gd name="connsiteY146" fmla="*/ 440055 h 835342"/>
                <a:gd name="connsiteX147" fmla="*/ 566738 w 782002"/>
                <a:gd name="connsiteY147" fmla="*/ 427672 h 835342"/>
                <a:gd name="connsiteX148" fmla="*/ 562927 w 782002"/>
                <a:gd name="connsiteY148" fmla="*/ 406717 h 835342"/>
                <a:gd name="connsiteX149" fmla="*/ 553402 w 782002"/>
                <a:gd name="connsiteY149" fmla="*/ 388620 h 835342"/>
                <a:gd name="connsiteX150" fmla="*/ 557213 w 782002"/>
                <a:gd name="connsiteY150" fmla="*/ 371475 h 835342"/>
                <a:gd name="connsiteX151" fmla="*/ 537210 w 782002"/>
                <a:gd name="connsiteY151" fmla="*/ 356235 h 835342"/>
                <a:gd name="connsiteX152" fmla="*/ 546735 w 782002"/>
                <a:gd name="connsiteY152" fmla="*/ 353378 h 835342"/>
                <a:gd name="connsiteX153" fmla="*/ 546735 w 782002"/>
                <a:gd name="connsiteY153" fmla="*/ 345757 h 835342"/>
                <a:gd name="connsiteX154" fmla="*/ 561023 w 782002"/>
                <a:gd name="connsiteY154" fmla="*/ 343853 h 835342"/>
                <a:gd name="connsiteX155" fmla="*/ 553402 w 782002"/>
                <a:gd name="connsiteY155" fmla="*/ 334327 h 835342"/>
                <a:gd name="connsiteX156" fmla="*/ 548640 w 782002"/>
                <a:gd name="connsiteY156" fmla="*/ 332422 h 835342"/>
                <a:gd name="connsiteX157" fmla="*/ 538163 w 782002"/>
                <a:gd name="connsiteY157" fmla="*/ 323850 h 835342"/>
                <a:gd name="connsiteX158" fmla="*/ 547688 w 782002"/>
                <a:gd name="connsiteY158" fmla="*/ 309563 h 835342"/>
                <a:gd name="connsiteX159" fmla="*/ 552450 w 782002"/>
                <a:gd name="connsiteY159" fmla="*/ 320040 h 835342"/>
                <a:gd name="connsiteX160" fmla="*/ 561975 w 782002"/>
                <a:gd name="connsiteY160" fmla="*/ 315277 h 835342"/>
                <a:gd name="connsiteX161" fmla="*/ 574357 w 782002"/>
                <a:gd name="connsiteY161" fmla="*/ 322897 h 835342"/>
                <a:gd name="connsiteX162" fmla="*/ 579120 w 782002"/>
                <a:gd name="connsiteY162" fmla="*/ 319088 h 835342"/>
                <a:gd name="connsiteX163" fmla="*/ 576263 w 782002"/>
                <a:gd name="connsiteY163" fmla="*/ 335280 h 835342"/>
                <a:gd name="connsiteX164" fmla="*/ 599123 w 782002"/>
                <a:gd name="connsiteY164" fmla="*/ 345757 h 835342"/>
                <a:gd name="connsiteX165" fmla="*/ 642938 w 782002"/>
                <a:gd name="connsiteY165" fmla="*/ 341947 h 835342"/>
                <a:gd name="connsiteX166" fmla="*/ 649605 w 782002"/>
                <a:gd name="connsiteY166" fmla="*/ 344805 h 835342"/>
                <a:gd name="connsiteX167" fmla="*/ 641985 w 782002"/>
                <a:gd name="connsiteY167" fmla="*/ 361950 h 835342"/>
                <a:gd name="connsiteX168" fmla="*/ 620077 w 782002"/>
                <a:gd name="connsiteY168" fmla="*/ 374332 h 835342"/>
                <a:gd name="connsiteX169" fmla="*/ 622935 w 782002"/>
                <a:gd name="connsiteY169" fmla="*/ 402907 h 835342"/>
                <a:gd name="connsiteX170" fmla="*/ 634365 w 782002"/>
                <a:gd name="connsiteY170" fmla="*/ 405765 h 835342"/>
                <a:gd name="connsiteX171" fmla="*/ 649605 w 782002"/>
                <a:gd name="connsiteY171" fmla="*/ 401003 h 835342"/>
                <a:gd name="connsiteX172" fmla="*/ 656273 w 782002"/>
                <a:gd name="connsiteY172" fmla="*/ 434340 h 835342"/>
                <a:gd name="connsiteX173" fmla="*/ 671513 w 782002"/>
                <a:gd name="connsiteY173" fmla="*/ 429578 h 835342"/>
                <a:gd name="connsiteX174" fmla="*/ 672465 w 782002"/>
                <a:gd name="connsiteY174" fmla="*/ 406717 h 835342"/>
                <a:gd name="connsiteX175" fmla="*/ 677227 w 782002"/>
                <a:gd name="connsiteY175" fmla="*/ 372428 h 835342"/>
                <a:gd name="connsiteX176" fmla="*/ 699135 w 782002"/>
                <a:gd name="connsiteY176" fmla="*/ 377190 h 835342"/>
                <a:gd name="connsiteX177" fmla="*/ 715327 w 782002"/>
                <a:gd name="connsiteY177" fmla="*/ 341947 h 835342"/>
                <a:gd name="connsiteX178" fmla="*/ 713423 w 782002"/>
                <a:gd name="connsiteY178" fmla="*/ 330517 h 835342"/>
                <a:gd name="connsiteX179" fmla="*/ 722948 w 782002"/>
                <a:gd name="connsiteY179" fmla="*/ 298132 h 835342"/>
                <a:gd name="connsiteX180" fmla="*/ 755332 w 782002"/>
                <a:gd name="connsiteY180" fmla="*/ 275272 h 835342"/>
                <a:gd name="connsiteX181" fmla="*/ 773430 w 782002"/>
                <a:gd name="connsiteY181" fmla="*/ 280035 h 835342"/>
                <a:gd name="connsiteX182" fmla="*/ 765810 w 782002"/>
                <a:gd name="connsiteY182" fmla="*/ 265747 h 835342"/>
                <a:gd name="connsiteX183" fmla="*/ 782002 w 782002"/>
                <a:gd name="connsiteY183" fmla="*/ 264795 h 835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782002" h="835342">
                  <a:moveTo>
                    <a:pt x="782002" y="264795"/>
                  </a:moveTo>
                  <a:lnTo>
                    <a:pt x="782002" y="253365"/>
                  </a:lnTo>
                  <a:cubicBezTo>
                    <a:pt x="772477" y="248602"/>
                    <a:pt x="762000" y="249555"/>
                    <a:pt x="751523" y="250507"/>
                  </a:cubicBezTo>
                  <a:cubicBezTo>
                    <a:pt x="755332" y="245745"/>
                    <a:pt x="760095" y="236220"/>
                    <a:pt x="751523" y="232410"/>
                  </a:cubicBezTo>
                  <a:cubicBezTo>
                    <a:pt x="751523" y="230505"/>
                    <a:pt x="751523" y="227647"/>
                    <a:pt x="752475" y="225742"/>
                  </a:cubicBezTo>
                  <a:cubicBezTo>
                    <a:pt x="747713" y="223838"/>
                    <a:pt x="743902" y="220980"/>
                    <a:pt x="739140" y="220980"/>
                  </a:cubicBezTo>
                  <a:cubicBezTo>
                    <a:pt x="734377" y="220980"/>
                    <a:pt x="732473" y="225742"/>
                    <a:pt x="730568" y="228600"/>
                  </a:cubicBezTo>
                  <a:cubicBezTo>
                    <a:pt x="724852" y="230505"/>
                    <a:pt x="718185" y="230505"/>
                    <a:pt x="712470" y="230505"/>
                  </a:cubicBezTo>
                  <a:cubicBezTo>
                    <a:pt x="710565" y="228600"/>
                    <a:pt x="709613" y="226695"/>
                    <a:pt x="707707" y="225742"/>
                  </a:cubicBezTo>
                  <a:cubicBezTo>
                    <a:pt x="697230" y="226695"/>
                    <a:pt x="692468" y="237172"/>
                    <a:pt x="688657" y="243840"/>
                  </a:cubicBezTo>
                  <a:cubicBezTo>
                    <a:pt x="682943" y="247650"/>
                    <a:pt x="674370" y="246697"/>
                    <a:pt x="670560" y="252413"/>
                  </a:cubicBezTo>
                  <a:cubicBezTo>
                    <a:pt x="662940" y="262890"/>
                    <a:pt x="651510" y="271463"/>
                    <a:pt x="637223" y="274320"/>
                  </a:cubicBezTo>
                  <a:cubicBezTo>
                    <a:pt x="634365" y="273367"/>
                    <a:pt x="631507" y="272415"/>
                    <a:pt x="628650" y="271463"/>
                  </a:cubicBezTo>
                  <a:cubicBezTo>
                    <a:pt x="628650" y="277177"/>
                    <a:pt x="628650" y="281940"/>
                    <a:pt x="630555" y="287655"/>
                  </a:cubicBezTo>
                  <a:cubicBezTo>
                    <a:pt x="634365" y="287655"/>
                    <a:pt x="638175" y="288607"/>
                    <a:pt x="641985" y="288607"/>
                  </a:cubicBezTo>
                  <a:cubicBezTo>
                    <a:pt x="641032" y="292417"/>
                    <a:pt x="641032" y="297180"/>
                    <a:pt x="642938" y="300990"/>
                  </a:cubicBezTo>
                  <a:cubicBezTo>
                    <a:pt x="635318" y="303847"/>
                    <a:pt x="625793" y="302895"/>
                    <a:pt x="618173" y="304800"/>
                  </a:cubicBezTo>
                  <a:cubicBezTo>
                    <a:pt x="609600" y="306705"/>
                    <a:pt x="599123" y="300038"/>
                    <a:pt x="591502" y="306705"/>
                  </a:cubicBezTo>
                  <a:cubicBezTo>
                    <a:pt x="582930" y="303847"/>
                    <a:pt x="573405" y="304800"/>
                    <a:pt x="564832" y="300990"/>
                  </a:cubicBezTo>
                  <a:cubicBezTo>
                    <a:pt x="563880" y="292417"/>
                    <a:pt x="557213" y="281940"/>
                    <a:pt x="565785" y="275272"/>
                  </a:cubicBezTo>
                  <a:cubicBezTo>
                    <a:pt x="563880" y="269557"/>
                    <a:pt x="561023" y="260985"/>
                    <a:pt x="553402" y="262890"/>
                  </a:cubicBezTo>
                  <a:cubicBezTo>
                    <a:pt x="542925" y="266700"/>
                    <a:pt x="539115" y="278130"/>
                    <a:pt x="536257" y="286702"/>
                  </a:cubicBezTo>
                  <a:cubicBezTo>
                    <a:pt x="532448" y="297180"/>
                    <a:pt x="545782" y="307657"/>
                    <a:pt x="537210" y="317182"/>
                  </a:cubicBezTo>
                  <a:cubicBezTo>
                    <a:pt x="529590" y="318135"/>
                    <a:pt x="520065" y="319088"/>
                    <a:pt x="514350" y="313372"/>
                  </a:cubicBezTo>
                  <a:cubicBezTo>
                    <a:pt x="504825" y="318135"/>
                    <a:pt x="496252" y="312420"/>
                    <a:pt x="487680" y="309563"/>
                  </a:cubicBezTo>
                  <a:cubicBezTo>
                    <a:pt x="485775" y="310515"/>
                    <a:pt x="483870" y="310515"/>
                    <a:pt x="481965" y="311467"/>
                  </a:cubicBezTo>
                  <a:cubicBezTo>
                    <a:pt x="481013" y="303847"/>
                    <a:pt x="473393" y="304800"/>
                    <a:pt x="468630" y="307657"/>
                  </a:cubicBezTo>
                  <a:cubicBezTo>
                    <a:pt x="462915" y="303847"/>
                    <a:pt x="456248" y="301942"/>
                    <a:pt x="453390" y="296227"/>
                  </a:cubicBezTo>
                  <a:cubicBezTo>
                    <a:pt x="447675" y="288607"/>
                    <a:pt x="435293" y="282892"/>
                    <a:pt x="426720" y="290513"/>
                  </a:cubicBezTo>
                  <a:cubicBezTo>
                    <a:pt x="422910" y="287655"/>
                    <a:pt x="419100" y="288607"/>
                    <a:pt x="415290" y="289560"/>
                  </a:cubicBezTo>
                  <a:cubicBezTo>
                    <a:pt x="411480" y="287655"/>
                    <a:pt x="408623" y="286702"/>
                    <a:pt x="404813" y="285750"/>
                  </a:cubicBezTo>
                  <a:cubicBezTo>
                    <a:pt x="403860" y="284797"/>
                    <a:pt x="401955" y="282892"/>
                    <a:pt x="401002" y="281940"/>
                  </a:cubicBezTo>
                  <a:cubicBezTo>
                    <a:pt x="391477" y="280988"/>
                    <a:pt x="385763" y="272415"/>
                    <a:pt x="376238" y="274320"/>
                  </a:cubicBezTo>
                  <a:cubicBezTo>
                    <a:pt x="367665" y="265747"/>
                    <a:pt x="358140" y="259080"/>
                    <a:pt x="348615" y="252413"/>
                  </a:cubicBezTo>
                  <a:cubicBezTo>
                    <a:pt x="344805" y="250507"/>
                    <a:pt x="337185" y="251460"/>
                    <a:pt x="338138" y="245745"/>
                  </a:cubicBezTo>
                  <a:cubicBezTo>
                    <a:pt x="340043" y="234315"/>
                    <a:pt x="345757" y="224790"/>
                    <a:pt x="351473" y="215265"/>
                  </a:cubicBezTo>
                  <a:cubicBezTo>
                    <a:pt x="353377" y="211455"/>
                    <a:pt x="358140" y="213360"/>
                    <a:pt x="360998" y="212407"/>
                  </a:cubicBezTo>
                  <a:cubicBezTo>
                    <a:pt x="360998" y="203835"/>
                    <a:pt x="350520" y="201930"/>
                    <a:pt x="343852" y="200025"/>
                  </a:cubicBezTo>
                  <a:cubicBezTo>
                    <a:pt x="336232" y="198120"/>
                    <a:pt x="339090" y="187642"/>
                    <a:pt x="331470" y="186690"/>
                  </a:cubicBezTo>
                  <a:cubicBezTo>
                    <a:pt x="323850" y="185738"/>
                    <a:pt x="319088" y="180975"/>
                    <a:pt x="316230" y="174307"/>
                  </a:cubicBezTo>
                  <a:cubicBezTo>
                    <a:pt x="315277" y="170497"/>
                    <a:pt x="310515" y="172402"/>
                    <a:pt x="307657" y="172402"/>
                  </a:cubicBezTo>
                  <a:cubicBezTo>
                    <a:pt x="307657" y="164782"/>
                    <a:pt x="302895" y="157163"/>
                    <a:pt x="305752" y="149542"/>
                  </a:cubicBezTo>
                  <a:cubicBezTo>
                    <a:pt x="305752" y="148590"/>
                    <a:pt x="304800" y="146685"/>
                    <a:pt x="303848" y="145732"/>
                  </a:cubicBezTo>
                  <a:cubicBezTo>
                    <a:pt x="308610" y="147638"/>
                    <a:pt x="314325" y="148590"/>
                    <a:pt x="318135" y="143827"/>
                  </a:cubicBezTo>
                  <a:cubicBezTo>
                    <a:pt x="331470" y="142875"/>
                    <a:pt x="321945" y="128588"/>
                    <a:pt x="325755" y="120967"/>
                  </a:cubicBezTo>
                  <a:cubicBezTo>
                    <a:pt x="320993" y="119063"/>
                    <a:pt x="316230" y="117157"/>
                    <a:pt x="312420" y="115252"/>
                  </a:cubicBezTo>
                  <a:cubicBezTo>
                    <a:pt x="314325" y="110490"/>
                    <a:pt x="314325" y="105727"/>
                    <a:pt x="315277" y="100013"/>
                  </a:cubicBezTo>
                  <a:cubicBezTo>
                    <a:pt x="328613" y="99060"/>
                    <a:pt x="341948" y="85725"/>
                    <a:pt x="350520" y="78105"/>
                  </a:cubicBezTo>
                  <a:cubicBezTo>
                    <a:pt x="354330" y="69532"/>
                    <a:pt x="350520" y="60007"/>
                    <a:pt x="346710" y="50482"/>
                  </a:cubicBezTo>
                  <a:cubicBezTo>
                    <a:pt x="339090" y="42863"/>
                    <a:pt x="327660" y="40005"/>
                    <a:pt x="316230" y="37147"/>
                  </a:cubicBezTo>
                  <a:cubicBezTo>
                    <a:pt x="316230" y="38100"/>
                    <a:pt x="315277" y="40957"/>
                    <a:pt x="314325" y="41910"/>
                  </a:cubicBezTo>
                  <a:cubicBezTo>
                    <a:pt x="300038" y="39052"/>
                    <a:pt x="292418" y="54292"/>
                    <a:pt x="278130" y="52388"/>
                  </a:cubicBezTo>
                  <a:cubicBezTo>
                    <a:pt x="278130" y="50482"/>
                    <a:pt x="277177" y="48577"/>
                    <a:pt x="277177" y="46672"/>
                  </a:cubicBezTo>
                  <a:cubicBezTo>
                    <a:pt x="262890" y="42863"/>
                    <a:pt x="260985" y="26670"/>
                    <a:pt x="247650" y="20955"/>
                  </a:cubicBezTo>
                  <a:cubicBezTo>
                    <a:pt x="238125" y="18097"/>
                    <a:pt x="238125" y="6667"/>
                    <a:pt x="229552" y="1905"/>
                  </a:cubicBezTo>
                  <a:cubicBezTo>
                    <a:pt x="223838" y="2857"/>
                    <a:pt x="218123" y="2857"/>
                    <a:pt x="213360" y="0"/>
                  </a:cubicBezTo>
                  <a:lnTo>
                    <a:pt x="209550" y="0"/>
                  </a:lnTo>
                  <a:cubicBezTo>
                    <a:pt x="202882" y="4763"/>
                    <a:pt x="194310" y="4763"/>
                    <a:pt x="185738" y="2857"/>
                  </a:cubicBezTo>
                  <a:cubicBezTo>
                    <a:pt x="185738" y="3810"/>
                    <a:pt x="184785" y="5715"/>
                    <a:pt x="184785" y="6667"/>
                  </a:cubicBezTo>
                  <a:cubicBezTo>
                    <a:pt x="172402" y="3810"/>
                    <a:pt x="167640" y="16192"/>
                    <a:pt x="159068" y="21907"/>
                  </a:cubicBezTo>
                  <a:cubicBezTo>
                    <a:pt x="153352" y="25717"/>
                    <a:pt x="156210" y="36195"/>
                    <a:pt x="163830" y="36195"/>
                  </a:cubicBezTo>
                  <a:cubicBezTo>
                    <a:pt x="170498" y="37147"/>
                    <a:pt x="173355" y="41910"/>
                    <a:pt x="178118" y="45720"/>
                  </a:cubicBezTo>
                  <a:cubicBezTo>
                    <a:pt x="180023" y="45720"/>
                    <a:pt x="182880" y="46672"/>
                    <a:pt x="184785" y="46672"/>
                  </a:cubicBezTo>
                  <a:cubicBezTo>
                    <a:pt x="183832" y="48577"/>
                    <a:pt x="182880" y="50482"/>
                    <a:pt x="180975" y="52388"/>
                  </a:cubicBezTo>
                  <a:cubicBezTo>
                    <a:pt x="184785" y="54292"/>
                    <a:pt x="188595" y="56197"/>
                    <a:pt x="191452" y="58102"/>
                  </a:cubicBezTo>
                  <a:cubicBezTo>
                    <a:pt x="183832" y="61913"/>
                    <a:pt x="178118" y="68580"/>
                    <a:pt x="172402" y="75247"/>
                  </a:cubicBezTo>
                  <a:cubicBezTo>
                    <a:pt x="172402" y="80010"/>
                    <a:pt x="175260" y="84772"/>
                    <a:pt x="176213" y="89535"/>
                  </a:cubicBezTo>
                  <a:cubicBezTo>
                    <a:pt x="179070" y="99060"/>
                    <a:pt x="174307" y="109538"/>
                    <a:pt x="178118" y="119063"/>
                  </a:cubicBezTo>
                  <a:cubicBezTo>
                    <a:pt x="183832" y="121920"/>
                    <a:pt x="190500" y="122872"/>
                    <a:pt x="196215" y="126682"/>
                  </a:cubicBezTo>
                  <a:cubicBezTo>
                    <a:pt x="199073" y="129540"/>
                    <a:pt x="199073" y="133350"/>
                    <a:pt x="200977" y="136207"/>
                  </a:cubicBezTo>
                  <a:cubicBezTo>
                    <a:pt x="205740" y="138113"/>
                    <a:pt x="210502" y="140017"/>
                    <a:pt x="215265" y="142875"/>
                  </a:cubicBezTo>
                  <a:cubicBezTo>
                    <a:pt x="208598" y="147638"/>
                    <a:pt x="195263" y="144780"/>
                    <a:pt x="195263" y="156210"/>
                  </a:cubicBezTo>
                  <a:cubicBezTo>
                    <a:pt x="194310" y="162877"/>
                    <a:pt x="192405" y="169545"/>
                    <a:pt x="191452" y="176213"/>
                  </a:cubicBezTo>
                  <a:cubicBezTo>
                    <a:pt x="185738" y="182880"/>
                    <a:pt x="175260" y="185738"/>
                    <a:pt x="174307" y="195263"/>
                  </a:cubicBezTo>
                  <a:cubicBezTo>
                    <a:pt x="173355" y="202882"/>
                    <a:pt x="161925" y="200025"/>
                    <a:pt x="159068" y="206692"/>
                  </a:cubicBezTo>
                  <a:cubicBezTo>
                    <a:pt x="156210" y="213360"/>
                    <a:pt x="155257" y="220980"/>
                    <a:pt x="148590" y="224790"/>
                  </a:cubicBezTo>
                  <a:cubicBezTo>
                    <a:pt x="142875" y="230505"/>
                    <a:pt x="133350" y="231457"/>
                    <a:pt x="129540" y="239077"/>
                  </a:cubicBezTo>
                  <a:cubicBezTo>
                    <a:pt x="125730" y="246697"/>
                    <a:pt x="120015" y="252413"/>
                    <a:pt x="113348" y="258127"/>
                  </a:cubicBezTo>
                  <a:cubicBezTo>
                    <a:pt x="105727" y="257175"/>
                    <a:pt x="97155" y="258127"/>
                    <a:pt x="89535" y="260032"/>
                  </a:cubicBezTo>
                  <a:cubicBezTo>
                    <a:pt x="87630" y="257175"/>
                    <a:pt x="86677" y="253365"/>
                    <a:pt x="84773" y="250507"/>
                  </a:cubicBezTo>
                  <a:cubicBezTo>
                    <a:pt x="77152" y="250507"/>
                    <a:pt x="70485" y="256222"/>
                    <a:pt x="66675" y="261938"/>
                  </a:cubicBezTo>
                  <a:cubicBezTo>
                    <a:pt x="63818" y="267652"/>
                    <a:pt x="58102" y="269557"/>
                    <a:pt x="53340" y="274320"/>
                  </a:cubicBezTo>
                  <a:cubicBezTo>
                    <a:pt x="50482" y="278130"/>
                    <a:pt x="51435" y="283845"/>
                    <a:pt x="53340" y="288607"/>
                  </a:cubicBezTo>
                  <a:cubicBezTo>
                    <a:pt x="57150" y="292417"/>
                    <a:pt x="62865" y="292417"/>
                    <a:pt x="66675" y="297180"/>
                  </a:cubicBezTo>
                  <a:cubicBezTo>
                    <a:pt x="65723" y="301942"/>
                    <a:pt x="63818" y="306705"/>
                    <a:pt x="63818" y="312420"/>
                  </a:cubicBezTo>
                  <a:cubicBezTo>
                    <a:pt x="65723" y="320040"/>
                    <a:pt x="77152" y="319088"/>
                    <a:pt x="78105" y="326707"/>
                  </a:cubicBezTo>
                  <a:cubicBezTo>
                    <a:pt x="80963" y="336232"/>
                    <a:pt x="85725" y="347663"/>
                    <a:pt x="82868" y="357188"/>
                  </a:cubicBezTo>
                  <a:cubicBezTo>
                    <a:pt x="77152" y="360045"/>
                    <a:pt x="75248" y="354330"/>
                    <a:pt x="70485" y="352425"/>
                  </a:cubicBezTo>
                  <a:cubicBezTo>
                    <a:pt x="64770" y="352425"/>
                    <a:pt x="60007" y="355282"/>
                    <a:pt x="55245" y="356235"/>
                  </a:cubicBezTo>
                  <a:cubicBezTo>
                    <a:pt x="45720" y="354330"/>
                    <a:pt x="36195" y="351472"/>
                    <a:pt x="25718" y="353378"/>
                  </a:cubicBezTo>
                  <a:cubicBezTo>
                    <a:pt x="21907" y="353378"/>
                    <a:pt x="20955" y="357188"/>
                    <a:pt x="20002" y="360045"/>
                  </a:cubicBezTo>
                  <a:cubicBezTo>
                    <a:pt x="12382" y="360045"/>
                    <a:pt x="4763" y="361950"/>
                    <a:pt x="0" y="367665"/>
                  </a:cubicBezTo>
                  <a:lnTo>
                    <a:pt x="0" y="371475"/>
                  </a:lnTo>
                  <a:cubicBezTo>
                    <a:pt x="4763" y="372428"/>
                    <a:pt x="10477" y="373380"/>
                    <a:pt x="15240" y="372428"/>
                  </a:cubicBezTo>
                  <a:cubicBezTo>
                    <a:pt x="18098" y="384810"/>
                    <a:pt x="29527" y="394335"/>
                    <a:pt x="40957" y="399097"/>
                  </a:cubicBezTo>
                  <a:cubicBezTo>
                    <a:pt x="48577" y="401955"/>
                    <a:pt x="59055" y="391478"/>
                    <a:pt x="62865" y="400050"/>
                  </a:cubicBezTo>
                  <a:cubicBezTo>
                    <a:pt x="55245" y="406717"/>
                    <a:pt x="45720" y="409575"/>
                    <a:pt x="35243" y="410528"/>
                  </a:cubicBezTo>
                  <a:cubicBezTo>
                    <a:pt x="32385" y="409575"/>
                    <a:pt x="27623" y="404813"/>
                    <a:pt x="25718" y="409575"/>
                  </a:cubicBezTo>
                  <a:cubicBezTo>
                    <a:pt x="27623" y="414338"/>
                    <a:pt x="29527" y="418147"/>
                    <a:pt x="33338" y="421005"/>
                  </a:cubicBezTo>
                  <a:cubicBezTo>
                    <a:pt x="43815" y="429578"/>
                    <a:pt x="48577" y="442913"/>
                    <a:pt x="58102" y="452438"/>
                  </a:cubicBezTo>
                  <a:cubicBezTo>
                    <a:pt x="62865" y="461010"/>
                    <a:pt x="75248" y="462915"/>
                    <a:pt x="84773" y="459105"/>
                  </a:cubicBezTo>
                  <a:cubicBezTo>
                    <a:pt x="92393" y="456247"/>
                    <a:pt x="101918" y="454342"/>
                    <a:pt x="109538" y="449580"/>
                  </a:cubicBezTo>
                  <a:cubicBezTo>
                    <a:pt x="116205" y="441960"/>
                    <a:pt x="112395" y="431482"/>
                    <a:pt x="116205" y="422910"/>
                  </a:cubicBezTo>
                  <a:cubicBezTo>
                    <a:pt x="117157" y="426720"/>
                    <a:pt x="118110" y="431482"/>
                    <a:pt x="119063" y="435292"/>
                  </a:cubicBezTo>
                  <a:cubicBezTo>
                    <a:pt x="120968" y="437197"/>
                    <a:pt x="122873" y="438150"/>
                    <a:pt x="124777" y="440055"/>
                  </a:cubicBezTo>
                  <a:cubicBezTo>
                    <a:pt x="123825" y="447675"/>
                    <a:pt x="122873" y="456247"/>
                    <a:pt x="123825" y="463867"/>
                  </a:cubicBezTo>
                  <a:cubicBezTo>
                    <a:pt x="125730" y="474345"/>
                    <a:pt x="119063" y="482917"/>
                    <a:pt x="120015" y="493395"/>
                  </a:cubicBezTo>
                  <a:cubicBezTo>
                    <a:pt x="123825" y="511492"/>
                    <a:pt x="119063" y="529590"/>
                    <a:pt x="125730" y="547688"/>
                  </a:cubicBezTo>
                  <a:cubicBezTo>
                    <a:pt x="127635" y="565785"/>
                    <a:pt x="129540" y="582930"/>
                    <a:pt x="133350" y="601028"/>
                  </a:cubicBezTo>
                  <a:cubicBezTo>
                    <a:pt x="142875" y="603885"/>
                    <a:pt x="139065" y="615315"/>
                    <a:pt x="141923" y="621982"/>
                  </a:cubicBezTo>
                  <a:cubicBezTo>
                    <a:pt x="141923" y="630555"/>
                    <a:pt x="152400" y="636270"/>
                    <a:pt x="153352" y="644842"/>
                  </a:cubicBezTo>
                  <a:cubicBezTo>
                    <a:pt x="155257" y="653415"/>
                    <a:pt x="157163" y="661988"/>
                    <a:pt x="160020" y="669607"/>
                  </a:cubicBezTo>
                  <a:cubicBezTo>
                    <a:pt x="163830" y="681038"/>
                    <a:pt x="162877" y="693420"/>
                    <a:pt x="168593" y="703897"/>
                  </a:cubicBezTo>
                  <a:cubicBezTo>
                    <a:pt x="175260" y="718185"/>
                    <a:pt x="181927" y="733425"/>
                    <a:pt x="191452" y="747713"/>
                  </a:cubicBezTo>
                  <a:cubicBezTo>
                    <a:pt x="195263" y="753428"/>
                    <a:pt x="194310" y="760095"/>
                    <a:pt x="196215" y="766763"/>
                  </a:cubicBezTo>
                  <a:cubicBezTo>
                    <a:pt x="201930" y="776288"/>
                    <a:pt x="208598" y="786765"/>
                    <a:pt x="204788" y="798195"/>
                  </a:cubicBezTo>
                  <a:cubicBezTo>
                    <a:pt x="207645" y="806767"/>
                    <a:pt x="212407" y="814388"/>
                    <a:pt x="216218" y="822960"/>
                  </a:cubicBezTo>
                  <a:cubicBezTo>
                    <a:pt x="220027" y="829628"/>
                    <a:pt x="227648" y="833438"/>
                    <a:pt x="235268" y="835342"/>
                  </a:cubicBezTo>
                  <a:lnTo>
                    <a:pt x="244793" y="835342"/>
                  </a:lnTo>
                  <a:cubicBezTo>
                    <a:pt x="257175" y="833438"/>
                    <a:pt x="256223" y="822007"/>
                    <a:pt x="261938" y="814388"/>
                  </a:cubicBezTo>
                  <a:cubicBezTo>
                    <a:pt x="270510" y="806767"/>
                    <a:pt x="282893" y="802957"/>
                    <a:pt x="280035" y="796290"/>
                  </a:cubicBezTo>
                  <a:cubicBezTo>
                    <a:pt x="280988" y="794385"/>
                    <a:pt x="283845" y="792480"/>
                    <a:pt x="285750" y="791528"/>
                  </a:cubicBezTo>
                  <a:cubicBezTo>
                    <a:pt x="287655" y="786765"/>
                    <a:pt x="289560" y="782003"/>
                    <a:pt x="292418" y="777240"/>
                  </a:cubicBezTo>
                  <a:cubicBezTo>
                    <a:pt x="296227" y="772478"/>
                    <a:pt x="302895" y="774382"/>
                    <a:pt x="307657" y="773430"/>
                  </a:cubicBezTo>
                  <a:cubicBezTo>
                    <a:pt x="311468" y="759142"/>
                    <a:pt x="308610" y="744855"/>
                    <a:pt x="310515" y="730567"/>
                  </a:cubicBezTo>
                  <a:cubicBezTo>
                    <a:pt x="310515" y="722947"/>
                    <a:pt x="317182" y="718185"/>
                    <a:pt x="320993" y="711517"/>
                  </a:cubicBezTo>
                  <a:cubicBezTo>
                    <a:pt x="324802" y="704850"/>
                    <a:pt x="325755" y="696278"/>
                    <a:pt x="322898" y="688657"/>
                  </a:cubicBezTo>
                  <a:cubicBezTo>
                    <a:pt x="320040" y="682942"/>
                    <a:pt x="327660" y="677228"/>
                    <a:pt x="324802" y="670560"/>
                  </a:cubicBezTo>
                  <a:cubicBezTo>
                    <a:pt x="320993" y="661035"/>
                    <a:pt x="324802" y="650557"/>
                    <a:pt x="322898" y="641032"/>
                  </a:cubicBezTo>
                  <a:cubicBezTo>
                    <a:pt x="320040" y="628650"/>
                    <a:pt x="326707" y="615315"/>
                    <a:pt x="340043" y="611505"/>
                  </a:cubicBezTo>
                  <a:cubicBezTo>
                    <a:pt x="340995" y="613410"/>
                    <a:pt x="342900" y="615315"/>
                    <a:pt x="343852" y="617220"/>
                  </a:cubicBezTo>
                  <a:cubicBezTo>
                    <a:pt x="348615" y="612457"/>
                    <a:pt x="351473" y="606742"/>
                    <a:pt x="355282" y="601028"/>
                  </a:cubicBezTo>
                  <a:cubicBezTo>
                    <a:pt x="363855" y="597217"/>
                    <a:pt x="374332" y="601028"/>
                    <a:pt x="381000" y="594360"/>
                  </a:cubicBezTo>
                  <a:cubicBezTo>
                    <a:pt x="385763" y="590550"/>
                    <a:pt x="385763" y="584835"/>
                    <a:pt x="385763" y="580072"/>
                  </a:cubicBezTo>
                  <a:cubicBezTo>
                    <a:pt x="394335" y="572453"/>
                    <a:pt x="406718" y="570547"/>
                    <a:pt x="412432" y="561022"/>
                  </a:cubicBezTo>
                  <a:cubicBezTo>
                    <a:pt x="419100" y="552450"/>
                    <a:pt x="430530" y="549592"/>
                    <a:pt x="437198" y="541972"/>
                  </a:cubicBezTo>
                  <a:cubicBezTo>
                    <a:pt x="447675" y="533400"/>
                    <a:pt x="453390" y="521970"/>
                    <a:pt x="462915" y="512445"/>
                  </a:cubicBezTo>
                  <a:cubicBezTo>
                    <a:pt x="466725" y="509588"/>
                    <a:pt x="466725" y="503872"/>
                    <a:pt x="469582" y="501015"/>
                  </a:cubicBezTo>
                  <a:cubicBezTo>
                    <a:pt x="475298" y="500063"/>
                    <a:pt x="481013" y="501967"/>
                    <a:pt x="486727" y="501015"/>
                  </a:cubicBezTo>
                  <a:cubicBezTo>
                    <a:pt x="497205" y="494347"/>
                    <a:pt x="508635" y="487680"/>
                    <a:pt x="512445" y="475297"/>
                  </a:cubicBezTo>
                  <a:cubicBezTo>
                    <a:pt x="512445" y="469582"/>
                    <a:pt x="511493" y="464820"/>
                    <a:pt x="512445" y="459105"/>
                  </a:cubicBezTo>
                  <a:cubicBezTo>
                    <a:pt x="518160" y="447675"/>
                    <a:pt x="537210" y="451485"/>
                    <a:pt x="541973" y="439103"/>
                  </a:cubicBezTo>
                  <a:lnTo>
                    <a:pt x="544830" y="439103"/>
                  </a:lnTo>
                  <a:cubicBezTo>
                    <a:pt x="545782" y="441007"/>
                    <a:pt x="545782" y="443865"/>
                    <a:pt x="546735" y="445770"/>
                  </a:cubicBezTo>
                  <a:cubicBezTo>
                    <a:pt x="549593" y="445770"/>
                    <a:pt x="551498" y="445770"/>
                    <a:pt x="554355" y="446722"/>
                  </a:cubicBezTo>
                  <a:cubicBezTo>
                    <a:pt x="557213" y="445770"/>
                    <a:pt x="561023" y="444817"/>
                    <a:pt x="563880" y="443865"/>
                  </a:cubicBezTo>
                  <a:cubicBezTo>
                    <a:pt x="563880" y="442913"/>
                    <a:pt x="562927" y="441007"/>
                    <a:pt x="562927" y="440055"/>
                  </a:cubicBezTo>
                  <a:cubicBezTo>
                    <a:pt x="569595" y="441007"/>
                    <a:pt x="568643" y="431482"/>
                    <a:pt x="566738" y="427672"/>
                  </a:cubicBezTo>
                  <a:cubicBezTo>
                    <a:pt x="562927" y="421005"/>
                    <a:pt x="562927" y="414338"/>
                    <a:pt x="562927" y="406717"/>
                  </a:cubicBezTo>
                  <a:cubicBezTo>
                    <a:pt x="563880" y="399097"/>
                    <a:pt x="554355" y="395288"/>
                    <a:pt x="553402" y="388620"/>
                  </a:cubicBezTo>
                  <a:cubicBezTo>
                    <a:pt x="555307" y="382905"/>
                    <a:pt x="558165" y="377190"/>
                    <a:pt x="557213" y="371475"/>
                  </a:cubicBezTo>
                  <a:cubicBezTo>
                    <a:pt x="551498" y="364807"/>
                    <a:pt x="537210" y="366713"/>
                    <a:pt x="537210" y="356235"/>
                  </a:cubicBezTo>
                  <a:cubicBezTo>
                    <a:pt x="540068" y="355282"/>
                    <a:pt x="542925" y="354330"/>
                    <a:pt x="546735" y="353378"/>
                  </a:cubicBezTo>
                  <a:lnTo>
                    <a:pt x="546735" y="345757"/>
                  </a:lnTo>
                  <a:cubicBezTo>
                    <a:pt x="551498" y="345757"/>
                    <a:pt x="557213" y="345757"/>
                    <a:pt x="561023" y="343853"/>
                  </a:cubicBezTo>
                  <a:cubicBezTo>
                    <a:pt x="559118" y="340995"/>
                    <a:pt x="556260" y="337185"/>
                    <a:pt x="553402" y="334327"/>
                  </a:cubicBezTo>
                  <a:cubicBezTo>
                    <a:pt x="551498" y="333375"/>
                    <a:pt x="549593" y="333375"/>
                    <a:pt x="548640" y="332422"/>
                  </a:cubicBezTo>
                  <a:cubicBezTo>
                    <a:pt x="545782" y="328613"/>
                    <a:pt x="542925" y="326707"/>
                    <a:pt x="538163" y="323850"/>
                  </a:cubicBezTo>
                  <a:cubicBezTo>
                    <a:pt x="541973" y="319088"/>
                    <a:pt x="544830" y="315277"/>
                    <a:pt x="547688" y="309563"/>
                  </a:cubicBezTo>
                  <a:cubicBezTo>
                    <a:pt x="549593" y="313372"/>
                    <a:pt x="550545" y="317182"/>
                    <a:pt x="552450" y="320040"/>
                  </a:cubicBezTo>
                  <a:cubicBezTo>
                    <a:pt x="556260" y="319088"/>
                    <a:pt x="559118" y="317182"/>
                    <a:pt x="561975" y="315277"/>
                  </a:cubicBezTo>
                  <a:cubicBezTo>
                    <a:pt x="564832" y="319088"/>
                    <a:pt x="569595" y="321945"/>
                    <a:pt x="574357" y="322897"/>
                  </a:cubicBezTo>
                  <a:cubicBezTo>
                    <a:pt x="576263" y="321945"/>
                    <a:pt x="577215" y="320040"/>
                    <a:pt x="579120" y="319088"/>
                  </a:cubicBezTo>
                  <a:cubicBezTo>
                    <a:pt x="580073" y="324802"/>
                    <a:pt x="577215" y="330517"/>
                    <a:pt x="576263" y="335280"/>
                  </a:cubicBezTo>
                  <a:cubicBezTo>
                    <a:pt x="581977" y="341947"/>
                    <a:pt x="589598" y="346710"/>
                    <a:pt x="599123" y="345757"/>
                  </a:cubicBezTo>
                  <a:cubicBezTo>
                    <a:pt x="613410" y="342900"/>
                    <a:pt x="627698" y="341947"/>
                    <a:pt x="642938" y="341947"/>
                  </a:cubicBezTo>
                  <a:cubicBezTo>
                    <a:pt x="645795" y="341947"/>
                    <a:pt x="647700" y="342900"/>
                    <a:pt x="649605" y="344805"/>
                  </a:cubicBezTo>
                  <a:cubicBezTo>
                    <a:pt x="643890" y="349567"/>
                    <a:pt x="642938" y="355282"/>
                    <a:pt x="641985" y="361950"/>
                  </a:cubicBezTo>
                  <a:cubicBezTo>
                    <a:pt x="635318" y="366713"/>
                    <a:pt x="627698" y="370522"/>
                    <a:pt x="620077" y="374332"/>
                  </a:cubicBezTo>
                  <a:cubicBezTo>
                    <a:pt x="615315" y="383857"/>
                    <a:pt x="619125" y="394335"/>
                    <a:pt x="622935" y="402907"/>
                  </a:cubicBezTo>
                  <a:cubicBezTo>
                    <a:pt x="626745" y="403860"/>
                    <a:pt x="630555" y="404813"/>
                    <a:pt x="634365" y="405765"/>
                  </a:cubicBezTo>
                  <a:cubicBezTo>
                    <a:pt x="637223" y="400050"/>
                    <a:pt x="643890" y="401003"/>
                    <a:pt x="649605" y="401003"/>
                  </a:cubicBezTo>
                  <a:cubicBezTo>
                    <a:pt x="654368" y="411480"/>
                    <a:pt x="653415" y="423863"/>
                    <a:pt x="656273" y="434340"/>
                  </a:cubicBezTo>
                  <a:cubicBezTo>
                    <a:pt x="661988" y="435292"/>
                    <a:pt x="670560" y="437197"/>
                    <a:pt x="671513" y="429578"/>
                  </a:cubicBezTo>
                  <a:cubicBezTo>
                    <a:pt x="677227" y="422910"/>
                    <a:pt x="672465" y="414338"/>
                    <a:pt x="672465" y="406717"/>
                  </a:cubicBezTo>
                  <a:cubicBezTo>
                    <a:pt x="682943" y="398145"/>
                    <a:pt x="679132" y="383857"/>
                    <a:pt x="677227" y="372428"/>
                  </a:cubicBezTo>
                  <a:cubicBezTo>
                    <a:pt x="683895" y="374332"/>
                    <a:pt x="691515" y="377190"/>
                    <a:pt x="699135" y="377190"/>
                  </a:cubicBezTo>
                  <a:cubicBezTo>
                    <a:pt x="701993" y="364807"/>
                    <a:pt x="711518" y="354330"/>
                    <a:pt x="715327" y="341947"/>
                  </a:cubicBezTo>
                  <a:cubicBezTo>
                    <a:pt x="713423" y="338138"/>
                    <a:pt x="708660" y="334327"/>
                    <a:pt x="713423" y="330517"/>
                  </a:cubicBezTo>
                  <a:cubicBezTo>
                    <a:pt x="721043" y="320992"/>
                    <a:pt x="722948" y="309563"/>
                    <a:pt x="722948" y="298132"/>
                  </a:cubicBezTo>
                  <a:cubicBezTo>
                    <a:pt x="731520" y="287655"/>
                    <a:pt x="742950" y="280988"/>
                    <a:pt x="755332" y="275272"/>
                  </a:cubicBezTo>
                  <a:cubicBezTo>
                    <a:pt x="762000" y="276225"/>
                    <a:pt x="766763" y="282892"/>
                    <a:pt x="773430" y="280035"/>
                  </a:cubicBezTo>
                  <a:cubicBezTo>
                    <a:pt x="771525" y="275272"/>
                    <a:pt x="766763" y="271463"/>
                    <a:pt x="765810" y="265747"/>
                  </a:cubicBezTo>
                  <a:cubicBezTo>
                    <a:pt x="770573" y="269557"/>
                    <a:pt x="778193" y="268605"/>
                    <a:pt x="782002" y="264795"/>
                  </a:cubicBezTo>
                  <a:close/>
                </a:path>
              </a:pathLst>
            </a:custGeom>
            <a:solidFill>
              <a:srgbClr val="CEE3BF"/>
            </a:solidFill>
            <a:ln w="3175" cap="flat">
              <a:solidFill>
                <a:srgbClr val="CEE3B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970" name="Freeform: Shape 3969">
              <a:extLst>
                <a:ext uri="{FF2B5EF4-FFF2-40B4-BE49-F238E27FC236}">
                  <a16:creationId xmlns:a16="http://schemas.microsoft.com/office/drawing/2014/main" id="{8A77FDB3-BB7A-863B-0B77-A03885343C4E}"/>
                </a:ext>
              </a:extLst>
            </p:cNvPr>
            <p:cNvSpPr/>
            <p:nvPr/>
          </p:nvSpPr>
          <p:spPr>
            <a:xfrm>
              <a:off x="6779115" y="5362621"/>
              <a:ext cx="34547" cy="35388"/>
            </a:xfrm>
            <a:custGeom>
              <a:avLst/>
              <a:gdLst>
                <a:gd name="connsiteX0" fmla="*/ 11430 w 35242"/>
                <a:gd name="connsiteY0" fmla="*/ 1905 h 36099"/>
                <a:gd name="connsiteX1" fmla="*/ 27622 w 35242"/>
                <a:gd name="connsiteY1" fmla="*/ 0 h 36099"/>
                <a:gd name="connsiteX2" fmla="*/ 35242 w 35242"/>
                <a:gd name="connsiteY2" fmla="*/ 16193 h 36099"/>
                <a:gd name="connsiteX3" fmla="*/ 29527 w 35242"/>
                <a:gd name="connsiteY3" fmla="*/ 23813 h 36099"/>
                <a:gd name="connsiteX4" fmla="*/ 20955 w 35242"/>
                <a:gd name="connsiteY4" fmla="*/ 27527 h 36099"/>
                <a:gd name="connsiteX5" fmla="*/ 13335 w 35242"/>
                <a:gd name="connsiteY5" fmla="*/ 36100 h 36099"/>
                <a:gd name="connsiteX6" fmla="*/ 0 w 35242"/>
                <a:gd name="connsiteY6" fmla="*/ 18002 h 36099"/>
                <a:gd name="connsiteX7" fmla="*/ 11430 w 35242"/>
                <a:gd name="connsiteY7" fmla="*/ 1905 h 36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242" h="36099">
                  <a:moveTo>
                    <a:pt x="11430" y="1905"/>
                  </a:moveTo>
                  <a:lnTo>
                    <a:pt x="27622" y="0"/>
                  </a:lnTo>
                  <a:lnTo>
                    <a:pt x="35242" y="16193"/>
                  </a:lnTo>
                  <a:lnTo>
                    <a:pt x="29527" y="23813"/>
                  </a:lnTo>
                  <a:lnTo>
                    <a:pt x="20955" y="27527"/>
                  </a:lnTo>
                  <a:lnTo>
                    <a:pt x="13335" y="36100"/>
                  </a:lnTo>
                  <a:lnTo>
                    <a:pt x="0" y="18002"/>
                  </a:lnTo>
                  <a:lnTo>
                    <a:pt x="11430" y="1905"/>
                  </a:lnTo>
                  <a:close/>
                </a:path>
              </a:pathLst>
            </a:custGeom>
            <a:solidFill>
              <a:srgbClr val="EEEDE8"/>
            </a:solidFill>
            <a:ln w="3175" cap="flat">
              <a:solidFill>
                <a:srgbClr val="EEEDE8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6" name="Title 5">
            <a:extLst>
              <a:ext uri="{FF2B5EF4-FFF2-40B4-BE49-F238E27FC236}">
                <a16:creationId xmlns:a16="http://schemas.microsoft.com/office/drawing/2014/main" id="{D4AEA326-56F0-46C3-A9CF-FA5981797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15415"/>
            <a:ext cx="10483200" cy="936000"/>
          </a:xfrm>
        </p:spPr>
        <p:txBody>
          <a:bodyPr vert="horz"/>
          <a:lstStyle/>
          <a:p>
            <a:r>
              <a:rPr lang="en-GB" dirty="0">
                <a:latin typeface="Gotham Rounded Book" pitchFamily="50" charset="0"/>
              </a:rPr>
              <a:t>Geographical footpri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5B30A95-5AF9-4BF2-ABC5-A5B2142E08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/>
              <a:pPr/>
              <a:t>3</a:t>
            </a:fld>
            <a:endParaRPr lang="en-GB" dirty="0"/>
          </a:p>
        </p:txBody>
      </p:sp>
      <p:grpSp>
        <p:nvGrpSpPr>
          <p:cNvPr id="3975" name="Group 3974">
            <a:extLst>
              <a:ext uri="{FF2B5EF4-FFF2-40B4-BE49-F238E27FC236}">
                <a16:creationId xmlns:a16="http://schemas.microsoft.com/office/drawing/2014/main" id="{48F73577-4174-B553-84F4-1D6001C84E7A}"/>
              </a:ext>
            </a:extLst>
          </p:cNvPr>
          <p:cNvGrpSpPr/>
          <p:nvPr/>
        </p:nvGrpSpPr>
        <p:grpSpPr>
          <a:xfrm>
            <a:off x="10092759" y="1046471"/>
            <a:ext cx="1456566" cy="153888"/>
            <a:chOff x="10092759" y="1046471"/>
            <a:chExt cx="1456566" cy="153888"/>
          </a:xfrm>
        </p:grpSpPr>
        <p:sp>
          <p:nvSpPr>
            <p:cNvPr id="1475" name="Oval 1474">
              <a:extLst>
                <a:ext uri="{FF2B5EF4-FFF2-40B4-BE49-F238E27FC236}">
                  <a16:creationId xmlns:a16="http://schemas.microsoft.com/office/drawing/2014/main" id="{FEB64BE0-21CE-4C7C-9CED-50057C08C31C}"/>
                </a:ext>
              </a:extLst>
            </p:cNvPr>
            <p:cNvSpPr/>
            <p:nvPr/>
          </p:nvSpPr>
          <p:spPr>
            <a:xfrm>
              <a:off x="10092759" y="1068551"/>
              <a:ext cx="109728" cy="109728"/>
            </a:xfrm>
            <a:prstGeom prst="ellipse">
              <a:avLst/>
            </a:prstGeom>
            <a:solidFill>
              <a:srgbClr val="009DF0"/>
            </a:solidFill>
            <a:ln w="933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1478" name="TextBox 1477">
              <a:extLst>
                <a:ext uri="{FF2B5EF4-FFF2-40B4-BE49-F238E27FC236}">
                  <a16:creationId xmlns:a16="http://schemas.microsoft.com/office/drawing/2014/main" id="{34CD4AB7-EA09-4620-AE82-78B584CFB4C2}"/>
                </a:ext>
              </a:extLst>
            </p:cNvPr>
            <p:cNvSpPr txBox="1"/>
            <p:nvPr/>
          </p:nvSpPr>
          <p:spPr>
            <a:xfrm>
              <a:off x="10274937" y="1046471"/>
              <a:ext cx="1274388" cy="15388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r>
                <a:rPr lang="en-GB" sz="1000" u="none" strike="noStrike" dirty="0">
                  <a:solidFill>
                    <a:srgbClr val="273943"/>
                  </a:solidFill>
                  <a:effectLst/>
                </a:rPr>
                <a:t>Ramboll head office</a:t>
              </a:r>
              <a:endParaRPr lang="en-GB" sz="1000" dirty="0">
                <a:solidFill>
                  <a:srgbClr val="273943"/>
                </a:solidFill>
              </a:endParaRPr>
            </a:p>
          </p:txBody>
        </p:sp>
      </p:grpSp>
      <p:grpSp>
        <p:nvGrpSpPr>
          <p:cNvPr id="3974" name="Group 3973">
            <a:extLst>
              <a:ext uri="{FF2B5EF4-FFF2-40B4-BE49-F238E27FC236}">
                <a16:creationId xmlns:a16="http://schemas.microsoft.com/office/drawing/2014/main" id="{54B73B6D-EF0F-0247-9265-03E7DB8EF18D}"/>
              </a:ext>
            </a:extLst>
          </p:cNvPr>
          <p:cNvGrpSpPr/>
          <p:nvPr/>
        </p:nvGrpSpPr>
        <p:grpSpPr>
          <a:xfrm>
            <a:off x="10092759" y="1284303"/>
            <a:ext cx="1160010" cy="153888"/>
            <a:chOff x="10092759" y="1284303"/>
            <a:chExt cx="1160010" cy="153888"/>
          </a:xfrm>
        </p:grpSpPr>
        <p:sp>
          <p:nvSpPr>
            <p:cNvPr id="1479" name="TextBox 1478">
              <a:extLst>
                <a:ext uri="{FF2B5EF4-FFF2-40B4-BE49-F238E27FC236}">
                  <a16:creationId xmlns:a16="http://schemas.microsoft.com/office/drawing/2014/main" id="{C99DABA4-5C18-4C95-A642-D48BEFA51ECC}"/>
                </a:ext>
              </a:extLst>
            </p:cNvPr>
            <p:cNvSpPr txBox="1"/>
            <p:nvPr/>
          </p:nvSpPr>
          <p:spPr>
            <a:xfrm>
              <a:off x="10274937" y="1284303"/>
              <a:ext cx="977832" cy="15388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r>
                <a:rPr lang="en-GB" sz="1000" u="none" strike="noStrike" dirty="0">
                  <a:solidFill>
                    <a:srgbClr val="273943"/>
                  </a:solidFill>
                  <a:effectLst/>
                </a:rPr>
                <a:t>Ramboll offices</a:t>
              </a:r>
              <a:endParaRPr lang="en-GB" sz="1000" dirty="0">
                <a:solidFill>
                  <a:srgbClr val="273943"/>
                </a:solidFill>
              </a:endParaRPr>
            </a:p>
          </p:txBody>
        </p:sp>
        <p:sp>
          <p:nvSpPr>
            <p:cNvPr id="1009" name="Oval 1008">
              <a:extLst>
                <a:ext uri="{FF2B5EF4-FFF2-40B4-BE49-F238E27FC236}">
                  <a16:creationId xmlns:a16="http://schemas.microsoft.com/office/drawing/2014/main" id="{9E48BCB2-84B8-4EC2-B7AF-B60D43EA8133}"/>
                </a:ext>
              </a:extLst>
            </p:cNvPr>
            <p:cNvSpPr/>
            <p:nvPr/>
          </p:nvSpPr>
          <p:spPr>
            <a:xfrm>
              <a:off x="10092759" y="1306383"/>
              <a:ext cx="109728" cy="109728"/>
            </a:xfrm>
            <a:prstGeom prst="ellipse">
              <a:avLst/>
            </a:prstGeom>
            <a:solidFill>
              <a:srgbClr val="417B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1000" dirty="0">
                <a:solidFill>
                  <a:schemeClr val="lt1"/>
                </a:solidFill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BF33384C-332D-0739-AED7-EEEFD28AD257}"/>
              </a:ext>
            </a:extLst>
          </p:cNvPr>
          <p:cNvGrpSpPr/>
          <p:nvPr/>
        </p:nvGrpSpPr>
        <p:grpSpPr>
          <a:xfrm>
            <a:off x="2606981" y="1728983"/>
            <a:ext cx="7564927" cy="3803240"/>
            <a:chOff x="2606981" y="1728983"/>
            <a:chExt cx="7564927" cy="3803240"/>
          </a:xfrm>
        </p:grpSpPr>
        <p:sp>
          <p:nvSpPr>
            <p:cNvPr id="3389" name="Freeform: Shape 3388">
              <a:extLst>
                <a:ext uri="{FF2B5EF4-FFF2-40B4-BE49-F238E27FC236}">
                  <a16:creationId xmlns:a16="http://schemas.microsoft.com/office/drawing/2014/main" id="{CCF903AC-1209-287A-6DDA-26D29733CF3F}"/>
                </a:ext>
              </a:extLst>
            </p:cNvPr>
            <p:cNvSpPr/>
            <p:nvPr/>
          </p:nvSpPr>
          <p:spPr>
            <a:xfrm>
              <a:off x="9158585" y="5435059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7 w 20955"/>
                <a:gd name="connsiteY1" fmla="*/ 0 h 20955"/>
                <a:gd name="connsiteX2" fmla="*/ 20955 w 20955"/>
                <a:gd name="connsiteY2" fmla="*/ 10478 h 20955"/>
                <a:gd name="connsiteX3" fmla="*/ 10477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90" name="Freeform: Shape 3389">
              <a:extLst>
                <a:ext uri="{FF2B5EF4-FFF2-40B4-BE49-F238E27FC236}">
                  <a16:creationId xmlns:a16="http://schemas.microsoft.com/office/drawing/2014/main" id="{6B5D5DEE-70B3-8311-F178-F2F28AD4B0F7}"/>
                </a:ext>
              </a:extLst>
            </p:cNvPr>
            <p:cNvSpPr/>
            <p:nvPr/>
          </p:nvSpPr>
          <p:spPr>
            <a:xfrm>
              <a:off x="2606981" y="3380945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8 w 20954"/>
                <a:gd name="connsiteY1" fmla="*/ 0 h 20954"/>
                <a:gd name="connsiteX2" fmla="*/ 20955 w 20954"/>
                <a:gd name="connsiteY2" fmla="*/ 10478 h 20954"/>
                <a:gd name="connsiteX3" fmla="*/ 10478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91" name="Freeform: Shape 3390">
              <a:extLst>
                <a:ext uri="{FF2B5EF4-FFF2-40B4-BE49-F238E27FC236}">
                  <a16:creationId xmlns:a16="http://schemas.microsoft.com/office/drawing/2014/main" id="{6CBDE1F8-8D15-8FB9-36F3-BDEF2CC209BD}"/>
                </a:ext>
              </a:extLst>
            </p:cNvPr>
            <p:cNvSpPr/>
            <p:nvPr/>
          </p:nvSpPr>
          <p:spPr>
            <a:xfrm>
              <a:off x="2750384" y="3558258"/>
              <a:ext cx="44031" cy="44035"/>
            </a:xfrm>
            <a:custGeom>
              <a:avLst/>
              <a:gdLst>
                <a:gd name="connsiteX0" fmla="*/ 0 w 20954"/>
                <a:gd name="connsiteY0" fmla="*/ 10478 h 20955"/>
                <a:gd name="connsiteX1" fmla="*/ 10477 w 20954"/>
                <a:gd name="connsiteY1" fmla="*/ 0 h 20955"/>
                <a:gd name="connsiteX2" fmla="*/ 20955 w 20954"/>
                <a:gd name="connsiteY2" fmla="*/ 10478 h 20955"/>
                <a:gd name="connsiteX3" fmla="*/ 10477 w 20954"/>
                <a:gd name="connsiteY3" fmla="*/ 20955 h 20955"/>
                <a:gd name="connsiteX4" fmla="*/ 0 w 20954"/>
                <a:gd name="connsiteY4" fmla="*/ 10478 h 20955"/>
                <a:gd name="connsiteX5" fmla="*/ 0 w 20954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5715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93" name="Freeform: Shape 3392">
              <a:extLst>
                <a:ext uri="{FF2B5EF4-FFF2-40B4-BE49-F238E27FC236}">
                  <a16:creationId xmlns:a16="http://schemas.microsoft.com/office/drawing/2014/main" id="{447E582C-5705-1CAB-AB76-ABD1AD6F1500}"/>
                </a:ext>
              </a:extLst>
            </p:cNvPr>
            <p:cNvSpPr/>
            <p:nvPr/>
          </p:nvSpPr>
          <p:spPr>
            <a:xfrm>
              <a:off x="3375984" y="3419065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7 w 20954"/>
                <a:gd name="connsiteY1" fmla="*/ 0 h 21076"/>
                <a:gd name="connsiteX2" fmla="*/ 20955 w 20954"/>
                <a:gd name="connsiteY2" fmla="*/ 10478 h 21076"/>
                <a:gd name="connsiteX3" fmla="*/ 10477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94" name="Freeform: Shape 3393">
              <a:extLst>
                <a:ext uri="{FF2B5EF4-FFF2-40B4-BE49-F238E27FC236}">
                  <a16:creationId xmlns:a16="http://schemas.microsoft.com/office/drawing/2014/main" id="{76EB646D-C9CB-7DFD-7DD6-B9809C4D5533}"/>
                </a:ext>
              </a:extLst>
            </p:cNvPr>
            <p:cNvSpPr/>
            <p:nvPr/>
          </p:nvSpPr>
          <p:spPr>
            <a:xfrm>
              <a:off x="3292882" y="3499339"/>
              <a:ext cx="44031" cy="44035"/>
            </a:xfrm>
            <a:custGeom>
              <a:avLst/>
              <a:gdLst>
                <a:gd name="connsiteX0" fmla="*/ 0 w 20954"/>
                <a:gd name="connsiteY0" fmla="*/ 10478 h 20955"/>
                <a:gd name="connsiteX1" fmla="*/ 10478 w 20954"/>
                <a:gd name="connsiteY1" fmla="*/ 0 h 20955"/>
                <a:gd name="connsiteX2" fmla="*/ 20955 w 20954"/>
                <a:gd name="connsiteY2" fmla="*/ 10478 h 20955"/>
                <a:gd name="connsiteX3" fmla="*/ 10478 w 20954"/>
                <a:gd name="connsiteY3" fmla="*/ 20955 h 20955"/>
                <a:gd name="connsiteX4" fmla="*/ 0 w 20954"/>
                <a:gd name="connsiteY4" fmla="*/ 10478 h 20955"/>
                <a:gd name="connsiteX5" fmla="*/ 0 w 20954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95" name="Freeform: Shape 3394">
              <a:extLst>
                <a:ext uri="{FF2B5EF4-FFF2-40B4-BE49-F238E27FC236}">
                  <a16:creationId xmlns:a16="http://schemas.microsoft.com/office/drawing/2014/main" id="{E4414436-66B4-4D79-1B66-98820596D7E7}"/>
                </a:ext>
              </a:extLst>
            </p:cNvPr>
            <p:cNvSpPr/>
            <p:nvPr/>
          </p:nvSpPr>
          <p:spPr>
            <a:xfrm>
              <a:off x="2917522" y="3319156"/>
              <a:ext cx="44031" cy="44288"/>
            </a:xfrm>
            <a:custGeom>
              <a:avLst/>
              <a:gdLst>
                <a:gd name="connsiteX0" fmla="*/ 0 w 20954"/>
                <a:gd name="connsiteY0" fmla="*/ 10477 h 21076"/>
                <a:gd name="connsiteX1" fmla="*/ 10478 w 20954"/>
                <a:gd name="connsiteY1" fmla="*/ 0 h 21076"/>
                <a:gd name="connsiteX2" fmla="*/ 20955 w 20954"/>
                <a:gd name="connsiteY2" fmla="*/ 10477 h 21076"/>
                <a:gd name="connsiteX3" fmla="*/ 10478 w 20954"/>
                <a:gd name="connsiteY3" fmla="*/ 20955 h 21076"/>
                <a:gd name="connsiteX4" fmla="*/ 0 w 20954"/>
                <a:gd name="connsiteY4" fmla="*/ 10477 h 21076"/>
                <a:gd name="connsiteX5" fmla="*/ 0 w 20954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1908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96" name="Freeform: Shape 3395">
              <a:extLst>
                <a:ext uri="{FF2B5EF4-FFF2-40B4-BE49-F238E27FC236}">
                  <a16:creationId xmlns:a16="http://schemas.microsoft.com/office/drawing/2014/main" id="{B16764C4-1CA4-56A0-4980-98A1D09BE088}"/>
                </a:ext>
              </a:extLst>
            </p:cNvPr>
            <p:cNvSpPr/>
            <p:nvPr/>
          </p:nvSpPr>
          <p:spPr>
            <a:xfrm>
              <a:off x="2908185" y="3574998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8 w 20954"/>
                <a:gd name="connsiteY1" fmla="*/ 0 h 21076"/>
                <a:gd name="connsiteX2" fmla="*/ 20955 w 20954"/>
                <a:gd name="connsiteY2" fmla="*/ 10478 h 21076"/>
                <a:gd name="connsiteX3" fmla="*/ 10478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97" name="Freeform: Shape 3396">
              <a:extLst>
                <a:ext uri="{FF2B5EF4-FFF2-40B4-BE49-F238E27FC236}">
                  <a16:creationId xmlns:a16="http://schemas.microsoft.com/office/drawing/2014/main" id="{7A703C1D-E0C3-69CA-2536-E099C0936371}"/>
                </a:ext>
              </a:extLst>
            </p:cNvPr>
            <p:cNvSpPr/>
            <p:nvPr/>
          </p:nvSpPr>
          <p:spPr>
            <a:xfrm>
              <a:off x="2769058" y="3592712"/>
              <a:ext cx="44031" cy="44035"/>
            </a:xfrm>
            <a:custGeom>
              <a:avLst/>
              <a:gdLst>
                <a:gd name="connsiteX0" fmla="*/ 0 w 20954"/>
                <a:gd name="connsiteY0" fmla="*/ 10478 h 20955"/>
                <a:gd name="connsiteX1" fmla="*/ 10477 w 20954"/>
                <a:gd name="connsiteY1" fmla="*/ 0 h 20955"/>
                <a:gd name="connsiteX2" fmla="*/ 20955 w 20954"/>
                <a:gd name="connsiteY2" fmla="*/ 10478 h 20955"/>
                <a:gd name="connsiteX3" fmla="*/ 10477 w 20954"/>
                <a:gd name="connsiteY3" fmla="*/ 20955 h 20955"/>
                <a:gd name="connsiteX4" fmla="*/ 0 w 20954"/>
                <a:gd name="connsiteY4" fmla="*/ 10478 h 20955"/>
                <a:gd name="connsiteX5" fmla="*/ 0 w 20954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98" name="Freeform: Shape 3397">
              <a:extLst>
                <a:ext uri="{FF2B5EF4-FFF2-40B4-BE49-F238E27FC236}">
                  <a16:creationId xmlns:a16="http://schemas.microsoft.com/office/drawing/2014/main" id="{15DCD9C0-2CB6-6FA8-2431-574D43543F1E}"/>
                </a:ext>
              </a:extLst>
            </p:cNvPr>
            <p:cNvSpPr/>
            <p:nvPr/>
          </p:nvSpPr>
          <p:spPr>
            <a:xfrm>
              <a:off x="2637943" y="3391563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8 w 20954"/>
                <a:gd name="connsiteY1" fmla="*/ 0 h 21076"/>
                <a:gd name="connsiteX2" fmla="*/ 20955 w 20954"/>
                <a:gd name="connsiteY2" fmla="*/ 10478 h 21076"/>
                <a:gd name="connsiteX3" fmla="*/ 10478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399" name="Freeform: Shape 3398">
              <a:extLst>
                <a:ext uri="{FF2B5EF4-FFF2-40B4-BE49-F238E27FC236}">
                  <a16:creationId xmlns:a16="http://schemas.microsoft.com/office/drawing/2014/main" id="{A668DE7D-0579-739B-0459-754C1F061191}"/>
                </a:ext>
              </a:extLst>
            </p:cNvPr>
            <p:cNvSpPr/>
            <p:nvPr/>
          </p:nvSpPr>
          <p:spPr>
            <a:xfrm>
              <a:off x="2642257" y="3135770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8 w 20954"/>
                <a:gd name="connsiteY1" fmla="*/ 0 h 21076"/>
                <a:gd name="connsiteX2" fmla="*/ 20955 w 20954"/>
                <a:gd name="connsiteY2" fmla="*/ 10478 h 21076"/>
                <a:gd name="connsiteX3" fmla="*/ 10478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01" name="Freeform: Shape 3400">
              <a:extLst>
                <a:ext uri="{FF2B5EF4-FFF2-40B4-BE49-F238E27FC236}">
                  <a16:creationId xmlns:a16="http://schemas.microsoft.com/office/drawing/2014/main" id="{C88BF6CE-C767-D998-4A94-96B4D875405C}"/>
                </a:ext>
              </a:extLst>
            </p:cNvPr>
            <p:cNvSpPr/>
            <p:nvPr/>
          </p:nvSpPr>
          <p:spPr>
            <a:xfrm>
              <a:off x="2622460" y="3419972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02" name="Freeform: Shape 3401">
              <a:extLst>
                <a:ext uri="{FF2B5EF4-FFF2-40B4-BE49-F238E27FC236}">
                  <a16:creationId xmlns:a16="http://schemas.microsoft.com/office/drawing/2014/main" id="{ED7DD3BC-83CD-BD4F-E341-685857359D08}"/>
                </a:ext>
              </a:extLst>
            </p:cNvPr>
            <p:cNvSpPr/>
            <p:nvPr/>
          </p:nvSpPr>
          <p:spPr>
            <a:xfrm>
              <a:off x="3092130" y="3405969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8 w 20954"/>
                <a:gd name="connsiteY1" fmla="*/ 0 h 20954"/>
                <a:gd name="connsiteX2" fmla="*/ 20955 w 20954"/>
                <a:gd name="connsiteY2" fmla="*/ 10478 h 20954"/>
                <a:gd name="connsiteX3" fmla="*/ 10478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03" name="Freeform: Shape 3402">
              <a:extLst>
                <a:ext uri="{FF2B5EF4-FFF2-40B4-BE49-F238E27FC236}">
                  <a16:creationId xmlns:a16="http://schemas.microsoft.com/office/drawing/2014/main" id="{E4428E7B-B757-8C37-EC42-BED349B67607}"/>
                </a:ext>
              </a:extLst>
            </p:cNvPr>
            <p:cNvSpPr/>
            <p:nvPr/>
          </p:nvSpPr>
          <p:spPr>
            <a:xfrm>
              <a:off x="3719596" y="3752476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04" name="Freeform: Shape 3403">
              <a:extLst>
                <a:ext uri="{FF2B5EF4-FFF2-40B4-BE49-F238E27FC236}">
                  <a16:creationId xmlns:a16="http://schemas.microsoft.com/office/drawing/2014/main" id="{4AC8B9CC-0BA6-22B5-E2BC-11D6411CF4C2}"/>
                </a:ext>
              </a:extLst>
            </p:cNvPr>
            <p:cNvSpPr/>
            <p:nvPr/>
          </p:nvSpPr>
          <p:spPr>
            <a:xfrm>
              <a:off x="3504837" y="3689823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05" name="Freeform: Shape 3404">
              <a:extLst>
                <a:ext uri="{FF2B5EF4-FFF2-40B4-BE49-F238E27FC236}">
                  <a16:creationId xmlns:a16="http://schemas.microsoft.com/office/drawing/2014/main" id="{A864D746-FBBC-441C-A32D-189EC6B15B10}"/>
                </a:ext>
              </a:extLst>
            </p:cNvPr>
            <p:cNvSpPr/>
            <p:nvPr/>
          </p:nvSpPr>
          <p:spPr>
            <a:xfrm>
              <a:off x="3458151" y="3663771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06" name="Freeform: Shape 3405">
              <a:extLst>
                <a:ext uri="{FF2B5EF4-FFF2-40B4-BE49-F238E27FC236}">
                  <a16:creationId xmlns:a16="http://schemas.microsoft.com/office/drawing/2014/main" id="{E3D02FEA-66EE-3ABC-8AF5-2B2BB4E4D06C}"/>
                </a:ext>
              </a:extLst>
            </p:cNvPr>
            <p:cNvSpPr/>
            <p:nvPr/>
          </p:nvSpPr>
          <p:spPr>
            <a:xfrm>
              <a:off x="3241527" y="3981240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8 w 20954"/>
                <a:gd name="connsiteY1" fmla="*/ 0 h 20954"/>
                <a:gd name="connsiteX2" fmla="*/ 20955 w 20954"/>
                <a:gd name="connsiteY2" fmla="*/ 10477 h 20954"/>
                <a:gd name="connsiteX3" fmla="*/ 10478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07" name="Freeform: Shape 3406">
              <a:extLst>
                <a:ext uri="{FF2B5EF4-FFF2-40B4-BE49-F238E27FC236}">
                  <a16:creationId xmlns:a16="http://schemas.microsoft.com/office/drawing/2014/main" id="{6346BA5C-E136-2A30-838A-9CA1B738FB37}"/>
                </a:ext>
              </a:extLst>
            </p:cNvPr>
            <p:cNvSpPr/>
            <p:nvPr/>
          </p:nvSpPr>
          <p:spPr>
            <a:xfrm>
              <a:off x="3207913" y="3806539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7 w 20954"/>
                <a:gd name="connsiteY1" fmla="*/ 0 h 20954"/>
                <a:gd name="connsiteX2" fmla="*/ 20955 w 20954"/>
                <a:gd name="connsiteY2" fmla="*/ 10477 h 20954"/>
                <a:gd name="connsiteX3" fmla="*/ 10477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2"/>
                    <a:pt x="4763" y="0"/>
                    <a:pt x="10477" y="0"/>
                  </a:cubicBezTo>
                  <a:cubicBezTo>
                    <a:pt x="16192" y="0"/>
                    <a:pt x="20955" y="4762"/>
                    <a:pt x="20955" y="10477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08" name="Freeform: Shape 3407">
              <a:extLst>
                <a:ext uri="{FF2B5EF4-FFF2-40B4-BE49-F238E27FC236}">
                  <a16:creationId xmlns:a16="http://schemas.microsoft.com/office/drawing/2014/main" id="{1AC26CBE-E8AB-AAEB-F56E-FE86F5A67ED5}"/>
                </a:ext>
              </a:extLst>
            </p:cNvPr>
            <p:cNvSpPr/>
            <p:nvPr/>
          </p:nvSpPr>
          <p:spPr>
            <a:xfrm>
              <a:off x="3343304" y="3689823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7 w 20954"/>
                <a:gd name="connsiteY1" fmla="*/ 0 h 20954"/>
                <a:gd name="connsiteX2" fmla="*/ 20955 w 20954"/>
                <a:gd name="connsiteY2" fmla="*/ 10477 h 20954"/>
                <a:gd name="connsiteX3" fmla="*/ 10477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09" name="Freeform: Shape 3408">
              <a:extLst>
                <a:ext uri="{FF2B5EF4-FFF2-40B4-BE49-F238E27FC236}">
                  <a16:creationId xmlns:a16="http://schemas.microsoft.com/office/drawing/2014/main" id="{E9CEECF1-9928-463F-8164-A7577491F3FF}"/>
                </a:ext>
              </a:extLst>
            </p:cNvPr>
            <p:cNvSpPr/>
            <p:nvPr/>
          </p:nvSpPr>
          <p:spPr>
            <a:xfrm>
              <a:off x="3282611" y="3668440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7 w 20954"/>
                <a:gd name="connsiteY1" fmla="*/ 0 h 20954"/>
                <a:gd name="connsiteX2" fmla="*/ 20955 w 20954"/>
                <a:gd name="connsiteY2" fmla="*/ 10478 h 20954"/>
                <a:gd name="connsiteX3" fmla="*/ 10477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10" name="Freeform: Shape 3409">
              <a:extLst>
                <a:ext uri="{FF2B5EF4-FFF2-40B4-BE49-F238E27FC236}">
                  <a16:creationId xmlns:a16="http://schemas.microsoft.com/office/drawing/2014/main" id="{843179FA-F74B-C47E-69B3-B75D3021B51C}"/>
                </a:ext>
              </a:extLst>
            </p:cNvPr>
            <p:cNvSpPr/>
            <p:nvPr/>
          </p:nvSpPr>
          <p:spPr>
            <a:xfrm>
              <a:off x="3664508" y="3408700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8 w 20954"/>
                <a:gd name="connsiteY1" fmla="*/ 0 h 21076"/>
                <a:gd name="connsiteX2" fmla="*/ 20955 w 20954"/>
                <a:gd name="connsiteY2" fmla="*/ 10478 h 21076"/>
                <a:gd name="connsiteX3" fmla="*/ 10478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11" name="Freeform: Shape 3410">
              <a:extLst>
                <a:ext uri="{FF2B5EF4-FFF2-40B4-BE49-F238E27FC236}">
                  <a16:creationId xmlns:a16="http://schemas.microsoft.com/office/drawing/2014/main" id="{BDEAA186-9DCD-4856-1714-E6C1D713B647}"/>
                </a:ext>
              </a:extLst>
            </p:cNvPr>
            <p:cNvSpPr/>
            <p:nvPr/>
          </p:nvSpPr>
          <p:spPr>
            <a:xfrm>
              <a:off x="3705589" y="3380688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12" name="Freeform: Shape 3411">
              <a:extLst>
                <a:ext uri="{FF2B5EF4-FFF2-40B4-BE49-F238E27FC236}">
                  <a16:creationId xmlns:a16="http://schemas.microsoft.com/office/drawing/2014/main" id="{8C1F4805-357F-CFED-172F-6552D18ED21D}"/>
                </a:ext>
              </a:extLst>
            </p:cNvPr>
            <p:cNvSpPr/>
            <p:nvPr/>
          </p:nvSpPr>
          <p:spPr>
            <a:xfrm>
              <a:off x="3752276" y="3330429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13" name="Freeform: Shape 3412">
              <a:extLst>
                <a:ext uri="{FF2B5EF4-FFF2-40B4-BE49-F238E27FC236}">
                  <a16:creationId xmlns:a16="http://schemas.microsoft.com/office/drawing/2014/main" id="{956645EF-54AD-52D4-59AF-27F5375E6F29}"/>
                </a:ext>
              </a:extLst>
            </p:cNvPr>
            <p:cNvSpPr/>
            <p:nvPr/>
          </p:nvSpPr>
          <p:spPr>
            <a:xfrm>
              <a:off x="3672909" y="3311755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14" name="Freeform: Shape 3413">
              <a:extLst>
                <a:ext uri="{FF2B5EF4-FFF2-40B4-BE49-F238E27FC236}">
                  <a16:creationId xmlns:a16="http://schemas.microsoft.com/office/drawing/2014/main" id="{2DF033ED-FC26-F55F-6096-27D4BBF957E9}"/>
                </a:ext>
              </a:extLst>
            </p:cNvPr>
            <p:cNvSpPr/>
            <p:nvPr/>
          </p:nvSpPr>
          <p:spPr>
            <a:xfrm>
              <a:off x="3556192" y="3293852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15" name="Freeform: Shape 3414">
              <a:extLst>
                <a:ext uri="{FF2B5EF4-FFF2-40B4-BE49-F238E27FC236}">
                  <a16:creationId xmlns:a16="http://schemas.microsoft.com/office/drawing/2014/main" id="{34C3C303-D958-5C8B-B65F-B7363446C588}"/>
                </a:ext>
              </a:extLst>
            </p:cNvPr>
            <p:cNvSpPr/>
            <p:nvPr/>
          </p:nvSpPr>
          <p:spPr>
            <a:xfrm>
              <a:off x="3489900" y="3426603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7 w 20954"/>
                <a:gd name="connsiteY1" fmla="*/ 0 h 20954"/>
                <a:gd name="connsiteX2" fmla="*/ 20955 w 20954"/>
                <a:gd name="connsiteY2" fmla="*/ 10477 h 20954"/>
                <a:gd name="connsiteX3" fmla="*/ 10477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16" name="Freeform: Shape 3415">
              <a:extLst>
                <a:ext uri="{FF2B5EF4-FFF2-40B4-BE49-F238E27FC236}">
                  <a16:creationId xmlns:a16="http://schemas.microsoft.com/office/drawing/2014/main" id="{70F107BA-EE08-55CC-15B8-A65D5E129A72}"/>
                </a:ext>
              </a:extLst>
            </p:cNvPr>
            <p:cNvSpPr/>
            <p:nvPr/>
          </p:nvSpPr>
          <p:spPr>
            <a:xfrm>
              <a:off x="3489900" y="3442477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7 w 20954"/>
                <a:gd name="connsiteY1" fmla="*/ 0 h 20954"/>
                <a:gd name="connsiteX2" fmla="*/ 20955 w 20954"/>
                <a:gd name="connsiteY2" fmla="*/ 10478 h 20954"/>
                <a:gd name="connsiteX3" fmla="*/ 10477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17" name="Freeform: Shape 3416">
              <a:extLst>
                <a:ext uri="{FF2B5EF4-FFF2-40B4-BE49-F238E27FC236}">
                  <a16:creationId xmlns:a16="http://schemas.microsoft.com/office/drawing/2014/main" id="{458668E0-8FB4-7111-17D3-66018EE8E02A}"/>
                </a:ext>
              </a:extLst>
            </p:cNvPr>
            <p:cNvSpPr/>
            <p:nvPr/>
          </p:nvSpPr>
          <p:spPr>
            <a:xfrm>
              <a:off x="3783089" y="3491896"/>
              <a:ext cx="44035" cy="44288"/>
            </a:xfrm>
            <a:custGeom>
              <a:avLst/>
              <a:gdLst>
                <a:gd name="connsiteX0" fmla="*/ 0 w 20955"/>
                <a:gd name="connsiteY0" fmla="*/ 10477 h 21076"/>
                <a:gd name="connsiteX1" fmla="*/ 10478 w 20955"/>
                <a:gd name="connsiteY1" fmla="*/ 0 h 21076"/>
                <a:gd name="connsiteX2" fmla="*/ 20955 w 20955"/>
                <a:gd name="connsiteY2" fmla="*/ 10477 h 21076"/>
                <a:gd name="connsiteX3" fmla="*/ 10478 w 20955"/>
                <a:gd name="connsiteY3" fmla="*/ 20955 h 21076"/>
                <a:gd name="connsiteX4" fmla="*/ 0 w 20955"/>
                <a:gd name="connsiteY4" fmla="*/ 10477 h 21076"/>
                <a:gd name="connsiteX5" fmla="*/ 0 w 20955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18" name="Freeform: Shape 3417">
              <a:extLst>
                <a:ext uri="{FF2B5EF4-FFF2-40B4-BE49-F238E27FC236}">
                  <a16:creationId xmlns:a16="http://schemas.microsoft.com/office/drawing/2014/main" id="{A7430F96-E52B-EFB1-C165-86DDB41D662B}"/>
                </a:ext>
              </a:extLst>
            </p:cNvPr>
            <p:cNvSpPr/>
            <p:nvPr/>
          </p:nvSpPr>
          <p:spPr>
            <a:xfrm>
              <a:off x="3802700" y="3447077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8 w 20954"/>
                <a:gd name="connsiteY1" fmla="*/ 0 h 21076"/>
                <a:gd name="connsiteX2" fmla="*/ 20955 w 20954"/>
                <a:gd name="connsiteY2" fmla="*/ 10478 h 21076"/>
                <a:gd name="connsiteX3" fmla="*/ 10478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19" name="Freeform: Shape 3418">
              <a:extLst>
                <a:ext uri="{FF2B5EF4-FFF2-40B4-BE49-F238E27FC236}">
                  <a16:creationId xmlns:a16="http://schemas.microsoft.com/office/drawing/2014/main" id="{98451702-77EA-F56D-4A3C-4FCF415B5687}"/>
                </a:ext>
              </a:extLst>
            </p:cNvPr>
            <p:cNvSpPr/>
            <p:nvPr/>
          </p:nvSpPr>
          <p:spPr>
            <a:xfrm>
              <a:off x="3899805" y="3273378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20" name="Freeform: Shape 3419">
              <a:extLst>
                <a:ext uri="{FF2B5EF4-FFF2-40B4-BE49-F238E27FC236}">
                  <a16:creationId xmlns:a16="http://schemas.microsoft.com/office/drawing/2014/main" id="{58B6F677-DEBF-60D6-4647-3C8BA9F66B9A}"/>
                </a:ext>
              </a:extLst>
            </p:cNvPr>
            <p:cNvSpPr/>
            <p:nvPr/>
          </p:nvSpPr>
          <p:spPr>
            <a:xfrm>
              <a:off x="3906344" y="3308893"/>
              <a:ext cx="44031" cy="44254"/>
            </a:xfrm>
            <a:custGeom>
              <a:avLst/>
              <a:gdLst>
                <a:gd name="connsiteX0" fmla="*/ 0 w 20954"/>
                <a:gd name="connsiteY0" fmla="*/ 10478 h 21059"/>
                <a:gd name="connsiteX1" fmla="*/ 10477 w 20954"/>
                <a:gd name="connsiteY1" fmla="*/ 0 h 21059"/>
                <a:gd name="connsiteX2" fmla="*/ 20955 w 20954"/>
                <a:gd name="connsiteY2" fmla="*/ 10478 h 21059"/>
                <a:gd name="connsiteX3" fmla="*/ 10477 w 20954"/>
                <a:gd name="connsiteY3" fmla="*/ 20955 h 21059"/>
                <a:gd name="connsiteX4" fmla="*/ 0 w 20954"/>
                <a:gd name="connsiteY4" fmla="*/ 10478 h 21059"/>
                <a:gd name="connsiteX5" fmla="*/ 0 w 20954"/>
                <a:gd name="connsiteY5" fmla="*/ 10478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59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1908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21" name="Freeform: Shape 3420">
              <a:extLst>
                <a:ext uri="{FF2B5EF4-FFF2-40B4-BE49-F238E27FC236}">
                  <a16:creationId xmlns:a16="http://schemas.microsoft.com/office/drawing/2014/main" id="{E25A1790-4766-2B98-A1F5-6773515CC5B9}"/>
                </a:ext>
              </a:extLst>
            </p:cNvPr>
            <p:cNvSpPr/>
            <p:nvPr/>
          </p:nvSpPr>
          <p:spPr>
            <a:xfrm>
              <a:off x="4021191" y="3271604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22" name="Freeform: Shape 3421">
              <a:extLst>
                <a:ext uri="{FF2B5EF4-FFF2-40B4-BE49-F238E27FC236}">
                  <a16:creationId xmlns:a16="http://schemas.microsoft.com/office/drawing/2014/main" id="{7A4CB11B-9DE8-CCE5-BBBD-61E0013F85C5}"/>
                </a:ext>
              </a:extLst>
            </p:cNvPr>
            <p:cNvSpPr/>
            <p:nvPr/>
          </p:nvSpPr>
          <p:spPr>
            <a:xfrm>
              <a:off x="3940890" y="3333161"/>
              <a:ext cx="44035" cy="44288"/>
            </a:xfrm>
            <a:custGeom>
              <a:avLst/>
              <a:gdLst>
                <a:gd name="connsiteX0" fmla="*/ 0 w 20955"/>
                <a:gd name="connsiteY0" fmla="*/ 10477 h 21076"/>
                <a:gd name="connsiteX1" fmla="*/ 10478 w 20955"/>
                <a:gd name="connsiteY1" fmla="*/ 0 h 21076"/>
                <a:gd name="connsiteX2" fmla="*/ 20955 w 20955"/>
                <a:gd name="connsiteY2" fmla="*/ 10477 h 21076"/>
                <a:gd name="connsiteX3" fmla="*/ 10478 w 20955"/>
                <a:gd name="connsiteY3" fmla="*/ 20955 h 21076"/>
                <a:gd name="connsiteX4" fmla="*/ 0 w 20955"/>
                <a:gd name="connsiteY4" fmla="*/ 10477 h 21076"/>
                <a:gd name="connsiteX5" fmla="*/ 0 w 20955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23" name="Freeform: Shape 3422">
              <a:extLst>
                <a:ext uri="{FF2B5EF4-FFF2-40B4-BE49-F238E27FC236}">
                  <a16:creationId xmlns:a16="http://schemas.microsoft.com/office/drawing/2014/main" id="{09DB4A11-A232-5428-50D2-768CBF649692}"/>
                </a:ext>
              </a:extLst>
            </p:cNvPr>
            <p:cNvSpPr/>
            <p:nvPr/>
          </p:nvSpPr>
          <p:spPr>
            <a:xfrm>
              <a:off x="3930619" y="3343407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24" name="Freeform: Shape 3423">
              <a:extLst>
                <a:ext uri="{FF2B5EF4-FFF2-40B4-BE49-F238E27FC236}">
                  <a16:creationId xmlns:a16="http://schemas.microsoft.com/office/drawing/2014/main" id="{7EE1BA60-5CE9-B51A-CCFF-EBD9CA2711CF}"/>
                </a:ext>
              </a:extLst>
            </p:cNvPr>
            <p:cNvSpPr/>
            <p:nvPr/>
          </p:nvSpPr>
          <p:spPr>
            <a:xfrm>
              <a:off x="3930619" y="3351905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25" name="Freeform: Shape 3424">
              <a:extLst>
                <a:ext uri="{FF2B5EF4-FFF2-40B4-BE49-F238E27FC236}">
                  <a16:creationId xmlns:a16="http://schemas.microsoft.com/office/drawing/2014/main" id="{2008FCF8-E3ED-E55F-EEED-E20734F4F816}"/>
                </a:ext>
              </a:extLst>
            </p:cNvPr>
            <p:cNvSpPr/>
            <p:nvPr/>
          </p:nvSpPr>
          <p:spPr>
            <a:xfrm>
              <a:off x="3951161" y="3363041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26" name="Freeform: Shape 3425">
              <a:extLst>
                <a:ext uri="{FF2B5EF4-FFF2-40B4-BE49-F238E27FC236}">
                  <a16:creationId xmlns:a16="http://schemas.microsoft.com/office/drawing/2014/main" id="{1EA01AF6-910C-FB2F-64CC-5581765DF9E1}"/>
                </a:ext>
              </a:extLst>
            </p:cNvPr>
            <p:cNvSpPr/>
            <p:nvPr/>
          </p:nvSpPr>
          <p:spPr>
            <a:xfrm>
              <a:off x="3986643" y="3313622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27" name="Freeform: Shape 3426">
              <a:extLst>
                <a:ext uri="{FF2B5EF4-FFF2-40B4-BE49-F238E27FC236}">
                  <a16:creationId xmlns:a16="http://schemas.microsoft.com/office/drawing/2014/main" id="{219741B5-D78A-BBB7-0CC0-F767D617C8BA}"/>
                </a:ext>
              </a:extLst>
            </p:cNvPr>
            <p:cNvSpPr/>
            <p:nvPr/>
          </p:nvSpPr>
          <p:spPr>
            <a:xfrm>
              <a:off x="6101546" y="3174496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28" name="Freeform: Shape 3427">
              <a:extLst>
                <a:ext uri="{FF2B5EF4-FFF2-40B4-BE49-F238E27FC236}">
                  <a16:creationId xmlns:a16="http://schemas.microsoft.com/office/drawing/2014/main" id="{5152F418-AD3C-ADC1-C571-439E14E94AFD}"/>
                </a:ext>
              </a:extLst>
            </p:cNvPr>
            <p:cNvSpPr/>
            <p:nvPr/>
          </p:nvSpPr>
          <p:spPr>
            <a:xfrm>
              <a:off x="6114621" y="3247232"/>
              <a:ext cx="44031" cy="44035"/>
            </a:xfrm>
            <a:custGeom>
              <a:avLst/>
              <a:gdLst>
                <a:gd name="connsiteX0" fmla="*/ 0 w 20954"/>
                <a:gd name="connsiteY0" fmla="*/ 10478 h 20955"/>
                <a:gd name="connsiteX1" fmla="*/ 10477 w 20954"/>
                <a:gd name="connsiteY1" fmla="*/ 0 h 20955"/>
                <a:gd name="connsiteX2" fmla="*/ 20955 w 20954"/>
                <a:gd name="connsiteY2" fmla="*/ 10478 h 20955"/>
                <a:gd name="connsiteX3" fmla="*/ 10477 w 20954"/>
                <a:gd name="connsiteY3" fmla="*/ 20955 h 20955"/>
                <a:gd name="connsiteX4" fmla="*/ 0 w 20954"/>
                <a:gd name="connsiteY4" fmla="*/ 10478 h 20955"/>
                <a:gd name="connsiteX5" fmla="*/ 0 w 20954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29" name="Freeform: Shape 3428">
              <a:extLst>
                <a:ext uri="{FF2B5EF4-FFF2-40B4-BE49-F238E27FC236}">
                  <a16:creationId xmlns:a16="http://schemas.microsoft.com/office/drawing/2014/main" id="{503A35F1-5D90-DF15-8697-A46B11A3771D}"/>
                </a:ext>
              </a:extLst>
            </p:cNvPr>
            <p:cNvSpPr/>
            <p:nvPr/>
          </p:nvSpPr>
          <p:spPr>
            <a:xfrm>
              <a:off x="6024982" y="3321092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8 w 20954"/>
                <a:gd name="connsiteY1" fmla="*/ 0 h 20954"/>
                <a:gd name="connsiteX2" fmla="*/ 20955 w 20954"/>
                <a:gd name="connsiteY2" fmla="*/ 10478 h 20954"/>
                <a:gd name="connsiteX3" fmla="*/ 10478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30" name="Freeform: Shape 3429">
              <a:extLst>
                <a:ext uri="{FF2B5EF4-FFF2-40B4-BE49-F238E27FC236}">
                  <a16:creationId xmlns:a16="http://schemas.microsoft.com/office/drawing/2014/main" id="{CA5D1448-3F38-C323-92F0-355037E56724}"/>
                </a:ext>
              </a:extLst>
            </p:cNvPr>
            <p:cNvSpPr/>
            <p:nvPr/>
          </p:nvSpPr>
          <p:spPr>
            <a:xfrm>
              <a:off x="5889591" y="3359279"/>
              <a:ext cx="44031" cy="44035"/>
            </a:xfrm>
            <a:custGeom>
              <a:avLst/>
              <a:gdLst>
                <a:gd name="connsiteX0" fmla="*/ 0 w 20954"/>
                <a:gd name="connsiteY0" fmla="*/ 10478 h 20955"/>
                <a:gd name="connsiteX1" fmla="*/ 10478 w 20954"/>
                <a:gd name="connsiteY1" fmla="*/ 0 h 20955"/>
                <a:gd name="connsiteX2" fmla="*/ 20955 w 20954"/>
                <a:gd name="connsiteY2" fmla="*/ 10478 h 20955"/>
                <a:gd name="connsiteX3" fmla="*/ 10478 w 20954"/>
                <a:gd name="connsiteY3" fmla="*/ 20955 h 20955"/>
                <a:gd name="connsiteX4" fmla="*/ 0 w 20954"/>
                <a:gd name="connsiteY4" fmla="*/ 10478 h 20955"/>
                <a:gd name="connsiteX5" fmla="*/ 0 w 20954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31" name="Freeform: Shape 3430">
              <a:extLst>
                <a:ext uri="{FF2B5EF4-FFF2-40B4-BE49-F238E27FC236}">
                  <a16:creationId xmlns:a16="http://schemas.microsoft.com/office/drawing/2014/main" id="{760E87BB-9693-01C6-139D-6D54A1BBC794}"/>
                </a:ext>
              </a:extLst>
            </p:cNvPr>
            <p:cNvSpPr/>
            <p:nvPr/>
          </p:nvSpPr>
          <p:spPr>
            <a:xfrm>
              <a:off x="5971757" y="3200545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32" name="Freeform: Shape 3431">
              <a:extLst>
                <a:ext uri="{FF2B5EF4-FFF2-40B4-BE49-F238E27FC236}">
                  <a16:creationId xmlns:a16="http://schemas.microsoft.com/office/drawing/2014/main" id="{948DEF2E-E162-F291-B210-0F420CED3204}"/>
                </a:ext>
              </a:extLst>
            </p:cNvPr>
            <p:cNvSpPr/>
            <p:nvPr/>
          </p:nvSpPr>
          <p:spPr>
            <a:xfrm>
              <a:off x="5854107" y="2815781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33" name="Freeform: Shape 3432">
              <a:extLst>
                <a:ext uri="{FF2B5EF4-FFF2-40B4-BE49-F238E27FC236}">
                  <a16:creationId xmlns:a16="http://schemas.microsoft.com/office/drawing/2014/main" id="{5A102E49-3089-09D1-0907-D98D80E7309E}"/>
                </a:ext>
              </a:extLst>
            </p:cNvPr>
            <p:cNvSpPr/>
            <p:nvPr/>
          </p:nvSpPr>
          <p:spPr>
            <a:xfrm>
              <a:off x="5800887" y="2907380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8 w 20954"/>
                <a:gd name="connsiteY1" fmla="*/ 0 h 21076"/>
                <a:gd name="connsiteX2" fmla="*/ 20955 w 20954"/>
                <a:gd name="connsiteY2" fmla="*/ 10478 h 21076"/>
                <a:gd name="connsiteX3" fmla="*/ 10478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34" name="Freeform: Shape 3433">
              <a:extLst>
                <a:ext uri="{FF2B5EF4-FFF2-40B4-BE49-F238E27FC236}">
                  <a16:creationId xmlns:a16="http://schemas.microsoft.com/office/drawing/2014/main" id="{4F7E12E0-8DF8-34C4-C9DE-46756F81097E}"/>
                </a:ext>
              </a:extLst>
            </p:cNvPr>
            <p:cNvSpPr/>
            <p:nvPr/>
          </p:nvSpPr>
          <p:spPr>
            <a:xfrm>
              <a:off x="5905462" y="2912117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35" name="Freeform: Shape 3434">
              <a:extLst>
                <a:ext uri="{FF2B5EF4-FFF2-40B4-BE49-F238E27FC236}">
                  <a16:creationId xmlns:a16="http://schemas.microsoft.com/office/drawing/2014/main" id="{AE9859D7-0BE9-3F7D-FA14-5D5823E62E10}"/>
                </a:ext>
              </a:extLst>
            </p:cNvPr>
            <p:cNvSpPr/>
            <p:nvPr/>
          </p:nvSpPr>
          <p:spPr>
            <a:xfrm>
              <a:off x="5882119" y="3001756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36" name="Freeform: Shape 3435">
              <a:extLst>
                <a:ext uri="{FF2B5EF4-FFF2-40B4-BE49-F238E27FC236}">
                  <a16:creationId xmlns:a16="http://schemas.microsoft.com/office/drawing/2014/main" id="{42E0CAB7-5DCE-E9BC-52CA-648475F2C0AC}"/>
                </a:ext>
              </a:extLst>
            </p:cNvPr>
            <p:cNvSpPr/>
            <p:nvPr/>
          </p:nvSpPr>
          <p:spPr>
            <a:xfrm>
              <a:off x="5897059" y="2970942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5715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37" name="Freeform: Shape 3436">
              <a:extLst>
                <a:ext uri="{FF2B5EF4-FFF2-40B4-BE49-F238E27FC236}">
                  <a16:creationId xmlns:a16="http://schemas.microsoft.com/office/drawing/2014/main" id="{14810A9E-4F29-920A-E26E-46CADEDF32E1}"/>
                </a:ext>
              </a:extLst>
            </p:cNvPr>
            <p:cNvSpPr/>
            <p:nvPr/>
          </p:nvSpPr>
          <p:spPr>
            <a:xfrm>
              <a:off x="5930673" y="2971714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38" name="Freeform: Shape 3437">
              <a:extLst>
                <a:ext uri="{FF2B5EF4-FFF2-40B4-BE49-F238E27FC236}">
                  <a16:creationId xmlns:a16="http://schemas.microsoft.com/office/drawing/2014/main" id="{E0126BC5-37A4-E2A0-E5AB-E8006BD98B74}"/>
                </a:ext>
              </a:extLst>
            </p:cNvPr>
            <p:cNvSpPr/>
            <p:nvPr/>
          </p:nvSpPr>
          <p:spPr>
            <a:xfrm>
              <a:off x="5926940" y="2983081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8 w 20954"/>
                <a:gd name="connsiteY1" fmla="*/ 0 h 20954"/>
                <a:gd name="connsiteX2" fmla="*/ 20955 w 20954"/>
                <a:gd name="connsiteY2" fmla="*/ 10477 h 20954"/>
                <a:gd name="connsiteX3" fmla="*/ 10478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39" name="Freeform: Shape 3438">
              <a:extLst>
                <a:ext uri="{FF2B5EF4-FFF2-40B4-BE49-F238E27FC236}">
                  <a16:creationId xmlns:a16="http://schemas.microsoft.com/office/drawing/2014/main" id="{89AA4718-AA05-DB3E-2B82-46169D3C24AB}"/>
                </a:ext>
              </a:extLst>
            </p:cNvPr>
            <p:cNvSpPr/>
            <p:nvPr/>
          </p:nvSpPr>
          <p:spPr>
            <a:xfrm>
              <a:off x="5921336" y="2971714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40" name="Freeform: Shape 3439">
              <a:extLst>
                <a:ext uri="{FF2B5EF4-FFF2-40B4-BE49-F238E27FC236}">
                  <a16:creationId xmlns:a16="http://schemas.microsoft.com/office/drawing/2014/main" id="{5C2BFB22-BBA2-17E8-19A2-BBDC999362D5}"/>
                </a:ext>
              </a:extLst>
            </p:cNvPr>
            <p:cNvSpPr/>
            <p:nvPr/>
          </p:nvSpPr>
          <p:spPr>
            <a:xfrm>
              <a:off x="5951217" y="2965247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7 w 20954"/>
                <a:gd name="connsiteY1" fmla="*/ 0 h 20954"/>
                <a:gd name="connsiteX2" fmla="*/ 20955 w 20954"/>
                <a:gd name="connsiteY2" fmla="*/ 10478 h 20954"/>
                <a:gd name="connsiteX3" fmla="*/ 10477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41" name="Freeform: Shape 3440">
              <a:extLst>
                <a:ext uri="{FF2B5EF4-FFF2-40B4-BE49-F238E27FC236}">
                  <a16:creationId xmlns:a16="http://schemas.microsoft.com/office/drawing/2014/main" id="{42FD6AA5-7EFE-A7D9-DD2B-D7E01DFCE4C1}"/>
                </a:ext>
              </a:extLst>
            </p:cNvPr>
            <p:cNvSpPr/>
            <p:nvPr/>
          </p:nvSpPr>
          <p:spPr>
            <a:xfrm>
              <a:off x="5949348" y="2996085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42" name="Freeform: Shape 3441">
              <a:extLst>
                <a:ext uri="{FF2B5EF4-FFF2-40B4-BE49-F238E27FC236}">
                  <a16:creationId xmlns:a16="http://schemas.microsoft.com/office/drawing/2014/main" id="{8E8FD080-85AC-4384-62F8-5AD5A8BF8B28}"/>
                </a:ext>
              </a:extLst>
            </p:cNvPr>
            <p:cNvSpPr/>
            <p:nvPr/>
          </p:nvSpPr>
          <p:spPr>
            <a:xfrm>
              <a:off x="5974561" y="2974584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7 w 20954"/>
                <a:gd name="connsiteY1" fmla="*/ 0 h 20954"/>
                <a:gd name="connsiteX2" fmla="*/ 20955 w 20954"/>
                <a:gd name="connsiteY2" fmla="*/ 10478 h 20954"/>
                <a:gd name="connsiteX3" fmla="*/ 10477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43" name="Freeform: Shape 3442">
              <a:extLst>
                <a:ext uri="{FF2B5EF4-FFF2-40B4-BE49-F238E27FC236}">
                  <a16:creationId xmlns:a16="http://schemas.microsoft.com/office/drawing/2014/main" id="{296BD2AF-5ACF-B322-F255-B7608F38506F}"/>
                </a:ext>
              </a:extLst>
            </p:cNvPr>
            <p:cNvSpPr/>
            <p:nvPr/>
          </p:nvSpPr>
          <p:spPr>
            <a:xfrm>
              <a:off x="5984830" y="2949398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44" name="Freeform: Shape 3443">
              <a:extLst>
                <a:ext uri="{FF2B5EF4-FFF2-40B4-BE49-F238E27FC236}">
                  <a16:creationId xmlns:a16="http://schemas.microsoft.com/office/drawing/2014/main" id="{285F8580-DF45-553A-07AC-354AF0E1C8B5}"/>
                </a:ext>
              </a:extLst>
            </p:cNvPr>
            <p:cNvSpPr/>
            <p:nvPr/>
          </p:nvSpPr>
          <p:spPr>
            <a:xfrm>
              <a:off x="5926940" y="2939100"/>
              <a:ext cx="44031" cy="44035"/>
            </a:xfrm>
            <a:custGeom>
              <a:avLst/>
              <a:gdLst>
                <a:gd name="connsiteX0" fmla="*/ 0 w 20954"/>
                <a:gd name="connsiteY0" fmla="*/ 10478 h 20955"/>
                <a:gd name="connsiteX1" fmla="*/ 10478 w 20954"/>
                <a:gd name="connsiteY1" fmla="*/ 0 h 20955"/>
                <a:gd name="connsiteX2" fmla="*/ 20955 w 20954"/>
                <a:gd name="connsiteY2" fmla="*/ 10478 h 20955"/>
                <a:gd name="connsiteX3" fmla="*/ 10478 w 20954"/>
                <a:gd name="connsiteY3" fmla="*/ 20955 h 20955"/>
                <a:gd name="connsiteX4" fmla="*/ 0 w 20954"/>
                <a:gd name="connsiteY4" fmla="*/ 10478 h 20955"/>
                <a:gd name="connsiteX5" fmla="*/ 0 w 20954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45" name="Freeform: Shape 3444">
              <a:extLst>
                <a:ext uri="{FF2B5EF4-FFF2-40B4-BE49-F238E27FC236}">
                  <a16:creationId xmlns:a16="http://schemas.microsoft.com/office/drawing/2014/main" id="{7CDB682B-EDC2-A514-AAB1-8929B9EB9C94}"/>
                </a:ext>
              </a:extLst>
            </p:cNvPr>
            <p:cNvSpPr/>
            <p:nvPr/>
          </p:nvSpPr>
          <p:spPr>
            <a:xfrm>
              <a:off x="5929739" y="2928925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46" name="Freeform: Shape 3445">
              <a:extLst>
                <a:ext uri="{FF2B5EF4-FFF2-40B4-BE49-F238E27FC236}">
                  <a16:creationId xmlns:a16="http://schemas.microsoft.com/office/drawing/2014/main" id="{F12E480D-41BB-E13C-E864-4FF10D6832CF}"/>
                </a:ext>
              </a:extLst>
            </p:cNvPr>
            <p:cNvSpPr/>
            <p:nvPr/>
          </p:nvSpPr>
          <p:spPr>
            <a:xfrm>
              <a:off x="5916667" y="2897024"/>
              <a:ext cx="44035" cy="44254"/>
            </a:xfrm>
            <a:custGeom>
              <a:avLst/>
              <a:gdLst>
                <a:gd name="connsiteX0" fmla="*/ 0 w 20955"/>
                <a:gd name="connsiteY0" fmla="*/ 10478 h 21059"/>
                <a:gd name="connsiteX1" fmla="*/ 10478 w 20955"/>
                <a:gd name="connsiteY1" fmla="*/ 0 h 21059"/>
                <a:gd name="connsiteX2" fmla="*/ 20955 w 20955"/>
                <a:gd name="connsiteY2" fmla="*/ 10478 h 21059"/>
                <a:gd name="connsiteX3" fmla="*/ 10478 w 20955"/>
                <a:gd name="connsiteY3" fmla="*/ 20955 h 21059"/>
                <a:gd name="connsiteX4" fmla="*/ 0 w 20955"/>
                <a:gd name="connsiteY4" fmla="*/ 10478 h 21059"/>
                <a:gd name="connsiteX5" fmla="*/ 0 w 20955"/>
                <a:gd name="connsiteY5" fmla="*/ 10478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59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47" name="Freeform: Shape 3446">
              <a:extLst>
                <a:ext uri="{FF2B5EF4-FFF2-40B4-BE49-F238E27FC236}">
                  <a16:creationId xmlns:a16="http://schemas.microsoft.com/office/drawing/2014/main" id="{84B8AACA-3C25-A9FC-DDE8-2D9DED283168}"/>
                </a:ext>
              </a:extLst>
            </p:cNvPr>
            <p:cNvSpPr/>
            <p:nvPr/>
          </p:nvSpPr>
          <p:spPr>
            <a:xfrm>
              <a:off x="5930673" y="2886906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48" name="Freeform: Shape 3447">
              <a:extLst>
                <a:ext uri="{FF2B5EF4-FFF2-40B4-BE49-F238E27FC236}">
                  <a16:creationId xmlns:a16="http://schemas.microsoft.com/office/drawing/2014/main" id="{2B88D50F-72CE-A970-C91B-0704EFE608AD}"/>
                </a:ext>
              </a:extLst>
            </p:cNvPr>
            <p:cNvSpPr/>
            <p:nvPr/>
          </p:nvSpPr>
          <p:spPr>
            <a:xfrm>
              <a:off x="5926940" y="2840991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8 w 20954"/>
                <a:gd name="connsiteY1" fmla="*/ 0 h 21076"/>
                <a:gd name="connsiteX2" fmla="*/ 20955 w 20954"/>
                <a:gd name="connsiteY2" fmla="*/ 10478 h 21076"/>
                <a:gd name="connsiteX3" fmla="*/ 10478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49" name="Freeform: Shape 3448">
              <a:extLst>
                <a:ext uri="{FF2B5EF4-FFF2-40B4-BE49-F238E27FC236}">
                  <a16:creationId xmlns:a16="http://schemas.microsoft.com/office/drawing/2014/main" id="{6DAB8285-C804-1EE7-0AD2-375D290F4943}"/>
                </a:ext>
              </a:extLst>
            </p:cNvPr>
            <p:cNvSpPr/>
            <p:nvPr/>
          </p:nvSpPr>
          <p:spPr>
            <a:xfrm>
              <a:off x="5870916" y="2817648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8 w 20954"/>
                <a:gd name="connsiteY1" fmla="*/ 0 h 21076"/>
                <a:gd name="connsiteX2" fmla="*/ 20955 w 20954"/>
                <a:gd name="connsiteY2" fmla="*/ 10478 h 21076"/>
                <a:gd name="connsiteX3" fmla="*/ 10478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50" name="Freeform: Shape 3449">
              <a:extLst>
                <a:ext uri="{FF2B5EF4-FFF2-40B4-BE49-F238E27FC236}">
                  <a16:creationId xmlns:a16="http://schemas.microsoft.com/office/drawing/2014/main" id="{635650B1-2F96-1A3A-950F-EB821DDAD5C0}"/>
                </a:ext>
              </a:extLst>
            </p:cNvPr>
            <p:cNvSpPr/>
            <p:nvPr/>
          </p:nvSpPr>
          <p:spPr>
            <a:xfrm>
              <a:off x="6063265" y="3070852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7 w 20954"/>
                <a:gd name="connsiteY1" fmla="*/ 0 h 20954"/>
                <a:gd name="connsiteX2" fmla="*/ 20955 w 20954"/>
                <a:gd name="connsiteY2" fmla="*/ 10478 h 20954"/>
                <a:gd name="connsiteX3" fmla="*/ 10477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51" name="Freeform: Shape 3450">
              <a:extLst>
                <a:ext uri="{FF2B5EF4-FFF2-40B4-BE49-F238E27FC236}">
                  <a16:creationId xmlns:a16="http://schemas.microsoft.com/office/drawing/2014/main" id="{C8C6867A-EE19-CEA8-5DA8-9CD2C461A851}"/>
                </a:ext>
              </a:extLst>
            </p:cNvPr>
            <p:cNvSpPr/>
            <p:nvPr/>
          </p:nvSpPr>
          <p:spPr>
            <a:xfrm>
              <a:off x="6279891" y="2897024"/>
              <a:ext cx="44031" cy="44254"/>
            </a:xfrm>
            <a:custGeom>
              <a:avLst/>
              <a:gdLst>
                <a:gd name="connsiteX0" fmla="*/ 0 w 20954"/>
                <a:gd name="connsiteY0" fmla="*/ 10478 h 21059"/>
                <a:gd name="connsiteX1" fmla="*/ 10477 w 20954"/>
                <a:gd name="connsiteY1" fmla="*/ 0 h 21059"/>
                <a:gd name="connsiteX2" fmla="*/ 20955 w 20954"/>
                <a:gd name="connsiteY2" fmla="*/ 10478 h 21059"/>
                <a:gd name="connsiteX3" fmla="*/ 10477 w 20954"/>
                <a:gd name="connsiteY3" fmla="*/ 20955 h 21059"/>
                <a:gd name="connsiteX4" fmla="*/ 0 w 20954"/>
                <a:gd name="connsiteY4" fmla="*/ 10478 h 21059"/>
                <a:gd name="connsiteX5" fmla="*/ 0 w 20954"/>
                <a:gd name="connsiteY5" fmla="*/ 10478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59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1908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52" name="Freeform: Shape 3451">
              <a:extLst>
                <a:ext uri="{FF2B5EF4-FFF2-40B4-BE49-F238E27FC236}">
                  <a16:creationId xmlns:a16="http://schemas.microsoft.com/office/drawing/2014/main" id="{02A9FA98-8A13-1F2E-E557-815439274334}"/>
                </a:ext>
              </a:extLst>
            </p:cNvPr>
            <p:cNvSpPr/>
            <p:nvPr/>
          </p:nvSpPr>
          <p:spPr>
            <a:xfrm>
              <a:off x="6320973" y="2985729"/>
              <a:ext cx="44035" cy="44254"/>
            </a:xfrm>
            <a:custGeom>
              <a:avLst/>
              <a:gdLst>
                <a:gd name="connsiteX0" fmla="*/ 0 w 20955"/>
                <a:gd name="connsiteY0" fmla="*/ 10478 h 21059"/>
                <a:gd name="connsiteX1" fmla="*/ 10478 w 20955"/>
                <a:gd name="connsiteY1" fmla="*/ 0 h 21059"/>
                <a:gd name="connsiteX2" fmla="*/ 20955 w 20955"/>
                <a:gd name="connsiteY2" fmla="*/ 10478 h 21059"/>
                <a:gd name="connsiteX3" fmla="*/ 10478 w 20955"/>
                <a:gd name="connsiteY3" fmla="*/ 20955 h 21059"/>
                <a:gd name="connsiteX4" fmla="*/ 0 w 20955"/>
                <a:gd name="connsiteY4" fmla="*/ 10478 h 21059"/>
                <a:gd name="connsiteX5" fmla="*/ 0 w 20955"/>
                <a:gd name="connsiteY5" fmla="*/ 10478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59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53" name="Freeform: Shape 3452">
              <a:extLst>
                <a:ext uri="{FF2B5EF4-FFF2-40B4-BE49-F238E27FC236}">
                  <a16:creationId xmlns:a16="http://schemas.microsoft.com/office/drawing/2014/main" id="{D6EDF6FE-4143-C452-6E96-24CFD71F8D89}"/>
                </a:ext>
              </a:extLst>
            </p:cNvPr>
            <p:cNvSpPr/>
            <p:nvPr/>
          </p:nvSpPr>
          <p:spPr>
            <a:xfrm>
              <a:off x="6280822" y="2956937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7 w 20955"/>
                <a:gd name="connsiteY1" fmla="*/ 0 h 20954"/>
                <a:gd name="connsiteX2" fmla="*/ 20955 w 20955"/>
                <a:gd name="connsiteY2" fmla="*/ 10478 h 20954"/>
                <a:gd name="connsiteX3" fmla="*/ 10477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55" name="Freeform: Shape 3454">
              <a:extLst>
                <a:ext uri="{FF2B5EF4-FFF2-40B4-BE49-F238E27FC236}">
                  <a16:creationId xmlns:a16="http://schemas.microsoft.com/office/drawing/2014/main" id="{D2B6E564-7B0A-A70B-3047-2A1D687AF7CA}"/>
                </a:ext>
              </a:extLst>
            </p:cNvPr>
            <p:cNvSpPr/>
            <p:nvPr/>
          </p:nvSpPr>
          <p:spPr>
            <a:xfrm>
              <a:off x="6294829" y="3081122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56" name="Freeform: Shape 3455">
              <a:extLst>
                <a:ext uri="{FF2B5EF4-FFF2-40B4-BE49-F238E27FC236}">
                  <a16:creationId xmlns:a16="http://schemas.microsoft.com/office/drawing/2014/main" id="{0461048A-FFC9-9C67-2CB6-93DC45BFF616}"/>
                </a:ext>
              </a:extLst>
            </p:cNvPr>
            <p:cNvSpPr/>
            <p:nvPr/>
          </p:nvSpPr>
          <p:spPr>
            <a:xfrm>
              <a:off x="6304021" y="3084775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7 w 20954"/>
                <a:gd name="connsiteY1" fmla="*/ 0 h 20954"/>
                <a:gd name="connsiteX2" fmla="*/ 20955 w 20954"/>
                <a:gd name="connsiteY2" fmla="*/ 10478 h 20954"/>
                <a:gd name="connsiteX3" fmla="*/ 10477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57" name="Freeform: Shape 3456">
              <a:extLst>
                <a:ext uri="{FF2B5EF4-FFF2-40B4-BE49-F238E27FC236}">
                  <a16:creationId xmlns:a16="http://schemas.microsoft.com/office/drawing/2014/main" id="{CD67CCDF-2956-055D-BCDB-FAEECF5E432C}"/>
                </a:ext>
              </a:extLst>
            </p:cNvPr>
            <p:cNvSpPr/>
            <p:nvPr/>
          </p:nvSpPr>
          <p:spPr>
            <a:xfrm>
              <a:off x="6236004" y="3194978"/>
              <a:ext cx="44035" cy="44254"/>
            </a:xfrm>
            <a:custGeom>
              <a:avLst/>
              <a:gdLst>
                <a:gd name="connsiteX0" fmla="*/ 0 w 20955"/>
                <a:gd name="connsiteY0" fmla="*/ 10478 h 21059"/>
                <a:gd name="connsiteX1" fmla="*/ 10477 w 20955"/>
                <a:gd name="connsiteY1" fmla="*/ 0 h 21059"/>
                <a:gd name="connsiteX2" fmla="*/ 20955 w 20955"/>
                <a:gd name="connsiteY2" fmla="*/ 10478 h 21059"/>
                <a:gd name="connsiteX3" fmla="*/ 10477 w 20955"/>
                <a:gd name="connsiteY3" fmla="*/ 20955 h 21059"/>
                <a:gd name="connsiteX4" fmla="*/ 0 w 20955"/>
                <a:gd name="connsiteY4" fmla="*/ 10478 h 21059"/>
                <a:gd name="connsiteX5" fmla="*/ 0 w 20955"/>
                <a:gd name="connsiteY5" fmla="*/ 10478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59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1908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58" name="Freeform: Shape 3457">
              <a:extLst>
                <a:ext uri="{FF2B5EF4-FFF2-40B4-BE49-F238E27FC236}">
                  <a16:creationId xmlns:a16="http://schemas.microsoft.com/office/drawing/2014/main" id="{BEAE568B-4299-6C14-D8EE-4EE75FFB925A}"/>
                </a:ext>
              </a:extLst>
            </p:cNvPr>
            <p:cNvSpPr/>
            <p:nvPr/>
          </p:nvSpPr>
          <p:spPr>
            <a:xfrm>
              <a:off x="6341515" y="3317194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7 w 20955"/>
                <a:gd name="connsiteY1" fmla="*/ 0 h 21076"/>
                <a:gd name="connsiteX2" fmla="*/ 20955 w 20955"/>
                <a:gd name="connsiteY2" fmla="*/ 10478 h 21076"/>
                <a:gd name="connsiteX3" fmla="*/ 10477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59" name="Freeform: Shape 3458">
              <a:extLst>
                <a:ext uri="{FF2B5EF4-FFF2-40B4-BE49-F238E27FC236}">
                  <a16:creationId xmlns:a16="http://schemas.microsoft.com/office/drawing/2014/main" id="{0C05D9D6-04BF-2D9A-BFC9-90811A70C6DB}"/>
                </a:ext>
              </a:extLst>
            </p:cNvPr>
            <p:cNvSpPr/>
            <p:nvPr/>
          </p:nvSpPr>
          <p:spPr>
            <a:xfrm>
              <a:off x="6216395" y="3125846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60" name="Freeform: Shape 3459">
              <a:extLst>
                <a:ext uri="{FF2B5EF4-FFF2-40B4-BE49-F238E27FC236}">
                  <a16:creationId xmlns:a16="http://schemas.microsoft.com/office/drawing/2014/main" id="{3D28141A-8B16-6D03-2D07-6F8D3CC8CB72}"/>
                </a:ext>
              </a:extLst>
            </p:cNvPr>
            <p:cNvSpPr/>
            <p:nvPr/>
          </p:nvSpPr>
          <p:spPr>
            <a:xfrm>
              <a:off x="6240672" y="3099797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61" name="Freeform: Shape 3460">
              <a:extLst>
                <a:ext uri="{FF2B5EF4-FFF2-40B4-BE49-F238E27FC236}">
                  <a16:creationId xmlns:a16="http://schemas.microsoft.com/office/drawing/2014/main" id="{E2B2291E-6CD1-CDDD-BC32-CB9ED585C839}"/>
                </a:ext>
              </a:extLst>
            </p:cNvPr>
            <p:cNvSpPr/>
            <p:nvPr/>
          </p:nvSpPr>
          <p:spPr>
            <a:xfrm>
              <a:off x="6281756" y="3036303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62" name="Freeform: Shape 3461">
              <a:extLst>
                <a:ext uri="{FF2B5EF4-FFF2-40B4-BE49-F238E27FC236}">
                  <a16:creationId xmlns:a16="http://schemas.microsoft.com/office/drawing/2014/main" id="{4B1C66B7-3329-237E-CFFE-1AC7F7D7BC41}"/>
                </a:ext>
              </a:extLst>
            </p:cNvPr>
            <p:cNvSpPr/>
            <p:nvPr/>
          </p:nvSpPr>
          <p:spPr>
            <a:xfrm>
              <a:off x="6250943" y="3070852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63" name="Freeform: Shape 3462">
              <a:extLst>
                <a:ext uri="{FF2B5EF4-FFF2-40B4-BE49-F238E27FC236}">
                  <a16:creationId xmlns:a16="http://schemas.microsoft.com/office/drawing/2014/main" id="{6FA56468-5568-B657-8500-490E01B25689}"/>
                </a:ext>
              </a:extLst>
            </p:cNvPr>
            <p:cNvSpPr/>
            <p:nvPr/>
          </p:nvSpPr>
          <p:spPr>
            <a:xfrm>
              <a:off x="6219199" y="3065153"/>
              <a:ext cx="44031" cy="44035"/>
            </a:xfrm>
            <a:custGeom>
              <a:avLst/>
              <a:gdLst>
                <a:gd name="connsiteX0" fmla="*/ 0 w 20954"/>
                <a:gd name="connsiteY0" fmla="*/ 10478 h 20955"/>
                <a:gd name="connsiteX1" fmla="*/ 10477 w 20954"/>
                <a:gd name="connsiteY1" fmla="*/ 0 h 20955"/>
                <a:gd name="connsiteX2" fmla="*/ 20955 w 20954"/>
                <a:gd name="connsiteY2" fmla="*/ 10478 h 20955"/>
                <a:gd name="connsiteX3" fmla="*/ 10477 w 20954"/>
                <a:gd name="connsiteY3" fmla="*/ 20955 h 20955"/>
                <a:gd name="connsiteX4" fmla="*/ 0 w 20954"/>
                <a:gd name="connsiteY4" fmla="*/ 10478 h 20955"/>
                <a:gd name="connsiteX5" fmla="*/ 0 w 20954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64" name="Freeform: Shape 3463">
              <a:extLst>
                <a:ext uri="{FF2B5EF4-FFF2-40B4-BE49-F238E27FC236}">
                  <a16:creationId xmlns:a16="http://schemas.microsoft.com/office/drawing/2014/main" id="{D0BE1290-B292-EEF1-007D-DA7165ABB148}"/>
                </a:ext>
              </a:extLst>
            </p:cNvPr>
            <p:cNvSpPr/>
            <p:nvPr/>
          </p:nvSpPr>
          <p:spPr>
            <a:xfrm>
              <a:off x="6221997" y="3046479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7 w 20955"/>
                <a:gd name="connsiteY1" fmla="*/ 0 h 20955"/>
                <a:gd name="connsiteX2" fmla="*/ 20955 w 20955"/>
                <a:gd name="connsiteY2" fmla="*/ 10478 h 20955"/>
                <a:gd name="connsiteX3" fmla="*/ 10477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65" name="Freeform: Shape 3464">
              <a:extLst>
                <a:ext uri="{FF2B5EF4-FFF2-40B4-BE49-F238E27FC236}">
                  <a16:creationId xmlns:a16="http://schemas.microsoft.com/office/drawing/2014/main" id="{9163CA8B-BB48-63D2-B761-285C3FC6C0EA}"/>
                </a:ext>
              </a:extLst>
            </p:cNvPr>
            <p:cNvSpPr/>
            <p:nvPr/>
          </p:nvSpPr>
          <p:spPr>
            <a:xfrm>
              <a:off x="6225732" y="3019496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66" name="Freeform: Shape 3465">
              <a:extLst>
                <a:ext uri="{FF2B5EF4-FFF2-40B4-BE49-F238E27FC236}">
                  <a16:creationId xmlns:a16="http://schemas.microsoft.com/office/drawing/2014/main" id="{D1B81649-A7F8-1481-80F2-F024F1ADC8EB}"/>
                </a:ext>
              </a:extLst>
            </p:cNvPr>
            <p:cNvSpPr/>
            <p:nvPr/>
          </p:nvSpPr>
          <p:spPr>
            <a:xfrm>
              <a:off x="6183714" y="2999725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67" name="Freeform: Shape 3466">
              <a:extLst>
                <a:ext uri="{FF2B5EF4-FFF2-40B4-BE49-F238E27FC236}">
                  <a16:creationId xmlns:a16="http://schemas.microsoft.com/office/drawing/2014/main" id="{73A44519-55E5-D38E-A5F7-07884A6DFFA2}"/>
                </a:ext>
              </a:extLst>
            </p:cNvPr>
            <p:cNvSpPr/>
            <p:nvPr/>
          </p:nvSpPr>
          <p:spPr>
            <a:xfrm>
              <a:off x="6183714" y="2975611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68" name="Freeform: Shape 3467">
              <a:extLst>
                <a:ext uri="{FF2B5EF4-FFF2-40B4-BE49-F238E27FC236}">
                  <a16:creationId xmlns:a16="http://schemas.microsoft.com/office/drawing/2014/main" id="{DDEF2238-E334-FC7F-F552-FDCB96C84401}"/>
                </a:ext>
              </a:extLst>
            </p:cNvPr>
            <p:cNvSpPr/>
            <p:nvPr/>
          </p:nvSpPr>
          <p:spPr>
            <a:xfrm>
              <a:off x="6257479" y="2989617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7 w 20955"/>
                <a:gd name="connsiteY1" fmla="*/ 0 h 20954"/>
                <a:gd name="connsiteX2" fmla="*/ 20955 w 20955"/>
                <a:gd name="connsiteY2" fmla="*/ 10478 h 20954"/>
                <a:gd name="connsiteX3" fmla="*/ 10477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69" name="Freeform: Shape 3468">
              <a:extLst>
                <a:ext uri="{FF2B5EF4-FFF2-40B4-BE49-F238E27FC236}">
                  <a16:creationId xmlns:a16="http://schemas.microsoft.com/office/drawing/2014/main" id="{5287DECF-DEB3-4EA1-6E45-08E3DECB1656}"/>
                </a:ext>
              </a:extLst>
            </p:cNvPr>
            <p:cNvSpPr/>
            <p:nvPr/>
          </p:nvSpPr>
          <p:spPr>
            <a:xfrm>
              <a:off x="6257479" y="2949398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7 w 20955"/>
                <a:gd name="connsiteY1" fmla="*/ 0 h 21076"/>
                <a:gd name="connsiteX2" fmla="*/ 20955 w 20955"/>
                <a:gd name="connsiteY2" fmla="*/ 10478 h 21076"/>
                <a:gd name="connsiteX3" fmla="*/ 10477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70" name="Freeform: Shape 3469">
              <a:extLst>
                <a:ext uri="{FF2B5EF4-FFF2-40B4-BE49-F238E27FC236}">
                  <a16:creationId xmlns:a16="http://schemas.microsoft.com/office/drawing/2014/main" id="{6750D44D-84F7-8A31-2B5D-C545D095E7F0}"/>
                </a:ext>
              </a:extLst>
            </p:cNvPr>
            <p:cNvSpPr/>
            <p:nvPr/>
          </p:nvSpPr>
          <p:spPr>
            <a:xfrm>
              <a:off x="6257479" y="2907380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7 w 20955"/>
                <a:gd name="connsiteY1" fmla="*/ 0 h 21076"/>
                <a:gd name="connsiteX2" fmla="*/ 20955 w 20955"/>
                <a:gd name="connsiteY2" fmla="*/ 10478 h 21076"/>
                <a:gd name="connsiteX3" fmla="*/ 10477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71" name="Freeform: Shape 3470">
              <a:extLst>
                <a:ext uri="{FF2B5EF4-FFF2-40B4-BE49-F238E27FC236}">
                  <a16:creationId xmlns:a16="http://schemas.microsoft.com/office/drawing/2014/main" id="{526E5A5B-173F-D659-FF49-4D4E34BCA932}"/>
                </a:ext>
              </a:extLst>
            </p:cNvPr>
            <p:cNvSpPr/>
            <p:nvPr/>
          </p:nvSpPr>
          <p:spPr>
            <a:xfrm>
              <a:off x="6319106" y="2886906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72" name="Freeform: Shape 3471">
              <a:extLst>
                <a:ext uri="{FF2B5EF4-FFF2-40B4-BE49-F238E27FC236}">
                  <a16:creationId xmlns:a16="http://schemas.microsoft.com/office/drawing/2014/main" id="{7DEC9362-9DCF-C784-EBA7-BDEDA525BCAF}"/>
                </a:ext>
              </a:extLst>
            </p:cNvPr>
            <p:cNvSpPr/>
            <p:nvPr/>
          </p:nvSpPr>
          <p:spPr>
            <a:xfrm>
              <a:off x="6338714" y="2939100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7 w 20955"/>
                <a:gd name="connsiteY1" fmla="*/ 0 h 20955"/>
                <a:gd name="connsiteX2" fmla="*/ 20955 w 20955"/>
                <a:gd name="connsiteY2" fmla="*/ 10478 h 20955"/>
                <a:gd name="connsiteX3" fmla="*/ 10477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73" name="Freeform: Shape 3472">
              <a:extLst>
                <a:ext uri="{FF2B5EF4-FFF2-40B4-BE49-F238E27FC236}">
                  <a16:creationId xmlns:a16="http://schemas.microsoft.com/office/drawing/2014/main" id="{7C084D14-BD46-EF71-F47C-BD7B465AA702}"/>
                </a:ext>
              </a:extLst>
            </p:cNvPr>
            <p:cNvSpPr/>
            <p:nvPr/>
          </p:nvSpPr>
          <p:spPr>
            <a:xfrm>
              <a:off x="6136094" y="3008223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74" name="Freeform: Shape 3473">
              <a:extLst>
                <a:ext uri="{FF2B5EF4-FFF2-40B4-BE49-F238E27FC236}">
                  <a16:creationId xmlns:a16="http://schemas.microsoft.com/office/drawing/2014/main" id="{B30D8F66-B325-C8B7-9624-6F0A7E791C77}"/>
                </a:ext>
              </a:extLst>
            </p:cNvPr>
            <p:cNvSpPr/>
            <p:nvPr/>
          </p:nvSpPr>
          <p:spPr>
            <a:xfrm>
              <a:off x="6090344" y="3001756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8 w 20954"/>
                <a:gd name="connsiteY1" fmla="*/ 0 h 20954"/>
                <a:gd name="connsiteX2" fmla="*/ 20955 w 20954"/>
                <a:gd name="connsiteY2" fmla="*/ 10477 h 20954"/>
                <a:gd name="connsiteX3" fmla="*/ 10478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75" name="Freeform: Shape 3474">
              <a:extLst>
                <a:ext uri="{FF2B5EF4-FFF2-40B4-BE49-F238E27FC236}">
                  <a16:creationId xmlns:a16="http://schemas.microsoft.com/office/drawing/2014/main" id="{2AD27706-F084-2943-B6EA-2C03A89E353C}"/>
                </a:ext>
              </a:extLst>
            </p:cNvPr>
            <p:cNvSpPr/>
            <p:nvPr/>
          </p:nvSpPr>
          <p:spPr>
            <a:xfrm>
              <a:off x="4636522" y="5146378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76" name="Freeform: Shape 3475">
              <a:extLst>
                <a:ext uri="{FF2B5EF4-FFF2-40B4-BE49-F238E27FC236}">
                  <a16:creationId xmlns:a16="http://schemas.microsoft.com/office/drawing/2014/main" id="{28180C3B-E46B-3B9C-6F2A-B96EBA1D1D90}"/>
                </a:ext>
              </a:extLst>
            </p:cNvPr>
            <p:cNvSpPr/>
            <p:nvPr/>
          </p:nvSpPr>
          <p:spPr>
            <a:xfrm>
              <a:off x="4667336" y="5193129"/>
              <a:ext cx="44031" cy="44035"/>
            </a:xfrm>
            <a:custGeom>
              <a:avLst/>
              <a:gdLst>
                <a:gd name="connsiteX0" fmla="*/ 0 w 20954"/>
                <a:gd name="connsiteY0" fmla="*/ 10478 h 20955"/>
                <a:gd name="connsiteX1" fmla="*/ 10477 w 20954"/>
                <a:gd name="connsiteY1" fmla="*/ 0 h 20955"/>
                <a:gd name="connsiteX2" fmla="*/ 20955 w 20954"/>
                <a:gd name="connsiteY2" fmla="*/ 10478 h 20955"/>
                <a:gd name="connsiteX3" fmla="*/ 10477 w 20954"/>
                <a:gd name="connsiteY3" fmla="*/ 20955 h 20955"/>
                <a:gd name="connsiteX4" fmla="*/ 0 w 20954"/>
                <a:gd name="connsiteY4" fmla="*/ 10478 h 20955"/>
                <a:gd name="connsiteX5" fmla="*/ 0 w 20954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77" name="Freeform: Shape 3476">
              <a:extLst>
                <a:ext uri="{FF2B5EF4-FFF2-40B4-BE49-F238E27FC236}">
                  <a16:creationId xmlns:a16="http://schemas.microsoft.com/office/drawing/2014/main" id="{6B83BCC1-48F0-C1EC-C40D-D86242E7BA67}"/>
                </a:ext>
              </a:extLst>
            </p:cNvPr>
            <p:cNvSpPr/>
            <p:nvPr/>
          </p:nvSpPr>
          <p:spPr>
            <a:xfrm>
              <a:off x="4707484" y="5158675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78" name="Freeform: Shape 3477">
              <a:extLst>
                <a:ext uri="{FF2B5EF4-FFF2-40B4-BE49-F238E27FC236}">
                  <a16:creationId xmlns:a16="http://schemas.microsoft.com/office/drawing/2014/main" id="{3B7816A2-0BCA-D3C8-7E7F-DC8828A03F6C}"/>
                </a:ext>
              </a:extLst>
            </p:cNvPr>
            <p:cNvSpPr/>
            <p:nvPr/>
          </p:nvSpPr>
          <p:spPr>
            <a:xfrm>
              <a:off x="4741100" y="5031629"/>
              <a:ext cx="44031" cy="44254"/>
            </a:xfrm>
            <a:custGeom>
              <a:avLst/>
              <a:gdLst>
                <a:gd name="connsiteX0" fmla="*/ 0 w 20954"/>
                <a:gd name="connsiteY0" fmla="*/ 10477 h 21059"/>
                <a:gd name="connsiteX1" fmla="*/ 10478 w 20954"/>
                <a:gd name="connsiteY1" fmla="*/ 0 h 21059"/>
                <a:gd name="connsiteX2" fmla="*/ 20955 w 20954"/>
                <a:gd name="connsiteY2" fmla="*/ 10477 h 21059"/>
                <a:gd name="connsiteX3" fmla="*/ 10478 w 20954"/>
                <a:gd name="connsiteY3" fmla="*/ 20955 h 21059"/>
                <a:gd name="connsiteX4" fmla="*/ 0 w 20954"/>
                <a:gd name="connsiteY4" fmla="*/ 10477 h 21059"/>
                <a:gd name="connsiteX5" fmla="*/ 0 w 20954"/>
                <a:gd name="connsiteY5" fmla="*/ 10477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59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1907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80" name="Freeform: Shape 3479">
              <a:extLst>
                <a:ext uri="{FF2B5EF4-FFF2-40B4-BE49-F238E27FC236}">
                  <a16:creationId xmlns:a16="http://schemas.microsoft.com/office/drawing/2014/main" id="{E8D500D8-3FF1-B1BD-90F3-E31EA0901195}"/>
                </a:ext>
              </a:extLst>
            </p:cNvPr>
            <p:cNvSpPr/>
            <p:nvPr/>
          </p:nvSpPr>
          <p:spPr>
            <a:xfrm>
              <a:off x="4791520" y="5158675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81" name="Freeform: Shape 3480">
              <a:extLst>
                <a:ext uri="{FF2B5EF4-FFF2-40B4-BE49-F238E27FC236}">
                  <a16:creationId xmlns:a16="http://schemas.microsoft.com/office/drawing/2014/main" id="{B095A071-9061-1DEA-E685-F4CFCBBE8FE5}"/>
                </a:ext>
              </a:extLst>
            </p:cNvPr>
            <p:cNvSpPr/>
            <p:nvPr/>
          </p:nvSpPr>
          <p:spPr>
            <a:xfrm>
              <a:off x="6101546" y="2967112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82" name="Freeform: Shape 3481">
              <a:extLst>
                <a:ext uri="{FF2B5EF4-FFF2-40B4-BE49-F238E27FC236}">
                  <a16:creationId xmlns:a16="http://schemas.microsoft.com/office/drawing/2014/main" id="{79C663C7-AE5E-FE08-1B09-35375920D797}"/>
                </a:ext>
              </a:extLst>
            </p:cNvPr>
            <p:cNvSpPr/>
            <p:nvPr/>
          </p:nvSpPr>
          <p:spPr>
            <a:xfrm>
              <a:off x="6105283" y="2999725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7 w 20954"/>
                <a:gd name="connsiteY1" fmla="*/ 0 h 21076"/>
                <a:gd name="connsiteX2" fmla="*/ 20955 w 20954"/>
                <a:gd name="connsiteY2" fmla="*/ 10478 h 21076"/>
                <a:gd name="connsiteX3" fmla="*/ 10477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83" name="Freeform: Shape 3482">
              <a:extLst>
                <a:ext uri="{FF2B5EF4-FFF2-40B4-BE49-F238E27FC236}">
                  <a16:creationId xmlns:a16="http://schemas.microsoft.com/office/drawing/2014/main" id="{6D65227B-63D7-F612-F366-ADEB8CA990AA}"/>
                </a:ext>
              </a:extLst>
            </p:cNvPr>
            <p:cNvSpPr/>
            <p:nvPr/>
          </p:nvSpPr>
          <p:spPr>
            <a:xfrm>
              <a:off x="8158558" y="4177699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84" name="Freeform: Shape 3483">
              <a:extLst>
                <a:ext uri="{FF2B5EF4-FFF2-40B4-BE49-F238E27FC236}">
                  <a16:creationId xmlns:a16="http://schemas.microsoft.com/office/drawing/2014/main" id="{FB55F620-F9E7-5F5A-7B02-F97066B69E8D}"/>
                </a:ext>
              </a:extLst>
            </p:cNvPr>
            <p:cNvSpPr/>
            <p:nvPr/>
          </p:nvSpPr>
          <p:spPr>
            <a:xfrm>
              <a:off x="7969946" y="3871831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7 w 20954"/>
                <a:gd name="connsiteY1" fmla="*/ 0 h 21076"/>
                <a:gd name="connsiteX2" fmla="*/ 20955 w 20954"/>
                <a:gd name="connsiteY2" fmla="*/ 10478 h 21076"/>
                <a:gd name="connsiteX3" fmla="*/ 10477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85" name="Freeform: Shape 3484">
              <a:extLst>
                <a:ext uri="{FF2B5EF4-FFF2-40B4-BE49-F238E27FC236}">
                  <a16:creationId xmlns:a16="http://schemas.microsoft.com/office/drawing/2014/main" id="{612E3E3F-CE40-651A-834C-66255799ABA5}"/>
                </a:ext>
              </a:extLst>
            </p:cNvPr>
            <p:cNvSpPr/>
            <p:nvPr/>
          </p:nvSpPr>
          <p:spPr>
            <a:xfrm>
              <a:off x="8136147" y="3699721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87" name="Freeform: Shape 3486">
              <a:extLst>
                <a:ext uri="{FF2B5EF4-FFF2-40B4-BE49-F238E27FC236}">
                  <a16:creationId xmlns:a16="http://schemas.microsoft.com/office/drawing/2014/main" id="{E2A0583A-7484-C7A5-C5ED-C9FC0867F538}"/>
                </a:ext>
              </a:extLst>
            </p:cNvPr>
            <p:cNvSpPr/>
            <p:nvPr/>
          </p:nvSpPr>
          <p:spPr>
            <a:xfrm>
              <a:off x="8133813" y="3727112"/>
              <a:ext cx="44035" cy="44254"/>
            </a:xfrm>
            <a:custGeom>
              <a:avLst/>
              <a:gdLst>
                <a:gd name="connsiteX0" fmla="*/ 0 w 20955"/>
                <a:gd name="connsiteY0" fmla="*/ 10477 h 21059"/>
                <a:gd name="connsiteX1" fmla="*/ 10477 w 20955"/>
                <a:gd name="connsiteY1" fmla="*/ 0 h 21059"/>
                <a:gd name="connsiteX2" fmla="*/ 20955 w 20955"/>
                <a:gd name="connsiteY2" fmla="*/ 10477 h 21059"/>
                <a:gd name="connsiteX3" fmla="*/ 10477 w 20955"/>
                <a:gd name="connsiteY3" fmla="*/ 20955 h 21059"/>
                <a:gd name="connsiteX4" fmla="*/ 0 w 20955"/>
                <a:gd name="connsiteY4" fmla="*/ 10477 h 21059"/>
                <a:gd name="connsiteX5" fmla="*/ 0 w 20955"/>
                <a:gd name="connsiteY5" fmla="*/ 10477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59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1908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88" name="Freeform: Shape 3487">
              <a:extLst>
                <a:ext uri="{FF2B5EF4-FFF2-40B4-BE49-F238E27FC236}">
                  <a16:creationId xmlns:a16="http://schemas.microsoft.com/office/drawing/2014/main" id="{35A2A3CA-1705-492C-7A4F-C7C8F630CCEB}"/>
                </a:ext>
              </a:extLst>
            </p:cNvPr>
            <p:cNvSpPr/>
            <p:nvPr/>
          </p:nvSpPr>
          <p:spPr>
            <a:xfrm>
              <a:off x="8101599" y="3727172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89" name="Freeform: Shape 3488">
              <a:extLst>
                <a:ext uri="{FF2B5EF4-FFF2-40B4-BE49-F238E27FC236}">
                  <a16:creationId xmlns:a16="http://schemas.microsoft.com/office/drawing/2014/main" id="{778A6696-F67F-2FEE-88B0-6607C6EA4B19}"/>
                </a:ext>
              </a:extLst>
            </p:cNvPr>
            <p:cNvSpPr/>
            <p:nvPr/>
          </p:nvSpPr>
          <p:spPr>
            <a:xfrm>
              <a:off x="8073588" y="3796292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7 w 20955"/>
                <a:gd name="connsiteY1" fmla="*/ 0 h 21076"/>
                <a:gd name="connsiteX2" fmla="*/ 20955 w 20955"/>
                <a:gd name="connsiteY2" fmla="*/ 10478 h 21076"/>
                <a:gd name="connsiteX3" fmla="*/ 10477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90" name="Freeform: Shape 3489">
              <a:extLst>
                <a:ext uri="{FF2B5EF4-FFF2-40B4-BE49-F238E27FC236}">
                  <a16:creationId xmlns:a16="http://schemas.microsoft.com/office/drawing/2014/main" id="{D515D3DF-569D-EF2C-23DF-809F2585FB6E}"/>
                </a:ext>
              </a:extLst>
            </p:cNvPr>
            <p:cNvSpPr/>
            <p:nvPr/>
          </p:nvSpPr>
          <p:spPr>
            <a:xfrm>
              <a:off x="8205244" y="3796292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91" name="Freeform: Shape 3490">
              <a:extLst>
                <a:ext uri="{FF2B5EF4-FFF2-40B4-BE49-F238E27FC236}">
                  <a16:creationId xmlns:a16="http://schemas.microsoft.com/office/drawing/2014/main" id="{15C4C650-2344-826D-D6DC-040CC7BFCB08}"/>
                </a:ext>
              </a:extLst>
            </p:cNvPr>
            <p:cNvSpPr/>
            <p:nvPr/>
          </p:nvSpPr>
          <p:spPr>
            <a:xfrm>
              <a:off x="8125877" y="4049307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92" name="Freeform: Shape 3491">
              <a:extLst>
                <a:ext uri="{FF2B5EF4-FFF2-40B4-BE49-F238E27FC236}">
                  <a16:creationId xmlns:a16="http://schemas.microsoft.com/office/drawing/2014/main" id="{2E5EF90B-3892-6FFC-5121-E3EC66E3F0C7}"/>
                </a:ext>
              </a:extLst>
            </p:cNvPr>
            <p:cNvSpPr/>
            <p:nvPr/>
          </p:nvSpPr>
          <p:spPr>
            <a:xfrm>
              <a:off x="7979283" y="3977503"/>
              <a:ext cx="44031" cy="44035"/>
            </a:xfrm>
            <a:custGeom>
              <a:avLst/>
              <a:gdLst>
                <a:gd name="connsiteX0" fmla="*/ 0 w 20954"/>
                <a:gd name="connsiteY0" fmla="*/ 10478 h 20955"/>
                <a:gd name="connsiteX1" fmla="*/ 10477 w 20954"/>
                <a:gd name="connsiteY1" fmla="*/ 0 h 20955"/>
                <a:gd name="connsiteX2" fmla="*/ 20955 w 20954"/>
                <a:gd name="connsiteY2" fmla="*/ 10478 h 20955"/>
                <a:gd name="connsiteX3" fmla="*/ 10477 w 20954"/>
                <a:gd name="connsiteY3" fmla="*/ 20955 h 20955"/>
                <a:gd name="connsiteX4" fmla="*/ 0 w 20954"/>
                <a:gd name="connsiteY4" fmla="*/ 10478 h 20955"/>
                <a:gd name="connsiteX5" fmla="*/ 0 w 20954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93" name="Freeform: Shape 3492">
              <a:extLst>
                <a:ext uri="{FF2B5EF4-FFF2-40B4-BE49-F238E27FC236}">
                  <a16:creationId xmlns:a16="http://schemas.microsoft.com/office/drawing/2014/main" id="{9BE71A74-0610-136E-2DF7-5926EED220B7}"/>
                </a:ext>
              </a:extLst>
            </p:cNvPr>
            <p:cNvSpPr/>
            <p:nvPr/>
          </p:nvSpPr>
          <p:spPr>
            <a:xfrm>
              <a:off x="8095064" y="4178657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94" name="Freeform: Shape 3493">
              <a:extLst>
                <a:ext uri="{FF2B5EF4-FFF2-40B4-BE49-F238E27FC236}">
                  <a16:creationId xmlns:a16="http://schemas.microsoft.com/office/drawing/2014/main" id="{D25341A0-AD3D-DA71-2CCD-7FD8DEC29559}"/>
                </a:ext>
              </a:extLst>
            </p:cNvPr>
            <p:cNvSpPr/>
            <p:nvPr/>
          </p:nvSpPr>
          <p:spPr>
            <a:xfrm>
              <a:off x="8813104" y="4480787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95" name="Freeform: Shape 3494">
              <a:extLst>
                <a:ext uri="{FF2B5EF4-FFF2-40B4-BE49-F238E27FC236}">
                  <a16:creationId xmlns:a16="http://schemas.microsoft.com/office/drawing/2014/main" id="{4208A088-AEA4-D0AB-82DB-19FA0388BAA8}"/>
                </a:ext>
              </a:extLst>
            </p:cNvPr>
            <p:cNvSpPr/>
            <p:nvPr/>
          </p:nvSpPr>
          <p:spPr>
            <a:xfrm>
              <a:off x="8826176" y="4480787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96" name="Freeform: Shape 3495">
              <a:extLst>
                <a:ext uri="{FF2B5EF4-FFF2-40B4-BE49-F238E27FC236}">
                  <a16:creationId xmlns:a16="http://schemas.microsoft.com/office/drawing/2014/main" id="{EBD028C5-2058-D959-44DC-3BFC2AAB0094}"/>
                </a:ext>
              </a:extLst>
            </p:cNvPr>
            <p:cNvSpPr/>
            <p:nvPr/>
          </p:nvSpPr>
          <p:spPr>
            <a:xfrm>
              <a:off x="8748675" y="4363041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97" name="Freeform: Shape 3496">
              <a:extLst>
                <a:ext uri="{FF2B5EF4-FFF2-40B4-BE49-F238E27FC236}">
                  <a16:creationId xmlns:a16="http://schemas.microsoft.com/office/drawing/2014/main" id="{E60A9EA8-F009-9B45-70CD-E6949F28704E}"/>
                </a:ext>
              </a:extLst>
            </p:cNvPr>
            <p:cNvSpPr/>
            <p:nvPr/>
          </p:nvSpPr>
          <p:spPr>
            <a:xfrm>
              <a:off x="8730469" y="4366718"/>
              <a:ext cx="44035" cy="44254"/>
            </a:xfrm>
            <a:custGeom>
              <a:avLst/>
              <a:gdLst>
                <a:gd name="connsiteX0" fmla="*/ 0 w 20955"/>
                <a:gd name="connsiteY0" fmla="*/ 10478 h 21059"/>
                <a:gd name="connsiteX1" fmla="*/ 10478 w 20955"/>
                <a:gd name="connsiteY1" fmla="*/ 0 h 21059"/>
                <a:gd name="connsiteX2" fmla="*/ 20955 w 20955"/>
                <a:gd name="connsiteY2" fmla="*/ 10478 h 21059"/>
                <a:gd name="connsiteX3" fmla="*/ 10478 w 20955"/>
                <a:gd name="connsiteY3" fmla="*/ 20955 h 21059"/>
                <a:gd name="connsiteX4" fmla="*/ 0 w 20955"/>
                <a:gd name="connsiteY4" fmla="*/ 10478 h 21059"/>
                <a:gd name="connsiteX5" fmla="*/ 0 w 20955"/>
                <a:gd name="connsiteY5" fmla="*/ 10478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59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498" name="Freeform: Shape 3497">
              <a:extLst>
                <a:ext uri="{FF2B5EF4-FFF2-40B4-BE49-F238E27FC236}">
                  <a16:creationId xmlns:a16="http://schemas.microsoft.com/office/drawing/2014/main" id="{B14F5579-D0F4-EB62-515B-DBDF26801039}"/>
                </a:ext>
              </a:extLst>
            </p:cNvPr>
            <p:cNvSpPr/>
            <p:nvPr/>
          </p:nvSpPr>
          <p:spPr>
            <a:xfrm>
              <a:off x="8681448" y="4291237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00" name="Freeform: Shape 3499">
              <a:extLst>
                <a:ext uri="{FF2B5EF4-FFF2-40B4-BE49-F238E27FC236}">
                  <a16:creationId xmlns:a16="http://schemas.microsoft.com/office/drawing/2014/main" id="{CA1A6313-70AA-8FE3-45B3-6DCC069D2126}"/>
                </a:ext>
              </a:extLst>
            </p:cNvPr>
            <p:cNvSpPr/>
            <p:nvPr/>
          </p:nvSpPr>
          <p:spPr>
            <a:xfrm>
              <a:off x="8148286" y="4209258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7 w 20955"/>
                <a:gd name="connsiteY1" fmla="*/ 0 h 20955"/>
                <a:gd name="connsiteX2" fmla="*/ 20955 w 20955"/>
                <a:gd name="connsiteY2" fmla="*/ 10478 h 20955"/>
                <a:gd name="connsiteX3" fmla="*/ 10477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01" name="Freeform: Shape 3500">
              <a:extLst>
                <a:ext uri="{FF2B5EF4-FFF2-40B4-BE49-F238E27FC236}">
                  <a16:creationId xmlns:a16="http://schemas.microsoft.com/office/drawing/2014/main" id="{5956D75F-9C0A-B1BB-46FC-12F3BAE3EC75}"/>
                </a:ext>
              </a:extLst>
            </p:cNvPr>
            <p:cNvSpPr/>
            <p:nvPr/>
          </p:nvSpPr>
          <p:spPr>
            <a:xfrm>
              <a:off x="7490939" y="3835483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02" name="Freeform: Shape 3501">
              <a:extLst>
                <a:ext uri="{FF2B5EF4-FFF2-40B4-BE49-F238E27FC236}">
                  <a16:creationId xmlns:a16="http://schemas.microsoft.com/office/drawing/2014/main" id="{36CC989E-E385-7C07-B416-D5369B72235C}"/>
                </a:ext>
              </a:extLst>
            </p:cNvPr>
            <p:cNvSpPr/>
            <p:nvPr/>
          </p:nvSpPr>
          <p:spPr>
            <a:xfrm>
              <a:off x="7253772" y="3835416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7 w 20955"/>
                <a:gd name="connsiteY1" fmla="*/ 0 h 21076"/>
                <a:gd name="connsiteX2" fmla="*/ 20955 w 20955"/>
                <a:gd name="connsiteY2" fmla="*/ 10478 h 21076"/>
                <a:gd name="connsiteX3" fmla="*/ 10477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03" name="Freeform: Shape 3502">
              <a:extLst>
                <a:ext uri="{FF2B5EF4-FFF2-40B4-BE49-F238E27FC236}">
                  <a16:creationId xmlns:a16="http://schemas.microsoft.com/office/drawing/2014/main" id="{5EA66134-7025-B74F-2D78-C9B94B0A6EFE}"/>
                </a:ext>
              </a:extLst>
            </p:cNvPr>
            <p:cNvSpPr/>
            <p:nvPr/>
          </p:nvSpPr>
          <p:spPr>
            <a:xfrm>
              <a:off x="7456393" y="3857052"/>
              <a:ext cx="44031" cy="44035"/>
            </a:xfrm>
            <a:custGeom>
              <a:avLst/>
              <a:gdLst>
                <a:gd name="connsiteX0" fmla="*/ 0 w 20954"/>
                <a:gd name="connsiteY0" fmla="*/ 10478 h 20955"/>
                <a:gd name="connsiteX1" fmla="*/ 10477 w 20954"/>
                <a:gd name="connsiteY1" fmla="*/ 0 h 20955"/>
                <a:gd name="connsiteX2" fmla="*/ 20955 w 20954"/>
                <a:gd name="connsiteY2" fmla="*/ 10478 h 20955"/>
                <a:gd name="connsiteX3" fmla="*/ 10477 w 20954"/>
                <a:gd name="connsiteY3" fmla="*/ 20955 h 20955"/>
                <a:gd name="connsiteX4" fmla="*/ 0 w 20954"/>
                <a:gd name="connsiteY4" fmla="*/ 10478 h 20955"/>
                <a:gd name="connsiteX5" fmla="*/ 0 w 20954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04" name="Freeform: Shape 3503">
              <a:extLst>
                <a:ext uri="{FF2B5EF4-FFF2-40B4-BE49-F238E27FC236}">
                  <a16:creationId xmlns:a16="http://schemas.microsoft.com/office/drawing/2014/main" id="{BB5EAEE7-F6C9-7E16-DD0A-9644A5D049EA}"/>
                </a:ext>
              </a:extLst>
            </p:cNvPr>
            <p:cNvSpPr/>
            <p:nvPr/>
          </p:nvSpPr>
          <p:spPr>
            <a:xfrm>
              <a:off x="6886817" y="3530085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7 w 20954"/>
                <a:gd name="connsiteY1" fmla="*/ 0 h 21076"/>
                <a:gd name="connsiteX2" fmla="*/ 20955 w 20954"/>
                <a:gd name="connsiteY2" fmla="*/ 10478 h 21076"/>
                <a:gd name="connsiteX3" fmla="*/ 10477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05" name="Freeform: Shape 3504">
              <a:extLst>
                <a:ext uri="{FF2B5EF4-FFF2-40B4-BE49-F238E27FC236}">
                  <a16:creationId xmlns:a16="http://schemas.microsoft.com/office/drawing/2014/main" id="{CE3A8415-75B4-26C3-52BD-93DE5C354DF8}"/>
                </a:ext>
              </a:extLst>
            </p:cNvPr>
            <p:cNvSpPr/>
            <p:nvPr/>
          </p:nvSpPr>
          <p:spPr>
            <a:xfrm>
              <a:off x="6244407" y="2811180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06" name="Freeform: Shape 3505">
              <a:extLst>
                <a:ext uri="{FF2B5EF4-FFF2-40B4-BE49-F238E27FC236}">
                  <a16:creationId xmlns:a16="http://schemas.microsoft.com/office/drawing/2014/main" id="{EE864DA7-4737-7407-414D-0FB62E29E7A5}"/>
                </a:ext>
              </a:extLst>
            </p:cNvPr>
            <p:cNvSpPr/>
            <p:nvPr/>
          </p:nvSpPr>
          <p:spPr>
            <a:xfrm>
              <a:off x="6249075" y="2815781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07" name="Freeform: Shape 3506">
              <a:extLst>
                <a:ext uri="{FF2B5EF4-FFF2-40B4-BE49-F238E27FC236}">
                  <a16:creationId xmlns:a16="http://schemas.microsoft.com/office/drawing/2014/main" id="{77F5F94A-6E7E-8830-FC91-5E8E14071CC0}"/>
                </a:ext>
              </a:extLst>
            </p:cNvPr>
            <p:cNvSpPr/>
            <p:nvPr/>
          </p:nvSpPr>
          <p:spPr>
            <a:xfrm>
              <a:off x="6257479" y="2824347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08" name="Freeform: Shape 3507">
              <a:extLst>
                <a:ext uri="{FF2B5EF4-FFF2-40B4-BE49-F238E27FC236}">
                  <a16:creationId xmlns:a16="http://schemas.microsoft.com/office/drawing/2014/main" id="{72A41F60-0BA2-B9BA-8EEA-CFDC8F23F713}"/>
                </a:ext>
              </a:extLst>
            </p:cNvPr>
            <p:cNvSpPr/>
            <p:nvPr/>
          </p:nvSpPr>
          <p:spPr>
            <a:xfrm>
              <a:off x="6264016" y="2835551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7 w 20955"/>
                <a:gd name="connsiteY1" fmla="*/ 0 h 20954"/>
                <a:gd name="connsiteX2" fmla="*/ 20955 w 20955"/>
                <a:gd name="connsiteY2" fmla="*/ 10478 h 20954"/>
                <a:gd name="connsiteX3" fmla="*/ 10477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09" name="Freeform: Shape 3508">
              <a:extLst>
                <a:ext uri="{FF2B5EF4-FFF2-40B4-BE49-F238E27FC236}">
                  <a16:creationId xmlns:a16="http://schemas.microsoft.com/office/drawing/2014/main" id="{7BA7912F-92BC-02D7-723C-E151E1EF3482}"/>
                </a:ext>
              </a:extLst>
            </p:cNvPr>
            <p:cNvSpPr/>
            <p:nvPr/>
          </p:nvSpPr>
          <p:spPr>
            <a:xfrm>
              <a:off x="6229467" y="2801003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10" name="Freeform: Shape 3509">
              <a:extLst>
                <a:ext uri="{FF2B5EF4-FFF2-40B4-BE49-F238E27FC236}">
                  <a16:creationId xmlns:a16="http://schemas.microsoft.com/office/drawing/2014/main" id="{921F0677-F8B8-A607-A0DC-0FEBA5A82E2A}"/>
                </a:ext>
              </a:extLst>
            </p:cNvPr>
            <p:cNvSpPr/>
            <p:nvPr/>
          </p:nvSpPr>
          <p:spPr>
            <a:xfrm>
              <a:off x="6257479" y="2801003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11" name="Freeform: Shape 3510">
              <a:extLst>
                <a:ext uri="{FF2B5EF4-FFF2-40B4-BE49-F238E27FC236}">
                  <a16:creationId xmlns:a16="http://schemas.microsoft.com/office/drawing/2014/main" id="{5AAEE48B-BF9A-0EFF-C8D7-CFC1A1DFE3A8}"/>
                </a:ext>
              </a:extLst>
            </p:cNvPr>
            <p:cNvSpPr/>
            <p:nvPr/>
          </p:nvSpPr>
          <p:spPr>
            <a:xfrm>
              <a:off x="6250943" y="2805603"/>
              <a:ext cx="44035" cy="44288"/>
            </a:xfrm>
            <a:custGeom>
              <a:avLst/>
              <a:gdLst>
                <a:gd name="connsiteX0" fmla="*/ 0 w 20955"/>
                <a:gd name="connsiteY0" fmla="*/ 10477 h 21076"/>
                <a:gd name="connsiteX1" fmla="*/ 10478 w 20955"/>
                <a:gd name="connsiteY1" fmla="*/ 0 h 21076"/>
                <a:gd name="connsiteX2" fmla="*/ 20955 w 20955"/>
                <a:gd name="connsiteY2" fmla="*/ 10477 h 21076"/>
                <a:gd name="connsiteX3" fmla="*/ 10478 w 20955"/>
                <a:gd name="connsiteY3" fmla="*/ 20955 h 21076"/>
                <a:gd name="connsiteX4" fmla="*/ 0 w 20955"/>
                <a:gd name="connsiteY4" fmla="*/ 10477 h 21076"/>
                <a:gd name="connsiteX5" fmla="*/ 0 w 20955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12" name="Freeform: Shape 3511">
              <a:extLst>
                <a:ext uri="{FF2B5EF4-FFF2-40B4-BE49-F238E27FC236}">
                  <a16:creationId xmlns:a16="http://schemas.microsoft.com/office/drawing/2014/main" id="{3EDEB366-7A94-4CB7-E8AB-8AAB6CED8F49}"/>
                </a:ext>
              </a:extLst>
            </p:cNvPr>
            <p:cNvSpPr/>
            <p:nvPr/>
          </p:nvSpPr>
          <p:spPr>
            <a:xfrm>
              <a:off x="6257479" y="2795400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7 w 20955"/>
                <a:gd name="connsiteY1" fmla="*/ 0 h 20954"/>
                <a:gd name="connsiteX2" fmla="*/ 20955 w 20955"/>
                <a:gd name="connsiteY2" fmla="*/ 10478 h 20954"/>
                <a:gd name="connsiteX3" fmla="*/ 10477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13" name="Freeform: Shape 3512">
              <a:extLst>
                <a:ext uri="{FF2B5EF4-FFF2-40B4-BE49-F238E27FC236}">
                  <a16:creationId xmlns:a16="http://schemas.microsoft.com/office/drawing/2014/main" id="{E7E87013-B8CB-B2FD-D03E-8D7065B88C2E}"/>
                </a:ext>
              </a:extLst>
            </p:cNvPr>
            <p:cNvSpPr/>
            <p:nvPr/>
          </p:nvSpPr>
          <p:spPr>
            <a:xfrm>
              <a:off x="6320973" y="2811180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14" name="Freeform: Shape 3513">
              <a:extLst>
                <a:ext uri="{FF2B5EF4-FFF2-40B4-BE49-F238E27FC236}">
                  <a16:creationId xmlns:a16="http://schemas.microsoft.com/office/drawing/2014/main" id="{D87E3BFE-2D5A-49DF-9EA6-C8D8077A0D21}"/>
                </a:ext>
              </a:extLst>
            </p:cNvPr>
            <p:cNvSpPr/>
            <p:nvPr/>
          </p:nvSpPr>
          <p:spPr>
            <a:xfrm>
              <a:off x="6322841" y="2817648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7 w 20955"/>
                <a:gd name="connsiteY1" fmla="*/ 0 h 21076"/>
                <a:gd name="connsiteX2" fmla="*/ 20955 w 20955"/>
                <a:gd name="connsiteY2" fmla="*/ 10478 h 21076"/>
                <a:gd name="connsiteX3" fmla="*/ 10477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15" name="Freeform: Shape 3514">
              <a:extLst>
                <a:ext uri="{FF2B5EF4-FFF2-40B4-BE49-F238E27FC236}">
                  <a16:creationId xmlns:a16="http://schemas.microsoft.com/office/drawing/2014/main" id="{C88080CE-30B5-1415-AB26-C619EEA30396}"/>
                </a:ext>
              </a:extLst>
            </p:cNvPr>
            <p:cNvSpPr/>
            <p:nvPr/>
          </p:nvSpPr>
          <p:spPr>
            <a:xfrm>
              <a:off x="6303235" y="2820458"/>
              <a:ext cx="44031" cy="44254"/>
            </a:xfrm>
            <a:custGeom>
              <a:avLst/>
              <a:gdLst>
                <a:gd name="connsiteX0" fmla="*/ 0 w 20954"/>
                <a:gd name="connsiteY0" fmla="*/ 10478 h 21059"/>
                <a:gd name="connsiteX1" fmla="*/ 10477 w 20954"/>
                <a:gd name="connsiteY1" fmla="*/ 0 h 21059"/>
                <a:gd name="connsiteX2" fmla="*/ 20955 w 20954"/>
                <a:gd name="connsiteY2" fmla="*/ 10478 h 21059"/>
                <a:gd name="connsiteX3" fmla="*/ 10477 w 20954"/>
                <a:gd name="connsiteY3" fmla="*/ 20955 h 21059"/>
                <a:gd name="connsiteX4" fmla="*/ 0 w 20954"/>
                <a:gd name="connsiteY4" fmla="*/ 10478 h 21059"/>
                <a:gd name="connsiteX5" fmla="*/ 0 w 20954"/>
                <a:gd name="connsiteY5" fmla="*/ 10478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59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1908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16" name="Freeform: Shape 3515">
              <a:extLst>
                <a:ext uri="{FF2B5EF4-FFF2-40B4-BE49-F238E27FC236}">
                  <a16:creationId xmlns:a16="http://schemas.microsoft.com/office/drawing/2014/main" id="{ABE76A78-C806-00A8-B5CA-80446358851F}"/>
                </a:ext>
              </a:extLst>
            </p:cNvPr>
            <p:cNvSpPr/>
            <p:nvPr/>
          </p:nvSpPr>
          <p:spPr>
            <a:xfrm>
              <a:off x="6249075" y="2769094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17" name="Freeform: Shape 3516">
              <a:extLst>
                <a:ext uri="{FF2B5EF4-FFF2-40B4-BE49-F238E27FC236}">
                  <a16:creationId xmlns:a16="http://schemas.microsoft.com/office/drawing/2014/main" id="{E1168EA4-9476-81BE-9712-B76FDD5F5486}"/>
                </a:ext>
              </a:extLst>
            </p:cNvPr>
            <p:cNvSpPr/>
            <p:nvPr/>
          </p:nvSpPr>
          <p:spPr>
            <a:xfrm>
              <a:off x="6593623" y="2520883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18" name="Freeform: Shape 3517">
              <a:extLst>
                <a:ext uri="{FF2B5EF4-FFF2-40B4-BE49-F238E27FC236}">
                  <a16:creationId xmlns:a16="http://schemas.microsoft.com/office/drawing/2014/main" id="{19E693FF-8130-E7AB-39FA-44658C1C9DDF}"/>
                </a:ext>
              </a:extLst>
            </p:cNvPr>
            <p:cNvSpPr/>
            <p:nvPr/>
          </p:nvSpPr>
          <p:spPr>
            <a:xfrm>
              <a:off x="6636574" y="2574047"/>
              <a:ext cx="44035" cy="44254"/>
            </a:xfrm>
            <a:custGeom>
              <a:avLst/>
              <a:gdLst>
                <a:gd name="connsiteX0" fmla="*/ 0 w 20955"/>
                <a:gd name="connsiteY0" fmla="*/ 10477 h 21059"/>
                <a:gd name="connsiteX1" fmla="*/ 10478 w 20955"/>
                <a:gd name="connsiteY1" fmla="*/ 0 h 21059"/>
                <a:gd name="connsiteX2" fmla="*/ 20955 w 20955"/>
                <a:gd name="connsiteY2" fmla="*/ 10477 h 21059"/>
                <a:gd name="connsiteX3" fmla="*/ 10478 w 20955"/>
                <a:gd name="connsiteY3" fmla="*/ 20955 h 21059"/>
                <a:gd name="connsiteX4" fmla="*/ 0 w 20955"/>
                <a:gd name="connsiteY4" fmla="*/ 10477 h 21059"/>
                <a:gd name="connsiteX5" fmla="*/ 0 w 20955"/>
                <a:gd name="connsiteY5" fmla="*/ 10477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59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6193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19" name="Freeform: Shape 3518">
              <a:extLst>
                <a:ext uri="{FF2B5EF4-FFF2-40B4-BE49-F238E27FC236}">
                  <a16:creationId xmlns:a16="http://schemas.microsoft.com/office/drawing/2014/main" id="{3CF5B9F1-6B92-37D5-57DA-51D63676A5EC}"/>
                </a:ext>
              </a:extLst>
            </p:cNvPr>
            <p:cNvSpPr/>
            <p:nvPr/>
          </p:nvSpPr>
          <p:spPr>
            <a:xfrm>
              <a:off x="6779438" y="2559004"/>
              <a:ext cx="44031" cy="44288"/>
            </a:xfrm>
            <a:custGeom>
              <a:avLst/>
              <a:gdLst>
                <a:gd name="connsiteX0" fmla="*/ 0 w 20954"/>
                <a:gd name="connsiteY0" fmla="*/ 10477 h 21076"/>
                <a:gd name="connsiteX1" fmla="*/ 10477 w 20954"/>
                <a:gd name="connsiteY1" fmla="*/ 0 h 21076"/>
                <a:gd name="connsiteX2" fmla="*/ 20955 w 20954"/>
                <a:gd name="connsiteY2" fmla="*/ 10477 h 21076"/>
                <a:gd name="connsiteX3" fmla="*/ 10477 w 20954"/>
                <a:gd name="connsiteY3" fmla="*/ 20955 h 21076"/>
                <a:gd name="connsiteX4" fmla="*/ 0 w 20954"/>
                <a:gd name="connsiteY4" fmla="*/ 10477 h 21076"/>
                <a:gd name="connsiteX5" fmla="*/ 0 w 20954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1908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20" name="Freeform: Shape 3519">
              <a:extLst>
                <a:ext uri="{FF2B5EF4-FFF2-40B4-BE49-F238E27FC236}">
                  <a16:creationId xmlns:a16="http://schemas.microsoft.com/office/drawing/2014/main" id="{8BD14A3E-0E58-1AAF-9F6F-22866FE52845}"/>
                </a:ext>
              </a:extLst>
            </p:cNvPr>
            <p:cNvSpPr/>
            <p:nvPr/>
          </p:nvSpPr>
          <p:spPr>
            <a:xfrm>
              <a:off x="6755158" y="2590914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21" name="Freeform: Shape 3520">
              <a:extLst>
                <a:ext uri="{FF2B5EF4-FFF2-40B4-BE49-F238E27FC236}">
                  <a16:creationId xmlns:a16="http://schemas.microsoft.com/office/drawing/2014/main" id="{6C9120B8-AB95-28E8-82A0-267BED59DC3D}"/>
                </a:ext>
              </a:extLst>
            </p:cNvPr>
            <p:cNvSpPr/>
            <p:nvPr/>
          </p:nvSpPr>
          <p:spPr>
            <a:xfrm>
              <a:off x="6714077" y="2605759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7 w 20954"/>
                <a:gd name="connsiteY1" fmla="*/ 0 h 20954"/>
                <a:gd name="connsiteX2" fmla="*/ 20955 w 20954"/>
                <a:gd name="connsiteY2" fmla="*/ 10478 h 20954"/>
                <a:gd name="connsiteX3" fmla="*/ 10477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22" name="Freeform: Shape 3521">
              <a:extLst>
                <a:ext uri="{FF2B5EF4-FFF2-40B4-BE49-F238E27FC236}">
                  <a16:creationId xmlns:a16="http://schemas.microsoft.com/office/drawing/2014/main" id="{FDAA39CF-C79A-1A87-633B-E55B9721E2D4}"/>
                </a:ext>
              </a:extLst>
            </p:cNvPr>
            <p:cNvSpPr/>
            <p:nvPr/>
          </p:nvSpPr>
          <p:spPr>
            <a:xfrm>
              <a:off x="6685129" y="2601022"/>
              <a:ext cx="44035" cy="44288"/>
            </a:xfrm>
            <a:custGeom>
              <a:avLst/>
              <a:gdLst>
                <a:gd name="connsiteX0" fmla="*/ 0 w 20955"/>
                <a:gd name="connsiteY0" fmla="*/ 10477 h 21076"/>
                <a:gd name="connsiteX1" fmla="*/ 10478 w 20955"/>
                <a:gd name="connsiteY1" fmla="*/ 0 h 21076"/>
                <a:gd name="connsiteX2" fmla="*/ 20955 w 20955"/>
                <a:gd name="connsiteY2" fmla="*/ 10477 h 21076"/>
                <a:gd name="connsiteX3" fmla="*/ 10478 w 20955"/>
                <a:gd name="connsiteY3" fmla="*/ 20955 h 21076"/>
                <a:gd name="connsiteX4" fmla="*/ 0 w 20955"/>
                <a:gd name="connsiteY4" fmla="*/ 10477 h 21076"/>
                <a:gd name="connsiteX5" fmla="*/ 0 w 20955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23" name="Freeform: Shape 3522">
              <a:extLst>
                <a:ext uri="{FF2B5EF4-FFF2-40B4-BE49-F238E27FC236}">
                  <a16:creationId xmlns:a16="http://schemas.microsoft.com/office/drawing/2014/main" id="{BD3B4D5F-B22A-A7D3-15CE-AFA383654CCB}"/>
                </a:ext>
              </a:extLst>
            </p:cNvPr>
            <p:cNvSpPr/>
            <p:nvPr/>
          </p:nvSpPr>
          <p:spPr>
            <a:xfrm>
              <a:off x="6655249" y="2584215"/>
              <a:ext cx="44035" cy="44288"/>
            </a:xfrm>
            <a:custGeom>
              <a:avLst/>
              <a:gdLst>
                <a:gd name="connsiteX0" fmla="*/ 0 w 20955"/>
                <a:gd name="connsiteY0" fmla="*/ 10477 h 21076"/>
                <a:gd name="connsiteX1" fmla="*/ 10478 w 20955"/>
                <a:gd name="connsiteY1" fmla="*/ 0 h 21076"/>
                <a:gd name="connsiteX2" fmla="*/ 20955 w 20955"/>
                <a:gd name="connsiteY2" fmla="*/ 10477 h 21076"/>
                <a:gd name="connsiteX3" fmla="*/ 10478 w 20955"/>
                <a:gd name="connsiteY3" fmla="*/ 20955 h 21076"/>
                <a:gd name="connsiteX4" fmla="*/ 0 w 20955"/>
                <a:gd name="connsiteY4" fmla="*/ 10477 h 21076"/>
                <a:gd name="connsiteX5" fmla="*/ 0 w 20955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7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24" name="Freeform: Shape 3523">
              <a:extLst>
                <a:ext uri="{FF2B5EF4-FFF2-40B4-BE49-F238E27FC236}">
                  <a16:creationId xmlns:a16="http://schemas.microsoft.com/office/drawing/2014/main" id="{2047B13F-7B64-65F0-1065-BC1222469B0C}"/>
                </a:ext>
              </a:extLst>
            </p:cNvPr>
            <p:cNvSpPr/>
            <p:nvPr/>
          </p:nvSpPr>
          <p:spPr>
            <a:xfrm>
              <a:off x="6655249" y="2632862"/>
              <a:ext cx="44035" cy="44288"/>
            </a:xfrm>
            <a:custGeom>
              <a:avLst/>
              <a:gdLst>
                <a:gd name="connsiteX0" fmla="*/ 0 w 20955"/>
                <a:gd name="connsiteY0" fmla="*/ 10477 h 21076"/>
                <a:gd name="connsiteX1" fmla="*/ 10478 w 20955"/>
                <a:gd name="connsiteY1" fmla="*/ 0 h 21076"/>
                <a:gd name="connsiteX2" fmla="*/ 20955 w 20955"/>
                <a:gd name="connsiteY2" fmla="*/ 10477 h 21076"/>
                <a:gd name="connsiteX3" fmla="*/ 10478 w 20955"/>
                <a:gd name="connsiteY3" fmla="*/ 20955 h 21076"/>
                <a:gd name="connsiteX4" fmla="*/ 0 w 20955"/>
                <a:gd name="connsiteY4" fmla="*/ 10477 h 21076"/>
                <a:gd name="connsiteX5" fmla="*/ 0 w 20955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25" name="Freeform: Shape 3524">
              <a:extLst>
                <a:ext uri="{FF2B5EF4-FFF2-40B4-BE49-F238E27FC236}">
                  <a16:creationId xmlns:a16="http://schemas.microsoft.com/office/drawing/2014/main" id="{E37111C3-009D-B8A4-F464-493CBC0A65CD}"/>
                </a:ext>
              </a:extLst>
            </p:cNvPr>
            <p:cNvSpPr/>
            <p:nvPr/>
          </p:nvSpPr>
          <p:spPr>
            <a:xfrm>
              <a:off x="6589888" y="2622660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26" name="Freeform: Shape 3525">
              <a:extLst>
                <a:ext uri="{FF2B5EF4-FFF2-40B4-BE49-F238E27FC236}">
                  <a16:creationId xmlns:a16="http://schemas.microsoft.com/office/drawing/2014/main" id="{C348647A-878E-3A5A-C412-29E87480CA66}"/>
                </a:ext>
              </a:extLst>
            </p:cNvPr>
            <p:cNvSpPr/>
            <p:nvPr/>
          </p:nvSpPr>
          <p:spPr>
            <a:xfrm>
              <a:off x="6577749" y="2580642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27" name="Freeform: Shape 3526">
              <a:extLst>
                <a:ext uri="{FF2B5EF4-FFF2-40B4-BE49-F238E27FC236}">
                  <a16:creationId xmlns:a16="http://schemas.microsoft.com/office/drawing/2014/main" id="{C1B0C7B8-4CFD-16E8-38DF-6EA5CB6E906B}"/>
                </a:ext>
              </a:extLst>
            </p:cNvPr>
            <p:cNvSpPr/>
            <p:nvPr/>
          </p:nvSpPr>
          <p:spPr>
            <a:xfrm>
              <a:off x="6620703" y="2538625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7 w 20954"/>
                <a:gd name="connsiteY1" fmla="*/ 0 h 20954"/>
                <a:gd name="connsiteX2" fmla="*/ 20955 w 20954"/>
                <a:gd name="connsiteY2" fmla="*/ 10477 h 20954"/>
                <a:gd name="connsiteX3" fmla="*/ 10477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28" name="Freeform: Shape 3527">
              <a:extLst>
                <a:ext uri="{FF2B5EF4-FFF2-40B4-BE49-F238E27FC236}">
                  <a16:creationId xmlns:a16="http://schemas.microsoft.com/office/drawing/2014/main" id="{101CB36B-1F16-DE7F-EB99-679D483FE935}"/>
                </a:ext>
              </a:extLst>
            </p:cNvPr>
            <p:cNvSpPr/>
            <p:nvPr/>
          </p:nvSpPr>
          <p:spPr>
            <a:xfrm>
              <a:off x="6620703" y="2486174"/>
              <a:ext cx="44031" cy="44288"/>
            </a:xfrm>
            <a:custGeom>
              <a:avLst/>
              <a:gdLst>
                <a:gd name="connsiteX0" fmla="*/ 0 w 20954"/>
                <a:gd name="connsiteY0" fmla="*/ 10477 h 21076"/>
                <a:gd name="connsiteX1" fmla="*/ 10477 w 20954"/>
                <a:gd name="connsiteY1" fmla="*/ 0 h 21076"/>
                <a:gd name="connsiteX2" fmla="*/ 20955 w 20954"/>
                <a:gd name="connsiteY2" fmla="*/ 10477 h 21076"/>
                <a:gd name="connsiteX3" fmla="*/ 10477 w 20954"/>
                <a:gd name="connsiteY3" fmla="*/ 20955 h 21076"/>
                <a:gd name="connsiteX4" fmla="*/ 0 w 20954"/>
                <a:gd name="connsiteY4" fmla="*/ 10477 h 21076"/>
                <a:gd name="connsiteX5" fmla="*/ 0 w 20954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1907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29" name="Freeform: Shape 3528">
              <a:extLst>
                <a:ext uri="{FF2B5EF4-FFF2-40B4-BE49-F238E27FC236}">
                  <a16:creationId xmlns:a16="http://schemas.microsoft.com/office/drawing/2014/main" id="{E98D0B75-AFD8-F697-9E5C-CA74FA613817}"/>
                </a:ext>
              </a:extLst>
            </p:cNvPr>
            <p:cNvSpPr/>
            <p:nvPr/>
          </p:nvSpPr>
          <p:spPr>
            <a:xfrm>
              <a:off x="6658984" y="2482601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30" name="Freeform: Shape 3529">
              <a:extLst>
                <a:ext uri="{FF2B5EF4-FFF2-40B4-BE49-F238E27FC236}">
                  <a16:creationId xmlns:a16="http://schemas.microsoft.com/office/drawing/2014/main" id="{252F1B3F-EA1B-BFBE-F095-D569F6884B8C}"/>
                </a:ext>
              </a:extLst>
            </p:cNvPr>
            <p:cNvSpPr/>
            <p:nvPr/>
          </p:nvSpPr>
          <p:spPr>
            <a:xfrm>
              <a:off x="6689797" y="2434887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31" name="Freeform: Shape 3530">
              <a:extLst>
                <a:ext uri="{FF2B5EF4-FFF2-40B4-BE49-F238E27FC236}">
                  <a16:creationId xmlns:a16="http://schemas.microsoft.com/office/drawing/2014/main" id="{59AFF48C-2218-6FAD-A5DB-C1F55D5F6FFB}"/>
                </a:ext>
              </a:extLst>
            </p:cNvPr>
            <p:cNvSpPr/>
            <p:nvPr/>
          </p:nvSpPr>
          <p:spPr>
            <a:xfrm>
              <a:off x="6799977" y="2530992"/>
              <a:ext cx="44035" cy="44288"/>
            </a:xfrm>
            <a:custGeom>
              <a:avLst/>
              <a:gdLst>
                <a:gd name="connsiteX0" fmla="*/ 0 w 20955"/>
                <a:gd name="connsiteY0" fmla="*/ 10477 h 21076"/>
                <a:gd name="connsiteX1" fmla="*/ 10478 w 20955"/>
                <a:gd name="connsiteY1" fmla="*/ 0 h 21076"/>
                <a:gd name="connsiteX2" fmla="*/ 20955 w 20955"/>
                <a:gd name="connsiteY2" fmla="*/ 10477 h 21076"/>
                <a:gd name="connsiteX3" fmla="*/ 10478 w 20955"/>
                <a:gd name="connsiteY3" fmla="*/ 20955 h 21076"/>
                <a:gd name="connsiteX4" fmla="*/ 0 w 20955"/>
                <a:gd name="connsiteY4" fmla="*/ 10477 h 21076"/>
                <a:gd name="connsiteX5" fmla="*/ 0 w 20955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32" name="Freeform: Shape 3531">
              <a:extLst>
                <a:ext uri="{FF2B5EF4-FFF2-40B4-BE49-F238E27FC236}">
                  <a16:creationId xmlns:a16="http://schemas.microsoft.com/office/drawing/2014/main" id="{541B70C6-FF1B-F302-1A09-7ED4DCFCDFBE}"/>
                </a:ext>
              </a:extLst>
            </p:cNvPr>
            <p:cNvSpPr/>
            <p:nvPr/>
          </p:nvSpPr>
          <p:spPr>
            <a:xfrm>
              <a:off x="6740219" y="2570278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33" name="Freeform: Shape 3532">
              <a:extLst>
                <a:ext uri="{FF2B5EF4-FFF2-40B4-BE49-F238E27FC236}">
                  <a16:creationId xmlns:a16="http://schemas.microsoft.com/office/drawing/2014/main" id="{164F4512-A0AE-06FA-BB82-B7BB0DD84107}"/>
                </a:ext>
              </a:extLst>
            </p:cNvPr>
            <p:cNvSpPr/>
            <p:nvPr/>
          </p:nvSpPr>
          <p:spPr>
            <a:xfrm>
              <a:off x="6709408" y="2552630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7 w 20954"/>
                <a:gd name="connsiteY1" fmla="*/ 0 h 20954"/>
                <a:gd name="connsiteX2" fmla="*/ 20955 w 20954"/>
                <a:gd name="connsiteY2" fmla="*/ 10477 h 20954"/>
                <a:gd name="connsiteX3" fmla="*/ 10477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34" name="Freeform: Shape 3533">
              <a:extLst>
                <a:ext uri="{FF2B5EF4-FFF2-40B4-BE49-F238E27FC236}">
                  <a16:creationId xmlns:a16="http://schemas.microsoft.com/office/drawing/2014/main" id="{29FF8B1D-C06E-7BC4-D950-306A68D643D3}"/>
                </a:ext>
              </a:extLst>
            </p:cNvPr>
            <p:cNvSpPr/>
            <p:nvPr/>
          </p:nvSpPr>
          <p:spPr>
            <a:xfrm>
              <a:off x="6737419" y="2544227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7 w 20954"/>
                <a:gd name="connsiteY1" fmla="*/ 0 h 20954"/>
                <a:gd name="connsiteX2" fmla="*/ 20955 w 20954"/>
                <a:gd name="connsiteY2" fmla="*/ 10477 h 20954"/>
                <a:gd name="connsiteX3" fmla="*/ 10477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35" name="Freeform: Shape 3534">
              <a:extLst>
                <a:ext uri="{FF2B5EF4-FFF2-40B4-BE49-F238E27FC236}">
                  <a16:creationId xmlns:a16="http://schemas.microsoft.com/office/drawing/2014/main" id="{C7515BCC-CACC-7758-AB67-1F88A6D6490D}"/>
                </a:ext>
              </a:extLst>
            </p:cNvPr>
            <p:cNvSpPr/>
            <p:nvPr/>
          </p:nvSpPr>
          <p:spPr>
            <a:xfrm>
              <a:off x="6751426" y="2520883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7 w 20954"/>
                <a:gd name="connsiteY1" fmla="*/ 0 h 20954"/>
                <a:gd name="connsiteX2" fmla="*/ 20955 w 20954"/>
                <a:gd name="connsiteY2" fmla="*/ 10477 h 20954"/>
                <a:gd name="connsiteX3" fmla="*/ 10477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36" name="Freeform: Shape 3535">
              <a:extLst>
                <a:ext uri="{FF2B5EF4-FFF2-40B4-BE49-F238E27FC236}">
                  <a16:creationId xmlns:a16="http://schemas.microsoft.com/office/drawing/2014/main" id="{F53D7DA9-2EA8-3B6E-9E09-2CC0FAC766A2}"/>
                </a:ext>
              </a:extLst>
            </p:cNvPr>
            <p:cNvSpPr/>
            <p:nvPr/>
          </p:nvSpPr>
          <p:spPr>
            <a:xfrm>
              <a:off x="6751426" y="2465697"/>
              <a:ext cx="44031" cy="44035"/>
            </a:xfrm>
            <a:custGeom>
              <a:avLst/>
              <a:gdLst>
                <a:gd name="connsiteX0" fmla="*/ 0 w 20954"/>
                <a:gd name="connsiteY0" fmla="*/ 10477 h 20955"/>
                <a:gd name="connsiteX1" fmla="*/ 10477 w 20954"/>
                <a:gd name="connsiteY1" fmla="*/ 0 h 20955"/>
                <a:gd name="connsiteX2" fmla="*/ 20955 w 20954"/>
                <a:gd name="connsiteY2" fmla="*/ 10477 h 20955"/>
                <a:gd name="connsiteX3" fmla="*/ 10477 w 20954"/>
                <a:gd name="connsiteY3" fmla="*/ 20955 h 20955"/>
                <a:gd name="connsiteX4" fmla="*/ 0 w 20954"/>
                <a:gd name="connsiteY4" fmla="*/ 10477 h 20955"/>
                <a:gd name="connsiteX5" fmla="*/ 0 w 20954"/>
                <a:gd name="connsiteY5" fmla="*/ 10477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0955"/>
                    <a:pt x="0" y="16193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37" name="Freeform: Shape 3536">
              <a:extLst>
                <a:ext uri="{FF2B5EF4-FFF2-40B4-BE49-F238E27FC236}">
                  <a16:creationId xmlns:a16="http://schemas.microsoft.com/office/drawing/2014/main" id="{8340A80D-AECD-40EA-0695-BDEF91C89193}"/>
                </a:ext>
              </a:extLst>
            </p:cNvPr>
            <p:cNvSpPr/>
            <p:nvPr/>
          </p:nvSpPr>
          <p:spPr>
            <a:xfrm>
              <a:off x="6766363" y="2376993"/>
              <a:ext cx="44035" cy="44035"/>
            </a:xfrm>
            <a:custGeom>
              <a:avLst/>
              <a:gdLst>
                <a:gd name="connsiteX0" fmla="*/ 0 w 20955"/>
                <a:gd name="connsiteY0" fmla="*/ 10477 h 20955"/>
                <a:gd name="connsiteX1" fmla="*/ 10477 w 20955"/>
                <a:gd name="connsiteY1" fmla="*/ 0 h 20955"/>
                <a:gd name="connsiteX2" fmla="*/ 20955 w 20955"/>
                <a:gd name="connsiteY2" fmla="*/ 10477 h 20955"/>
                <a:gd name="connsiteX3" fmla="*/ 10477 w 20955"/>
                <a:gd name="connsiteY3" fmla="*/ 20955 h 20955"/>
                <a:gd name="connsiteX4" fmla="*/ 0 w 20955"/>
                <a:gd name="connsiteY4" fmla="*/ 10477 h 20955"/>
                <a:gd name="connsiteX5" fmla="*/ 0 w 20955"/>
                <a:gd name="connsiteY5" fmla="*/ 10477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0955"/>
                    <a:pt x="0" y="16193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38" name="Freeform: Shape 3537">
              <a:extLst>
                <a:ext uri="{FF2B5EF4-FFF2-40B4-BE49-F238E27FC236}">
                  <a16:creationId xmlns:a16="http://schemas.microsoft.com/office/drawing/2014/main" id="{D3AD3500-8586-ED4E-EB67-A23781DA62A2}"/>
                </a:ext>
              </a:extLst>
            </p:cNvPr>
            <p:cNvSpPr/>
            <p:nvPr/>
          </p:nvSpPr>
          <p:spPr>
            <a:xfrm>
              <a:off x="6231335" y="2510613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39" name="Freeform: Shape 3538">
              <a:extLst>
                <a:ext uri="{FF2B5EF4-FFF2-40B4-BE49-F238E27FC236}">
                  <a16:creationId xmlns:a16="http://schemas.microsoft.com/office/drawing/2014/main" id="{FC211023-40DA-E9EA-033B-11F344010F59}"/>
                </a:ext>
              </a:extLst>
            </p:cNvPr>
            <p:cNvSpPr/>
            <p:nvPr/>
          </p:nvSpPr>
          <p:spPr>
            <a:xfrm>
              <a:off x="6280822" y="2676748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7 w 20955"/>
                <a:gd name="connsiteY1" fmla="*/ 0 h 21076"/>
                <a:gd name="connsiteX2" fmla="*/ 20955 w 20955"/>
                <a:gd name="connsiteY2" fmla="*/ 10478 h 21076"/>
                <a:gd name="connsiteX3" fmla="*/ 10477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40" name="Freeform: Shape 3539">
              <a:extLst>
                <a:ext uri="{FF2B5EF4-FFF2-40B4-BE49-F238E27FC236}">
                  <a16:creationId xmlns:a16="http://schemas.microsoft.com/office/drawing/2014/main" id="{74262EB9-1CA0-BA80-1212-1AFA57F7EEB2}"/>
                </a:ext>
              </a:extLst>
            </p:cNvPr>
            <p:cNvSpPr/>
            <p:nvPr/>
          </p:nvSpPr>
          <p:spPr>
            <a:xfrm>
              <a:off x="6240672" y="2679618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41" name="Freeform: Shape 3540">
              <a:extLst>
                <a:ext uri="{FF2B5EF4-FFF2-40B4-BE49-F238E27FC236}">
                  <a16:creationId xmlns:a16="http://schemas.microsoft.com/office/drawing/2014/main" id="{7EDD464D-0141-6674-A997-9EAFB7A6C85F}"/>
                </a:ext>
              </a:extLst>
            </p:cNvPr>
            <p:cNvSpPr/>
            <p:nvPr/>
          </p:nvSpPr>
          <p:spPr>
            <a:xfrm>
              <a:off x="6231335" y="2661783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7 w 20955"/>
                <a:gd name="connsiteY1" fmla="*/ 0 h 20954"/>
                <a:gd name="connsiteX2" fmla="*/ 20955 w 20955"/>
                <a:gd name="connsiteY2" fmla="*/ 10478 h 20954"/>
                <a:gd name="connsiteX3" fmla="*/ 10477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42" name="Freeform: Shape 3541">
              <a:extLst>
                <a:ext uri="{FF2B5EF4-FFF2-40B4-BE49-F238E27FC236}">
                  <a16:creationId xmlns:a16="http://schemas.microsoft.com/office/drawing/2014/main" id="{A5B02EB4-2556-1AB5-56E1-084D41C48F63}"/>
                </a:ext>
              </a:extLst>
            </p:cNvPr>
            <p:cNvSpPr/>
            <p:nvPr/>
          </p:nvSpPr>
          <p:spPr>
            <a:xfrm>
              <a:off x="6255612" y="2666452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43" name="Freeform: Shape 3542">
              <a:extLst>
                <a:ext uri="{FF2B5EF4-FFF2-40B4-BE49-F238E27FC236}">
                  <a16:creationId xmlns:a16="http://schemas.microsoft.com/office/drawing/2014/main" id="{3D861E10-D089-A597-B311-E0C667D3D131}"/>
                </a:ext>
              </a:extLst>
            </p:cNvPr>
            <p:cNvSpPr/>
            <p:nvPr/>
          </p:nvSpPr>
          <p:spPr>
            <a:xfrm>
              <a:off x="6244407" y="2652386"/>
              <a:ext cx="44035" cy="44254"/>
            </a:xfrm>
            <a:custGeom>
              <a:avLst/>
              <a:gdLst>
                <a:gd name="connsiteX0" fmla="*/ 0 w 20955"/>
                <a:gd name="connsiteY0" fmla="*/ 10478 h 21059"/>
                <a:gd name="connsiteX1" fmla="*/ 10478 w 20955"/>
                <a:gd name="connsiteY1" fmla="*/ 0 h 21059"/>
                <a:gd name="connsiteX2" fmla="*/ 20955 w 20955"/>
                <a:gd name="connsiteY2" fmla="*/ 10478 h 21059"/>
                <a:gd name="connsiteX3" fmla="*/ 10478 w 20955"/>
                <a:gd name="connsiteY3" fmla="*/ 20955 h 21059"/>
                <a:gd name="connsiteX4" fmla="*/ 0 w 20955"/>
                <a:gd name="connsiteY4" fmla="*/ 10478 h 21059"/>
                <a:gd name="connsiteX5" fmla="*/ 0 w 20955"/>
                <a:gd name="connsiteY5" fmla="*/ 10478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59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44" name="Freeform: Shape 3543">
              <a:extLst>
                <a:ext uri="{FF2B5EF4-FFF2-40B4-BE49-F238E27FC236}">
                  <a16:creationId xmlns:a16="http://schemas.microsoft.com/office/drawing/2014/main" id="{E4F59BE8-9768-18C1-56FF-7500CDDBC6A5}"/>
                </a:ext>
              </a:extLst>
            </p:cNvPr>
            <p:cNvSpPr/>
            <p:nvPr/>
          </p:nvSpPr>
          <p:spPr>
            <a:xfrm>
              <a:off x="6267750" y="2648736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45" name="Freeform: Shape 3544">
              <a:extLst>
                <a:ext uri="{FF2B5EF4-FFF2-40B4-BE49-F238E27FC236}">
                  <a16:creationId xmlns:a16="http://schemas.microsoft.com/office/drawing/2014/main" id="{3E921066-E364-219D-112F-6E38F211669A}"/>
                </a:ext>
              </a:extLst>
            </p:cNvPr>
            <p:cNvSpPr/>
            <p:nvPr/>
          </p:nvSpPr>
          <p:spPr>
            <a:xfrm>
              <a:off x="6225732" y="2700998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46" name="Freeform: Shape 3545">
              <a:extLst>
                <a:ext uri="{FF2B5EF4-FFF2-40B4-BE49-F238E27FC236}">
                  <a16:creationId xmlns:a16="http://schemas.microsoft.com/office/drawing/2014/main" id="{6CA25D12-2F06-2E72-55A9-F1DA0AB50B87}"/>
                </a:ext>
              </a:extLst>
            </p:cNvPr>
            <p:cNvSpPr/>
            <p:nvPr/>
          </p:nvSpPr>
          <p:spPr>
            <a:xfrm>
              <a:off x="6197720" y="2714947"/>
              <a:ext cx="44035" cy="44254"/>
            </a:xfrm>
            <a:custGeom>
              <a:avLst/>
              <a:gdLst>
                <a:gd name="connsiteX0" fmla="*/ 0 w 20955"/>
                <a:gd name="connsiteY0" fmla="*/ 10478 h 21059"/>
                <a:gd name="connsiteX1" fmla="*/ 10478 w 20955"/>
                <a:gd name="connsiteY1" fmla="*/ 0 h 21059"/>
                <a:gd name="connsiteX2" fmla="*/ 20955 w 20955"/>
                <a:gd name="connsiteY2" fmla="*/ 10478 h 21059"/>
                <a:gd name="connsiteX3" fmla="*/ 10478 w 20955"/>
                <a:gd name="connsiteY3" fmla="*/ 20955 h 21059"/>
                <a:gd name="connsiteX4" fmla="*/ 0 w 20955"/>
                <a:gd name="connsiteY4" fmla="*/ 10478 h 21059"/>
                <a:gd name="connsiteX5" fmla="*/ 0 w 20955"/>
                <a:gd name="connsiteY5" fmla="*/ 10478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59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47" name="Freeform: Shape 3546">
              <a:extLst>
                <a:ext uri="{FF2B5EF4-FFF2-40B4-BE49-F238E27FC236}">
                  <a16:creationId xmlns:a16="http://schemas.microsoft.com/office/drawing/2014/main" id="{1A341D2F-3159-B3E6-6FC2-E57D212D8CEA}"/>
                </a:ext>
              </a:extLst>
            </p:cNvPr>
            <p:cNvSpPr/>
            <p:nvPr/>
          </p:nvSpPr>
          <p:spPr>
            <a:xfrm>
              <a:off x="6162239" y="2688022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48" name="Freeform: Shape 3547">
              <a:extLst>
                <a:ext uri="{FF2B5EF4-FFF2-40B4-BE49-F238E27FC236}">
                  <a16:creationId xmlns:a16="http://schemas.microsoft.com/office/drawing/2014/main" id="{23687B93-D41D-7EA2-EFF5-E82395B7784C}"/>
                </a:ext>
              </a:extLst>
            </p:cNvPr>
            <p:cNvSpPr/>
            <p:nvPr/>
          </p:nvSpPr>
          <p:spPr>
            <a:xfrm>
              <a:off x="6140762" y="2626233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49" name="Freeform: Shape 3548">
              <a:extLst>
                <a:ext uri="{FF2B5EF4-FFF2-40B4-BE49-F238E27FC236}">
                  <a16:creationId xmlns:a16="http://schemas.microsoft.com/office/drawing/2014/main" id="{4945E8C3-253A-E390-FE6B-F967D780C60A}"/>
                </a:ext>
              </a:extLst>
            </p:cNvPr>
            <p:cNvSpPr/>
            <p:nvPr/>
          </p:nvSpPr>
          <p:spPr>
            <a:xfrm>
              <a:off x="6280822" y="2588110"/>
              <a:ext cx="44035" cy="44035"/>
            </a:xfrm>
            <a:custGeom>
              <a:avLst/>
              <a:gdLst>
                <a:gd name="connsiteX0" fmla="*/ 0 w 20955"/>
                <a:gd name="connsiteY0" fmla="*/ 10477 h 20955"/>
                <a:gd name="connsiteX1" fmla="*/ 10477 w 20955"/>
                <a:gd name="connsiteY1" fmla="*/ 0 h 20955"/>
                <a:gd name="connsiteX2" fmla="*/ 20955 w 20955"/>
                <a:gd name="connsiteY2" fmla="*/ 10477 h 20955"/>
                <a:gd name="connsiteX3" fmla="*/ 10477 w 20955"/>
                <a:gd name="connsiteY3" fmla="*/ 20955 h 20955"/>
                <a:gd name="connsiteX4" fmla="*/ 0 w 20955"/>
                <a:gd name="connsiteY4" fmla="*/ 10477 h 20955"/>
                <a:gd name="connsiteX5" fmla="*/ 0 w 20955"/>
                <a:gd name="connsiteY5" fmla="*/ 10477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0955"/>
                    <a:pt x="0" y="16193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50" name="Freeform: Shape 3549">
              <a:extLst>
                <a:ext uri="{FF2B5EF4-FFF2-40B4-BE49-F238E27FC236}">
                  <a16:creationId xmlns:a16="http://schemas.microsoft.com/office/drawing/2014/main" id="{0CDF60DC-016B-8A79-1EBE-F8EA2B8190B9}"/>
                </a:ext>
              </a:extLst>
            </p:cNvPr>
            <p:cNvSpPr/>
            <p:nvPr/>
          </p:nvSpPr>
          <p:spPr>
            <a:xfrm>
              <a:off x="6291094" y="2482601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51" name="Freeform: Shape 3550">
              <a:extLst>
                <a:ext uri="{FF2B5EF4-FFF2-40B4-BE49-F238E27FC236}">
                  <a16:creationId xmlns:a16="http://schemas.microsoft.com/office/drawing/2014/main" id="{1D4528B7-EFE6-99EC-B38E-D98C826FFEDF}"/>
                </a:ext>
              </a:extLst>
            </p:cNvPr>
            <p:cNvSpPr/>
            <p:nvPr/>
          </p:nvSpPr>
          <p:spPr>
            <a:xfrm>
              <a:off x="6440491" y="2291185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52" name="Freeform: Shape 3551">
              <a:extLst>
                <a:ext uri="{FF2B5EF4-FFF2-40B4-BE49-F238E27FC236}">
                  <a16:creationId xmlns:a16="http://schemas.microsoft.com/office/drawing/2014/main" id="{CEE0A0A5-047A-207A-D98C-E54470858306}"/>
                </a:ext>
              </a:extLst>
            </p:cNvPr>
            <p:cNvSpPr/>
            <p:nvPr/>
          </p:nvSpPr>
          <p:spPr>
            <a:xfrm>
              <a:off x="6630972" y="2220153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7 w 20955"/>
                <a:gd name="connsiteY1" fmla="*/ 0 h 21076"/>
                <a:gd name="connsiteX2" fmla="*/ 20955 w 20955"/>
                <a:gd name="connsiteY2" fmla="*/ 10478 h 21076"/>
                <a:gd name="connsiteX3" fmla="*/ 10477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53" name="Freeform: Shape 3552">
              <a:extLst>
                <a:ext uri="{FF2B5EF4-FFF2-40B4-BE49-F238E27FC236}">
                  <a16:creationId xmlns:a16="http://schemas.microsoft.com/office/drawing/2014/main" id="{8BFD0591-1BCC-9578-A186-1A1396E7A732}"/>
                </a:ext>
              </a:extLst>
            </p:cNvPr>
            <p:cNvSpPr/>
            <p:nvPr/>
          </p:nvSpPr>
          <p:spPr>
            <a:xfrm>
              <a:off x="6527330" y="1728983"/>
              <a:ext cx="44031" cy="44035"/>
            </a:xfrm>
            <a:custGeom>
              <a:avLst/>
              <a:gdLst>
                <a:gd name="connsiteX0" fmla="*/ 0 w 20954"/>
                <a:gd name="connsiteY0" fmla="*/ 10477 h 20955"/>
                <a:gd name="connsiteX1" fmla="*/ 10477 w 20954"/>
                <a:gd name="connsiteY1" fmla="*/ 0 h 20955"/>
                <a:gd name="connsiteX2" fmla="*/ 20955 w 20954"/>
                <a:gd name="connsiteY2" fmla="*/ 10477 h 20955"/>
                <a:gd name="connsiteX3" fmla="*/ 10477 w 20954"/>
                <a:gd name="connsiteY3" fmla="*/ 20955 h 20955"/>
                <a:gd name="connsiteX4" fmla="*/ 0 w 20954"/>
                <a:gd name="connsiteY4" fmla="*/ 10477 h 20955"/>
                <a:gd name="connsiteX5" fmla="*/ 0 w 20954"/>
                <a:gd name="connsiteY5" fmla="*/ 10477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0955"/>
                    <a:pt x="0" y="16193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54" name="Freeform: Shape 3553">
              <a:extLst>
                <a:ext uri="{FF2B5EF4-FFF2-40B4-BE49-F238E27FC236}">
                  <a16:creationId xmlns:a16="http://schemas.microsoft.com/office/drawing/2014/main" id="{3FDE9E9F-B0FE-8B7B-EE67-E32E0E5621C8}"/>
                </a:ext>
              </a:extLst>
            </p:cNvPr>
            <p:cNvSpPr/>
            <p:nvPr/>
          </p:nvSpPr>
          <p:spPr>
            <a:xfrm>
              <a:off x="6570279" y="2389159"/>
              <a:ext cx="44035" cy="44288"/>
            </a:xfrm>
            <a:custGeom>
              <a:avLst/>
              <a:gdLst>
                <a:gd name="connsiteX0" fmla="*/ 0 w 20955"/>
                <a:gd name="connsiteY0" fmla="*/ 10477 h 21076"/>
                <a:gd name="connsiteX1" fmla="*/ 10477 w 20955"/>
                <a:gd name="connsiteY1" fmla="*/ 0 h 21076"/>
                <a:gd name="connsiteX2" fmla="*/ 20955 w 20955"/>
                <a:gd name="connsiteY2" fmla="*/ 10477 h 21076"/>
                <a:gd name="connsiteX3" fmla="*/ 10477 w 20955"/>
                <a:gd name="connsiteY3" fmla="*/ 20955 h 21076"/>
                <a:gd name="connsiteX4" fmla="*/ 0 w 20955"/>
                <a:gd name="connsiteY4" fmla="*/ 10477 h 21076"/>
                <a:gd name="connsiteX5" fmla="*/ 0 w 20955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1907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55" name="Freeform: Shape 3554">
              <a:extLst>
                <a:ext uri="{FF2B5EF4-FFF2-40B4-BE49-F238E27FC236}">
                  <a16:creationId xmlns:a16="http://schemas.microsoft.com/office/drawing/2014/main" id="{EABCED71-75E7-E6B1-83EF-803EF1F49989}"/>
                </a:ext>
              </a:extLst>
            </p:cNvPr>
            <p:cNvSpPr/>
            <p:nvPr/>
          </p:nvSpPr>
          <p:spPr>
            <a:xfrm>
              <a:off x="6376064" y="2725302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7 w 20955"/>
                <a:gd name="connsiteY1" fmla="*/ 0 h 21076"/>
                <a:gd name="connsiteX2" fmla="*/ 20955 w 20955"/>
                <a:gd name="connsiteY2" fmla="*/ 10478 h 21076"/>
                <a:gd name="connsiteX3" fmla="*/ 10477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56" name="Freeform: Shape 3555">
              <a:extLst>
                <a:ext uri="{FF2B5EF4-FFF2-40B4-BE49-F238E27FC236}">
                  <a16:creationId xmlns:a16="http://schemas.microsoft.com/office/drawing/2014/main" id="{4D6C23AE-0D8B-CF23-F07E-A74E13AF078A}"/>
                </a:ext>
              </a:extLst>
            </p:cNvPr>
            <p:cNvSpPr/>
            <p:nvPr/>
          </p:nvSpPr>
          <p:spPr>
            <a:xfrm>
              <a:off x="6309768" y="2730973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57" name="Freeform: Shape 3556">
              <a:extLst>
                <a:ext uri="{FF2B5EF4-FFF2-40B4-BE49-F238E27FC236}">
                  <a16:creationId xmlns:a16="http://schemas.microsoft.com/office/drawing/2014/main" id="{64D247CE-4A66-31C9-760A-5B50B6AB14E2}"/>
                </a:ext>
              </a:extLst>
            </p:cNvPr>
            <p:cNvSpPr/>
            <p:nvPr/>
          </p:nvSpPr>
          <p:spPr>
            <a:xfrm>
              <a:off x="6324708" y="2755156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7 w 20955"/>
                <a:gd name="connsiteY1" fmla="*/ 0 h 20954"/>
                <a:gd name="connsiteX2" fmla="*/ 20955 w 20955"/>
                <a:gd name="connsiteY2" fmla="*/ 10478 h 20954"/>
                <a:gd name="connsiteX3" fmla="*/ 10477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58" name="Freeform: Shape 3557">
              <a:extLst>
                <a:ext uri="{FF2B5EF4-FFF2-40B4-BE49-F238E27FC236}">
                  <a16:creationId xmlns:a16="http://schemas.microsoft.com/office/drawing/2014/main" id="{D1FA4871-F70F-2ED0-1799-9484E0ED8E68}"/>
                </a:ext>
              </a:extLst>
            </p:cNvPr>
            <p:cNvSpPr/>
            <p:nvPr/>
          </p:nvSpPr>
          <p:spPr>
            <a:xfrm>
              <a:off x="6337780" y="2779527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59" name="Freeform: Shape 3558">
              <a:extLst>
                <a:ext uri="{FF2B5EF4-FFF2-40B4-BE49-F238E27FC236}">
                  <a16:creationId xmlns:a16="http://schemas.microsoft.com/office/drawing/2014/main" id="{C5265E28-412A-9194-176D-E18516B2F3D1}"/>
                </a:ext>
              </a:extLst>
            </p:cNvPr>
            <p:cNvSpPr/>
            <p:nvPr/>
          </p:nvSpPr>
          <p:spPr>
            <a:xfrm>
              <a:off x="6388202" y="2769094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7 w 20955"/>
                <a:gd name="connsiteY1" fmla="*/ 0 h 21076"/>
                <a:gd name="connsiteX2" fmla="*/ 20955 w 20955"/>
                <a:gd name="connsiteY2" fmla="*/ 10478 h 21076"/>
                <a:gd name="connsiteX3" fmla="*/ 10477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60" name="Freeform: Shape 3559">
              <a:extLst>
                <a:ext uri="{FF2B5EF4-FFF2-40B4-BE49-F238E27FC236}">
                  <a16:creationId xmlns:a16="http://schemas.microsoft.com/office/drawing/2014/main" id="{FD2EAA49-3BE0-C022-201C-DB165E012ED7}"/>
                </a:ext>
              </a:extLst>
            </p:cNvPr>
            <p:cNvSpPr/>
            <p:nvPr/>
          </p:nvSpPr>
          <p:spPr>
            <a:xfrm>
              <a:off x="6489981" y="2880302"/>
              <a:ext cx="44031" cy="44288"/>
            </a:xfrm>
            <a:custGeom>
              <a:avLst/>
              <a:gdLst>
                <a:gd name="connsiteX0" fmla="*/ 0 w 20954"/>
                <a:gd name="connsiteY0" fmla="*/ 10477 h 21076"/>
                <a:gd name="connsiteX1" fmla="*/ 10477 w 20954"/>
                <a:gd name="connsiteY1" fmla="*/ 0 h 21076"/>
                <a:gd name="connsiteX2" fmla="*/ 20955 w 20954"/>
                <a:gd name="connsiteY2" fmla="*/ 10477 h 21076"/>
                <a:gd name="connsiteX3" fmla="*/ 10477 w 20954"/>
                <a:gd name="connsiteY3" fmla="*/ 20955 h 21076"/>
                <a:gd name="connsiteX4" fmla="*/ 0 w 20954"/>
                <a:gd name="connsiteY4" fmla="*/ 10477 h 21076"/>
                <a:gd name="connsiteX5" fmla="*/ 0 w 20954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1908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61" name="Freeform: Shape 3560">
              <a:extLst>
                <a:ext uri="{FF2B5EF4-FFF2-40B4-BE49-F238E27FC236}">
                  <a16:creationId xmlns:a16="http://schemas.microsoft.com/office/drawing/2014/main" id="{132700FE-C212-086D-9E97-19AE29A098F1}"/>
                </a:ext>
              </a:extLst>
            </p:cNvPr>
            <p:cNvSpPr/>
            <p:nvPr/>
          </p:nvSpPr>
          <p:spPr>
            <a:xfrm>
              <a:off x="6567478" y="2946572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7 w 20955"/>
                <a:gd name="connsiteY1" fmla="*/ 0 h 20954"/>
                <a:gd name="connsiteX2" fmla="*/ 20955 w 20955"/>
                <a:gd name="connsiteY2" fmla="*/ 10478 h 20954"/>
                <a:gd name="connsiteX3" fmla="*/ 10477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62" name="Freeform: Shape 3561">
              <a:extLst>
                <a:ext uri="{FF2B5EF4-FFF2-40B4-BE49-F238E27FC236}">
                  <a16:creationId xmlns:a16="http://schemas.microsoft.com/office/drawing/2014/main" id="{8EC9A65A-14FC-6459-E6E5-403B243EF838}"/>
                </a:ext>
              </a:extLst>
            </p:cNvPr>
            <p:cNvSpPr/>
            <p:nvPr/>
          </p:nvSpPr>
          <p:spPr>
            <a:xfrm>
              <a:off x="6423684" y="2780366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63" name="Freeform: Shape 3562">
              <a:extLst>
                <a:ext uri="{FF2B5EF4-FFF2-40B4-BE49-F238E27FC236}">
                  <a16:creationId xmlns:a16="http://schemas.microsoft.com/office/drawing/2014/main" id="{658BB056-C99C-AB42-5598-C915BFF53505}"/>
                </a:ext>
              </a:extLst>
            </p:cNvPr>
            <p:cNvSpPr/>
            <p:nvPr/>
          </p:nvSpPr>
          <p:spPr>
            <a:xfrm>
              <a:off x="6364858" y="2808311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7 w 20955"/>
                <a:gd name="connsiteY1" fmla="*/ 0 h 21076"/>
                <a:gd name="connsiteX2" fmla="*/ 20955 w 20955"/>
                <a:gd name="connsiteY2" fmla="*/ 10478 h 21076"/>
                <a:gd name="connsiteX3" fmla="*/ 10477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64" name="Freeform: Shape 3563">
              <a:extLst>
                <a:ext uri="{FF2B5EF4-FFF2-40B4-BE49-F238E27FC236}">
                  <a16:creationId xmlns:a16="http://schemas.microsoft.com/office/drawing/2014/main" id="{BE930491-ABE5-11DE-D1E4-8B3798BBE0BB}"/>
                </a:ext>
              </a:extLst>
            </p:cNvPr>
            <p:cNvSpPr/>
            <p:nvPr/>
          </p:nvSpPr>
          <p:spPr>
            <a:xfrm>
              <a:off x="6354589" y="2795400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7 w 20954"/>
                <a:gd name="connsiteY1" fmla="*/ 0 h 20954"/>
                <a:gd name="connsiteX2" fmla="*/ 20955 w 20954"/>
                <a:gd name="connsiteY2" fmla="*/ 10478 h 20954"/>
                <a:gd name="connsiteX3" fmla="*/ 10477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65" name="Freeform: Shape 3564">
              <a:extLst>
                <a:ext uri="{FF2B5EF4-FFF2-40B4-BE49-F238E27FC236}">
                  <a16:creationId xmlns:a16="http://schemas.microsoft.com/office/drawing/2014/main" id="{23E9D818-37C2-43E1-1CCA-C2FC453C98E9}"/>
                </a:ext>
              </a:extLst>
            </p:cNvPr>
            <p:cNvSpPr/>
            <p:nvPr/>
          </p:nvSpPr>
          <p:spPr>
            <a:xfrm>
              <a:off x="6341515" y="2800934"/>
              <a:ext cx="44035" cy="44288"/>
            </a:xfrm>
            <a:custGeom>
              <a:avLst/>
              <a:gdLst>
                <a:gd name="connsiteX0" fmla="*/ 0 w 20955"/>
                <a:gd name="connsiteY0" fmla="*/ 10477 h 21076"/>
                <a:gd name="connsiteX1" fmla="*/ 10477 w 20955"/>
                <a:gd name="connsiteY1" fmla="*/ 0 h 21076"/>
                <a:gd name="connsiteX2" fmla="*/ 20955 w 20955"/>
                <a:gd name="connsiteY2" fmla="*/ 10477 h 21076"/>
                <a:gd name="connsiteX3" fmla="*/ 10477 w 20955"/>
                <a:gd name="connsiteY3" fmla="*/ 20955 h 21076"/>
                <a:gd name="connsiteX4" fmla="*/ 0 w 20955"/>
                <a:gd name="connsiteY4" fmla="*/ 10477 h 21076"/>
                <a:gd name="connsiteX5" fmla="*/ 0 w 20955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66" name="Freeform: Shape 3565">
              <a:extLst>
                <a:ext uri="{FF2B5EF4-FFF2-40B4-BE49-F238E27FC236}">
                  <a16:creationId xmlns:a16="http://schemas.microsoft.com/office/drawing/2014/main" id="{B1C5AD9C-8306-018A-7CD3-0D3FC84020DC}"/>
                </a:ext>
              </a:extLst>
            </p:cNvPr>
            <p:cNvSpPr/>
            <p:nvPr/>
          </p:nvSpPr>
          <p:spPr>
            <a:xfrm>
              <a:off x="6348052" y="2824278"/>
              <a:ext cx="44035" cy="44288"/>
            </a:xfrm>
            <a:custGeom>
              <a:avLst/>
              <a:gdLst>
                <a:gd name="connsiteX0" fmla="*/ 0 w 20955"/>
                <a:gd name="connsiteY0" fmla="*/ 10477 h 21076"/>
                <a:gd name="connsiteX1" fmla="*/ 10477 w 20955"/>
                <a:gd name="connsiteY1" fmla="*/ 0 h 21076"/>
                <a:gd name="connsiteX2" fmla="*/ 20955 w 20955"/>
                <a:gd name="connsiteY2" fmla="*/ 10477 h 21076"/>
                <a:gd name="connsiteX3" fmla="*/ 10477 w 20955"/>
                <a:gd name="connsiteY3" fmla="*/ 20955 h 21076"/>
                <a:gd name="connsiteX4" fmla="*/ 0 w 20955"/>
                <a:gd name="connsiteY4" fmla="*/ 10477 h 21076"/>
                <a:gd name="connsiteX5" fmla="*/ 0 w 20955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67" name="Freeform: Shape 3566">
              <a:extLst>
                <a:ext uri="{FF2B5EF4-FFF2-40B4-BE49-F238E27FC236}">
                  <a16:creationId xmlns:a16="http://schemas.microsoft.com/office/drawing/2014/main" id="{20D01165-2071-DB69-227C-FC09BFCB25F0}"/>
                </a:ext>
              </a:extLst>
            </p:cNvPr>
            <p:cNvSpPr/>
            <p:nvPr/>
          </p:nvSpPr>
          <p:spPr>
            <a:xfrm>
              <a:off x="6446093" y="2616064"/>
              <a:ext cx="44035" cy="44254"/>
            </a:xfrm>
            <a:custGeom>
              <a:avLst/>
              <a:gdLst>
                <a:gd name="connsiteX0" fmla="*/ 0 w 20955"/>
                <a:gd name="connsiteY0" fmla="*/ 10478 h 21059"/>
                <a:gd name="connsiteX1" fmla="*/ 10477 w 20955"/>
                <a:gd name="connsiteY1" fmla="*/ 0 h 21059"/>
                <a:gd name="connsiteX2" fmla="*/ 20955 w 20955"/>
                <a:gd name="connsiteY2" fmla="*/ 10478 h 21059"/>
                <a:gd name="connsiteX3" fmla="*/ 10477 w 20955"/>
                <a:gd name="connsiteY3" fmla="*/ 20955 h 21059"/>
                <a:gd name="connsiteX4" fmla="*/ 0 w 20955"/>
                <a:gd name="connsiteY4" fmla="*/ 10478 h 21059"/>
                <a:gd name="connsiteX5" fmla="*/ 0 w 20955"/>
                <a:gd name="connsiteY5" fmla="*/ 10478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59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1908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68" name="Freeform: Shape 3567">
              <a:extLst>
                <a:ext uri="{FF2B5EF4-FFF2-40B4-BE49-F238E27FC236}">
                  <a16:creationId xmlns:a16="http://schemas.microsoft.com/office/drawing/2014/main" id="{C5E88A36-D6E6-0E00-9F50-29133957C6C7}"/>
                </a:ext>
              </a:extLst>
            </p:cNvPr>
            <p:cNvSpPr/>
            <p:nvPr/>
          </p:nvSpPr>
          <p:spPr>
            <a:xfrm>
              <a:off x="6407810" y="2619766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69" name="Freeform: Shape 3568">
              <a:extLst>
                <a:ext uri="{FF2B5EF4-FFF2-40B4-BE49-F238E27FC236}">
                  <a16:creationId xmlns:a16="http://schemas.microsoft.com/office/drawing/2014/main" id="{F38C3A0E-3C51-CA80-7210-3AE51573F4D7}"/>
                </a:ext>
              </a:extLst>
            </p:cNvPr>
            <p:cNvSpPr/>
            <p:nvPr/>
          </p:nvSpPr>
          <p:spPr>
            <a:xfrm>
              <a:off x="6469437" y="2679618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70" name="Freeform: Shape 3569">
              <a:extLst>
                <a:ext uri="{FF2B5EF4-FFF2-40B4-BE49-F238E27FC236}">
                  <a16:creationId xmlns:a16="http://schemas.microsoft.com/office/drawing/2014/main" id="{3F1603C9-BCA3-E0BC-FED2-9343AE159D92}"/>
                </a:ext>
              </a:extLst>
            </p:cNvPr>
            <p:cNvSpPr/>
            <p:nvPr/>
          </p:nvSpPr>
          <p:spPr>
            <a:xfrm>
              <a:off x="6431153" y="2671120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71" name="Freeform: Shape 3570">
              <a:extLst>
                <a:ext uri="{FF2B5EF4-FFF2-40B4-BE49-F238E27FC236}">
                  <a16:creationId xmlns:a16="http://schemas.microsoft.com/office/drawing/2014/main" id="{1F27E388-0685-AA68-0922-8119C0B453C4}"/>
                </a:ext>
              </a:extLst>
            </p:cNvPr>
            <p:cNvSpPr/>
            <p:nvPr/>
          </p:nvSpPr>
          <p:spPr>
            <a:xfrm>
              <a:off x="6419014" y="2703733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72" name="Freeform: Shape 3571">
              <a:extLst>
                <a:ext uri="{FF2B5EF4-FFF2-40B4-BE49-F238E27FC236}">
                  <a16:creationId xmlns:a16="http://schemas.microsoft.com/office/drawing/2014/main" id="{6C22F318-AC3A-6073-FA0E-13A80AC645EF}"/>
                </a:ext>
              </a:extLst>
            </p:cNvPr>
            <p:cNvSpPr/>
            <p:nvPr/>
          </p:nvSpPr>
          <p:spPr>
            <a:xfrm>
              <a:off x="6403141" y="2711365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73" name="Freeform: Shape 3572">
              <a:extLst>
                <a:ext uri="{FF2B5EF4-FFF2-40B4-BE49-F238E27FC236}">
                  <a16:creationId xmlns:a16="http://schemas.microsoft.com/office/drawing/2014/main" id="{9DEA7C63-5D30-2FE9-C256-560751EB43A3}"/>
                </a:ext>
              </a:extLst>
            </p:cNvPr>
            <p:cNvSpPr/>
            <p:nvPr/>
          </p:nvSpPr>
          <p:spPr>
            <a:xfrm>
              <a:off x="6440491" y="2698292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74" name="Freeform: Shape 3573">
              <a:extLst>
                <a:ext uri="{FF2B5EF4-FFF2-40B4-BE49-F238E27FC236}">
                  <a16:creationId xmlns:a16="http://schemas.microsoft.com/office/drawing/2014/main" id="{77A4F60B-3F0B-B340-2690-B6EDC8E71096}"/>
                </a:ext>
              </a:extLst>
            </p:cNvPr>
            <p:cNvSpPr/>
            <p:nvPr/>
          </p:nvSpPr>
          <p:spPr>
            <a:xfrm>
              <a:off x="6431153" y="2658074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75" name="Freeform: Shape 3574">
              <a:extLst>
                <a:ext uri="{FF2B5EF4-FFF2-40B4-BE49-F238E27FC236}">
                  <a16:creationId xmlns:a16="http://schemas.microsoft.com/office/drawing/2014/main" id="{C95E6FC5-312F-F5F6-9914-EE77803E9ECE}"/>
                </a:ext>
              </a:extLst>
            </p:cNvPr>
            <p:cNvSpPr/>
            <p:nvPr/>
          </p:nvSpPr>
          <p:spPr>
            <a:xfrm>
              <a:off x="6459165" y="2648736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76" name="Freeform: Shape 3575">
              <a:extLst>
                <a:ext uri="{FF2B5EF4-FFF2-40B4-BE49-F238E27FC236}">
                  <a16:creationId xmlns:a16="http://schemas.microsoft.com/office/drawing/2014/main" id="{1D69DA2E-5B0C-9894-B6F2-2D2C47B981C9}"/>
                </a:ext>
              </a:extLst>
            </p:cNvPr>
            <p:cNvSpPr/>
            <p:nvPr/>
          </p:nvSpPr>
          <p:spPr>
            <a:xfrm>
              <a:off x="6403141" y="2672079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77" name="Freeform: Shape 3576">
              <a:extLst>
                <a:ext uri="{FF2B5EF4-FFF2-40B4-BE49-F238E27FC236}">
                  <a16:creationId xmlns:a16="http://schemas.microsoft.com/office/drawing/2014/main" id="{FC1A1EC8-655D-006A-B626-C9425F893F91}"/>
                </a:ext>
              </a:extLst>
            </p:cNvPr>
            <p:cNvSpPr/>
            <p:nvPr/>
          </p:nvSpPr>
          <p:spPr>
            <a:xfrm>
              <a:off x="6358322" y="2672079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78" name="Freeform: Shape 3577">
              <a:extLst>
                <a:ext uri="{FF2B5EF4-FFF2-40B4-BE49-F238E27FC236}">
                  <a16:creationId xmlns:a16="http://schemas.microsoft.com/office/drawing/2014/main" id="{312BEDA1-015D-66E5-E356-0B913898B72B}"/>
                </a:ext>
              </a:extLst>
            </p:cNvPr>
            <p:cNvSpPr/>
            <p:nvPr/>
          </p:nvSpPr>
          <p:spPr>
            <a:xfrm>
              <a:off x="6376064" y="2605759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7 w 20955"/>
                <a:gd name="connsiteY1" fmla="*/ 0 h 20954"/>
                <a:gd name="connsiteX2" fmla="*/ 20955 w 20955"/>
                <a:gd name="connsiteY2" fmla="*/ 10478 h 20954"/>
                <a:gd name="connsiteX3" fmla="*/ 10477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79" name="Freeform: Shape 3578">
              <a:extLst>
                <a:ext uri="{FF2B5EF4-FFF2-40B4-BE49-F238E27FC236}">
                  <a16:creationId xmlns:a16="http://schemas.microsoft.com/office/drawing/2014/main" id="{1AB3524A-9A1E-780E-41D3-A62413AE5B4E}"/>
                </a:ext>
              </a:extLst>
            </p:cNvPr>
            <p:cNvSpPr/>
            <p:nvPr/>
          </p:nvSpPr>
          <p:spPr>
            <a:xfrm>
              <a:off x="6382601" y="2515281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7 w 20954"/>
                <a:gd name="connsiteY1" fmla="*/ 0 h 20954"/>
                <a:gd name="connsiteX2" fmla="*/ 20955 w 20954"/>
                <a:gd name="connsiteY2" fmla="*/ 10477 h 20954"/>
                <a:gd name="connsiteX3" fmla="*/ 10477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80" name="Freeform: Shape 3579">
              <a:extLst>
                <a:ext uri="{FF2B5EF4-FFF2-40B4-BE49-F238E27FC236}">
                  <a16:creationId xmlns:a16="http://schemas.microsoft.com/office/drawing/2014/main" id="{4FBFCD4E-CEFF-B194-A91D-DC08A5582D5C}"/>
                </a:ext>
              </a:extLst>
            </p:cNvPr>
            <p:cNvSpPr/>
            <p:nvPr/>
          </p:nvSpPr>
          <p:spPr>
            <a:xfrm>
              <a:off x="6407810" y="2548895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81" name="Freeform: Shape 3580">
              <a:extLst>
                <a:ext uri="{FF2B5EF4-FFF2-40B4-BE49-F238E27FC236}">
                  <a16:creationId xmlns:a16="http://schemas.microsoft.com/office/drawing/2014/main" id="{1A0C9A21-AD25-101F-46C7-52E20314049C}"/>
                </a:ext>
              </a:extLst>
            </p:cNvPr>
            <p:cNvSpPr/>
            <p:nvPr/>
          </p:nvSpPr>
          <p:spPr>
            <a:xfrm>
              <a:off x="6450762" y="2548895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82" name="Freeform: Shape 3581">
              <a:extLst>
                <a:ext uri="{FF2B5EF4-FFF2-40B4-BE49-F238E27FC236}">
                  <a16:creationId xmlns:a16="http://schemas.microsoft.com/office/drawing/2014/main" id="{8A73E759-6FEA-6C93-BC9C-DB3701DF75BD}"/>
                </a:ext>
              </a:extLst>
            </p:cNvPr>
            <p:cNvSpPr/>
            <p:nvPr/>
          </p:nvSpPr>
          <p:spPr>
            <a:xfrm>
              <a:off x="6467568" y="2530992"/>
              <a:ext cx="44035" cy="44288"/>
            </a:xfrm>
            <a:custGeom>
              <a:avLst/>
              <a:gdLst>
                <a:gd name="connsiteX0" fmla="*/ 0 w 20955"/>
                <a:gd name="connsiteY0" fmla="*/ 10477 h 21076"/>
                <a:gd name="connsiteX1" fmla="*/ 10477 w 20955"/>
                <a:gd name="connsiteY1" fmla="*/ 0 h 21076"/>
                <a:gd name="connsiteX2" fmla="*/ 20955 w 20955"/>
                <a:gd name="connsiteY2" fmla="*/ 10477 h 21076"/>
                <a:gd name="connsiteX3" fmla="*/ 10477 w 20955"/>
                <a:gd name="connsiteY3" fmla="*/ 20955 h 21076"/>
                <a:gd name="connsiteX4" fmla="*/ 0 w 20955"/>
                <a:gd name="connsiteY4" fmla="*/ 10477 h 21076"/>
                <a:gd name="connsiteX5" fmla="*/ 0 w 20955"/>
                <a:gd name="connsiteY5" fmla="*/ 10477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83" name="Freeform: Shape 3582">
              <a:extLst>
                <a:ext uri="{FF2B5EF4-FFF2-40B4-BE49-F238E27FC236}">
                  <a16:creationId xmlns:a16="http://schemas.microsoft.com/office/drawing/2014/main" id="{85F717C4-F528-ABE2-4952-1FC16984E605}"/>
                </a:ext>
              </a:extLst>
            </p:cNvPr>
            <p:cNvSpPr/>
            <p:nvPr/>
          </p:nvSpPr>
          <p:spPr>
            <a:xfrm>
              <a:off x="6537599" y="2479704"/>
              <a:ext cx="44035" cy="44035"/>
            </a:xfrm>
            <a:custGeom>
              <a:avLst/>
              <a:gdLst>
                <a:gd name="connsiteX0" fmla="*/ 0 w 20955"/>
                <a:gd name="connsiteY0" fmla="*/ 10477 h 20955"/>
                <a:gd name="connsiteX1" fmla="*/ 10477 w 20955"/>
                <a:gd name="connsiteY1" fmla="*/ 0 h 20955"/>
                <a:gd name="connsiteX2" fmla="*/ 20955 w 20955"/>
                <a:gd name="connsiteY2" fmla="*/ 10477 h 20955"/>
                <a:gd name="connsiteX3" fmla="*/ 10477 w 20955"/>
                <a:gd name="connsiteY3" fmla="*/ 20955 h 20955"/>
                <a:gd name="connsiteX4" fmla="*/ 0 w 20955"/>
                <a:gd name="connsiteY4" fmla="*/ 10477 h 20955"/>
                <a:gd name="connsiteX5" fmla="*/ 0 w 20955"/>
                <a:gd name="connsiteY5" fmla="*/ 10477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0955"/>
                    <a:pt x="0" y="16193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84" name="Freeform: Shape 3583">
              <a:extLst>
                <a:ext uri="{FF2B5EF4-FFF2-40B4-BE49-F238E27FC236}">
                  <a16:creationId xmlns:a16="http://schemas.microsoft.com/office/drawing/2014/main" id="{FD630D3B-007F-5617-B31D-A50CDF4A5400}"/>
                </a:ext>
              </a:extLst>
            </p:cNvPr>
            <p:cNvSpPr/>
            <p:nvPr/>
          </p:nvSpPr>
          <p:spPr>
            <a:xfrm>
              <a:off x="6584285" y="2400336"/>
              <a:ext cx="44035" cy="44035"/>
            </a:xfrm>
            <a:custGeom>
              <a:avLst/>
              <a:gdLst>
                <a:gd name="connsiteX0" fmla="*/ 0 w 20955"/>
                <a:gd name="connsiteY0" fmla="*/ 10477 h 20955"/>
                <a:gd name="connsiteX1" fmla="*/ 10477 w 20955"/>
                <a:gd name="connsiteY1" fmla="*/ 0 h 20955"/>
                <a:gd name="connsiteX2" fmla="*/ 20955 w 20955"/>
                <a:gd name="connsiteY2" fmla="*/ 10477 h 20955"/>
                <a:gd name="connsiteX3" fmla="*/ 10477 w 20955"/>
                <a:gd name="connsiteY3" fmla="*/ 20955 h 20955"/>
                <a:gd name="connsiteX4" fmla="*/ 0 w 20955"/>
                <a:gd name="connsiteY4" fmla="*/ 10477 h 20955"/>
                <a:gd name="connsiteX5" fmla="*/ 0 w 20955"/>
                <a:gd name="connsiteY5" fmla="*/ 10477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3"/>
                    <a:pt x="16193" y="20955"/>
                    <a:pt x="10477" y="20955"/>
                  </a:cubicBezTo>
                  <a:cubicBezTo>
                    <a:pt x="4763" y="20955"/>
                    <a:pt x="0" y="16193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85" name="Freeform: Shape 3584">
              <a:extLst>
                <a:ext uri="{FF2B5EF4-FFF2-40B4-BE49-F238E27FC236}">
                  <a16:creationId xmlns:a16="http://schemas.microsoft.com/office/drawing/2014/main" id="{CF42DF23-4342-7D17-4C5B-3BF5A8BA0F98}"/>
                </a:ext>
              </a:extLst>
            </p:cNvPr>
            <p:cNvSpPr/>
            <p:nvPr/>
          </p:nvSpPr>
          <p:spPr>
            <a:xfrm>
              <a:off x="6684195" y="2362149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86" name="Freeform: Shape 3585">
              <a:extLst>
                <a:ext uri="{FF2B5EF4-FFF2-40B4-BE49-F238E27FC236}">
                  <a16:creationId xmlns:a16="http://schemas.microsoft.com/office/drawing/2014/main" id="{1D793D45-8E34-DCCC-B428-89583081BA20}"/>
                </a:ext>
              </a:extLst>
            </p:cNvPr>
            <p:cNvSpPr/>
            <p:nvPr/>
          </p:nvSpPr>
          <p:spPr>
            <a:xfrm>
              <a:off x="4544081" y="2406033"/>
              <a:ext cx="44035" cy="44035"/>
            </a:xfrm>
            <a:custGeom>
              <a:avLst/>
              <a:gdLst>
                <a:gd name="connsiteX0" fmla="*/ 0 w 20955"/>
                <a:gd name="connsiteY0" fmla="*/ 10477 h 20955"/>
                <a:gd name="connsiteX1" fmla="*/ 10478 w 20955"/>
                <a:gd name="connsiteY1" fmla="*/ 0 h 20955"/>
                <a:gd name="connsiteX2" fmla="*/ 20955 w 20955"/>
                <a:gd name="connsiteY2" fmla="*/ 10477 h 20955"/>
                <a:gd name="connsiteX3" fmla="*/ 10478 w 20955"/>
                <a:gd name="connsiteY3" fmla="*/ 20955 h 20955"/>
                <a:gd name="connsiteX4" fmla="*/ 0 w 20955"/>
                <a:gd name="connsiteY4" fmla="*/ 10477 h 20955"/>
                <a:gd name="connsiteX5" fmla="*/ 0 w 20955"/>
                <a:gd name="connsiteY5" fmla="*/ 10477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87" name="Freeform: Shape 3586">
              <a:extLst>
                <a:ext uri="{FF2B5EF4-FFF2-40B4-BE49-F238E27FC236}">
                  <a16:creationId xmlns:a16="http://schemas.microsoft.com/office/drawing/2014/main" id="{9C2E0C49-0242-4B9D-8514-2C7AF8228C5C}"/>
                </a:ext>
              </a:extLst>
            </p:cNvPr>
            <p:cNvSpPr/>
            <p:nvPr/>
          </p:nvSpPr>
          <p:spPr>
            <a:xfrm>
              <a:off x="4615047" y="2534890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8 w 20954"/>
                <a:gd name="connsiteY1" fmla="*/ 0 h 20954"/>
                <a:gd name="connsiteX2" fmla="*/ 20955 w 20954"/>
                <a:gd name="connsiteY2" fmla="*/ 10477 h 20954"/>
                <a:gd name="connsiteX3" fmla="*/ 10478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89" name="Freeform: Shape 3588">
              <a:extLst>
                <a:ext uri="{FF2B5EF4-FFF2-40B4-BE49-F238E27FC236}">
                  <a16:creationId xmlns:a16="http://schemas.microsoft.com/office/drawing/2014/main" id="{1190EA69-8436-1BE2-7491-91B0F1C6978F}"/>
                </a:ext>
              </a:extLst>
            </p:cNvPr>
            <p:cNvSpPr/>
            <p:nvPr/>
          </p:nvSpPr>
          <p:spPr>
            <a:xfrm>
              <a:off x="5745796" y="2610428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7 w 20954"/>
                <a:gd name="connsiteY1" fmla="*/ 0 h 20954"/>
                <a:gd name="connsiteX2" fmla="*/ 20955 w 20954"/>
                <a:gd name="connsiteY2" fmla="*/ 10478 h 20954"/>
                <a:gd name="connsiteX3" fmla="*/ 10477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90" name="Freeform: Shape 3589">
              <a:extLst>
                <a:ext uri="{FF2B5EF4-FFF2-40B4-BE49-F238E27FC236}">
                  <a16:creationId xmlns:a16="http://schemas.microsoft.com/office/drawing/2014/main" id="{090EC04D-81BB-E7D8-F7A9-0BC4B3CA742B}"/>
                </a:ext>
              </a:extLst>
            </p:cNvPr>
            <p:cNvSpPr/>
            <p:nvPr/>
          </p:nvSpPr>
          <p:spPr>
            <a:xfrm>
              <a:off x="6207992" y="2820518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7 w 20955"/>
                <a:gd name="connsiteY1" fmla="*/ 0 h 20954"/>
                <a:gd name="connsiteX2" fmla="*/ 20955 w 20955"/>
                <a:gd name="connsiteY2" fmla="*/ 10478 h 20954"/>
                <a:gd name="connsiteX3" fmla="*/ 10477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5715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91" name="Freeform: Shape 3590">
              <a:extLst>
                <a:ext uri="{FF2B5EF4-FFF2-40B4-BE49-F238E27FC236}">
                  <a16:creationId xmlns:a16="http://schemas.microsoft.com/office/drawing/2014/main" id="{BFA17818-8A75-1C3D-33DC-1214D94DABE2}"/>
                </a:ext>
              </a:extLst>
            </p:cNvPr>
            <p:cNvSpPr/>
            <p:nvPr/>
          </p:nvSpPr>
          <p:spPr>
            <a:xfrm>
              <a:off x="6236937" y="2827052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92" name="Freeform: Shape 3591">
              <a:extLst>
                <a:ext uri="{FF2B5EF4-FFF2-40B4-BE49-F238E27FC236}">
                  <a16:creationId xmlns:a16="http://schemas.microsoft.com/office/drawing/2014/main" id="{072988E4-8E90-9E4A-707F-F5340AC118F1}"/>
                </a:ext>
              </a:extLst>
            </p:cNvPr>
            <p:cNvSpPr/>
            <p:nvPr/>
          </p:nvSpPr>
          <p:spPr>
            <a:xfrm>
              <a:off x="6236937" y="2843021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93" name="Freeform: Shape 3592">
              <a:extLst>
                <a:ext uri="{FF2B5EF4-FFF2-40B4-BE49-F238E27FC236}">
                  <a16:creationId xmlns:a16="http://schemas.microsoft.com/office/drawing/2014/main" id="{7AA72575-8B3A-3EB9-A61B-EDD839921D17}"/>
                </a:ext>
              </a:extLst>
            </p:cNvPr>
            <p:cNvSpPr/>
            <p:nvPr/>
          </p:nvSpPr>
          <p:spPr>
            <a:xfrm>
              <a:off x="6683261" y="3216514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94" name="Freeform: Shape 3593">
              <a:extLst>
                <a:ext uri="{FF2B5EF4-FFF2-40B4-BE49-F238E27FC236}">
                  <a16:creationId xmlns:a16="http://schemas.microsoft.com/office/drawing/2014/main" id="{71370E10-76F9-842D-D99D-D0D6389304A3}"/>
                </a:ext>
              </a:extLst>
            </p:cNvPr>
            <p:cNvSpPr/>
            <p:nvPr/>
          </p:nvSpPr>
          <p:spPr>
            <a:xfrm>
              <a:off x="6448191" y="3125583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95" name="Freeform: Shape 3594">
              <a:extLst>
                <a:ext uri="{FF2B5EF4-FFF2-40B4-BE49-F238E27FC236}">
                  <a16:creationId xmlns:a16="http://schemas.microsoft.com/office/drawing/2014/main" id="{374D8477-299A-64EA-1CAB-7903D6476FC7}"/>
                </a:ext>
              </a:extLst>
            </p:cNvPr>
            <p:cNvSpPr/>
            <p:nvPr/>
          </p:nvSpPr>
          <p:spPr>
            <a:xfrm>
              <a:off x="9174460" y="3367710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7 w 20954"/>
                <a:gd name="connsiteY1" fmla="*/ 0 h 21076"/>
                <a:gd name="connsiteX2" fmla="*/ 20955 w 20954"/>
                <a:gd name="connsiteY2" fmla="*/ 10478 h 21076"/>
                <a:gd name="connsiteX3" fmla="*/ 10477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96" name="Freeform: Shape 3595">
              <a:extLst>
                <a:ext uri="{FF2B5EF4-FFF2-40B4-BE49-F238E27FC236}">
                  <a16:creationId xmlns:a16="http://schemas.microsoft.com/office/drawing/2014/main" id="{4E89E95B-5B6A-20B4-D734-1944118EF1FD}"/>
                </a:ext>
              </a:extLst>
            </p:cNvPr>
            <p:cNvSpPr/>
            <p:nvPr/>
          </p:nvSpPr>
          <p:spPr>
            <a:xfrm>
              <a:off x="9126837" y="3881797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97" name="Freeform: Shape 3596">
              <a:extLst>
                <a:ext uri="{FF2B5EF4-FFF2-40B4-BE49-F238E27FC236}">
                  <a16:creationId xmlns:a16="http://schemas.microsoft.com/office/drawing/2014/main" id="{F47897EE-1550-29D7-07F7-6B64444CB36E}"/>
                </a:ext>
              </a:extLst>
            </p:cNvPr>
            <p:cNvSpPr/>
            <p:nvPr/>
          </p:nvSpPr>
          <p:spPr>
            <a:xfrm>
              <a:off x="9111621" y="3888705"/>
              <a:ext cx="44031" cy="44035"/>
            </a:xfrm>
            <a:custGeom>
              <a:avLst/>
              <a:gdLst>
                <a:gd name="connsiteX0" fmla="*/ 0 w 20954"/>
                <a:gd name="connsiteY0" fmla="*/ 10478 h 20955"/>
                <a:gd name="connsiteX1" fmla="*/ 10477 w 20954"/>
                <a:gd name="connsiteY1" fmla="*/ 0 h 20955"/>
                <a:gd name="connsiteX2" fmla="*/ 20955 w 20954"/>
                <a:gd name="connsiteY2" fmla="*/ 10478 h 20955"/>
                <a:gd name="connsiteX3" fmla="*/ 10477 w 20954"/>
                <a:gd name="connsiteY3" fmla="*/ 20955 h 20955"/>
                <a:gd name="connsiteX4" fmla="*/ 0 w 20954"/>
                <a:gd name="connsiteY4" fmla="*/ 10478 h 20955"/>
                <a:gd name="connsiteX5" fmla="*/ 0 w 20954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7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98" name="Freeform: Shape 3597">
              <a:extLst>
                <a:ext uri="{FF2B5EF4-FFF2-40B4-BE49-F238E27FC236}">
                  <a16:creationId xmlns:a16="http://schemas.microsoft.com/office/drawing/2014/main" id="{7B598EB7-FE7A-0DF2-F20B-FDCFB23EBB36}"/>
                </a:ext>
              </a:extLst>
            </p:cNvPr>
            <p:cNvSpPr/>
            <p:nvPr/>
          </p:nvSpPr>
          <p:spPr>
            <a:xfrm>
              <a:off x="9476148" y="3456603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7 w 20955"/>
                <a:gd name="connsiteY1" fmla="*/ 0 h 21076"/>
                <a:gd name="connsiteX2" fmla="*/ 20955 w 20955"/>
                <a:gd name="connsiteY2" fmla="*/ 10478 h 21076"/>
                <a:gd name="connsiteX3" fmla="*/ 10477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599" name="Freeform: Shape 3598">
              <a:extLst>
                <a:ext uri="{FF2B5EF4-FFF2-40B4-BE49-F238E27FC236}">
                  <a16:creationId xmlns:a16="http://schemas.microsoft.com/office/drawing/2014/main" id="{FC57AB65-12D3-7E0F-FC6F-3334B1F3B61A}"/>
                </a:ext>
              </a:extLst>
            </p:cNvPr>
            <p:cNvSpPr/>
            <p:nvPr/>
          </p:nvSpPr>
          <p:spPr>
            <a:xfrm>
              <a:off x="9816866" y="3515308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7 w 20955"/>
                <a:gd name="connsiteY1" fmla="*/ 0 h 20954"/>
                <a:gd name="connsiteX2" fmla="*/ 20955 w 20955"/>
                <a:gd name="connsiteY2" fmla="*/ 10477 h 20954"/>
                <a:gd name="connsiteX3" fmla="*/ 10477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00" name="Freeform: Shape 3599">
              <a:extLst>
                <a:ext uri="{FF2B5EF4-FFF2-40B4-BE49-F238E27FC236}">
                  <a16:creationId xmlns:a16="http://schemas.microsoft.com/office/drawing/2014/main" id="{64FA330D-ED12-C74B-042C-8AB32125AAB4}"/>
                </a:ext>
              </a:extLst>
            </p:cNvPr>
            <p:cNvSpPr/>
            <p:nvPr/>
          </p:nvSpPr>
          <p:spPr>
            <a:xfrm>
              <a:off x="9294909" y="3654365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01" name="Freeform: Shape 3600">
              <a:extLst>
                <a:ext uri="{FF2B5EF4-FFF2-40B4-BE49-F238E27FC236}">
                  <a16:creationId xmlns:a16="http://schemas.microsoft.com/office/drawing/2014/main" id="{9A68BBFD-C539-B2DF-AB0A-61BF6DB118AB}"/>
                </a:ext>
              </a:extLst>
            </p:cNvPr>
            <p:cNvSpPr/>
            <p:nvPr/>
          </p:nvSpPr>
          <p:spPr>
            <a:xfrm>
              <a:off x="4028660" y="3281875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02" name="Freeform: Shape 3601">
              <a:extLst>
                <a:ext uri="{FF2B5EF4-FFF2-40B4-BE49-F238E27FC236}">
                  <a16:creationId xmlns:a16="http://schemas.microsoft.com/office/drawing/2014/main" id="{64402270-6274-7ECC-EC35-68BB064F2106}"/>
                </a:ext>
              </a:extLst>
            </p:cNvPr>
            <p:cNvSpPr/>
            <p:nvPr/>
          </p:nvSpPr>
          <p:spPr>
            <a:xfrm>
              <a:off x="4053872" y="3233225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03" name="Freeform: Shape 3602">
              <a:extLst>
                <a:ext uri="{FF2B5EF4-FFF2-40B4-BE49-F238E27FC236}">
                  <a16:creationId xmlns:a16="http://schemas.microsoft.com/office/drawing/2014/main" id="{F36E6889-7660-5D8E-2EC1-D55AF9422D8F}"/>
                </a:ext>
              </a:extLst>
            </p:cNvPr>
            <p:cNvSpPr/>
            <p:nvPr/>
          </p:nvSpPr>
          <p:spPr>
            <a:xfrm>
              <a:off x="3977306" y="3277986"/>
              <a:ext cx="44035" cy="44254"/>
            </a:xfrm>
            <a:custGeom>
              <a:avLst/>
              <a:gdLst>
                <a:gd name="connsiteX0" fmla="*/ 0 w 20955"/>
                <a:gd name="connsiteY0" fmla="*/ 10478 h 21059"/>
                <a:gd name="connsiteX1" fmla="*/ 10478 w 20955"/>
                <a:gd name="connsiteY1" fmla="*/ 0 h 21059"/>
                <a:gd name="connsiteX2" fmla="*/ 20955 w 20955"/>
                <a:gd name="connsiteY2" fmla="*/ 10478 h 21059"/>
                <a:gd name="connsiteX3" fmla="*/ 10478 w 20955"/>
                <a:gd name="connsiteY3" fmla="*/ 20955 h 21059"/>
                <a:gd name="connsiteX4" fmla="*/ 0 w 20955"/>
                <a:gd name="connsiteY4" fmla="*/ 10478 h 21059"/>
                <a:gd name="connsiteX5" fmla="*/ 0 w 20955"/>
                <a:gd name="connsiteY5" fmla="*/ 10478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59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04" name="Freeform: Shape 3603">
              <a:extLst>
                <a:ext uri="{FF2B5EF4-FFF2-40B4-BE49-F238E27FC236}">
                  <a16:creationId xmlns:a16="http://schemas.microsoft.com/office/drawing/2014/main" id="{FD0C4016-B4D3-36A4-DFB0-3A4614B80490}"/>
                </a:ext>
              </a:extLst>
            </p:cNvPr>
            <p:cNvSpPr/>
            <p:nvPr/>
          </p:nvSpPr>
          <p:spPr>
            <a:xfrm>
              <a:off x="3934356" y="3267869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7 w 20954"/>
                <a:gd name="connsiteY1" fmla="*/ 0 h 20954"/>
                <a:gd name="connsiteX2" fmla="*/ 20955 w 20954"/>
                <a:gd name="connsiteY2" fmla="*/ 10477 h 20954"/>
                <a:gd name="connsiteX3" fmla="*/ 10477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05" name="Freeform: Shape 3604">
              <a:extLst>
                <a:ext uri="{FF2B5EF4-FFF2-40B4-BE49-F238E27FC236}">
                  <a16:creationId xmlns:a16="http://schemas.microsoft.com/office/drawing/2014/main" id="{01FCCF4E-BD7F-2072-B32F-D9EF8F126E3B}"/>
                </a:ext>
              </a:extLst>
            </p:cNvPr>
            <p:cNvSpPr/>
            <p:nvPr/>
          </p:nvSpPr>
          <p:spPr>
            <a:xfrm>
              <a:off x="3898872" y="3262198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06" name="Freeform: Shape 3605">
              <a:extLst>
                <a:ext uri="{FF2B5EF4-FFF2-40B4-BE49-F238E27FC236}">
                  <a16:creationId xmlns:a16="http://schemas.microsoft.com/office/drawing/2014/main" id="{467AA32F-A520-7D7B-B992-CFD24DDC695E}"/>
                </a:ext>
              </a:extLst>
            </p:cNvPr>
            <p:cNvSpPr/>
            <p:nvPr/>
          </p:nvSpPr>
          <p:spPr>
            <a:xfrm>
              <a:off x="3798965" y="3237056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7 w 20954"/>
                <a:gd name="connsiteY1" fmla="*/ 0 h 20954"/>
                <a:gd name="connsiteX2" fmla="*/ 20955 w 20954"/>
                <a:gd name="connsiteY2" fmla="*/ 10478 h 20954"/>
                <a:gd name="connsiteX3" fmla="*/ 10477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07" name="Freeform: Shape 3606">
              <a:extLst>
                <a:ext uri="{FF2B5EF4-FFF2-40B4-BE49-F238E27FC236}">
                  <a16:creationId xmlns:a16="http://schemas.microsoft.com/office/drawing/2014/main" id="{D2001734-A2DA-8E21-EB40-D79801E62603}"/>
                </a:ext>
              </a:extLst>
            </p:cNvPr>
            <p:cNvSpPr/>
            <p:nvPr/>
          </p:nvSpPr>
          <p:spPr>
            <a:xfrm>
              <a:off x="3829776" y="3229586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08" name="Freeform: Shape 3607">
              <a:extLst>
                <a:ext uri="{FF2B5EF4-FFF2-40B4-BE49-F238E27FC236}">
                  <a16:creationId xmlns:a16="http://schemas.microsoft.com/office/drawing/2014/main" id="{FB4E9E66-80BC-6042-52C6-3D7FC68492E8}"/>
                </a:ext>
              </a:extLst>
            </p:cNvPr>
            <p:cNvSpPr/>
            <p:nvPr/>
          </p:nvSpPr>
          <p:spPr>
            <a:xfrm>
              <a:off x="3850320" y="3277986"/>
              <a:ext cx="44031" cy="44254"/>
            </a:xfrm>
            <a:custGeom>
              <a:avLst/>
              <a:gdLst>
                <a:gd name="connsiteX0" fmla="*/ 0 w 20954"/>
                <a:gd name="connsiteY0" fmla="*/ 10478 h 21059"/>
                <a:gd name="connsiteX1" fmla="*/ 10477 w 20954"/>
                <a:gd name="connsiteY1" fmla="*/ 0 h 21059"/>
                <a:gd name="connsiteX2" fmla="*/ 20955 w 20954"/>
                <a:gd name="connsiteY2" fmla="*/ 10478 h 21059"/>
                <a:gd name="connsiteX3" fmla="*/ 10477 w 20954"/>
                <a:gd name="connsiteY3" fmla="*/ 20955 h 21059"/>
                <a:gd name="connsiteX4" fmla="*/ 0 w 20954"/>
                <a:gd name="connsiteY4" fmla="*/ 10478 h 21059"/>
                <a:gd name="connsiteX5" fmla="*/ 0 w 20954"/>
                <a:gd name="connsiteY5" fmla="*/ 10478 h 21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59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1908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09" name="Freeform: Shape 3608">
              <a:extLst>
                <a:ext uri="{FF2B5EF4-FFF2-40B4-BE49-F238E27FC236}">
                  <a16:creationId xmlns:a16="http://schemas.microsoft.com/office/drawing/2014/main" id="{8F8BB0C4-C739-003B-5540-61C1FBD56F46}"/>
                </a:ext>
              </a:extLst>
            </p:cNvPr>
            <p:cNvSpPr/>
            <p:nvPr/>
          </p:nvSpPr>
          <p:spPr>
            <a:xfrm>
              <a:off x="3870860" y="3344366"/>
              <a:ext cx="44035" cy="44288"/>
            </a:xfrm>
            <a:custGeom>
              <a:avLst/>
              <a:gdLst>
                <a:gd name="connsiteX0" fmla="*/ 0 w 20955"/>
                <a:gd name="connsiteY0" fmla="*/ 10478 h 21076"/>
                <a:gd name="connsiteX1" fmla="*/ 10478 w 20955"/>
                <a:gd name="connsiteY1" fmla="*/ 0 h 21076"/>
                <a:gd name="connsiteX2" fmla="*/ 20955 w 20955"/>
                <a:gd name="connsiteY2" fmla="*/ 10478 h 21076"/>
                <a:gd name="connsiteX3" fmla="*/ 10478 w 20955"/>
                <a:gd name="connsiteY3" fmla="*/ 20955 h 21076"/>
                <a:gd name="connsiteX4" fmla="*/ 0 w 20955"/>
                <a:gd name="connsiteY4" fmla="*/ 10478 h 21076"/>
                <a:gd name="connsiteX5" fmla="*/ 0 w 20955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1076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10" name="Freeform: Shape 3609">
              <a:extLst>
                <a:ext uri="{FF2B5EF4-FFF2-40B4-BE49-F238E27FC236}">
                  <a16:creationId xmlns:a16="http://schemas.microsoft.com/office/drawing/2014/main" id="{EF7AFA00-7E0E-0960-8861-30733D36FA6B}"/>
                </a:ext>
              </a:extLst>
            </p:cNvPr>
            <p:cNvSpPr/>
            <p:nvPr/>
          </p:nvSpPr>
          <p:spPr>
            <a:xfrm>
              <a:off x="3924085" y="3374314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8 w 20954"/>
                <a:gd name="connsiteY1" fmla="*/ 0 h 20954"/>
                <a:gd name="connsiteX2" fmla="*/ 20955 w 20954"/>
                <a:gd name="connsiteY2" fmla="*/ 10478 h 20954"/>
                <a:gd name="connsiteX3" fmla="*/ 10478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11" name="Freeform: Shape 3610">
              <a:extLst>
                <a:ext uri="{FF2B5EF4-FFF2-40B4-BE49-F238E27FC236}">
                  <a16:creationId xmlns:a16="http://schemas.microsoft.com/office/drawing/2014/main" id="{9F4B4B53-34AA-A5B0-0AB0-AD90D912C4CB}"/>
                </a:ext>
              </a:extLst>
            </p:cNvPr>
            <p:cNvSpPr/>
            <p:nvPr/>
          </p:nvSpPr>
          <p:spPr>
            <a:xfrm>
              <a:off x="3898872" y="3374314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12" name="Freeform: Shape 3611">
              <a:extLst>
                <a:ext uri="{FF2B5EF4-FFF2-40B4-BE49-F238E27FC236}">
                  <a16:creationId xmlns:a16="http://schemas.microsoft.com/office/drawing/2014/main" id="{1A6E297C-4494-716F-B7DF-497071E6003D}"/>
                </a:ext>
              </a:extLst>
            </p:cNvPr>
            <p:cNvSpPr/>
            <p:nvPr/>
          </p:nvSpPr>
          <p:spPr>
            <a:xfrm>
              <a:off x="3901676" y="3388321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7 w 20954"/>
                <a:gd name="connsiteY1" fmla="*/ 0 h 20954"/>
                <a:gd name="connsiteX2" fmla="*/ 20955 w 20954"/>
                <a:gd name="connsiteY2" fmla="*/ 10478 h 20954"/>
                <a:gd name="connsiteX3" fmla="*/ 10477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13" name="Freeform: Shape 3612">
              <a:extLst>
                <a:ext uri="{FF2B5EF4-FFF2-40B4-BE49-F238E27FC236}">
                  <a16:creationId xmlns:a16="http://schemas.microsoft.com/office/drawing/2014/main" id="{7EB9B9A4-8A5D-154C-2684-30A958615760}"/>
                </a:ext>
              </a:extLst>
            </p:cNvPr>
            <p:cNvSpPr/>
            <p:nvPr/>
          </p:nvSpPr>
          <p:spPr>
            <a:xfrm>
              <a:off x="3868062" y="3398591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8 w 20954"/>
                <a:gd name="connsiteY1" fmla="*/ 0 h 20954"/>
                <a:gd name="connsiteX2" fmla="*/ 20955 w 20954"/>
                <a:gd name="connsiteY2" fmla="*/ 10477 h 20954"/>
                <a:gd name="connsiteX3" fmla="*/ 10478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14" name="Freeform: Shape 3613">
              <a:extLst>
                <a:ext uri="{FF2B5EF4-FFF2-40B4-BE49-F238E27FC236}">
                  <a16:creationId xmlns:a16="http://schemas.microsoft.com/office/drawing/2014/main" id="{9A0418D8-7F3F-8D70-C116-9577089ACAE8}"/>
                </a:ext>
              </a:extLst>
            </p:cNvPr>
            <p:cNvSpPr/>
            <p:nvPr/>
          </p:nvSpPr>
          <p:spPr>
            <a:xfrm>
              <a:off x="3850320" y="3447077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7 w 20954"/>
                <a:gd name="connsiteY1" fmla="*/ 0 h 21076"/>
                <a:gd name="connsiteX2" fmla="*/ 20955 w 20954"/>
                <a:gd name="connsiteY2" fmla="*/ 10478 h 21076"/>
                <a:gd name="connsiteX3" fmla="*/ 10477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15" name="Freeform: Shape 3614">
              <a:extLst>
                <a:ext uri="{FF2B5EF4-FFF2-40B4-BE49-F238E27FC236}">
                  <a16:creationId xmlns:a16="http://schemas.microsoft.com/office/drawing/2014/main" id="{3BF1BE82-1973-D9C5-7AAD-993B9EC8696E}"/>
                </a:ext>
              </a:extLst>
            </p:cNvPr>
            <p:cNvSpPr/>
            <p:nvPr/>
          </p:nvSpPr>
          <p:spPr>
            <a:xfrm>
              <a:off x="3829776" y="3503169"/>
              <a:ext cx="44035" cy="44031"/>
            </a:xfrm>
            <a:custGeom>
              <a:avLst/>
              <a:gdLst>
                <a:gd name="connsiteX0" fmla="*/ 0 w 20955"/>
                <a:gd name="connsiteY0" fmla="*/ 10478 h 20954"/>
                <a:gd name="connsiteX1" fmla="*/ 10478 w 20955"/>
                <a:gd name="connsiteY1" fmla="*/ 0 h 20954"/>
                <a:gd name="connsiteX2" fmla="*/ 20955 w 20955"/>
                <a:gd name="connsiteY2" fmla="*/ 10478 h 20954"/>
                <a:gd name="connsiteX3" fmla="*/ 10478 w 20955"/>
                <a:gd name="connsiteY3" fmla="*/ 20955 h 20954"/>
                <a:gd name="connsiteX4" fmla="*/ 0 w 20955"/>
                <a:gd name="connsiteY4" fmla="*/ 10478 h 20954"/>
                <a:gd name="connsiteX5" fmla="*/ 0 w 20955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16" name="Freeform: Shape 3615">
              <a:extLst>
                <a:ext uri="{FF2B5EF4-FFF2-40B4-BE49-F238E27FC236}">
                  <a16:creationId xmlns:a16="http://schemas.microsoft.com/office/drawing/2014/main" id="{5F9F251C-2C53-E1AE-5705-8A973147913A}"/>
                </a:ext>
              </a:extLst>
            </p:cNvPr>
            <p:cNvSpPr/>
            <p:nvPr/>
          </p:nvSpPr>
          <p:spPr>
            <a:xfrm>
              <a:off x="3762549" y="3517176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8 w 20954"/>
                <a:gd name="connsiteY1" fmla="*/ 0 h 20954"/>
                <a:gd name="connsiteX2" fmla="*/ 20955 w 20954"/>
                <a:gd name="connsiteY2" fmla="*/ 10478 h 20954"/>
                <a:gd name="connsiteX3" fmla="*/ 10478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17" name="Freeform: Shape 3616">
              <a:extLst>
                <a:ext uri="{FF2B5EF4-FFF2-40B4-BE49-F238E27FC236}">
                  <a16:creationId xmlns:a16="http://schemas.microsoft.com/office/drawing/2014/main" id="{E40E3AD3-92BF-B2DE-F2F2-56B831E65698}"/>
                </a:ext>
              </a:extLst>
            </p:cNvPr>
            <p:cNvSpPr/>
            <p:nvPr/>
          </p:nvSpPr>
          <p:spPr>
            <a:xfrm>
              <a:off x="3654234" y="3554432"/>
              <a:ext cx="44035" cy="44031"/>
            </a:xfrm>
            <a:custGeom>
              <a:avLst/>
              <a:gdLst>
                <a:gd name="connsiteX0" fmla="*/ 0 w 20955"/>
                <a:gd name="connsiteY0" fmla="*/ 10477 h 20954"/>
                <a:gd name="connsiteX1" fmla="*/ 10478 w 20955"/>
                <a:gd name="connsiteY1" fmla="*/ 0 h 20954"/>
                <a:gd name="connsiteX2" fmla="*/ 20955 w 20955"/>
                <a:gd name="connsiteY2" fmla="*/ 10477 h 20954"/>
                <a:gd name="connsiteX3" fmla="*/ 10478 w 20955"/>
                <a:gd name="connsiteY3" fmla="*/ 20955 h 20954"/>
                <a:gd name="connsiteX4" fmla="*/ 0 w 20955"/>
                <a:gd name="connsiteY4" fmla="*/ 10477 h 20954"/>
                <a:gd name="connsiteX5" fmla="*/ 0 w 20955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7"/>
                  </a:cubicBezTo>
                  <a:cubicBezTo>
                    <a:pt x="20955" y="16192"/>
                    <a:pt x="16193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18" name="Freeform: Shape 3617">
              <a:extLst>
                <a:ext uri="{FF2B5EF4-FFF2-40B4-BE49-F238E27FC236}">
                  <a16:creationId xmlns:a16="http://schemas.microsoft.com/office/drawing/2014/main" id="{987F41D1-E984-4CF3-6FC1-52E0B9482B2C}"/>
                </a:ext>
              </a:extLst>
            </p:cNvPr>
            <p:cNvSpPr/>
            <p:nvPr/>
          </p:nvSpPr>
          <p:spPr>
            <a:xfrm>
              <a:off x="3596345" y="3488136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8 w 20954"/>
                <a:gd name="connsiteY1" fmla="*/ 0 h 20954"/>
                <a:gd name="connsiteX2" fmla="*/ 20955 w 20954"/>
                <a:gd name="connsiteY2" fmla="*/ 10478 h 20954"/>
                <a:gd name="connsiteX3" fmla="*/ 10478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5715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19" name="Freeform: Shape 3618">
              <a:extLst>
                <a:ext uri="{FF2B5EF4-FFF2-40B4-BE49-F238E27FC236}">
                  <a16:creationId xmlns:a16="http://schemas.microsoft.com/office/drawing/2014/main" id="{ED74942B-2956-AEC1-499A-C89FAFA56F28}"/>
                </a:ext>
              </a:extLst>
            </p:cNvPr>
            <p:cNvSpPr/>
            <p:nvPr/>
          </p:nvSpPr>
          <p:spPr>
            <a:xfrm>
              <a:off x="3615020" y="3398591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8 w 20954"/>
                <a:gd name="connsiteY1" fmla="*/ 0 h 20954"/>
                <a:gd name="connsiteX2" fmla="*/ 20955 w 20954"/>
                <a:gd name="connsiteY2" fmla="*/ 10477 h 20954"/>
                <a:gd name="connsiteX3" fmla="*/ 10478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5715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20" name="Freeform: Shape 3619">
              <a:extLst>
                <a:ext uri="{FF2B5EF4-FFF2-40B4-BE49-F238E27FC236}">
                  <a16:creationId xmlns:a16="http://schemas.microsoft.com/office/drawing/2014/main" id="{6C2043AD-AEF2-F76D-928C-8C08F5BEA65B}"/>
                </a:ext>
              </a:extLst>
            </p:cNvPr>
            <p:cNvSpPr/>
            <p:nvPr/>
          </p:nvSpPr>
          <p:spPr>
            <a:xfrm>
              <a:off x="3572927" y="3331290"/>
              <a:ext cx="44031" cy="44031"/>
            </a:xfrm>
            <a:custGeom>
              <a:avLst/>
              <a:gdLst>
                <a:gd name="connsiteX0" fmla="*/ 0 w 20954"/>
                <a:gd name="connsiteY0" fmla="*/ 10478 h 20954"/>
                <a:gd name="connsiteX1" fmla="*/ 10478 w 20954"/>
                <a:gd name="connsiteY1" fmla="*/ 0 h 20954"/>
                <a:gd name="connsiteX2" fmla="*/ 20955 w 20954"/>
                <a:gd name="connsiteY2" fmla="*/ 10478 h 20954"/>
                <a:gd name="connsiteX3" fmla="*/ 10478 w 20954"/>
                <a:gd name="connsiteY3" fmla="*/ 20955 h 20954"/>
                <a:gd name="connsiteX4" fmla="*/ 0 w 20954"/>
                <a:gd name="connsiteY4" fmla="*/ 10478 h 20954"/>
                <a:gd name="connsiteX5" fmla="*/ 0 w 20954"/>
                <a:gd name="connsiteY5" fmla="*/ 10478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0955"/>
                    <a:pt x="0" y="16192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21" name="Freeform: Shape 3620">
              <a:extLst>
                <a:ext uri="{FF2B5EF4-FFF2-40B4-BE49-F238E27FC236}">
                  <a16:creationId xmlns:a16="http://schemas.microsoft.com/office/drawing/2014/main" id="{5F29BF70-2D73-D598-875E-3EEFE825F32E}"/>
                </a:ext>
              </a:extLst>
            </p:cNvPr>
            <p:cNvSpPr/>
            <p:nvPr/>
          </p:nvSpPr>
          <p:spPr>
            <a:xfrm>
              <a:off x="3394659" y="3230118"/>
              <a:ext cx="44031" cy="44288"/>
            </a:xfrm>
            <a:custGeom>
              <a:avLst/>
              <a:gdLst>
                <a:gd name="connsiteX0" fmla="*/ 0 w 20954"/>
                <a:gd name="connsiteY0" fmla="*/ 10478 h 21076"/>
                <a:gd name="connsiteX1" fmla="*/ 10477 w 20954"/>
                <a:gd name="connsiteY1" fmla="*/ 0 h 21076"/>
                <a:gd name="connsiteX2" fmla="*/ 20955 w 20954"/>
                <a:gd name="connsiteY2" fmla="*/ 10478 h 21076"/>
                <a:gd name="connsiteX3" fmla="*/ 10477 w 20954"/>
                <a:gd name="connsiteY3" fmla="*/ 20955 h 21076"/>
                <a:gd name="connsiteX4" fmla="*/ 0 w 20954"/>
                <a:gd name="connsiteY4" fmla="*/ 10478 h 21076"/>
                <a:gd name="connsiteX5" fmla="*/ 0 w 20954"/>
                <a:gd name="connsiteY5" fmla="*/ 10478 h 21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1076">
                  <a:moveTo>
                    <a:pt x="0" y="10478"/>
                  </a:moveTo>
                  <a:cubicBezTo>
                    <a:pt x="0" y="4763"/>
                    <a:pt x="4763" y="0"/>
                    <a:pt x="10477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2"/>
                    <a:pt x="16192" y="20955"/>
                    <a:pt x="10477" y="20955"/>
                  </a:cubicBezTo>
                  <a:cubicBezTo>
                    <a:pt x="4763" y="21908"/>
                    <a:pt x="0" y="17145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23" name="Freeform: Shape 3622">
              <a:extLst>
                <a:ext uri="{FF2B5EF4-FFF2-40B4-BE49-F238E27FC236}">
                  <a16:creationId xmlns:a16="http://schemas.microsoft.com/office/drawing/2014/main" id="{C4E56EB7-6E0B-8C9C-0C7B-3496E58FF49D}"/>
                </a:ext>
              </a:extLst>
            </p:cNvPr>
            <p:cNvSpPr/>
            <p:nvPr/>
          </p:nvSpPr>
          <p:spPr>
            <a:xfrm>
              <a:off x="3309690" y="3586270"/>
              <a:ext cx="44031" cy="44035"/>
            </a:xfrm>
            <a:custGeom>
              <a:avLst/>
              <a:gdLst>
                <a:gd name="connsiteX0" fmla="*/ 0 w 20954"/>
                <a:gd name="connsiteY0" fmla="*/ 10478 h 20955"/>
                <a:gd name="connsiteX1" fmla="*/ 10478 w 20954"/>
                <a:gd name="connsiteY1" fmla="*/ 0 h 20955"/>
                <a:gd name="connsiteX2" fmla="*/ 20955 w 20954"/>
                <a:gd name="connsiteY2" fmla="*/ 10478 h 20955"/>
                <a:gd name="connsiteX3" fmla="*/ 10478 w 20954"/>
                <a:gd name="connsiteY3" fmla="*/ 20955 h 20955"/>
                <a:gd name="connsiteX4" fmla="*/ 0 w 20954"/>
                <a:gd name="connsiteY4" fmla="*/ 10478 h 20955"/>
                <a:gd name="connsiteX5" fmla="*/ 0 w 20954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8"/>
                  </a:cubicBezTo>
                  <a:cubicBezTo>
                    <a:pt x="20955" y="16193"/>
                    <a:pt x="16192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24" name="Freeform: Shape 3623">
              <a:extLst>
                <a:ext uri="{FF2B5EF4-FFF2-40B4-BE49-F238E27FC236}">
                  <a16:creationId xmlns:a16="http://schemas.microsoft.com/office/drawing/2014/main" id="{70AE6E80-82CE-6324-5101-866873068CD4}"/>
                </a:ext>
              </a:extLst>
            </p:cNvPr>
            <p:cNvSpPr/>
            <p:nvPr/>
          </p:nvSpPr>
          <p:spPr>
            <a:xfrm>
              <a:off x="3092130" y="3361242"/>
              <a:ext cx="44031" cy="44031"/>
            </a:xfrm>
            <a:custGeom>
              <a:avLst/>
              <a:gdLst>
                <a:gd name="connsiteX0" fmla="*/ 0 w 20954"/>
                <a:gd name="connsiteY0" fmla="*/ 10477 h 20954"/>
                <a:gd name="connsiteX1" fmla="*/ 10478 w 20954"/>
                <a:gd name="connsiteY1" fmla="*/ 0 h 20954"/>
                <a:gd name="connsiteX2" fmla="*/ 20955 w 20954"/>
                <a:gd name="connsiteY2" fmla="*/ 10477 h 20954"/>
                <a:gd name="connsiteX3" fmla="*/ 10478 w 20954"/>
                <a:gd name="connsiteY3" fmla="*/ 20955 h 20954"/>
                <a:gd name="connsiteX4" fmla="*/ 0 w 20954"/>
                <a:gd name="connsiteY4" fmla="*/ 10477 h 20954"/>
                <a:gd name="connsiteX5" fmla="*/ 0 w 20954"/>
                <a:gd name="connsiteY5" fmla="*/ 10477 h 20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4" h="20954">
                  <a:moveTo>
                    <a:pt x="0" y="10477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2" y="0"/>
                    <a:pt x="20955" y="4763"/>
                    <a:pt x="20955" y="10477"/>
                  </a:cubicBezTo>
                  <a:cubicBezTo>
                    <a:pt x="20955" y="16192"/>
                    <a:pt x="16192" y="20955"/>
                    <a:pt x="10478" y="20955"/>
                  </a:cubicBezTo>
                  <a:cubicBezTo>
                    <a:pt x="4763" y="20955"/>
                    <a:pt x="0" y="16192"/>
                    <a:pt x="0" y="10477"/>
                  </a:cubicBezTo>
                  <a:lnTo>
                    <a:pt x="0" y="10477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25" name="Freeform: Shape 3624">
              <a:extLst>
                <a:ext uri="{FF2B5EF4-FFF2-40B4-BE49-F238E27FC236}">
                  <a16:creationId xmlns:a16="http://schemas.microsoft.com/office/drawing/2014/main" id="{F8DF0C8F-D0C0-0273-C9CC-E8433E3B6AE6}"/>
                </a:ext>
              </a:extLst>
            </p:cNvPr>
            <p:cNvSpPr/>
            <p:nvPr/>
          </p:nvSpPr>
          <p:spPr>
            <a:xfrm>
              <a:off x="10127873" y="5451231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3626" name="Freeform: Shape 3625">
              <a:extLst>
                <a:ext uri="{FF2B5EF4-FFF2-40B4-BE49-F238E27FC236}">
                  <a16:creationId xmlns:a16="http://schemas.microsoft.com/office/drawing/2014/main" id="{01BD7628-37BF-58AE-C690-D2DFF27ACD37}"/>
                </a:ext>
              </a:extLst>
            </p:cNvPr>
            <p:cNvSpPr/>
            <p:nvPr/>
          </p:nvSpPr>
          <p:spPr>
            <a:xfrm>
              <a:off x="10107256" y="5488188"/>
              <a:ext cx="44035" cy="44035"/>
            </a:xfrm>
            <a:custGeom>
              <a:avLst/>
              <a:gdLst>
                <a:gd name="connsiteX0" fmla="*/ 0 w 20955"/>
                <a:gd name="connsiteY0" fmla="*/ 10478 h 20955"/>
                <a:gd name="connsiteX1" fmla="*/ 10478 w 20955"/>
                <a:gd name="connsiteY1" fmla="*/ 0 h 20955"/>
                <a:gd name="connsiteX2" fmla="*/ 20955 w 20955"/>
                <a:gd name="connsiteY2" fmla="*/ 10478 h 20955"/>
                <a:gd name="connsiteX3" fmla="*/ 10478 w 20955"/>
                <a:gd name="connsiteY3" fmla="*/ 20955 h 20955"/>
                <a:gd name="connsiteX4" fmla="*/ 0 w 20955"/>
                <a:gd name="connsiteY4" fmla="*/ 10478 h 20955"/>
                <a:gd name="connsiteX5" fmla="*/ 0 w 20955"/>
                <a:gd name="connsiteY5" fmla="*/ 10478 h 20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955" h="20955">
                  <a:moveTo>
                    <a:pt x="0" y="10478"/>
                  </a:moveTo>
                  <a:cubicBezTo>
                    <a:pt x="0" y="4763"/>
                    <a:pt x="4763" y="0"/>
                    <a:pt x="10478" y="0"/>
                  </a:cubicBezTo>
                  <a:cubicBezTo>
                    <a:pt x="16193" y="0"/>
                    <a:pt x="20955" y="4763"/>
                    <a:pt x="20955" y="10478"/>
                  </a:cubicBezTo>
                  <a:cubicBezTo>
                    <a:pt x="20955" y="16193"/>
                    <a:pt x="16193" y="20955"/>
                    <a:pt x="10478" y="20955"/>
                  </a:cubicBezTo>
                  <a:cubicBezTo>
                    <a:pt x="4763" y="20955"/>
                    <a:pt x="0" y="16193"/>
                    <a:pt x="0" y="10478"/>
                  </a:cubicBezTo>
                  <a:lnTo>
                    <a:pt x="0" y="10478"/>
                  </a:lnTo>
                  <a:close/>
                </a:path>
              </a:pathLst>
            </a:custGeom>
            <a:solidFill>
              <a:srgbClr val="417B66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53AB8EA5-458A-583B-9614-CB837B996F8C}"/>
              </a:ext>
            </a:extLst>
          </p:cNvPr>
          <p:cNvGrpSpPr/>
          <p:nvPr/>
        </p:nvGrpSpPr>
        <p:grpSpPr>
          <a:xfrm>
            <a:off x="6256205" y="2568672"/>
            <a:ext cx="188049" cy="277061"/>
            <a:chOff x="6060855" y="2488438"/>
            <a:chExt cx="217405" cy="320313"/>
          </a:xfrm>
        </p:grpSpPr>
        <p:sp>
          <p:nvSpPr>
            <p:cNvPr id="930" name="Oval 929">
              <a:extLst>
                <a:ext uri="{FF2B5EF4-FFF2-40B4-BE49-F238E27FC236}">
                  <a16:creationId xmlns:a16="http://schemas.microsoft.com/office/drawing/2014/main" id="{C20AE33A-5AA2-40DA-A122-52A799B4B8A4}"/>
                </a:ext>
              </a:extLst>
            </p:cNvPr>
            <p:cNvSpPr/>
            <p:nvPr/>
          </p:nvSpPr>
          <p:spPr>
            <a:xfrm>
              <a:off x="6091047" y="2522128"/>
              <a:ext cx="146793" cy="149743"/>
            </a:xfrm>
            <a:prstGeom prst="ellipse">
              <a:avLst/>
            </a:prstGeom>
            <a:solidFill>
              <a:srgbClr val="009DF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/>
            </a:p>
          </p:txBody>
        </p:sp>
        <p:sp>
          <p:nvSpPr>
            <p:cNvPr id="934" name="Freeform: Shape 933">
              <a:extLst>
                <a:ext uri="{FF2B5EF4-FFF2-40B4-BE49-F238E27FC236}">
                  <a16:creationId xmlns:a16="http://schemas.microsoft.com/office/drawing/2014/main" id="{C136C80E-E8CF-4E4A-87B0-E52FD27F9BF7}"/>
                </a:ext>
              </a:extLst>
            </p:cNvPr>
            <p:cNvSpPr/>
            <p:nvPr/>
          </p:nvSpPr>
          <p:spPr>
            <a:xfrm>
              <a:off x="6060855" y="2488438"/>
              <a:ext cx="217405" cy="320313"/>
            </a:xfrm>
            <a:custGeom>
              <a:avLst/>
              <a:gdLst>
                <a:gd name="connsiteX0" fmla="*/ 217405 w 217405"/>
                <a:gd name="connsiteY0" fmla="*/ 109762 h 320313"/>
                <a:gd name="connsiteX1" fmla="*/ 108676 w 217405"/>
                <a:gd name="connsiteY1" fmla="*/ 0 h 320313"/>
                <a:gd name="connsiteX2" fmla="*/ 0 w 217405"/>
                <a:gd name="connsiteY2" fmla="*/ 109762 h 320313"/>
                <a:gd name="connsiteX3" fmla="*/ 1679 w 217405"/>
                <a:gd name="connsiteY3" fmla="*/ 128859 h 320313"/>
                <a:gd name="connsiteX4" fmla="*/ 1679 w 217405"/>
                <a:gd name="connsiteY4" fmla="*/ 128859 h 320313"/>
                <a:gd name="connsiteX5" fmla="*/ 108513 w 217405"/>
                <a:gd name="connsiteY5" fmla="*/ 320314 h 320313"/>
                <a:gd name="connsiteX6" fmla="*/ 216051 w 217405"/>
                <a:gd name="connsiteY6" fmla="*/ 127163 h 320313"/>
                <a:gd name="connsiteX7" fmla="*/ 216051 w 217405"/>
                <a:gd name="connsiteY7" fmla="*/ 127163 h 320313"/>
                <a:gd name="connsiteX8" fmla="*/ 217405 w 217405"/>
                <a:gd name="connsiteY8" fmla="*/ 109762 h 320313"/>
                <a:gd name="connsiteX9" fmla="*/ 108730 w 217405"/>
                <a:gd name="connsiteY9" fmla="*/ 167981 h 320313"/>
                <a:gd name="connsiteX10" fmla="*/ 51087 w 217405"/>
                <a:gd name="connsiteY10" fmla="*/ 109762 h 320313"/>
                <a:gd name="connsiteX11" fmla="*/ 108730 w 217405"/>
                <a:gd name="connsiteY11" fmla="*/ 51544 h 320313"/>
                <a:gd name="connsiteX12" fmla="*/ 166372 w 217405"/>
                <a:gd name="connsiteY12" fmla="*/ 109762 h 320313"/>
                <a:gd name="connsiteX13" fmla="*/ 108730 w 217405"/>
                <a:gd name="connsiteY13" fmla="*/ 167981 h 320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17405" h="320313">
                  <a:moveTo>
                    <a:pt x="217405" y="109762"/>
                  </a:moveTo>
                  <a:cubicBezTo>
                    <a:pt x="217405" y="49136"/>
                    <a:pt x="168702" y="0"/>
                    <a:pt x="108676" y="0"/>
                  </a:cubicBezTo>
                  <a:cubicBezTo>
                    <a:pt x="48649" y="0"/>
                    <a:pt x="0" y="49136"/>
                    <a:pt x="0" y="109762"/>
                  </a:cubicBezTo>
                  <a:cubicBezTo>
                    <a:pt x="0" y="116274"/>
                    <a:pt x="596" y="122676"/>
                    <a:pt x="1679" y="128859"/>
                  </a:cubicBezTo>
                  <a:lnTo>
                    <a:pt x="1679" y="128859"/>
                  </a:lnTo>
                  <a:cubicBezTo>
                    <a:pt x="1679" y="128859"/>
                    <a:pt x="4551" y="196708"/>
                    <a:pt x="108513" y="320314"/>
                  </a:cubicBezTo>
                  <a:cubicBezTo>
                    <a:pt x="212475" y="196763"/>
                    <a:pt x="216051" y="127163"/>
                    <a:pt x="216051" y="127163"/>
                  </a:cubicBezTo>
                  <a:lnTo>
                    <a:pt x="216051" y="127163"/>
                  </a:lnTo>
                  <a:cubicBezTo>
                    <a:pt x="216972" y="121472"/>
                    <a:pt x="217405" y="115672"/>
                    <a:pt x="217405" y="109762"/>
                  </a:cubicBezTo>
                  <a:close/>
                  <a:moveTo>
                    <a:pt x="108730" y="167981"/>
                  </a:moveTo>
                  <a:cubicBezTo>
                    <a:pt x="76875" y="167981"/>
                    <a:pt x="51087" y="141881"/>
                    <a:pt x="51087" y="109762"/>
                  </a:cubicBezTo>
                  <a:cubicBezTo>
                    <a:pt x="51087" y="77644"/>
                    <a:pt x="76929" y="51544"/>
                    <a:pt x="108730" y="51544"/>
                  </a:cubicBezTo>
                  <a:cubicBezTo>
                    <a:pt x="140531" y="51544"/>
                    <a:pt x="166372" y="77644"/>
                    <a:pt x="166372" y="109762"/>
                  </a:cubicBezTo>
                  <a:cubicBezTo>
                    <a:pt x="166372" y="141881"/>
                    <a:pt x="140531" y="167981"/>
                    <a:pt x="108730" y="167981"/>
                  </a:cubicBezTo>
                  <a:close/>
                </a:path>
              </a:pathLst>
            </a:custGeom>
            <a:solidFill>
              <a:srgbClr val="009DF0"/>
            </a:solidFill>
            <a:ln w="6350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pic>
        <p:nvPicPr>
          <p:cNvPr id="35" name="Graphic 6">
            <a:extLst>
              <a:ext uri="{FF2B5EF4-FFF2-40B4-BE49-F238E27FC236}">
                <a16:creationId xmlns:a16="http://schemas.microsoft.com/office/drawing/2014/main" id="{4F0CAA9A-FEA6-F059-3CD6-4F7DBF61418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>
            <a:fillRect/>
          </a:stretch>
        </p:blipFill>
        <p:spPr>
          <a:xfrm>
            <a:off x="1189337" y="3906391"/>
            <a:ext cx="597139" cy="597139"/>
          </a:xfrm>
          <a:prstGeom prst="rect">
            <a:avLst/>
          </a:prstGeom>
        </p:spPr>
      </p:pic>
      <p:grpSp>
        <p:nvGrpSpPr>
          <p:cNvPr id="3976" name="Group 3975">
            <a:extLst>
              <a:ext uri="{FF2B5EF4-FFF2-40B4-BE49-F238E27FC236}">
                <a16:creationId xmlns:a16="http://schemas.microsoft.com/office/drawing/2014/main" id="{B8BA5197-9547-C87D-9FC8-E0AEACBFB01B}"/>
              </a:ext>
            </a:extLst>
          </p:cNvPr>
          <p:cNvGrpSpPr/>
          <p:nvPr/>
        </p:nvGrpSpPr>
        <p:grpSpPr>
          <a:xfrm>
            <a:off x="10092759" y="811863"/>
            <a:ext cx="1329928" cy="153888"/>
            <a:chOff x="10092759" y="811863"/>
            <a:chExt cx="1329928" cy="153888"/>
          </a:xfrm>
        </p:grpSpPr>
        <p:sp>
          <p:nvSpPr>
            <p:cNvPr id="3972" name="TextBox 3971">
              <a:extLst>
                <a:ext uri="{FF2B5EF4-FFF2-40B4-BE49-F238E27FC236}">
                  <a16:creationId xmlns:a16="http://schemas.microsoft.com/office/drawing/2014/main" id="{7F42ACF7-8F16-BF4B-F845-8BBA885B7C7D}"/>
                </a:ext>
              </a:extLst>
            </p:cNvPr>
            <p:cNvSpPr txBox="1"/>
            <p:nvPr/>
          </p:nvSpPr>
          <p:spPr>
            <a:xfrm>
              <a:off x="10274937" y="811863"/>
              <a:ext cx="1147750" cy="153888"/>
            </a:xfrm>
            <a:prstGeom prst="rect">
              <a:avLst/>
            </a:prstGeom>
            <a:noFill/>
          </p:spPr>
          <p:txBody>
            <a:bodyPr wrap="none" lIns="0" tIns="0" rIns="0" bIns="0">
              <a:spAutoFit/>
            </a:bodyPr>
            <a:lstStyle/>
            <a:p>
              <a:r>
                <a:rPr lang="en-GB" sz="1000" u="none" strike="noStrike" dirty="0">
                  <a:solidFill>
                    <a:srgbClr val="273943"/>
                  </a:solidFill>
                  <a:effectLst/>
                </a:rPr>
                <a:t>Ramboll </a:t>
              </a:r>
              <a:r>
                <a:rPr lang="en-GB" sz="1000" dirty="0">
                  <a:solidFill>
                    <a:srgbClr val="273943"/>
                  </a:solidFill>
                </a:rPr>
                <a:t>presence</a:t>
              </a:r>
            </a:p>
          </p:txBody>
        </p:sp>
        <p:sp>
          <p:nvSpPr>
            <p:cNvPr id="3973" name="Rectangle 3972">
              <a:extLst>
                <a:ext uri="{FF2B5EF4-FFF2-40B4-BE49-F238E27FC236}">
                  <a16:creationId xmlns:a16="http://schemas.microsoft.com/office/drawing/2014/main" id="{661979AB-C98C-269A-CD6D-0E86CB6C16D1}"/>
                </a:ext>
              </a:extLst>
            </p:cNvPr>
            <p:cNvSpPr/>
            <p:nvPr/>
          </p:nvSpPr>
          <p:spPr>
            <a:xfrm>
              <a:off x="10092759" y="835327"/>
              <a:ext cx="106960" cy="106960"/>
            </a:xfrm>
            <a:prstGeom prst="rect">
              <a:avLst/>
            </a:prstGeom>
            <a:solidFill>
              <a:srgbClr val="CEE3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1000" dirty="0">
                <a:solidFill>
                  <a:schemeClr val="lt1"/>
                </a:solidFill>
              </a:endParaRPr>
            </a:p>
          </p:txBody>
        </p: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9CAA964-947B-4E57-0BEA-3864E58F8BC6}"/>
              </a:ext>
            </a:extLst>
          </p:cNvPr>
          <p:cNvGraphicFramePr/>
          <p:nvPr/>
        </p:nvGraphicFramePr>
        <p:xfrm>
          <a:off x="222875" y="4271088"/>
          <a:ext cx="2594571" cy="2030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F8253DE-8E5C-C921-FE8D-503865BC9042}"/>
              </a:ext>
            </a:extLst>
          </p:cNvPr>
          <p:cNvSpPr/>
          <p:nvPr/>
        </p:nvSpPr>
        <p:spPr>
          <a:xfrm>
            <a:off x="9950756" y="5615604"/>
            <a:ext cx="44035" cy="44035"/>
          </a:xfrm>
          <a:custGeom>
            <a:avLst/>
            <a:gdLst>
              <a:gd name="connsiteX0" fmla="*/ 0 w 20955"/>
              <a:gd name="connsiteY0" fmla="*/ 10478 h 20955"/>
              <a:gd name="connsiteX1" fmla="*/ 10478 w 20955"/>
              <a:gd name="connsiteY1" fmla="*/ 0 h 20955"/>
              <a:gd name="connsiteX2" fmla="*/ 20955 w 20955"/>
              <a:gd name="connsiteY2" fmla="*/ 10478 h 20955"/>
              <a:gd name="connsiteX3" fmla="*/ 10478 w 20955"/>
              <a:gd name="connsiteY3" fmla="*/ 20955 h 20955"/>
              <a:gd name="connsiteX4" fmla="*/ 0 w 20955"/>
              <a:gd name="connsiteY4" fmla="*/ 10478 h 20955"/>
              <a:gd name="connsiteX5" fmla="*/ 0 w 20955"/>
              <a:gd name="connsiteY5" fmla="*/ 10478 h 20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955" h="20955">
                <a:moveTo>
                  <a:pt x="0" y="10478"/>
                </a:moveTo>
                <a:cubicBezTo>
                  <a:pt x="0" y="4763"/>
                  <a:pt x="4763" y="0"/>
                  <a:pt x="10478" y="0"/>
                </a:cubicBezTo>
                <a:cubicBezTo>
                  <a:pt x="16193" y="0"/>
                  <a:pt x="20955" y="4763"/>
                  <a:pt x="20955" y="10478"/>
                </a:cubicBezTo>
                <a:cubicBezTo>
                  <a:pt x="20955" y="16193"/>
                  <a:pt x="16193" y="20955"/>
                  <a:pt x="10478" y="20955"/>
                </a:cubicBezTo>
                <a:cubicBezTo>
                  <a:pt x="4763" y="20955"/>
                  <a:pt x="0" y="16193"/>
                  <a:pt x="0" y="10478"/>
                </a:cubicBezTo>
                <a:lnTo>
                  <a:pt x="0" y="10478"/>
                </a:lnTo>
                <a:close/>
              </a:path>
            </a:pathLst>
          </a:custGeom>
          <a:solidFill>
            <a:srgbClr val="417B66"/>
          </a:solidFill>
          <a:ln w="3175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22B97EA-10A2-8F9B-0ABE-4039F0CC34ED}"/>
              </a:ext>
            </a:extLst>
          </p:cNvPr>
          <p:cNvCxnSpPr>
            <a:cxnSpLocks/>
          </p:cNvCxnSpPr>
          <p:nvPr/>
        </p:nvCxnSpPr>
        <p:spPr>
          <a:xfrm>
            <a:off x="4852313" y="6217500"/>
            <a:ext cx="1455738" cy="0"/>
          </a:xfrm>
          <a:prstGeom prst="line">
            <a:avLst/>
          </a:prstGeom>
          <a:ln w="12700">
            <a:solidFill>
              <a:srgbClr val="D3D7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288EDB-8316-1322-19B9-E12A0D27D1D9}"/>
              </a:ext>
            </a:extLst>
          </p:cNvPr>
          <p:cNvCxnSpPr>
            <a:cxnSpLocks/>
          </p:cNvCxnSpPr>
          <p:nvPr/>
        </p:nvCxnSpPr>
        <p:spPr>
          <a:xfrm>
            <a:off x="1960936" y="6203703"/>
            <a:ext cx="1455738" cy="0"/>
          </a:xfrm>
          <a:prstGeom prst="line">
            <a:avLst/>
          </a:prstGeom>
          <a:ln w="12700">
            <a:solidFill>
              <a:srgbClr val="D3D7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2AD33E8F-77F1-FC62-0DB8-4C4D24F18D7E}"/>
              </a:ext>
            </a:extLst>
          </p:cNvPr>
          <p:cNvSpPr txBox="1"/>
          <p:nvPr/>
        </p:nvSpPr>
        <p:spPr>
          <a:xfrm>
            <a:off x="2135652" y="5881441"/>
            <a:ext cx="100825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>
                <a:solidFill>
                  <a:srgbClr val="273943"/>
                </a:solidFill>
              </a:rPr>
              <a:t>&gt;18,000</a:t>
            </a:r>
            <a:endParaRPr lang="en-US" dirty="0">
              <a:solidFill>
                <a:srgbClr val="273943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CDC38A5-F83A-58D5-8365-E3ABA722BD8D}"/>
              </a:ext>
            </a:extLst>
          </p:cNvPr>
          <p:cNvSpPr txBox="1"/>
          <p:nvPr/>
        </p:nvSpPr>
        <p:spPr>
          <a:xfrm>
            <a:off x="2269338" y="6237905"/>
            <a:ext cx="878521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dirty="0">
                <a:solidFill>
                  <a:srgbClr val="273943"/>
                </a:solidFill>
              </a:rPr>
              <a:t>Experts</a:t>
            </a:r>
          </a:p>
        </p:txBody>
      </p:sp>
      <p:pic>
        <p:nvPicPr>
          <p:cNvPr id="17" name="Graphic 5">
            <a:extLst>
              <a:ext uri="{FF2B5EF4-FFF2-40B4-BE49-F238E27FC236}">
                <a16:creationId xmlns:a16="http://schemas.microsoft.com/office/drawing/2014/main" id="{1B397E5B-4AF3-C600-C8F8-6B742998346E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t="8333" b="8333"/>
          <a:stretch>
            <a:fillRect/>
          </a:stretch>
        </p:blipFill>
        <p:spPr>
          <a:xfrm>
            <a:off x="4819583" y="5456042"/>
            <a:ext cx="993974" cy="82831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7870048E-8220-8D92-6B54-4B471C07041F}"/>
              </a:ext>
            </a:extLst>
          </p:cNvPr>
          <p:cNvSpPr txBox="1"/>
          <p:nvPr/>
        </p:nvSpPr>
        <p:spPr>
          <a:xfrm>
            <a:off x="5763064" y="5839745"/>
            <a:ext cx="64674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>
                <a:solidFill>
                  <a:srgbClr val="273943"/>
                </a:solidFill>
              </a:rPr>
              <a:t>&gt;35</a:t>
            </a:r>
            <a:endParaRPr lang="en-US" dirty="0">
              <a:solidFill>
                <a:srgbClr val="273943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FABF9BF-C9EA-CEC3-6C0F-F3A4CA29BE36}"/>
              </a:ext>
            </a:extLst>
          </p:cNvPr>
          <p:cNvSpPr txBox="1"/>
          <p:nvPr/>
        </p:nvSpPr>
        <p:spPr>
          <a:xfrm>
            <a:off x="4868982" y="6284354"/>
            <a:ext cx="142240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dirty="0">
                <a:solidFill>
                  <a:srgbClr val="273943"/>
                </a:solidFill>
              </a:rPr>
              <a:t>Countries covered by global office network</a:t>
            </a: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CC2DEB9D-6AB1-9EBF-FF17-525932B40A1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04163" y="1026630"/>
            <a:ext cx="1811840" cy="376141"/>
          </a:xfrm>
          <a:prstGeom prst="rect">
            <a:avLst/>
          </a:prstGeom>
        </p:spPr>
      </p:pic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1609470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AD1D52F-8E17-7E5E-9C36-B037F55210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0F8B174-D4DE-699D-B591-C3657AA5F9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3284" y="745105"/>
            <a:ext cx="4768487" cy="1654215"/>
          </a:xfrm>
          <a:prstGeom prst="rect">
            <a:avLst/>
          </a:prstGeom>
        </p:spPr>
      </p:pic>
      <p:pic>
        <p:nvPicPr>
          <p:cNvPr id="6" name="object 3">
            <a:extLst>
              <a:ext uri="{FF2B5EF4-FFF2-40B4-BE49-F238E27FC236}">
                <a16:creationId xmlns:a16="http://schemas.microsoft.com/office/drawing/2014/main" id="{683DACF5-2B05-2677-B18A-0E3304D41295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91926" y="699516"/>
            <a:ext cx="5473446" cy="545896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7917477-7549-A3A7-6B11-93B4844693FE}"/>
              </a:ext>
            </a:extLst>
          </p:cNvPr>
          <p:cNvSpPr txBox="1"/>
          <p:nvPr/>
        </p:nvSpPr>
        <p:spPr>
          <a:xfrm>
            <a:off x="7515076" y="4990011"/>
            <a:ext cx="343582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3600" dirty="0">
                <a:latin typeface="Gotham Rounded Book" pitchFamily="50" charset="0"/>
              </a:rPr>
              <a:t>We need data!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AA0EC26-0E67-66B8-E80D-90CAF432B359}"/>
              </a:ext>
            </a:extLst>
          </p:cNvPr>
          <p:cNvCxnSpPr>
            <a:cxnSpLocks/>
          </p:cNvCxnSpPr>
          <p:nvPr/>
        </p:nvCxnSpPr>
        <p:spPr>
          <a:xfrm>
            <a:off x="9067528" y="2581507"/>
            <a:ext cx="0" cy="2252547"/>
          </a:xfrm>
          <a:prstGeom prst="straightConnector1">
            <a:avLst/>
          </a:prstGeom>
          <a:ln w="28575">
            <a:solidFill>
              <a:schemeClr val="tx2">
                <a:lumMod val="40000"/>
                <a:lumOff val="6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2919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3B338C-25F9-EBA8-A9ED-5FB25570A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425876"/>
            <a:ext cx="10483200" cy="936000"/>
          </a:xfrm>
        </p:spPr>
        <p:txBody>
          <a:bodyPr/>
          <a:lstStyle/>
          <a:p>
            <a:r>
              <a:rPr lang="en-GB" dirty="0">
                <a:latin typeface="Gotham Rounded Book" pitchFamily="50" charset="0"/>
              </a:rPr>
              <a:t>Ramboll’s Carbon Benchmarking Databas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BA13E62-7E0E-3766-48C1-ADDFD6155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5</a:t>
            </a:fld>
            <a:endParaRPr lang="en-GB" dirty="0"/>
          </a:p>
        </p:txBody>
      </p:sp>
      <p:pic>
        <p:nvPicPr>
          <p:cNvPr id="19" name="Graphic 16">
            <a:extLst>
              <a:ext uri="{FF2B5EF4-FFF2-40B4-BE49-F238E27FC236}">
                <a16:creationId xmlns:a16="http://schemas.microsoft.com/office/drawing/2014/main" id="{8169DA6C-1E6C-2E56-4B40-CCA28C7C2517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>
            <a:fillRect/>
          </a:stretch>
        </p:blipFill>
        <p:spPr>
          <a:xfrm>
            <a:off x="1522948" y="2211591"/>
            <a:ext cx="2098345" cy="2098345"/>
          </a:xfrm>
          <a:prstGeom prst="rect">
            <a:avLst/>
          </a:prstGeom>
        </p:spPr>
      </p:pic>
      <p:pic>
        <p:nvPicPr>
          <p:cNvPr id="26" name="Graphic 16">
            <a:extLst>
              <a:ext uri="{FF2B5EF4-FFF2-40B4-BE49-F238E27FC236}">
                <a16:creationId xmlns:a16="http://schemas.microsoft.com/office/drawing/2014/main" id="{0AB7CF00-184B-4F29-3114-409E615A552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>
            <a:fillRect/>
          </a:stretch>
        </p:blipFill>
        <p:spPr>
          <a:xfrm>
            <a:off x="2020101" y="3611977"/>
            <a:ext cx="1727739" cy="1727739"/>
          </a:xfrm>
          <a:prstGeom prst="rect">
            <a:avLst/>
          </a:prstGeom>
        </p:spPr>
      </p:pic>
      <p:pic>
        <p:nvPicPr>
          <p:cNvPr id="27" name="Graphic 16">
            <a:extLst>
              <a:ext uri="{FF2B5EF4-FFF2-40B4-BE49-F238E27FC236}">
                <a16:creationId xmlns:a16="http://schemas.microsoft.com/office/drawing/2014/main" id="{2858020A-2B26-4623-B89D-F652A6F3CE52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>
            <a:fillRect/>
          </a:stretch>
        </p:blipFill>
        <p:spPr>
          <a:xfrm>
            <a:off x="2022259" y="5097999"/>
            <a:ext cx="1489370" cy="1489370"/>
          </a:xfrm>
          <a:prstGeom prst="rect">
            <a:avLst/>
          </a:prstGeom>
        </p:spPr>
      </p:pic>
      <p:cxnSp>
        <p:nvCxnSpPr>
          <p:cNvPr id="29" name="Connector: Elbow 28">
            <a:extLst>
              <a:ext uri="{FF2B5EF4-FFF2-40B4-BE49-F238E27FC236}">
                <a16:creationId xmlns:a16="http://schemas.microsoft.com/office/drawing/2014/main" id="{B2181D4B-E811-702D-14F5-0B0D98A3D161}"/>
              </a:ext>
            </a:extLst>
          </p:cNvPr>
          <p:cNvCxnSpPr>
            <a:cxnSpLocks/>
          </p:cNvCxnSpPr>
          <p:nvPr/>
        </p:nvCxnSpPr>
        <p:spPr>
          <a:xfrm>
            <a:off x="3266584" y="3140738"/>
            <a:ext cx="3692743" cy="548842"/>
          </a:xfrm>
          <a:prstGeom prst="bentConnector3">
            <a:avLst>
              <a:gd name="adj1" fmla="val 25238"/>
            </a:avLst>
          </a:prstGeom>
          <a:ln w="12700">
            <a:solidFill>
              <a:srgbClr val="009D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or: Elbow 30">
            <a:extLst>
              <a:ext uri="{FF2B5EF4-FFF2-40B4-BE49-F238E27FC236}">
                <a16:creationId xmlns:a16="http://schemas.microsoft.com/office/drawing/2014/main" id="{3B2571BA-6D8C-5349-6094-BF53EE346E8E}"/>
              </a:ext>
            </a:extLst>
          </p:cNvPr>
          <p:cNvCxnSpPr>
            <a:cxnSpLocks/>
          </p:cNvCxnSpPr>
          <p:nvPr/>
        </p:nvCxnSpPr>
        <p:spPr>
          <a:xfrm flipV="1">
            <a:off x="3469078" y="3870465"/>
            <a:ext cx="3490249" cy="501418"/>
          </a:xfrm>
          <a:prstGeom prst="bentConnector3">
            <a:avLst>
              <a:gd name="adj1" fmla="val 37992"/>
            </a:avLst>
          </a:prstGeom>
          <a:ln w="12700">
            <a:solidFill>
              <a:srgbClr val="009D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or: Elbow 35">
            <a:extLst>
              <a:ext uri="{FF2B5EF4-FFF2-40B4-BE49-F238E27FC236}">
                <a16:creationId xmlns:a16="http://schemas.microsoft.com/office/drawing/2014/main" id="{772A733E-42EE-C680-C678-BC83E45C07F5}"/>
              </a:ext>
            </a:extLst>
          </p:cNvPr>
          <p:cNvCxnSpPr>
            <a:cxnSpLocks/>
          </p:cNvCxnSpPr>
          <p:nvPr/>
        </p:nvCxnSpPr>
        <p:spPr>
          <a:xfrm flipV="1">
            <a:off x="3240383" y="4028356"/>
            <a:ext cx="3718944" cy="1705529"/>
          </a:xfrm>
          <a:prstGeom prst="bentConnector3">
            <a:avLst>
              <a:gd name="adj1" fmla="val 50000"/>
            </a:avLst>
          </a:prstGeom>
          <a:ln w="12700">
            <a:solidFill>
              <a:srgbClr val="009D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A4D7DC3B-6185-E7A9-C758-2470FD0FDDA8}"/>
              </a:ext>
            </a:extLst>
          </p:cNvPr>
          <p:cNvCxnSpPr>
            <a:cxnSpLocks/>
          </p:cNvCxnSpPr>
          <p:nvPr/>
        </p:nvCxnSpPr>
        <p:spPr>
          <a:xfrm>
            <a:off x="8486775" y="3755454"/>
            <a:ext cx="1134803" cy="0"/>
          </a:xfrm>
          <a:prstGeom prst="straightConnector1">
            <a:avLst/>
          </a:prstGeom>
          <a:ln w="63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D76310D8-7ED2-71B0-F873-734C06D9C90F}"/>
              </a:ext>
            </a:extLst>
          </p:cNvPr>
          <p:cNvGrpSpPr/>
          <p:nvPr/>
        </p:nvGrpSpPr>
        <p:grpSpPr>
          <a:xfrm>
            <a:off x="6354543" y="2461695"/>
            <a:ext cx="2587519" cy="2768952"/>
            <a:chOff x="5409421" y="2459089"/>
            <a:chExt cx="2587519" cy="2768952"/>
          </a:xfrm>
        </p:grpSpPr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B1E30D58-493D-3E3D-E366-99815BFDF624}"/>
                </a:ext>
              </a:extLst>
            </p:cNvPr>
            <p:cNvPicPr>
              <a:picLocks noChangeAspect="1"/>
            </p:cNvPicPr>
            <p:nvPr>
              <p:custDataLst>
                <p:tags r:id="rId17"/>
              </p:custDataLst>
            </p:nvPr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rcRect/>
            <a:stretch>
              <a:fillRect/>
            </a:stretch>
          </p:blipFill>
          <p:spPr>
            <a:xfrm>
              <a:off x="5409421" y="2459089"/>
              <a:ext cx="2587519" cy="2587519"/>
            </a:xfrm>
            <a:prstGeom prst="rect">
              <a:avLst/>
            </a:prstGeom>
          </p:spPr>
        </p:pic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E67A0B62-CD47-6706-B0F3-828B1368B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245980" y="4473241"/>
              <a:ext cx="914400" cy="189831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56E5C77D-58F2-2F43-1D42-42469DA0B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>
            <a:xfrm>
              <a:off x="6014205" y="4657855"/>
              <a:ext cx="1377949" cy="570186"/>
            </a:xfrm>
            <a:prstGeom prst="rect">
              <a:avLst/>
            </a:prstGeom>
          </p:spPr>
        </p:pic>
      </p:grpSp>
      <p:pic>
        <p:nvPicPr>
          <p:cNvPr id="58" name="Graphic 16">
            <a:extLst>
              <a:ext uri="{FF2B5EF4-FFF2-40B4-BE49-F238E27FC236}">
                <a16:creationId xmlns:a16="http://schemas.microsoft.com/office/drawing/2014/main" id="{1FEDCA4F-CE16-40FC-B815-631310FAFC6F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rcRect/>
          <a:stretch>
            <a:fillRect/>
          </a:stretch>
        </p:blipFill>
        <p:spPr>
          <a:xfrm>
            <a:off x="2883970" y="1541813"/>
            <a:ext cx="1298101" cy="1298101"/>
          </a:xfrm>
          <a:prstGeom prst="rect">
            <a:avLst/>
          </a:prstGeom>
        </p:spPr>
      </p:pic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B6C1CC03-6311-3989-24F5-CF177691E67F}"/>
              </a:ext>
            </a:extLst>
          </p:cNvPr>
          <p:cNvCxnSpPr>
            <a:cxnSpLocks/>
          </p:cNvCxnSpPr>
          <p:nvPr/>
        </p:nvCxnSpPr>
        <p:spPr>
          <a:xfrm>
            <a:off x="4062144" y="2101492"/>
            <a:ext cx="2897183" cy="1380806"/>
          </a:xfrm>
          <a:prstGeom prst="bentConnector3">
            <a:avLst>
              <a:gd name="adj1" fmla="val 36192"/>
            </a:avLst>
          </a:prstGeom>
          <a:ln w="12700">
            <a:solidFill>
              <a:srgbClr val="009D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C06B97C2-786B-65FC-E5DE-6C4A1E97557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rcRect/>
          <a:stretch>
            <a:fillRect/>
          </a:stretch>
        </p:blipFill>
        <p:spPr>
          <a:xfrm>
            <a:off x="980044" y="1601127"/>
            <a:ext cx="764842" cy="76484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A42650F5-00D0-9340-E518-8F866A0F07A8}"/>
              </a:ext>
            </a:extLst>
          </p:cNvPr>
          <p:cNvGrpSpPr/>
          <p:nvPr/>
        </p:nvGrpSpPr>
        <p:grpSpPr>
          <a:xfrm>
            <a:off x="1582890" y="1137910"/>
            <a:ext cx="807805" cy="807805"/>
            <a:chOff x="938365" y="1157760"/>
            <a:chExt cx="807805" cy="807805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377E55AC-9E6A-A4CB-8B77-BCB661040BDF}"/>
                </a:ext>
              </a:extLst>
            </p:cNvPr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rcRect/>
            <a:stretch>
              <a:fillRect/>
            </a:stretch>
          </p:blipFill>
          <p:spPr>
            <a:xfrm>
              <a:off x="938365" y="1157760"/>
              <a:ext cx="807805" cy="807805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2EA2976-DF9E-F7C7-DB71-4A66F5AA78CF}"/>
                </a:ext>
              </a:extLst>
            </p:cNvPr>
            <p:cNvSpPr txBox="1"/>
            <p:nvPr/>
          </p:nvSpPr>
          <p:spPr>
            <a:xfrm>
              <a:off x="1238072" y="1447210"/>
              <a:ext cx="22145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700" dirty="0">
                  <a:solidFill>
                    <a:schemeClr val="tx2"/>
                  </a:solidFill>
                </a:rPr>
                <a:t>EPD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19BE161-DD7B-B6C9-4BE8-B9CCCB6CADE6}"/>
              </a:ext>
            </a:extLst>
          </p:cNvPr>
          <p:cNvGrpSpPr/>
          <p:nvPr/>
        </p:nvGrpSpPr>
        <p:grpSpPr>
          <a:xfrm>
            <a:off x="225754" y="2806431"/>
            <a:ext cx="807805" cy="807805"/>
            <a:chOff x="938365" y="1157760"/>
            <a:chExt cx="807805" cy="807805"/>
          </a:xfrm>
        </p:grpSpPr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644B5D72-FBB6-B28E-97E6-A7889D39986E}"/>
                </a:ext>
              </a:extLst>
            </p:cNvPr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rcRect/>
            <a:stretch>
              <a:fillRect/>
            </a:stretch>
          </p:blipFill>
          <p:spPr>
            <a:xfrm>
              <a:off x="938365" y="1157760"/>
              <a:ext cx="807805" cy="807805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EC21D5E-1827-DE1B-7501-0E1167B47133}"/>
                </a:ext>
              </a:extLst>
            </p:cNvPr>
            <p:cNvSpPr txBox="1"/>
            <p:nvPr/>
          </p:nvSpPr>
          <p:spPr>
            <a:xfrm>
              <a:off x="1238072" y="1447210"/>
              <a:ext cx="22145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700" dirty="0">
                  <a:solidFill>
                    <a:schemeClr val="tx2"/>
                  </a:solidFill>
                </a:rPr>
                <a:t>EPD</a:t>
              </a:r>
            </a:p>
          </p:txBody>
        </p:sp>
      </p:grpSp>
      <p:pic>
        <p:nvPicPr>
          <p:cNvPr id="24" name="Graphic 23">
            <a:extLst>
              <a:ext uri="{FF2B5EF4-FFF2-40B4-BE49-F238E27FC236}">
                <a16:creationId xmlns:a16="http://schemas.microsoft.com/office/drawing/2014/main" id="{520BFC58-020B-73B5-DAF9-9ABDD09455C2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rcRect/>
          <a:stretch>
            <a:fillRect/>
          </a:stretch>
        </p:blipFill>
        <p:spPr>
          <a:xfrm>
            <a:off x="788024" y="2489338"/>
            <a:ext cx="690563" cy="690563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1B3E0617-BD03-4551-7FCF-4DDF37136F31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rcRect/>
          <a:stretch>
            <a:fillRect/>
          </a:stretch>
        </p:blipFill>
        <p:spPr>
          <a:xfrm>
            <a:off x="996819" y="3179901"/>
            <a:ext cx="690564" cy="690564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871067E9-A992-0507-5A6F-5F9C45ABD514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6"/>
              </a:ext>
            </a:extLst>
          </a:blip>
          <a:srcRect/>
          <a:stretch>
            <a:fillRect/>
          </a:stretch>
        </p:blipFill>
        <p:spPr>
          <a:xfrm>
            <a:off x="162763" y="4458932"/>
            <a:ext cx="807805" cy="807805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0CC07152-7DF3-9097-E94C-3AA6B396AC1F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rcRect/>
          <a:stretch>
            <a:fillRect/>
          </a:stretch>
        </p:blipFill>
        <p:spPr>
          <a:xfrm>
            <a:off x="484994" y="5453593"/>
            <a:ext cx="848472" cy="848472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C5E28704-74D8-3847-49E2-0603E0504329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rcRect/>
          <a:stretch>
            <a:fillRect/>
          </a:stretch>
        </p:blipFill>
        <p:spPr>
          <a:xfrm>
            <a:off x="790519" y="3837135"/>
            <a:ext cx="1069306" cy="1069306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42C0F052-FCD0-DAE0-9815-2F02AD12973E}"/>
              </a:ext>
            </a:extLst>
          </p:cNvPr>
          <p:cNvGrpSpPr/>
          <p:nvPr/>
        </p:nvGrpSpPr>
        <p:grpSpPr>
          <a:xfrm>
            <a:off x="914547" y="4822717"/>
            <a:ext cx="807805" cy="807805"/>
            <a:chOff x="938365" y="1157760"/>
            <a:chExt cx="807805" cy="807805"/>
          </a:xfrm>
        </p:grpSpPr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D3EE4918-1A44-5CBA-8CC0-9CFCAC982BC0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rcRect/>
            <a:stretch>
              <a:fillRect/>
            </a:stretch>
          </p:blipFill>
          <p:spPr>
            <a:xfrm>
              <a:off x="938365" y="1157760"/>
              <a:ext cx="807805" cy="807805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4E80ABE-9007-3A49-B0D6-DD8CF8BA7F1B}"/>
                </a:ext>
              </a:extLst>
            </p:cNvPr>
            <p:cNvSpPr txBox="1"/>
            <p:nvPr/>
          </p:nvSpPr>
          <p:spPr>
            <a:xfrm>
              <a:off x="1238072" y="1447210"/>
              <a:ext cx="221456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GB" sz="700" dirty="0">
                  <a:solidFill>
                    <a:schemeClr val="tx2"/>
                  </a:solidFill>
                </a:rPr>
                <a:t>EPD</a:t>
              </a:r>
            </a:p>
          </p:txBody>
        </p:sp>
      </p:grpSp>
      <p:pic>
        <p:nvPicPr>
          <p:cNvPr id="55" name="Graphic 54">
            <a:extLst>
              <a:ext uri="{FF2B5EF4-FFF2-40B4-BE49-F238E27FC236}">
                <a16:creationId xmlns:a16="http://schemas.microsoft.com/office/drawing/2014/main" id="{9B783C86-FC0A-0132-AA4D-925BE6F88A93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/>
          <a:stretch>
            <a:fillRect/>
          </a:stretch>
        </p:blipFill>
        <p:spPr>
          <a:xfrm>
            <a:off x="1145441" y="5994307"/>
            <a:ext cx="783233" cy="783233"/>
          </a:xfrm>
          <a:prstGeom prst="rect">
            <a:avLst/>
          </a:prstGeom>
        </p:spPr>
      </p:pic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6A63B6BC-0F2A-ABCE-7636-97EE4586E90A}"/>
              </a:ext>
            </a:extLst>
          </p:cNvPr>
          <p:cNvCxnSpPr>
            <a:cxnSpLocks/>
          </p:cNvCxnSpPr>
          <p:nvPr/>
        </p:nvCxnSpPr>
        <p:spPr>
          <a:xfrm>
            <a:off x="2298312" y="1513191"/>
            <a:ext cx="949155" cy="518527"/>
          </a:xfrm>
          <a:prstGeom prst="bentConnector3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or: Elbow 61">
            <a:extLst>
              <a:ext uri="{FF2B5EF4-FFF2-40B4-BE49-F238E27FC236}">
                <a16:creationId xmlns:a16="http://schemas.microsoft.com/office/drawing/2014/main" id="{E2850E38-2885-DB74-392F-51B1F25556C7}"/>
              </a:ext>
            </a:extLst>
          </p:cNvPr>
          <p:cNvCxnSpPr>
            <a:cxnSpLocks/>
          </p:cNvCxnSpPr>
          <p:nvPr/>
        </p:nvCxnSpPr>
        <p:spPr>
          <a:xfrm>
            <a:off x="1687383" y="1997332"/>
            <a:ext cx="1553000" cy="152312"/>
          </a:xfrm>
          <a:prstGeom prst="bentConnector3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BB18BD49-9447-9690-221C-D705F1609F44}"/>
              </a:ext>
            </a:extLst>
          </p:cNvPr>
          <p:cNvCxnSpPr>
            <a:cxnSpLocks/>
          </p:cNvCxnSpPr>
          <p:nvPr/>
        </p:nvCxnSpPr>
        <p:spPr>
          <a:xfrm>
            <a:off x="1419257" y="2832548"/>
            <a:ext cx="803864" cy="136969"/>
          </a:xfrm>
          <a:prstGeom prst="bentConnector3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2CC7CE54-2A80-EEED-7A8C-DDE38B3D2712}"/>
              </a:ext>
            </a:extLst>
          </p:cNvPr>
          <p:cNvCxnSpPr>
            <a:cxnSpLocks/>
          </p:cNvCxnSpPr>
          <p:nvPr/>
        </p:nvCxnSpPr>
        <p:spPr>
          <a:xfrm flipV="1">
            <a:off x="1533078" y="3217808"/>
            <a:ext cx="689043" cy="264490"/>
          </a:xfrm>
          <a:prstGeom prst="bentConnector3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or: Elbow 69">
            <a:extLst>
              <a:ext uri="{FF2B5EF4-FFF2-40B4-BE49-F238E27FC236}">
                <a16:creationId xmlns:a16="http://schemas.microsoft.com/office/drawing/2014/main" id="{DBBE75CE-0CCC-4217-DBBC-18F79505A2CD}"/>
              </a:ext>
            </a:extLst>
          </p:cNvPr>
          <p:cNvCxnSpPr>
            <a:cxnSpLocks/>
          </p:cNvCxnSpPr>
          <p:nvPr/>
        </p:nvCxnSpPr>
        <p:spPr>
          <a:xfrm flipV="1">
            <a:off x="900591" y="3095690"/>
            <a:ext cx="1321530" cy="131097"/>
          </a:xfrm>
          <a:prstGeom prst="bentConnector3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or: Elbow 72">
            <a:extLst>
              <a:ext uri="{FF2B5EF4-FFF2-40B4-BE49-F238E27FC236}">
                <a16:creationId xmlns:a16="http://schemas.microsoft.com/office/drawing/2014/main" id="{049DD6E8-391A-6473-3440-64BF13DF09E4}"/>
              </a:ext>
            </a:extLst>
          </p:cNvPr>
          <p:cNvCxnSpPr>
            <a:cxnSpLocks/>
          </p:cNvCxnSpPr>
          <p:nvPr/>
        </p:nvCxnSpPr>
        <p:spPr>
          <a:xfrm flipV="1">
            <a:off x="1656927" y="4268546"/>
            <a:ext cx="935327" cy="90751"/>
          </a:xfrm>
          <a:prstGeom prst="bentConnector3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nector: Elbow 73">
            <a:extLst>
              <a:ext uri="{FF2B5EF4-FFF2-40B4-BE49-F238E27FC236}">
                <a16:creationId xmlns:a16="http://schemas.microsoft.com/office/drawing/2014/main" id="{41E167AE-FF4F-6855-C1F8-4FF8CB4C167C}"/>
              </a:ext>
            </a:extLst>
          </p:cNvPr>
          <p:cNvCxnSpPr>
            <a:cxnSpLocks/>
          </p:cNvCxnSpPr>
          <p:nvPr/>
        </p:nvCxnSpPr>
        <p:spPr>
          <a:xfrm flipV="1">
            <a:off x="1561356" y="4625516"/>
            <a:ext cx="1019037" cy="620611"/>
          </a:xfrm>
          <a:prstGeom prst="bentConnector3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ctor: Elbow 79">
            <a:extLst>
              <a:ext uri="{FF2B5EF4-FFF2-40B4-BE49-F238E27FC236}">
                <a16:creationId xmlns:a16="http://schemas.microsoft.com/office/drawing/2014/main" id="{7871A109-272B-E384-9FB3-A2796AE9DB65}"/>
              </a:ext>
            </a:extLst>
          </p:cNvPr>
          <p:cNvCxnSpPr>
            <a:cxnSpLocks/>
          </p:cNvCxnSpPr>
          <p:nvPr/>
        </p:nvCxnSpPr>
        <p:spPr>
          <a:xfrm flipV="1">
            <a:off x="900591" y="4458932"/>
            <a:ext cx="1679802" cy="370772"/>
          </a:xfrm>
          <a:prstGeom prst="bentConnector3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5D38D137-BAE5-B538-10FD-DA5CAE5A1EEA}"/>
              </a:ext>
            </a:extLst>
          </p:cNvPr>
          <p:cNvCxnSpPr>
            <a:cxnSpLocks/>
          </p:cNvCxnSpPr>
          <p:nvPr/>
        </p:nvCxnSpPr>
        <p:spPr>
          <a:xfrm flipV="1">
            <a:off x="1782695" y="5928183"/>
            <a:ext cx="681188" cy="470018"/>
          </a:xfrm>
          <a:prstGeom prst="bentConnector3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26358D3C-4724-FEE1-F9F0-2D8EF01F6FB5}"/>
              </a:ext>
            </a:extLst>
          </p:cNvPr>
          <p:cNvCxnSpPr>
            <a:cxnSpLocks/>
          </p:cNvCxnSpPr>
          <p:nvPr/>
        </p:nvCxnSpPr>
        <p:spPr>
          <a:xfrm flipV="1">
            <a:off x="1214254" y="5733885"/>
            <a:ext cx="1247309" cy="143944"/>
          </a:xfrm>
          <a:prstGeom prst="bentConnector3">
            <a:avLst/>
          </a:prstGeom>
          <a:ln w="31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A3E94922-2D69-D5E5-5B5F-AE059467112B}"/>
              </a:ext>
            </a:extLst>
          </p:cNvPr>
          <p:cNvGrpSpPr/>
          <p:nvPr/>
        </p:nvGrpSpPr>
        <p:grpSpPr>
          <a:xfrm>
            <a:off x="9232492" y="2556507"/>
            <a:ext cx="2424113" cy="2424113"/>
            <a:chOff x="9232492" y="2556507"/>
            <a:chExt cx="2424113" cy="2424113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73D7C46B-6923-709A-779E-9E16BCEF0F48}"/>
                </a:ext>
              </a:extLst>
            </p:cNvPr>
            <p:cNvGrpSpPr/>
            <p:nvPr/>
          </p:nvGrpSpPr>
          <p:grpSpPr>
            <a:xfrm>
              <a:off x="9232492" y="2556507"/>
              <a:ext cx="2424113" cy="2424113"/>
              <a:chOff x="8419087" y="2540791"/>
              <a:chExt cx="2424113" cy="2424113"/>
            </a:xfrm>
          </p:grpSpPr>
          <p:pic>
            <p:nvPicPr>
              <p:cNvPr id="21" name="Graphic 20">
                <a:extLst>
                  <a:ext uri="{FF2B5EF4-FFF2-40B4-BE49-F238E27FC236}">
                    <a16:creationId xmlns:a16="http://schemas.microsoft.com/office/drawing/2014/main" id="{A2244B27-2892-D810-92C0-B417890C082B}"/>
                  </a:ext>
                </a:extLst>
              </p:cNvPr>
              <p:cNvPicPr>
                <a:picLocks noChangeAspect="1"/>
              </p:cNvPicPr>
              <p:nvPr>
                <p:custDataLst>
                  <p:tags r:id="rId13"/>
                </p:custDataLst>
              </p:nvPr>
            </p:nvPicPr>
            <p:blipFill>
              <a:blip r:embed="rId4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4"/>
                  </a:ext>
                </a:extLst>
              </a:blip>
              <a:srcRect/>
              <a:stretch>
                <a:fillRect/>
              </a:stretch>
            </p:blipFill>
            <p:spPr>
              <a:xfrm>
                <a:off x="8419087" y="2540791"/>
                <a:ext cx="2424113" cy="2424113"/>
              </a:xfrm>
              <a:prstGeom prst="rect">
                <a:avLst/>
              </a:prstGeom>
            </p:spPr>
          </p:pic>
          <p:pic>
            <p:nvPicPr>
              <p:cNvPr id="51" name="Picture 50">
                <a:extLst>
                  <a:ext uri="{FF2B5EF4-FFF2-40B4-BE49-F238E27FC236}">
                    <a16:creationId xmlns:a16="http://schemas.microsoft.com/office/drawing/2014/main" id="{60BB5CF8-C5CC-45F2-56B0-1A0638E5C4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/>
              <a:stretch>
                <a:fillRect/>
              </a:stretch>
            </p:blipFill>
            <p:spPr>
              <a:xfrm>
                <a:off x="9164829" y="4706266"/>
                <a:ext cx="932627" cy="215444"/>
              </a:xfrm>
              <a:prstGeom prst="rect">
                <a:avLst/>
              </a:prstGeom>
            </p:spPr>
          </p:pic>
          <p:pic>
            <p:nvPicPr>
              <p:cNvPr id="52" name="Graphic 51">
                <a:extLst>
                  <a:ext uri="{FF2B5EF4-FFF2-40B4-BE49-F238E27FC236}">
                    <a16:creationId xmlns:a16="http://schemas.microsoft.com/office/drawing/2014/main" id="{D61BFA93-8717-B2F4-A5CF-A8EDE8CF100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9153584" y="4473241"/>
                <a:ext cx="914400" cy="189831"/>
              </a:xfrm>
              <a:prstGeom prst="rect">
                <a:avLst/>
              </a:prstGeom>
            </p:spPr>
          </p:pic>
        </p:grp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43B97B22-DFC3-FE3B-5A0B-BE0B46E9B874}"/>
                </a:ext>
              </a:extLst>
            </p:cNvPr>
            <p:cNvSpPr/>
            <p:nvPr/>
          </p:nvSpPr>
          <p:spPr>
            <a:xfrm>
              <a:off x="9893688" y="3350053"/>
              <a:ext cx="775364" cy="59328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dirty="0" err="1"/>
            </a:p>
          </p:txBody>
        </p:sp>
        <p:pic>
          <p:nvPicPr>
            <p:cNvPr id="102" name="Graphic 101">
              <a:extLst>
                <a:ext uri="{FF2B5EF4-FFF2-40B4-BE49-F238E27FC236}">
                  <a16:creationId xmlns:a16="http://schemas.microsoft.com/office/drawing/2014/main" id="{7EF7D0CD-EF24-67E7-2550-FFDD59E33E59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4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7"/>
                </a:ext>
              </a:extLst>
            </a:blip>
            <a:srcRect/>
            <a:stretch>
              <a:fillRect/>
            </a:stretch>
          </p:blipFill>
          <p:spPr>
            <a:xfrm>
              <a:off x="9856787" y="3044575"/>
              <a:ext cx="1134803" cy="113480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1008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DB2DAFD-68D3-48CF-4BD7-56FF3B2D98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B2DAFD-68D3-48CF-4BD7-56FF3B2D98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">
            <a:extLst>
              <a:ext uri="{FF2B5EF4-FFF2-40B4-BE49-F238E27FC236}">
                <a16:creationId xmlns:a16="http://schemas.microsoft.com/office/drawing/2014/main" id="{B937B0B0-08CA-32B1-458E-F3089B0506A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64581" y="463977"/>
            <a:ext cx="10082972" cy="5671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C371401-8E2F-BCDD-1522-DF144ED5A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23AA811B-2EBD-4900-905E-5BE206449611}" type="slidenum">
              <a:rPr lang="en-GB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6</a:t>
            </a:fld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1019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FF94F11-C390-A6B4-0741-57CE5A0DD2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24" imgH="623" progId="TCLayout.ActiveDocument.1">
                  <p:embed/>
                </p:oleObj>
              </mc:Choice>
              <mc:Fallback>
                <p:oleObj name="think-cell Slide" r:id="rId4" imgW="624" imgH="62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F94F11-C390-A6B4-0741-57CE5A0DD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4">
            <a:extLst>
              <a:ext uri="{FF2B5EF4-FFF2-40B4-BE49-F238E27FC236}">
                <a16:creationId xmlns:a16="http://schemas.microsoft.com/office/drawing/2014/main" id="{6436A686-FBF3-7A6F-AD23-F28CAE323A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882" y="350400"/>
            <a:ext cx="10483200" cy="936000"/>
          </a:xfrm>
        </p:spPr>
        <p:txBody>
          <a:bodyPr vert="horz"/>
          <a:lstStyle/>
          <a:p>
            <a:r>
              <a:rPr lang="en-US" dirty="0">
                <a:latin typeface="Gotham Rounded Book" pitchFamily="50" charset="0"/>
              </a:rPr>
              <a:t>Which life cycle stages are included in the scope?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48807677-ACCC-3729-2FC3-172107079E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23AA811B-2EBD-4900-905E-5BE206449611}" type="slidenum">
              <a:rPr lang="en-GB" smtClean="0"/>
              <a:pPr>
                <a:spcAft>
                  <a:spcPts val="600"/>
                </a:spcAft>
              </a:pPr>
              <a:t>7</a:t>
            </a:fld>
            <a:endParaRPr lang="en-GB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9B85EDDD-2B91-CB1A-B6E1-86792FEEF2ED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4" r="-2" b="-2"/>
          <a:stretch/>
        </p:blipFill>
        <p:spPr>
          <a:xfrm>
            <a:off x="358800" y="885825"/>
            <a:ext cx="10096500" cy="5765842"/>
          </a:xfrm>
          <a:noFill/>
        </p:spPr>
      </p:pic>
    </p:spTree>
    <p:extLst>
      <p:ext uri="{BB962C8B-B14F-4D97-AF65-F5344CB8AC3E}">
        <p14:creationId xmlns:p14="http://schemas.microsoft.com/office/powerpoint/2010/main" val="8513870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Group 61">
            <a:extLst>
              <a:ext uri="{FF2B5EF4-FFF2-40B4-BE49-F238E27FC236}">
                <a16:creationId xmlns:a16="http://schemas.microsoft.com/office/drawing/2014/main" id="{69B64473-F033-5A56-62E5-936B08F6FF13}"/>
              </a:ext>
            </a:extLst>
          </p:cNvPr>
          <p:cNvGrpSpPr/>
          <p:nvPr/>
        </p:nvGrpSpPr>
        <p:grpSpPr>
          <a:xfrm>
            <a:off x="295786" y="1321416"/>
            <a:ext cx="8918854" cy="5217619"/>
            <a:chOff x="76711" y="1640381"/>
            <a:chExt cx="8918854" cy="5217619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347A1FA9-7BA5-5D0F-FF46-59F4FE5CBB64}"/>
                </a:ext>
              </a:extLst>
            </p:cNvPr>
            <p:cNvSpPr/>
            <p:nvPr/>
          </p:nvSpPr>
          <p:spPr>
            <a:xfrm>
              <a:off x="4845541" y="2905913"/>
              <a:ext cx="2514798" cy="2689689"/>
            </a:xfrm>
            <a:custGeom>
              <a:avLst/>
              <a:gdLst>
                <a:gd name="connsiteX0" fmla="*/ 1081103 w 1546138"/>
                <a:gd name="connsiteY0" fmla="*/ 1653627 h 1653664"/>
                <a:gd name="connsiteX1" fmla="*/ 1271603 w 1546138"/>
                <a:gd name="connsiteY1" fmla="*/ 1362352 h 1653664"/>
                <a:gd name="connsiteX2" fmla="*/ 1546114 w 1546138"/>
                <a:gd name="connsiteY2" fmla="*/ 774088 h 1653664"/>
                <a:gd name="connsiteX3" fmla="*/ 773189 w 1546138"/>
                <a:gd name="connsiteY3" fmla="*/ -37 h 1653664"/>
                <a:gd name="connsiteX4" fmla="*/ 733727 w 1546138"/>
                <a:gd name="connsiteY4" fmla="*/ 944 h 1653664"/>
                <a:gd name="connsiteX5" fmla="*/ 302 w 1546138"/>
                <a:gd name="connsiteY5" fmla="*/ 751705 h 1653664"/>
                <a:gd name="connsiteX6" fmla="*/ 274336 w 1546138"/>
                <a:gd name="connsiteY6" fmla="*/ 1362162 h 1653664"/>
                <a:gd name="connsiteX7" fmla="*/ 470456 w 1546138"/>
                <a:gd name="connsiteY7" fmla="*/ 1653436 h 1653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46138" h="1653664">
                  <a:moveTo>
                    <a:pt x="1081103" y="1653627"/>
                  </a:moveTo>
                  <a:cubicBezTo>
                    <a:pt x="1116032" y="1540594"/>
                    <a:pt x="1182040" y="1439657"/>
                    <a:pt x="1271603" y="1362352"/>
                  </a:cubicBezTo>
                  <a:cubicBezTo>
                    <a:pt x="1445825" y="1216677"/>
                    <a:pt x="1546381" y="1001183"/>
                    <a:pt x="1546114" y="774088"/>
                  </a:cubicBezTo>
                  <a:cubicBezTo>
                    <a:pt x="1546447" y="346883"/>
                    <a:pt x="1200395" y="296"/>
                    <a:pt x="773189" y="-37"/>
                  </a:cubicBezTo>
                  <a:cubicBezTo>
                    <a:pt x="760025" y="-47"/>
                    <a:pt x="746871" y="287"/>
                    <a:pt x="733727" y="944"/>
                  </a:cubicBezTo>
                  <a:cubicBezTo>
                    <a:pt x="335963" y="17708"/>
                    <a:pt x="11065" y="353369"/>
                    <a:pt x="302" y="751705"/>
                  </a:cubicBezTo>
                  <a:cubicBezTo>
                    <a:pt x="-6528" y="986391"/>
                    <a:pt x="94428" y="1211305"/>
                    <a:pt x="274336" y="1362162"/>
                  </a:cubicBezTo>
                  <a:cubicBezTo>
                    <a:pt x="367243" y="1437562"/>
                    <a:pt x="435537" y="1538984"/>
                    <a:pt x="470456" y="1653436"/>
                  </a:cubicBezTo>
                  <a:close/>
                </a:path>
              </a:pathLst>
            </a:custGeom>
            <a:solidFill>
              <a:srgbClr val="F9DA2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2EB55AE1-1FEB-64E8-D0F6-784AE4C9D3FB}"/>
                </a:ext>
              </a:extLst>
            </p:cNvPr>
            <p:cNvSpPr/>
            <p:nvPr/>
          </p:nvSpPr>
          <p:spPr>
            <a:xfrm>
              <a:off x="5616614" y="4100832"/>
              <a:ext cx="987383" cy="1513050"/>
            </a:xfrm>
            <a:custGeom>
              <a:avLst/>
              <a:gdLst>
                <a:gd name="connsiteX0" fmla="*/ 226035 w 607059"/>
                <a:gd name="connsiteY0" fmla="*/ 930210 h 930247"/>
                <a:gd name="connsiteX1" fmla="*/ 276518 w 607059"/>
                <a:gd name="connsiteY1" fmla="*/ 930210 h 930247"/>
                <a:gd name="connsiteX2" fmla="*/ 52395 w 607059"/>
                <a:gd name="connsiteY2" fmla="*/ 95439 h 930247"/>
                <a:gd name="connsiteX3" fmla="*/ 69254 w 607059"/>
                <a:gd name="connsiteY3" fmla="*/ 95439 h 930247"/>
                <a:gd name="connsiteX4" fmla="*/ 147645 w 607059"/>
                <a:gd name="connsiteY4" fmla="*/ 61816 h 930247"/>
                <a:gd name="connsiteX5" fmla="*/ 224273 w 607059"/>
                <a:gd name="connsiteY5" fmla="*/ 60054 h 930247"/>
                <a:gd name="connsiteX6" fmla="*/ 226035 w 607059"/>
                <a:gd name="connsiteY6" fmla="*/ 61816 h 930247"/>
                <a:gd name="connsiteX7" fmla="*/ 360243 w 607059"/>
                <a:gd name="connsiteY7" fmla="*/ 73341 h 930247"/>
                <a:gd name="connsiteX8" fmla="*/ 371768 w 607059"/>
                <a:gd name="connsiteY8" fmla="*/ 61816 h 930247"/>
                <a:gd name="connsiteX9" fmla="*/ 410916 w 607059"/>
                <a:gd name="connsiteY9" fmla="*/ 45052 h 930247"/>
                <a:gd name="connsiteX10" fmla="*/ 450159 w 607059"/>
                <a:gd name="connsiteY10" fmla="*/ 61816 h 930247"/>
                <a:gd name="connsiteX11" fmla="*/ 528645 w 607059"/>
                <a:gd name="connsiteY11" fmla="*/ 95439 h 930247"/>
                <a:gd name="connsiteX12" fmla="*/ 545409 w 607059"/>
                <a:gd name="connsiteY12" fmla="*/ 95439 h 930247"/>
                <a:gd name="connsiteX13" fmla="*/ 327381 w 607059"/>
                <a:gd name="connsiteY13" fmla="*/ 930210 h 930247"/>
                <a:gd name="connsiteX14" fmla="*/ 377864 w 607059"/>
                <a:gd name="connsiteY14" fmla="*/ 930210 h 930247"/>
                <a:gd name="connsiteX15" fmla="*/ 607035 w 607059"/>
                <a:gd name="connsiteY15" fmla="*/ 56005 h 930247"/>
                <a:gd name="connsiteX16" fmla="*/ 595796 w 607059"/>
                <a:gd name="connsiteY16" fmla="*/ 28002 h 930247"/>
                <a:gd name="connsiteX17" fmla="*/ 567792 w 607059"/>
                <a:gd name="connsiteY17" fmla="*/ 33622 h 930247"/>
                <a:gd name="connsiteX18" fmla="*/ 534169 w 607059"/>
                <a:gd name="connsiteY18" fmla="*/ 50481 h 930247"/>
                <a:gd name="connsiteX19" fmla="*/ 489402 w 607059"/>
                <a:gd name="connsiteY19" fmla="*/ 33622 h 930247"/>
                <a:gd name="connsiteX20" fmla="*/ 416535 w 607059"/>
                <a:gd name="connsiteY20" fmla="*/ -2 h 930247"/>
                <a:gd name="connsiteX21" fmla="*/ 343764 w 607059"/>
                <a:gd name="connsiteY21" fmla="*/ 33622 h 930247"/>
                <a:gd name="connsiteX22" fmla="*/ 267002 w 607059"/>
                <a:gd name="connsiteY22" fmla="*/ 35346 h 930247"/>
                <a:gd name="connsiteX23" fmla="*/ 265278 w 607059"/>
                <a:gd name="connsiteY23" fmla="*/ 33622 h 930247"/>
                <a:gd name="connsiteX24" fmla="*/ 192507 w 607059"/>
                <a:gd name="connsiteY24" fmla="*/ -2 h 930247"/>
                <a:gd name="connsiteX25" fmla="*/ 192507 w 607059"/>
                <a:gd name="connsiteY25" fmla="*/ -2 h 930247"/>
                <a:gd name="connsiteX26" fmla="*/ 119641 w 607059"/>
                <a:gd name="connsiteY26" fmla="*/ 33622 h 930247"/>
                <a:gd name="connsiteX27" fmla="*/ 74778 w 607059"/>
                <a:gd name="connsiteY27" fmla="*/ 50481 h 930247"/>
                <a:gd name="connsiteX28" fmla="*/ 41155 w 607059"/>
                <a:gd name="connsiteY28" fmla="*/ 33622 h 930247"/>
                <a:gd name="connsiteX29" fmla="*/ 13152 w 607059"/>
                <a:gd name="connsiteY29" fmla="*/ 28002 h 930247"/>
                <a:gd name="connsiteX30" fmla="*/ 1331 w 607059"/>
                <a:gd name="connsiteY30" fmla="*/ 54443 h 930247"/>
                <a:gd name="connsiteX31" fmla="*/ 2007 w 607059"/>
                <a:gd name="connsiteY31" fmla="*/ 56005 h 9302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607059" h="930247">
                  <a:moveTo>
                    <a:pt x="226035" y="930210"/>
                  </a:moveTo>
                  <a:lnTo>
                    <a:pt x="276518" y="930210"/>
                  </a:lnTo>
                  <a:lnTo>
                    <a:pt x="52395" y="95439"/>
                  </a:lnTo>
                  <a:lnTo>
                    <a:pt x="69254" y="95439"/>
                  </a:lnTo>
                  <a:cubicBezTo>
                    <a:pt x="98829" y="95163"/>
                    <a:pt x="127061" y="83056"/>
                    <a:pt x="147645" y="61816"/>
                  </a:cubicBezTo>
                  <a:cubicBezTo>
                    <a:pt x="168314" y="40165"/>
                    <a:pt x="202623" y="39375"/>
                    <a:pt x="224273" y="60054"/>
                  </a:cubicBezTo>
                  <a:cubicBezTo>
                    <a:pt x="224873" y="60625"/>
                    <a:pt x="225464" y="61216"/>
                    <a:pt x="226035" y="61816"/>
                  </a:cubicBezTo>
                  <a:cubicBezTo>
                    <a:pt x="259916" y="102059"/>
                    <a:pt x="320000" y="107221"/>
                    <a:pt x="360243" y="73341"/>
                  </a:cubicBezTo>
                  <a:cubicBezTo>
                    <a:pt x="364405" y="69836"/>
                    <a:pt x="368263" y="65978"/>
                    <a:pt x="371768" y="61816"/>
                  </a:cubicBezTo>
                  <a:cubicBezTo>
                    <a:pt x="381741" y="50767"/>
                    <a:pt x="396038" y="44642"/>
                    <a:pt x="410916" y="45052"/>
                  </a:cubicBezTo>
                  <a:cubicBezTo>
                    <a:pt x="425594" y="45699"/>
                    <a:pt x="439538" y="51662"/>
                    <a:pt x="450159" y="61816"/>
                  </a:cubicBezTo>
                  <a:cubicBezTo>
                    <a:pt x="470142" y="83971"/>
                    <a:pt x="498822" y="96258"/>
                    <a:pt x="528645" y="95439"/>
                  </a:cubicBezTo>
                  <a:lnTo>
                    <a:pt x="545409" y="95439"/>
                  </a:lnTo>
                  <a:lnTo>
                    <a:pt x="327381" y="930210"/>
                  </a:lnTo>
                  <a:lnTo>
                    <a:pt x="377864" y="930210"/>
                  </a:lnTo>
                  <a:lnTo>
                    <a:pt x="607035" y="56005"/>
                  </a:lnTo>
                  <a:cubicBezTo>
                    <a:pt x="607035" y="44861"/>
                    <a:pt x="607035" y="33622"/>
                    <a:pt x="595796" y="28002"/>
                  </a:cubicBezTo>
                  <a:cubicBezTo>
                    <a:pt x="586223" y="23706"/>
                    <a:pt x="574965" y="25963"/>
                    <a:pt x="567792" y="33622"/>
                  </a:cubicBezTo>
                  <a:cubicBezTo>
                    <a:pt x="559334" y="43566"/>
                    <a:pt x="547199" y="49643"/>
                    <a:pt x="534169" y="50481"/>
                  </a:cubicBezTo>
                  <a:cubicBezTo>
                    <a:pt x="517405" y="50481"/>
                    <a:pt x="506166" y="44861"/>
                    <a:pt x="489402" y="33622"/>
                  </a:cubicBezTo>
                  <a:cubicBezTo>
                    <a:pt x="467018" y="11238"/>
                    <a:pt x="444539" y="-2"/>
                    <a:pt x="416535" y="-2"/>
                  </a:cubicBezTo>
                  <a:cubicBezTo>
                    <a:pt x="388532" y="-2"/>
                    <a:pt x="366148" y="11238"/>
                    <a:pt x="343764" y="33622"/>
                  </a:cubicBezTo>
                  <a:cubicBezTo>
                    <a:pt x="323048" y="55291"/>
                    <a:pt x="288672" y="56063"/>
                    <a:pt x="267002" y="35346"/>
                  </a:cubicBezTo>
                  <a:cubicBezTo>
                    <a:pt x="266412" y="34784"/>
                    <a:pt x="265840" y="34212"/>
                    <a:pt x="265278" y="33622"/>
                  </a:cubicBezTo>
                  <a:cubicBezTo>
                    <a:pt x="247600" y="11667"/>
                    <a:pt x="220682" y="-764"/>
                    <a:pt x="192507" y="-2"/>
                  </a:cubicBezTo>
                  <a:lnTo>
                    <a:pt x="192507" y="-2"/>
                  </a:lnTo>
                  <a:cubicBezTo>
                    <a:pt x="164294" y="-792"/>
                    <a:pt x="137339" y="11647"/>
                    <a:pt x="119641" y="33622"/>
                  </a:cubicBezTo>
                  <a:cubicBezTo>
                    <a:pt x="107459" y="44871"/>
                    <a:pt x="91361" y="50919"/>
                    <a:pt x="74778" y="50481"/>
                  </a:cubicBezTo>
                  <a:cubicBezTo>
                    <a:pt x="63634" y="50481"/>
                    <a:pt x="46775" y="44861"/>
                    <a:pt x="41155" y="33622"/>
                  </a:cubicBezTo>
                  <a:cubicBezTo>
                    <a:pt x="33992" y="25935"/>
                    <a:pt x="22724" y="23668"/>
                    <a:pt x="13152" y="28002"/>
                  </a:cubicBezTo>
                  <a:cubicBezTo>
                    <a:pt x="2588" y="32040"/>
                    <a:pt x="-2707" y="43880"/>
                    <a:pt x="1331" y="54443"/>
                  </a:cubicBezTo>
                  <a:cubicBezTo>
                    <a:pt x="1541" y="54977"/>
                    <a:pt x="1760" y="55491"/>
                    <a:pt x="2007" y="5600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5F8E61C-D269-5A24-76BE-86AD45CF3D0D}"/>
                </a:ext>
              </a:extLst>
            </p:cNvPr>
            <p:cNvSpPr/>
            <p:nvPr/>
          </p:nvSpPr>
          <p:spPr>
            <a:xfrm>
              <a:off x="5820389" y="6666594"/>
              <a:ext cx="564854" cy="191406"/>
            </a:xfrm>
            <a:custGeom>
              <a:avLst/>
              <a:gdLst>
                <a:gd name="connsiteX0" fmla="*/ -24 w 347281"/>
                <a:gd name="connsiteY0" fmla="*/ -37 h 117679"/>
                <a:gd name="connsiteX1" fmla="*/ 242959 w 347281"/>
                <a:gd name="connsiteY1" fmla="*/ 104261 h 117679"/>
                <a:gd name="connsiteX2" fmla="*/ 347258 w 347281"/>
                <a:gd name="connsiteY2" fmla="*/ -37 h 117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47281" h="117679">
                  <a:moveTo>
                    <a:pt x="-24" y="-37"/>
                  </a:moveTo>
                  <a:cubicBezTo>
                    <a:pt x="38276" y="95860"/>
                    <a:pt x="147061" y="142552"/>
                    <a:pt x="242959" y="104261"/>
                  </a:cubicBezTo>
                  <a:cubicBezTo>
                    <a:pt x="290546" y="85249"/>
                    <a:pt x="328255" y="47550"/>
                    <a:pt x="347258" y="-37"/>
                  </a:cubicBezTo>
                  <a:close/>
                </a:path>
              </a:pathLst>
            </a:custGeom>
            <a:solidFill>
              <a:srgbClr val="6D69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B4636A00-4C17-3697-C89D-31111ED2D902}"/>
                </a:ext>
              </a:extLst>
            </p:cNvPr>
            <p:cNvSpPr/>
            <p:nvPr/>
          </p:nvSpPr>
          <p:spPr>
            <a:xfrm>
              <a:off x="5610777" y="5586307"/>
              <a:ext cx="993221" cy="1080289"/>
            </a:xfrm>
            <a:custGeom>
              <a:avLst/>
              <a:gdLst>
                <a:gd name="connsiteX0" fmla="*/ 509754 w 610648"/>
                <a:gd name="connsiteY0" fmla="*/ 664141 h 664179"/>
                <a:gd name="connsiteX1" fmla="*/ 100846 w 610648"/>
                <a:gd name="connsiteY1" fmla="*/ 664141 h 664179"/>
                <a:gd name="connsiteX2" fmla="*/ -24 w 610648"/>
                <a:gd name="connsiteY2" fmla="*/ 564224 h 664179"/>
                <a:gd name="connsiteX3" fmla="*/ -24 w 610648"/>
                <a:gd name="connsiteY3" fmla="*/ 563271 h 664179"/>
                <a:gd name="connsiteX4" fmla="*/ -24 w 610648"/>
                <a:gd name="connsiteY4" fmla="*/ -37 h 664179"/>
                <a:gd name="connsiteX5" fmla="*/ 610624 w 610648"/>
                <a:gd name="connsiteY5" fmla="*/ -37 h 664179"/>
                <a:gd name="connsiteX6" fmla="*/ 610624 w 610648"/>
                <a:gd name="connsiteY6" fmla="*/ 563176 h 664179"/>
                <a:gd name="connsiteX7" fmla="*/ 510611 w 610648"/>
                <a:gd name="connsiteY7" fmla="*/ 664141 h 664179"/>
                <a:gd name="connsiteX8" fmla="*/ 509754 w 610648"/>
                <a:gd name="connsiteY8" fmla="*/ 664141 h 664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10648" h="664179">
                  <a:moveTo>
                    <a:pt x="509754" y="664141"/>
                  </a:moveTo>
                  <a:lnTo>
                    <a:pt x="100846" y="664141"/>
                  </a:lnTo>
                  <a:cubicBezTo>
                    <a:pt x="45401" y="664408"/>
                    <a:pt x="243" y="619669"/>
                    <a:pt x="-24" y="564224"/>
                  </a:cubicBezTo>
                  <a:cubicBezTo>
                    <a:pt x="-24" y="563910"/>
                    <a:pt x="-24" y="563586"/>
                    <a:pt x="-24" y="563271"/>
                  </a:cubicBezTo>
                  <a:lnTo>
                    <a:pt x="-24" y="-37"/>
                  </a:lnTo>
                  <a:lnTo>
                    <a:pt x="610624" y="-37"/>
                  </a:lnTo>
                  <a:lnTo>
                    <a:pt x="610624" y="563176"/>
                  </a:lnTo>
                  <a:cubicBezTo>
                    <a:pt x="610891" y="618678"/>
                    <a:pt x="566114" y="663874"/>
                    <a:pt x="510611" y="664141"/>
                  </a:cubicBezTo>
                  <a:cubicBezTo>
                    <a:pt x="510326" y="664141"/>
                    <a:pt x="510040" y="664141"/>
                    <a:pt x="509754" y="664141"/>
                  </a:cubicBezTo>
                  <a:close/>
                </a:path>
              </a:pathLst>
            </a:custGeom>
            <a:solidFill>
              <a:srgbClr val="7F7B78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EFCAF09A-FB99-F3FF-1DF6-B05FE3B86623}"/>
                </a:ext>
              </a:extLst>
            </p:cNvPr>
            <p:cNvSpPr/>
            <p:nvPr/>
          </p:nvSpPr>
          <p:spPr>
            <a:xfrm>
              <a:off x="5510541" y="5832635"/>
              <a:ext cx="1184551" cy="200471"/>
            </a:xfrm>
            <a:custGeom>
              <a:avLst/>
              <a:gdLst>
                <a:gd name="connsiteX0" fmla="*/ 666631 w 728281"/>
                <a:gd name="connsiteY0" fmla="*/ 123216 h 123253"/>
                <a:gd name="connsiteX1" fmla="*/ 61603 w 728281"/>
                <a:gd name="connsiteY1" fmla="*/ 123216 h 123253"/>
                <a:gd name="connsiteX2" fmla="*/ -24 w 728281"/>
                <a:gd name="connsiteY2" fmla="*/ 61590 h 123253"/>
                <a:gd name="connsiteX3" fmla="*/ -24 w 728281"/>
                <a:gd name="connsiteY3" fmla="*/ 61590 h 123253"/>
                <a:gd name="connsiteX4" fmla="*/ 61603 w 728281"/>
                <a:gd name="connsiteY4" fmla="*/ -37 h 123253"/>
                <a:gd name="connsiteX5" fmla="*/ 666631 w 728281"/>
                <a:gd name="connsiteY5" fmla="*/ -37 h 123253"/>
                <a:gd name="connsiteX6" fmla="*/ 728258 w 728281"/>
                <a:gd name="connsiteY6" fmla="*/ 61590 h 123253"/>
                <a:gd name="connsiteX7" fmla="*/ 728258 w 728281"/>
                <a:gd name="connsiteY7" fmla="*/ 61590 h 123253"/>
                <a:gd name="connsiteX8" fmla="*/ 666631 w 728281"/>
                <a:gd name="connsiteY8" fmla="*/ 123216 h 123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8281" h="123253">
                  <a:moveTo>
                    <a:pt x="666631" y="123216"/>
                  </a:moveTo>
                  <a:lnTo>
                    <a:pt x="61603" y="123216"/>
                  </a:lnTo>
                  <a:cubicBezTo>
                    <a:pt x="27694" y="122902"/>
                    <a:pt x="291" y="95499"/>
                    <a:pt x="-24" y="61590"/>
                  </a:cubicBezTo>
                  <a:lnTo>
                    <a:pt x="-24" y="61590"/>
                  </a:lnTo>
                  <a:cubicBezTo>
                    <a:pt x="291" y="27681"/>
                    <a:pt x="27694" y="277"/>
                    <a:pt x="61603" y="-37"/>
                  </a:cubicBezTo>
                  <a:lnTo>
                    <a:pt x="666631" y="-37"/>
                  </a:lnTo>
                  <a:cubicBezTo>
                    <a:pt x="700540" y="277"/>
                    <a:pt x="727944" y="27681"/>
                    <a:pt x="728258" y="61590"/>
                  </a:cubicBezTo>
                  <a:lnTo>
                    <a:pt x="728258" y="61590"/>
                  </a:lnTo>
                  <a:cubicBezTo>
                    <a:pt x="727944" y="95499"/>
                    <a:pt x="700540" y="122902"/>
                    <a:pt x="666631" y="123216"/>
                  </a:cubicBezTo>
                  <a:close/>
                </a:path>
              </a:pathLst>
            </a:custGeom>
            <a:solidFill>
              <a:srgbClr val="A7A7A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8E1E3184-E4B4-B33E-ADBB-963BECAE9793}"/>
                </a:ext>
              </a:extLst>
            </p:cNvPr>
            <p:cNvSpPr/>
            <p:nvPr/>
          </p:nvSpPr>
          <p:spPr>
            <a:xfrm>
              <a:off x="5510541" y="6249383"/>
              <a:ext cx="1184551" cy="200471"/>
            </a:xfrm>
            <a:custGeom>
              <a:avLst/>
              <a:gdLst>
                <a:gd name="connsiteX0" fmla="*/ 666631 w 728281"/>
                <a:gd name="connsiteY0" fmla="*/ 123216 h 123253"/>
                <a:gd name="connsiteX1" fmla="*/ 61603 w 728281"/>
                <a:gd name="connsiteY1" fmla="*/ 123216 h 123253"/>
                <a:gd name="connsiteX2" fmla="*/ -24 w 728281"/>
                <a:gd name="connsiteY2" fmla="*/ 61590 h 123253"/>
                <a:gd name="connsiteX3" fmla="*/ -24 w 728281"/>
                <a:gd name="connsiteY3" fmla="*/ 61590 h 123253"/>
                <a:gd name="connsiteX4" fmla="*/ 61603 w 728281"/>
                <a:gd name="connsiteY4" fmla="*/ -37 h 123253"/>
                <a:gd name="connsiteX5" fmla="*/ 666631 w 728281"/>
                <a:gd name="connsiteY5" fmla="*/ -37 h 123253"/>
                <a:gd name="connsiteX6" fmla="*/ 728258 w 728281"/>
                <a:gd name="connsiteY6" fmla="*/ 61590 h 123253"/>
                <a:gd name="connsiteX7" fmla="*/ 728258 w 728281"/>
                <a:gd name="connsiteY7" fmla="*/ 61590 h 123253"/>
                <a:gd name="connsiteX8" fmla="*/ 666631 w 728281"/>
                <a:gd name="connsiteY8" fmla="*/ 123216 h 123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8281" h="123253">
                  <a:moveTo>
                    <a:pt x="666631" y="123216"/>
                  </a:moveTo>
                  <a:lnTo>
                    <a:pt x="61603" y="123216"/>
                  </a:lnTo>
                  <a:cubicBezTo>
                    <a:pt x="27694" y="122902"/>
                    <a:pt x="291" y="95499"/>
                    <a:pt x="-24" y="61590"/>
                  </a:cubicBezTo>
                  <a:lnTo>
                    <a:pt x="-24" y="61590"/>
                  </a:lnTo>
                  <a:cubicBezTo>
                    <a:pt x="291" y="27681"/>
                    <a:pt x="27694" y="277"/>
                    <a:pt x="61603" y="-37"/>
                  </a:cubicBezTo>
                  <a:lnTo>
                    <a:pt x="666631" y="-37"/>
                  </a:lnTo>
                  <a:cubicBezTo>
                    <a:pt x="700540" y="277"/>
                    <a:pt x="727944" y="27681"/>
                    <a:pt x="728258" y="61590"/>
                  </a:cubicBezTo>
                  <a:lnTo>
                    <a:pt x="728258" y="61590"/>
                  </a:lnTo>
                  <a:cubicBezTo>
                    <a:pt x="727944" y="95499"/>
                    <a:pt x="700540" y="122902"/>
                    <a:pt x="666631" y="123216"/>
                  </a:cubicBezTo>
                  <a:close/>
                </a:path>
              </a:pathLst>
            </a:custGeom>
            <a:solidFill>
              <a:srgbClr val="A7A7A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766E0954-71DF-CC26-5BFC-8466F9B4A1CB}"/>
                </a:ext>
              </a:extLst>
            </p:cNvPr>
            <p:cNvSpPr/>
            <p:nvPr/>
          </p:nvSpPr>
          <p:spPr>
            <a:xfrm>
              <a:off x="6394735" y="3164184"/>
              <a:ext cx="723854" cy="820358"/>
            </a:xfrm>
            <a:custGeom>
              <a:avLst/>
              <a:gdLst>
                <a:gd name="connsiteX0" fmla="*/ 392572 w 445037"/>
                <a:gd name="connsiteY0" fmla="*/ 504331 h 504369"/>
                <a:gd name="connsiteX1" fmla="*/ 341708 w 445037"/>
                <a:gd name="connsiteY1" fmla="*/ 464612 h 504369"/>
                <a:gd name="connsiteX2" fmla="*/ 29955 w 445037"/>
                <a:gd name="connsiteY2" fmla="*/ 99709 h 504369"/>
                <a:gd name="connsiteX3" fmla="*/ 5028 w 445037"/>
                <a:gd name="connsiteY3" fmla="*/ 29939 h 504369"/>
                <a:gd name="connsiteX4" fmla="*/ 70532 w 445037"/>
                <a:gd name="connsiteY4" fmla="*/ 3221 h 504369"/>
                <a:gd name="connsiteX5" fmla="*/ 443435 w 445037"/>
                <a:gd name="connsiteY5" fmla="*/ 439180 h 504369"/>
                <a:gd name="connsiteX6" fmla="*/ 405335 w 445037"/>
                <a:gd name="connsiteY6" fmla="*/ 502712 h 504369"/>
                <a:gd name="connsiteX7" fmla="*/ 392572 w 445037"/>
                <a:gd name="connsiteY7" fmla="*/ 504331 h 504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5037" h="504369">
                  <a:moveTo>
                    <a:pt x="392572" y="504331"/>
                  </a:moveTo>
                  <a:cubicBezTo>
                    <a:pt x="368521" y="504312"/>
                    <a:pt x="347557" y="487939"/>
                    <a:pt x="341708" y="464612"/>
                  </a:cubicBezTo>
                  <a:cubicBezTo>
                    <a:pt x="300446" y="300982"/>
                    <a:pt x="185136" y="166013"/>
                    <a:pt x="29955" y="99709"/>
                  </a:cubicBezTo>
                  <a:cubicBezTo>
                    <a:pt x="3809" y="87327"/>
                    <a:pt x="-7354" y="56094"/>
                    <a:pt x="5028" y="29939"/>
                  </a:cubicBezTo>
                  <a:cubicBezTo>
                    <a:pt x="16639" y="5412"/>
                    <a:pt x="45071" y="-6190"/>
                    <a:pt x="70532" y="3221"/>
                  </a:cubicBezTo>
                  <a:cubicBezTo>
                    <a:pt x="256060" y="82374"/>
                    <a:pt x="393991" y="243623"/>
                    <a:pt x="443435" y="439180"/>
                  </a:cubicBezTo>
                  <a:cubicBezTo>
                    <a:pt x="450455" y="467241"/>
                    <a:pt x="433396" y="495683"/>
                    <a:pt x="405335" y="502712"/>
                  </a:cubicBezTo>
                  <a:cubicBezTo>
                    <a:pt x="401173" y="503817"/>
                    <a:pt x="396877" y="504360"/>
                    <a:pt x="392572" y="504331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C600F27D-9A43-3980-EC57-B1F46CC209C3}"/>
                </a:ext>
              </a:extLst>
            </p:cNvPr>
            <p:cNvSpPr/>
            <p:nvPr/>
          </p:nvSpPr>
          <p:spPr>
            <a:xfrm>
              <a:off x="7799240" y="4442344"/>
              <a:ext cx="10533" cy="50194"/>
            </a:xfrm>
            <a:custGeom>
              <a:avLst/>
              <a:gdLst>
                <a:gd name="connsiteX0" fmla="*/ 6453 w 6476"/>
                <a:gd name="connsiteY0" fmla="*/ -37 h 30860"/>
                <a:gd name="connsiteX1" fmla="*/ -24 w 6476"/>
                <a:gd name="connsiteY1" fmla="*/ 30824 h 3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476" h="30860">
                  <a:moveTo>
                    <a:pt x="6453" y="-37"/>
                  </a:moveTo>
                  <a:cubicBezTo>
                    <a:pt x="4453" y="10345"/>
                    <a:pt x="2262" y="20632"/>
                    <a:pt x="-24" y="30824"/>
                  </a:cubicBezTo>
                </a:path>
              </a:pathLst>
            </a:custGeom>
            <a:noFill/>
            <a:ln w="28575" cap="rnd">
              <a:solidFill>
                <a:srgbClr val="BC264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E4B44D8-E88E-6ECD-2197-9E0FA0883474}"/>
                </a:ext>
              </a:extLst>
            </p:cNvPr>
            <p:cNvSpPr/>
            <p:nvPr/>
          </p:nvSpPr>
          <p:spPr>
            <a:xfrm>
              <a:off x="7402787" y="4592466"/>
              <a:ext cx="370888" cy="671906"/>
            </a:xfrm>
            <a:custGeom>
              <a:avLst/>
              <a:gdLst>
                <a:gd name="connsiteX0" fmla="*/ 228005 w 228028"/>
                <a:gd name="connsiteY0" fmla="*/ -37 h 413099"/>
                <a:gd name="connsiteX1" fmla="*/ -24 w 228028"/>
                <a:gd name="connsiteY1" fmla="*/ 413062 h 413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8028" h="413099">
                  <a:moveTo>
                    <a:pt x="228005" y="-37"/>
                  </a:moveTo>
                  <a:cubicBezTo>
                    <a:pt x="183761" y="152944"/>
                    <a:pt x="105847" y="294095"/>
                    <a:pt x="-24" y="413062"/>
                  </a:cubicBezTo>
                </a:path>
              </a:pathLst>
            </a:custGeom>
            <a:noFill/>
            <a:ln w="28575" cap="rnd">
              <a:solidFill>
                <a:schemeClr val="accent6"/>
              </a:solidFill>
              <a:custDash>
                <a:ds d="499500" sp="49950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4F5E53D-0262-BA89-F02E-A0F95B7F2D72}"/>
                </a:ext>
              </a:extLst>
            </p:cNvPr>
            <p:cNvSpPr/>
            <p:nvPr/>
          </p:nvSpPr>
          <p:spPr>
            <a:xfrm>
              <a:off x="7332297" y="5302485"/>
              <a:ext cx="35632" cy="36717"/>
            </a:xfrm>
            <a:custGeom>
              <a:avLst/>
              <a:gdLst>
                <a:gd name="connsiteX0" fmla="*/ 21884 w 21907"/>
                <a:gd name="connsiteY0" fmla="*/ -37 h 22574"/>
                <a:gd name="connsiteX1" fmla="*/ -24 w 21907"/>
                <a:gd name="connsiteY1" fmla="*/ 22537 h 22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07" h="22574">
                  <a:moveTo>
                    <a:pt x="21884" y="-37"/>
                  </a:moveTo>
                  <a:cubicBezTo>
                    <a:pt x="14645" y="7583"/>
                    <a:pt x="7406" y="15108"/>
                    <a:pt x="-24" y="22537"/>
                  </a:cubicBezTo>
                </a:path>
              </a:pathLst>
            </a:custGeom>
            <a:noFill/>
            <a:ln w="28575" cap="rnd">
              <a:solidFill>
                <a:schemeClr val="accent6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0341091-204A-F192-49AD-BE951B1C42AB}"/>
                </a:ext>
              </a:extLst>
            </p:cNvPr>
            <p:cNvSpPr/>
            <p:nvPr/>
          </p:nvSpPr>
          <p:spPr>
            <a:xfrm>
              <a:off x="7544544" y="3137416"/>
              <a:ext cx="28041" cy="42913"/>
            </a:xfrm>
            <a:custGeom>
              <a:avLst/>
              <a:gdLst>
                <a:gd name="connsiteX0" fmla="*/ -24 w 17240"/>
                <a:gd name="connsiteY0" fmla="*/ -37 h 26384"/>
                <a:gd name="connsiteX1" fmla="*/ 17217 w 17240"/>
                <a:gd name="connsiteY1" fmla="*/ 26347 h 26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240" h="26384">
                  <a:moveTo>
                    <a:pt x="-24" y="-37"/>
                  </a:moveTo>
                  <a:cubicBezTo>
                    <a:pt x="5882" y="8631"/>
                    <a:pt x="11597" y="17394"/>
                    <a:pt x="17217" y="26347"/>
                  </a:cubicBezTo>
                </a:path>
              </a:pathLst>
            </a:custGeom>
            <a:noFill/>
            <a:ln w="28575" cap="rnd">
              <a:solidFill>
                <a:srgbClr val="C4007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ACC5B8A6-30DE-4AB1-5ABA-650617263BE6}"/>
                </a:ext>
              </a:extLst>
            </p:cNvPr>
            <p:cNvSpPr/>
            <p:nvPr/>
          </p:nvSpPr>
          <p:spPr>
            <a:xfrm>
              <a:off x="7622316" y="3263680"/>
              <a:ext cx="219221" cy="1079976"/>
            </a:xfrm>
            <a:custGeom>
              <a:avLst/>
              <a:gdLst>
                <a:gd name="connsiteX0" fmla="*/ -24 w 134781"/>
                <a:gd name="connsiteY0" fmla="*/ -37 h 663987"/>
                <a:gd name="connsiteX1" fmla="*/ 125135 w 134781"/>
                <a:gd name="connsiteY1" fmla="*/ 663951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4781" h="663987">
                  <a:moveTo>
                    <a:pt x="-24" y="-37"/>
                  </a:moveTo>
                  <a:cubicBezTo>
                    <a:pt x="112124" y="202036"/>
                    <a:pt x="156015" y="434922"/>
                    <a:pt x="125135" y="663951"/>
                  </a:cubicBezTo>
                </a:path>
              </a:pathLst>
            </a:custGeom>
            <a:noFill/>
            <a:ln w="28575" cap="rnd">
              <a:solidFill>
                <a:srgbClr val="C40079"/>
              </a:solidFill>
              <a:custDash>
                <a:ds d="471000" sp="47100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DDA52D-DED6-3480-5A14-7947891A433B}"/>
                </a:ext>
              </a:extLst>
            </p:cNvPr>
            <p:cNvSpPr/>
            <p:nvPr/>
          </p:nvSpPr>
          <p:spPr>
            <a:xfrm>
              <a:off x="7815691" y="4364014"/>
              <a:ext cx="8985" cy="50351"/>
            </a:xfrm>
            <a:custGeom>
              <a:avLst/>
              <a:gdLst>
                <a:gd name="connsiteX0" fmla="*/ 5501 w 5524"/>
                <a:gd name="connsiteY0" fmla="*/ -37 h 30956"/>
                <a:gd name="connsiteX1" fmla="*/ -24 w 5524"/>
                <a:gd name="connsiteY1" fmla="*/ 30919 h 30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24" h="30956">
                  <a:moveTo>
                    <a:pt x="5501" y="-37"/>
                  </a:moveTo>
                  <a:cubicBezTo>
                    <a:pt x="3786" y="10345"/>
                    <a:pt x="1976" y="20632"/>
                    <a:pt x="-24" y="30919"/>
                  </a:cubicBezTo>
                </a:path>
              </a:pathLst>
            </a:custGeom>
            <a:solidFill>
              <a:srgbClr val="C40079"/>
            </a:solidFill>
            <a:ln w="28575" cap="rnd">
              <a:solidFill>
                <a:srgbClr val="C40079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B207EFC9-6A57-423D-5BC9-BE9D0615385A}"/>
                </a:ext>
              </a:extLst>
            </p:cNvPr>
            <p:cNvSpPr/>
            <p:nvPr/>
          </p:nvSpPr>
          <p:spPr>
            <a:xfrm>
              <a:off x="6102662" y="2370695"/>
              <a:ext cx="1441881" cy="766721"/>
            </a:xfrm>
            <a:custGeom>
              <a:avLst/>
              <a:gdLst>
                <a:gd name="connsiteX0" fmla="*/ -24 w 886491"/>
                <a:gd name="connsiteY0" fmla="*/ -37 h 471392"/>
                <a:gd name="connsiteX1" fmla="*/ 886468 w 886491"/>
                <a:gd name="connsiteY1" fmla="*/ 471355 h 4713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6491" h="471392">
                  <a:moveTo>
                    <a:pt x="-24" y="-37"/>
                  </a:moveTo>
                  <a:cubicBezTo>
                    <a:pt x="355516" y="-266"/>
                    <a:pt x="687862" y="176452"/>
                    <a:pt x="886468" y="471355"/>
                  </a:cubicBezTo>
                </a:path>
              </a:pathLst>
            </a:custGeom>
            <a:noFill/>
            <a:ln w="28575" cap="rnd">
              <a:solidFill>
                <a:schemeClr val="accent2"/>
              </a:solidFill>
              <a:custDash>
                <a:ds d="495750" sp="49575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2D70465-E2DA-1BD1-D7BD-6AE735620E3A}"/>
                </a:ext>
              </a:extLst>
            </p:cNvPr>
            <p:cNvSpPr/>
            <p:nvPr/>
          </p:nvSpPr>
          <p:spPr>
            <a:xfrm>
              <a:off x="4639556" y="3126881"/>
              <a:ext cx="28350" cy="42603"/>
            </a:xfrm>
            <a:custGeom>
              <a:avLst/>
              <a:gdLst>
                <a:gd name="connsiteX0" fmla="*/ -24 w 17430"/>
                <a:gd name="connsiteY0" fmla="*/ 26157 h 26193"/>
                <a:gd name="connsiteX1" fmla="*/ 17407 w 17430"/>
                <a:gd name="connsiteY1" fmla="*/ -37 h 26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430" h="26193">
                  <a:moveTo>
                    <a:pt x="-24" y="26157"/>
                  </a:moveTo>
                  <a:cubicBezTo>
                    <a:pt x="5691" y="17394"/>
                    <a:pt x="11502" y="8631"/>
                    <a:pt x="17407" y="-37"/>
                  </a:cubicBezTo>
                </a:path>
              </a:pathLst>
            </a:custGeom>
            <a:noFill/>
            <a:ln w="28575" cap="rnd">
              <a:solidFill>
                <a:schemeClr val="tx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42840A7-2403-4DF5-7BD3-0F0E35ECA660}"/>
                </a:ext>
              </a:extLst>
            </p:cNvPr>
            <p:cNvSpPr/>
            <p:nvPr/>
          </p:nvSpPr>
          <p:spPr>
            <a:xfrm>
              <a:off x="4732356" y="2373949"/>
              <a:ext cx="1264493" cy="665090"/>
            </a:xfrm>
            <a:custGeom>
              <a:avLst/>
              <a:gdLst>
                <a:gd name="connsiteX0" fmla="*/ -24 w 777430"/>
                <a:gd name="connsiteY0" fmla="*/ 408871 h 408908"/>
                <a:gd name="connsiteX1" fmla="*/ 777407 w 777430"/>
                <a:gd name="connsiteY1" fmla="*/ -37 h 4089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777430" h="408908">
                  <a:moveTo>
                    <a:pt x="-24" y="408871"/>
                  </a:moveTo>
                  <a:cubicBezTo>
                    <a:pt x="188428" y="167317"/>
                    <a:pt x="471588" y="18384"/>
                    <a:pt x="777407" y="-37"/>
                  </a:cubicBezTo>
                </a:path>
              </a:pathLst>
            </a:custGeom>
            <a:noFill/>
            <a:ln w="28575" cap="rnd">
              <a:solidFill>
                <a:schemeClr val="tx2"/>
              </a:solidFill>
              <a:custDash>
                <a:ds d="528000" sp="52800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2A434CD-552D-9C8F-B5EF-B524B3429504}"/>
                </a:ext>
              </a:extLst>
            </p:cNvPr>
            <p:cNvSpPr/>
            <p:nvPr/>
          </p:nvSpPr>
          <p:spPr>
            <a:xfrm>
              <a:off x="6051382" y="2370695"/>
              <a:ext cx="51279" cy="774"/>
            </a:xfrm>
            <a:custGeom>
              <a:avLst/>
              <a:gdLst>
                <a:gd name="connsiteX0" fmla="*/ -24 w 31527"/>
                <a:gd name="connsiteY0" fmla="*/ 439 h 476"/>
                <a:gd name="connsiteX1" fmla="*/ 31504 w 31527"/>
                <a:gd name="connsiteY1" fmla="*/ -37 h 4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1527" h="476">
                  <a:moveTo>
                    <a:pt x="-24" y="439"/>
                  </a:moveTo>
                  <a:cubicBezTo>
                    <a:pt x="10454" y="439"/>
                    <a:pt x="20931" y="-37"/>
                    <a:pt x="31504" y="-37"/>
                  </a:cubicBezTo>
                </a:path>
              </a:pathLst>
            </a:custGeom>
            <a:noFill/>
            <a:ln w="28575" cap="rnd">
              <a:solidFill>
                <a:schemeClr val="accent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07D7C52-301D-0432-88FB-07B217D65E37}"/>
                </a:ext>
              </a:extLst>
            </p:cNvPr>
            <p:cNvSpPr/>
            <p:nvPr/>
          </p:nvSpPr>
          <p:spPr>
            <a:xfrm>
              <a:off x="4377734" y="4331573"/>
              <a:ext cx="7280" cy="50659"/>
            </a:xfrm>
            <a:custGeom>
              <a:avLst/>
              <a:gdLst>
                <a:gd name="connsiteX0" fmla="*/ 4453 w 4476"/>
                <a:gd name="connsiteY0" fmla="*/ 31109 h 31146"/>
                <a:gd name="connsiteX1" fmla="*/ -24 w 4476"/>
                <a:gd name="connsiteY1" fmla="*/ -37 h 3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76" h="31146">
                  <a:moveTo>
                    <a:pt x="4453" y="31109"/>
                  </a:moveTo>
                  <a:cubicBezTo>
                    <a:pt x="2834" y="20823"/>
                    <a:pt x="1310" y="10440"/>
                    <a:pt x="-24" y="-37"/>
                  </a:cubicBezTo>
                </a:path>
              </a:pathLst>
            </a:custGeom>
            <a:solidFill>
              <a:schemeClr val="accent1"/>
            </a:solidFill>
            <a:ln w="285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BDCE3CB-3FD7-A90C-9E03-01A5809EDACE}"/>
                </a:ext>
              </a:extLst>
            </p:cNvPr>
            <p:cNvSpPr/>
            <p:nvPr/>
          </p:nvSpPr>
          <p:spPr>
            <a:xfrm>
              <a:off x="4363633" y="3258722"/>
              <a:ext cx="222008" cy="967502"/>
            </a:xfrm>
            <a:custGeom>
              <a:avLst/>
              <a:gdLst>
                <a:gd name="connsiteX0" fmla="*/ 2359 w 136494"/>
                <a:gd name="connsiteY0" fmla="*/ 594799 h 594836"/>
                <a:gd name="connsiteX1" fmla="*/ -22 w 136494"/>
                <a:gd name="connsiteY1" fmla="*/ 523076 h 594836"/>
                <a:gd name="connsiteX2" fmla="*/ 136471 w 136494"/>
                <a:gd name="connsiteY2" fmla="*/ -37 h 5948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6494" h="594836">
                  <a:moveTo>
                    <a:pt x="2359" y="594799"/>
                  </a:moveTo>
                  <a:cubicBezTo>
                    <a:pt x="768" y="571053"/>
                    <a:pt x="-22" y="547146"/>
                    <a:pt x="-22" y="523076"/>
                  </a:cubicBezTo>
                  <a:cubicBezTo>
                    <a:pt x="-327" y="339863"/>
                    <a:pt x="46688" y="159668"/>
                    <a:pt x="136471" y="-37"/>
                  </a:cubicBezTo>
                </a:path>
              </a:pathLst>
            </a:custGeom>
            <a:noFill/>
            <a:ln w="28575" cap="rnd">
              <a:solidFill>
                <a:schemeClr val="accent3"/>
              </a:solidFill>
              <a:custDash>
                <a:ds d="512250" sp="51225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5CFD22C-7759-8318-7895-06C96DAF473B}"/>
                </a:ext>
              </a:extLst>
            </p:cNvPr>
            <p:cNvSpPr/>
            <p:nvPr/>
          </p:nvSpPr>
          <p:spPr>
            <a:xfrm>
              <a:off x="4612444" y="3169485"/>
              <a:ext cx="27111" cy="43534"/>
            </a:xfrm>
            <a:custGeom>
              <a:avLst/>
              <a:gdLst>
                <a:gd name="connsiteX0" fmla="*/ -24 w 16668"/>
                <a:gd name="connsiteY0" fmla="*/ 26728 h 26765"/>
                <a:gd name="connsiteX1" fmla="*/ 16645 w 16668"/>
                <a:gd name="connsiteY1" fmla="*/ -37 h 26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668" h="26765">
                  <a:moveTo>
                    <a:pt x="-24" y="26728"/>
                  </a:moveTo>
                  <a:cubicBezTo>
                    <a:pt x="5406" y="17775"/>
                    <a:pt x="10930" y="8821"/>
                    <a:pt x="16645" y="-37"/>
                  </a:cubicBezTo>
                </a:path>
              </a:pathLst>
            </a:custGeom>
            <a:noFill/>
            <a:ln w="28575" cap="rnd">
              <a:solidFill>
                <a:schemeClr val="tx2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B8D29B0D-31D9-4D43-F899-CF2BECDA63D3}"/>
                </a:ext>
              </a:extLst>
            </p:cNvPr>
            <p:cNvSpPr/>
            <p:nvPr/>
          </p:nvSpPr>
          <p:spPr>
            <a:xfrm>
              <a:off x="4836246" y="5307799"/>
              <a:ext cx="35632" cy="36717"/>
            </a:xfrm>
            <a:custGeom>
              <a:avLst/>
              <a:gdLst>
                <a:gd name="connsiteX0" fmla="*/ 21884 w 21907"/>
                <a:gd name="connsiteY0" fmla="*/ 22537 h 22574"/>
                <a:gd name="connsiteX1" fmla="*/ -24 w 21907"/>
                <a:gd name="connsiteY1" fmla="*/ -37 h 22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907" h="22574">
                  <a:moveTo>
                    <a:pt x="21884" y="22537"/>
                  </a:moveTo>
                  <a:cubicBezTo>
                    <a:pt x="14454" y="15108"/>
                    <a:pt x="7215" y="7583"/>
                    <a:pt x="-24" y="-37"/>
                  </a:cubicBezTo>
                </a:path>
              </a:pathLst>
            </a:custGeom>
            <a:solidFill>
              <a:schemeClr val="accent1"/>
            </a:solidFill>
            <a:ln w="285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8E35FF5-5024-8849-3549-CAC16F6521E2}"/>
                </a:ext>
              </a:extLst>
            </p:cNvPr>
            <p:cNvSpPr/>
            <p:nvPr/>
          </p:nvSpPr>
          <p:spPr>
            <a:xfrm>
              <a:off x="4403697" y="4467233"/>
              <a:ext cx="359734" cy="733877"/>
            </a:xfrm>
            <a:custGeom>
              <a:avLst/>
              <a:gdLst>
                <a:gd name="connsiteX0" fmla="*/ 221147 w 221170"/>
                <a:gd name="connsiteY0" fmla="*/ 451162 h 451199"/>
                <a:gd name="connsiteX1" fmla="*/ -24 w 221170"/>
                <a:gd name="connsiteY1" fmla="*/ -37 h 451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170" h="451199">
                  <a:moveTo>
                    <a:pt x="221147" y="451162"/>
                  </a:moveTo>
                  <a:cubicBezTo>
                    <a:pt x="112486" y="320565"/>
                    <a:pt x="36647" y="165850"/>
                    <a:pt x="-24" y="-37"/>
                  </a:cubicBezTo>
                </a:path>
              </a:pathLst>
            </a:custGeom>
            <a:solidFill>
              <a:schemeClr val="bg1"/>
            </a:solidFill>
            <a:ln w="28575" cap="rnd">
              <a:solidFill>
                <a:schemeClr val="accent1"/>
              </a:solidFill>
              <a:custDash>
                <a:ds d="532500" sp="53250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82B718AC-CAD4-5558-B42F-5236313FCC34}"/>
                </a:ext>
              </a:extLst>
            </p:cNvPr>
            <p:cNvSpPr/>
            <p:nvPr/>
          </p:nvSpPr>
          <p:spPr>
            <a:xfrm>
              <a:off x="4385015" y="4382234"/>
              <a:ext cx="8674" cy="50505"/>
            </a:xfrm>
            <a:custGeom>
              <a:avLst/>
              <a:gdLst>
                <a:gd name="connsiteX0" fmla="*/ 5310 w 5333"/>
                <a:gd name="connsiteY0" fmla="*/ 31014 h 31051"/>
                <a:gd name="connsiteX1" fmla="*/ -24 w 5333"/>
                <a:gd name="connsiteY1" fmla="*/ -37 h 31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33" h="31051">
                  <a:moveTo>
                    <a:pt x="5310" y="31014"/>
                  </a:moveTo>
                  <a:cubicBezTo>
                    <a:pt x="3405" y="20727"/>
                    <a:pt x="1596" y="10345"/>
                    <a:pt x="-24" y="-37"/>
                  </a:cubicBezTo>
                </a:path>
              </a:pathLst>
            </a:custGeom>
            <a:noFill/>
            <a:ln w="28575" cap="rnd">
              <a:solidFill>
                <a:schemeClr val="accent1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3C93F0B-9419-AA9A-E890-C52FD0ABD2B9}"/>
                </a:ext>
              </a:extLst>
            </p:cNvPr>
            <p:cNvSpPr/>
            <p:nvPr/>
          </p:nvSpPr>
          <p:spPr>
            <a:xfrm>
              <a:off x="4210417" y="5045000"/>
              <a:ext cx="426507" cy="293117"/>
            </a:xfrm>
            <a:custGeom>
              <a:avLst/>
              <a:gdLst>
                <a:gd name="connsiteX0" fmla="*/ 0 w 262223"/>
                <a:gd name="connsiteY0" fmla="*/ 180213 h 180213"/>
                <a:gd name="connsiteX1" fmla="*/ 262223 w 262223"/>
                <a:gd name="connsiteY1" fmla="*/ 0 h 1802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62223" h="180213">
                  <a:moveTo>
                    <a:pt x="0" y="180213"/>
                  </a:moveTo>
                  <a:lnTo>
                    <a:pt x="262223" y="0"/>
                  </a:lnTo>
                </a:path>
              </a:pathLst>
            </a:custGeom>
            <a:solidFill>
              <a:schemeClr val="accent1"/>
            </a:solidFill>
            <a:ln w="28575" cap="rnd">
              <a:solidFill>
                <a:schemeClr val="accent1"/>
              </a:solidFill>
              <a:custDash>
                <a:ds d="495750" sp="49575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3D7CBA7E-99B5-764A-01E0-17E99E07F651}"/>
                </a:ext>
              </a:extLst>
            </p:cNvPr>
            <p:cNvSpPr/>
            <p:nvPr/>
          </p:nvSpPr>
          <p:spPr>
            <a:xfrm>
              <a:off x="3905369" y="3686003"/>
              <a:ext cx="483364" cy="118671"/>
            </a:xfrm>
            <a:custGeom>
              <a:avLst/>
              <a:gdLst>
                <a:gd name="connsiteX0" fmla="*/ 0 w 297180"/>
                <a:gd name="connsiteY0" fmla="*/ 0 h 72961"/>
                <a:gd name="connsiteX1" fmla="*/ 297180 w 297180"/>
                <a:gd name="connsiteY1" fmla="*/ 72961 h 72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7180" h="72961">
                  <a:moveTo>
                    <a:pt x="0" y="0"/>
                  </a:moveTo>
                  <a:lnTo>
                    <a:pt x="297180" y="72961"/>
                  </a:lnTo>
                </a:path>
              </a:pathLst>
            </a:custGeom>
            <a:ln w="28575" cap="rnd">
              <a:solidFill>
                <a:schemeClr val="accent3"/>
              </a:solidFill>
              <a:custDash>
                <a:ds d="495750" sp="49575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CAF07DF9-F2AA-C83F-0827-3E7D9EA87442}"/>
                </a:ext>
              </a:extLst>
            </p:cNvPr>
            <p:cNvSpPr/>
            <p:nvPr/>
          </p:nvSpPr>
          <p:spPr>
            <a:xfrm>
              <a:off x="4799994" y="2278515"/>
              <a:ext cx="316509" cy="348425"/>
            </a:xfrm>
            <a:custGeom>
              <a:avLst/>
              <a:gdLst>
                <a:gd name="connsiteX0" fmla="*/ 0 w 194595"/>
                <a:gd name="connsiteY0" fmla="*/ 0 h 214217"/>
                <a:gd name="connsiteX1" fmla="*/ 194596 w 194595"/>
                <a:gd name="connsiteY1" fmla="*/ 214217 h 214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4595" h="214217">
                  <a:moveTo>
                    <a:pt x="0" y="0"/>
                  </a:moveTo>
                  <a:lnTo>
                    <a:pt x="194596" y="214217"/>
                  </a:lnTo>
                </a:path>
              </a:pathLst>
            </a:custGeom>
            <a:ln w="28575" cap="rnd">
              <a:solidFill>
                <a:schemeClr val="tx2"/>
              </a:solidFill>
              <a:custDash>
                <a:ds d="495750" sp="49575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8ABD244-E52E-8D50-A8F2-F52AF5EB815E}"/>
                </a:ext>
              </a:extLst>
            </p:cNvPr>
            <p:cNvSpPr/>
            <p:nvPr/>
          </p:nvSpPr>
          <p:spPr>
            <a:xfrm>
              <a:off x="7152584" y="2332428"/>
              <a:ext cx="295440" cy="390253"/>
            </a:xfrm>
            <a:custGeom>
              <a:avLst/>
              <a:gdLst>
                <a:gd name="connsiteX0" fmla="*/ 181642 w 181641"/>
                <a:gd name="connsiteY0" fmla="*/ 0 h 239934"/>
                <a:gd name="connsiteX1" fmla="*/ 0 w 181641"/>
                <a:gd name="connsiteY1" fmla="*/ 239935 h 239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641" h="239934">
                  <a:moveTo>
                    <a:pt x="181642" y="0"/>
                  </a:moveTo>
                  <a:lnTo>
                    <a:pt x="0" y="239935"/>
                  </a:lnTo>
                </a:path>
              </a:pathLst>
            </a:custGeom>
            <a:ln w="28575" cap="rnd">
              <a:solidFill>
                <a:schemeClr val="accent2"/>
              </a:solidFill>
              <a:custDash>
                <a:ds d="495750" sp="49575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CAD0A7F-61F7-CA80-BECF-01CDEFEAEDB3}"/>
                </a:ext>
              </a:extLst>
            </p:cNvPr>
            <p:cNvSpPr/>
            <p:nvPr/>
          </p:nvSpPr>
          <p:spPr>
            <a:xfrm>
              <a:off x="7815351" y="3695763"/>
              <a:ext cx="444167" cy="112009"/>
            </a:xfrm>
            <a:custGeom>
              <a:avLst/>
              <a:gdLst>
                <a:gd name="connsiteX0" fmla="*/ 273082 w 273081"/>
                <a:gd name="connsiteY0" fmla="*/ 0 h 68865"/>
                <a:gd name="connsiteX1" fmla="*/ 0 w 273081"/>
                <a:gd name="connsiteY1" fmla="*/ 68866 h 68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3081" h="68865">
                  <a:moveTo>
                    <a:pt x="273082" y="0"/>
                  </a:moveTo>
                  <a:lnTo>
                    <a:pt x="0" y="68866"/>
                  </a:lnTo>
                </a:path>
              </a:pathLst>
            </a:custGeom>
            <a:ln w="28575" cap="rnd">
              <a:solidFill>
                <a:srgbClr val="C40079"/>
              </a:solidFill>
              <a:custDash>
                <a:ds d="495750" sp="49575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8F1B2CC-0354-E168-09AC-F8CE4AAFF100}"/>
                </a:ext>
              </a:extLst>
            </p:cNvPr>
            <p:cNvSpPr/>
            <p:nvPr/>
          </p:nvSpPr>
          <p:spPr>
            <a:xfrm>
              <a:off x="7534009" y="5046550"/>
              <a:ext cx="448350" cy="299932"/>
            </a:xfrm>
            <a:custGeom>
              <a:avLst/>
              <a:gdLst>
                <a:gd name="connsiteX0" fmla="*/ 275654 w 275653"/>
                <a:gd name="connsiteY0" fmla="*/ 184404 h 184403"/>
                <a:gd name="connsiteX1" fmla="*/ 0 w 275653"/>
                <a:gd name="connsiteY1" fmla="*/ 0 h 184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75653" h="184403">
                  <a:moveTo>
                    <a:pt x="275654" y="184404"/>
                  </a:moveTo>
                  <a:lnTo>
                    <a:pt x="0" y="0"/>
                  </a:lnTo>
                </a:path>
              </a:pathLst>
            </a:custGeom>
            <a:ln w="28575" cap="rnd">
              <a:solidFill>
                <a:schemeClr val="accent6"/>
              </a:solidFill>
              <a:custDash>
                <a:ds d="495750" sp="495750"/>
              </a:custDash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6DBF090D-71F1-289F-6B3B-B19D065E5594}"/>
                </a:ext>
              </a:extLst>
            </p:cNvPr>
            <p:cNvSpPr/>
            <p:nvPr/>
          </p:nvSpPr>
          <p:spPr>
            <a:xfrm>
              <a:off x="4241710" y="1673845"/>
              <a:ext cx="650682" cy="650682"/>
            </a:xfrm>
            <a:custGeom>
              <a:avLst/>
              <a:gdLst>
                <a:gd name="connsiteX0" fmla="*/ 400050 w 400050"/>
                <a:gd name="connsiteY0" fmla="*/ 200025 h 400050"/>
                <a:gd name="connsiteX1" fmla="*/ 200025 w 400050"/>
                <a:gd name="connsiteY1" fmla="*/ 400050 h 400050"/>
                <a:gd name="connsiteX2" fmla="*/ 0 w 400050"/>
                <a:gd name="connsiteY2" fmla="*/ 200025 h 400050"/>
                <a:gd name="connsiteX3" fmla="*/ 200025 w 400050"/>
                <a:gd name="connsiteY3" fmla="*/ 0 h 400050"/>
                <a:gd name="connsiteX4" fmla="*/ 400050 w 400050"/>
                <a:gd name="connsiteY4" fmla="*/ 200025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400050">
                  <a:moveTo>
                    <a:pt x="400050" y="200025"/>
                  </a:moveTo>
                  <a:cubicBezTo>
                    <a:pt x="400050" y="310496"/>
                    <a:pt x="310496" y="400050"/>
                    <a:pt x="200025" y="400050"/>
                  </a:cubicBezTo>
                  <a:cubicBezTo>
                    <a:pt x="89554" y="400050"/>
                    <a:pt x="0" y="310496"/>
                    <a:pt x="0" y="200025"/>
                  </a:cubicBezTo>
                  <a:cubicBezTo>
                    <a:pt x="0" y="89554"/>
                    <a:pt x="89554" y="0"/>
                    <a:pt x="200025" y="0"/>
                  </a:cubicBezTo>
                  <a:cubicBezTo>
                    <a:pt x="310496" y="0"/>
                    <a:pt x="400050" y="89554"/>
                    <a:pt x="400050" y="200025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3A4244A8-3EB9-6597-ABFE-B31C273C2986}"/>
                </a:ext>
              </a:extLst>
            </p:cNvPr>
            <p:cNvSpPr/>
            <p:nvPr/>
          </p:nvSpPr>
          <p:spPr>
            <a:xfrm>
              <a:off x="8344883" y="3270497"/>
              <a:ext cx="650682" cy="650682"/>
            </a:xfrm>
            <a:custGeom>
              <a:avLst/>
              <a:gdLst>
                <a:gd name="connsiteX0" fmla="*/ 400050 w 400050"/>
                <a:gd name="connsiteY0" fmla="*/ 200025 h 400050"/>
                <a:gd name="connsiteX1" fmla="*/ 200025 w 400050"/>
                <a:gd name="connsiteY1" fmla="*/ 400050 h 400050"/>
                <a:gd name="connsiteX2" fmla="*/ 0 w 400050"/>
                <a:gd name="connsiteY2" fmla="*/ 200025 h 400050"/>
                <a:gd name="connsiteX3" fmla="*/ 200025 w 400050"/>
                <a:gd name="connsiteY3" fmla="*/ 0 h 400050"/>
                <a:gd name="connsiteX4" fmla="*/ 400050 w 400050"/>
                <a:gd name="connsiteY4" fmla="*/ 200025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400050">
                  <a:moveTo>
                    <a:pt x="400050" y="200025"/>
                  </a:moveTo>
                  <a:cubicBezTo>
                    <a:pt x="400050" y="310496"/>
                    <a:pt x="310496" y="400050"/>
                    <a:pt x="200025" y="400050"/>
                  </a:cubicBezTo>
                  <a:cubicBezTo>
                    <a:pt x="89554" y="400050"/>
                    <a:pt x="0" y="310496"/>
                    <a:pt x="0" y="200025"/>
                  </a:cubicBezTo>
                  <a:cubicBezTo>
                    <a:pt x="0" y="89554"/>
                    <a:pt x="89554" y="0"/>
                    <a:pt x="200025" y="0"/>
                  </a:cubicBezTo>
                  <a:cubicBezTo>
                    <a:pt x="310496" y="0"/>
                    <a:pt x="400050" y="89554"/>
                    <a:pt x="400050" y="200025"/>
                  </a:cubicBezTo>
                  <a:close/>
                </a:path>
              </a:pathLst>
            </a:custGeom>
            <a:solidFill>
              <a:srgbClr val="C4007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5</a:t>
              </a: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5E829706-8176-8578-21A1-4A64217DCC08}"/>
                </a:ext>
              </a:extLst>
            </p:cNvPr>
            <p:cNvSpPr/>
            <p:nvPr/>
          </p:nvSpPr>
          <p:spPr>
            <a:xfrm>
              <a:off x="7283960" y="1640381"/>
              <a:ext cx="650682" cy="650682"/>
            </a:xfrm>
            <a:custGeom>
              <a:avLst/>
              <a:gdLst>
                <a:gd name="connsiteX0" fmla="*/ 400050 w 400050"/>
                <a:gd name="connsiteY0" fmla="*/ 200025 h 400050"/>
                <a:gd name="connsiteX1" fmla="*/ 200025 w 400050"/>
                <a:gd name="connsiteY1" fmla="*/ 400050 h 400050"/>
                <a:gd name="connsiteX2" fmla="*/ 0 w 400050"/>
                <a:gd name="connsiteY2" fmla="*/ 200025 h 400050"/>
                <a:gd name="connsiteX3" fmla="*/ 200025 w 400050"/>
                <a:gd name="connsiteY3" fmla="*/ 0 h 400050"/>
                <a:gd name="connsiteX4" fmla="*/ 400050 w 400050"/>
                <a:gd name="connsiteY4" fmla="*/ 200025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400050">
                  <a:moveTo>
                    <a:pt x="400050" y="200025"/>
                  </a:moveTo>
                  <a:cubicBezTo>
                    <a:pt x="400050" y="310496"/>
                    <a:pt x="310496" y="400050"/>
                    <a:pt x="200025" y="400050"/>
                  </a:cubicBezTo>
                  <a:cubicBezTo>
                    <a:pt x="89554" y="400050"/>
                    <a:pt x="0" y="310496"/>
                    <a:pt x="0" y="200025"/>
                  </a:cubicBezTo>
                  <a:cubicBezTo>
                    <a:pt x="0" y="89554"/>
                    <a:pt x="89554" y="0"/>
                    <a:pt x="200025" y="0"/>
                  </a:cubicBezTo>
                  <a:cubicBezTo>
                    <a:pt x="310496" y="0"/>
                    <a:pt x="400050" y="89554"/>
                    <a:pt x="400050" y="200025"/>
                  </a:cubicBez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0F6EC15-8005-0554-8F3F-755081A5C09C}"/>
                </a:ext>
              </a:extLst>
            </p:cNvPr>
            <p:cNvSpPr/>
            <p:nvPr/>
          </p:nvSpPr>
          <p:spPr>
            <a:xfrm>
              <a:off x="3196435" y="3312325"/>
              <a:ext cx="650682" cy="650682"/>
            </a:xfrm>
            <a:custGeom>
              <a:avLst/>
              <a:gdLst>
                <a:gd name="connsiteX0" fmla="*/ 400050 w 400050"/>
                <a:gd name="connsiteY0" fmla="*/ 200025 h 400050"/>
                <a:gd name="connsiteX1" fmla="*/ 200025 w 400050"/>
                <a:gd name="connsiteY1" fmla="*/ 400050 h 400050"/>
                <a:gd name="connsiteX2" fmla="*/ 0 w 400050"/>
                <a:gd name="connsiteY2" fmla="*/ 200025 h 400050"/>
                <a:gd name="connsiteX3" fmla="*/ 200025 w 400050"/>
                <a:gd name="connsiteY3" fmla="*/ 0 h 400050"/>
                <a:gd name="connsiteX4" fmla="*/ 400050 w 400050"/>
                <a:gd name="connsiteY4" fmla="*/ 200025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400050">
                  <a:moveTo>
                    <a:pt x="400050" y="200025"/>
                  </a:moveTo>
                  <a:cubicBezTo>
                    <a:pt x="400050" y="310496"/>
                    <a:pt x="310496" y="400050"/>
                    <a:pt x="200025" y="400050"/>
                  </a:cubicBezTo>
                  <a:cubicBezTo>
                    <a:pt x="89554" y="400050"/>
                    <a:pt x="0" y="310496"/>
                    <a:pt x="0" y="200025"/>
                  </a:cubicBezTo>
                  <a:cubicBezTo>
                    <a:pt x="0" y="89554"/>
                    <a:pt x="89554" y="0"/>
                    <a:pt x="200025" y="0"/>
                  </a:cubicBezTo>
                  <a:cubicBezTo>
                    <a:pt x="310496" y="0"/>
                    <a:pt x="400050" y="89554"/>
                    <a:pt x="400050" y="200025"/>
                  </a:cubicBezTo>
                  <a:close/>
                </a:path>
              </a:pathLst>
            </a:custGeom>
            <a:solidFill>
              <a:schemeClr val="accent3"/>
            </a:solidFill>
            <a:ln w="9525" cap="flat">
              <a:solidFill>
                <a:schemeClr val="accent3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AB3FBCA-D497-68CE-E6DD-30910C124ABA}"/>
                </a:ext>
              </a:extLst>
            </p:cNvPr>
            <p:cNvSpPr/>
            <p:nvPr/>
          </p:nvSpPr>
          <p:spPr>
            <a:xfrm>
              <a:off x="3521777" y="5228895"/>
              <a:ext cx="650682" cy="650682"/>
            </a:xfrm>
            <a:custGeom>
              <a:avLst/>
              <a:gdLst>
                <a:gd name="connsiteX0" fmla="*/ 400050 w 400050"/>
                <a:gd name="connsiteY0" fmla="*/ 200025 h 400050"/>
                <a:gd name="connsiteX1" fmla="*/ 200025 w 400050"/>
                <a:gd name="connsiteY1" fmla="*/ 400050 h 400050"/>
                <a:gd name="connsiteX2" fmla="*/ 0 w 400050"/>
                <a:gd name="connsiteY2" fmla="*/ 200025 h 400050"/>
                <a:gd name="connsiteX3" fmla="*/ 200025 w 400050"/>
                <a:gd name="connsiteY3" fmla="*/ 0 h 400050"/>
                <a:gd name="connsiteX4" fmla="*/ 400050 w 400050"/>
                <a:gd name="connsiteY4" fmla="*/ 200025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400050">
                  <a:moveTo>
                    <a:pt x="400050" y="200025"/>
                  </a:moveTo>
                  <a:cubicBezTo>
                    <a:pt x="400050" y="310496"/>
                    <a:pt x="310496" y="400050"/>
                    <a:pt x="200025" y="400050"/>
                  </a:cubicBezTo>
                  <a:cubicBezTo>
                    <a:pt x="89554" y="400050"/>
                    <a:pt x="0" y="310496"/>
                    <a:pt x="0" y="200025"/>
                  </a:cubicBezTo>
                  <a:cubicBezTo>
                    <a:pt x="0" y="89554"/>
                    <a:pt x="89554" y="0"/>
                    <a:pt x="200025" y="0"/>
                  </a:cubicBezTo>
                  <a:cubicBezTo>
                    <a:pt x="310496" y="0"/>
                    <a:pt x="400050" y="89554"/>
                    <a:pt x="400050" y="200025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F645E9B3-76E4-C530-7AA7-2B5F01456A8C}"/>
                </a:ext>
              </a:extLst>
            </p:cNvPr>
            <p:cNvSpPr/>
            <p:nvPr/>
          </p:nvSpPr>
          <p:spPr>
            <a:xfrm>
              <a:off x="8019541" y="5204573"/>
              <a:ext cx="650682" cy="650682"/>
            </a:xfrm>
            <a:custGeom>
              <a:avLst/>
              <a:gdLst>
                <a:gd name="connsiteX0" fmla="*/ 400050 w 400050"/>
                <a:gd name="connsiteY0" fmla="*/ 200025 h 400050"/>
                <a:gd name="connsiteX1" fmla="*/ 200025 w 400050"/>
                <a:gd name="connsiteY1" fmla="*/ 400050 h 400050"/>
                <a:gd name="connsiteX2" fmla="*/ 0 w 400050"/>
                <a:gd name="connsiteY2" fmla="*/ 200025 h 400050"/>
                <a:gd name="connsiteX3" fmla="*/ 200025 w 400050"/>
                <a:gd name="connsiteY3" fmla="*/ 0 h 400050"/>
                <a:gd name="connsiteX4" fmla="*/ 400050 w 400050"/>
                <a:gd name="connsiteY4" fmla="*/ 200025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0050" h="400050">
                  <a:moveTo>
                    <a:pt x="400050" y="200025"/>
                  </a:moveTo>
                  <a:cubicBezTo>
                    <a:pt x="400050" y="310496"/>
                    <a:pt x="310496" y="400050"/>
                    <a:pt x="200025" y="400050"/>
                  </a:cubicBezTo>
                  <a:cubicBezTo>
                    <a:pt x="89554" y="400050"/>
                    <a:pt x="0" y="310496"/>
                    <a:pt x="0" y="200025"/>
                  </a:cubicBezTo>
                  <a:cubicBezTo>
                    <a:pt x="0" y="89554"/>
                    <a:pt x="89554" y="0"/>
                    <a:pt x="200025" y="0"/>
                  </a:cubicBezTo>
                  <a:cubicBezTo>
                    <a:pt x="310496" y="0"/>
                    <a:pt x="400050" y="89554"/>
                    <a:pt x="400050" y="200025"/>
                  </a:cubicBezTo>
                  <a:close/>
                </a:path>
              </a:pathLst>
            </a:custGeom>
            <a:solidFill>
              <a:schemeClr val="accent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en-US" sz="2000" b="1" dirty="0">
                  <a:solidFill>
                    <a:schemeClr val="bg1"/>
                  </a:solidFill>
                </a:rPr>
                <a:t>6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E3B6EB5F-FFD4-20B1-DF25-A609E0B65F90}"/>
                </a:ext>
              </a:extLst>
            </p:cNvPr>
            <p:cNvSpPr txBox="1"/>
            <p:nvPr/>
          </p:nvSpPr>
          <p:spPr>
            <a:xfrm>
              <a:off x="76711" y="5063969"/>
              <a:ext cx="3350995" cy="8156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>
                <a:spcBef>
                  <a:spcPts val="600"/>
                </a:spcBef>
              </a:pPr>
              <a:r>
                <a:rPr lang="en-US" sz="1400" spc="-50" dirty="0">
                  <a:solidFill>
                    <a:srgbClr val="333333"/>
                  </a:solidFill>
                  <a:latin typeface="Gotham Rounded Medium" panose="02000000000000000000" pitchFamily="50" charset="0"/>
                  <a:ea typeface="Verdana" pitchFamily="34" charset="0"/>
                </a:rPr>
                <a:t>Life cycle stages included</a:t>
              </a:r>
            </a:p>
            <a:p>
              <a:pPr algn="r">
                <a:spcBef>
                  <a:spcPts val="600"/>
                </a:spcBef>
              </a:pPr>
              <a:r>
                <a:rPr lang="en-US" sz="1400" spc="-50" dirty="0">
                  <a:solidFill>
                    <a:srgbClr val="333333"/>
                  </a:solidFill>
                  <a:latin typeface="Gotham Rounded Light" pitchFamily="50" charset="0"/>
                  <a:ea typeface="Verdana" pitchFamily="34" charset="0"/>
                </a:rPr>
                <a:t>Some schemes include only A1-A5, some include also B, C and D-stages</a:t>
              </a:r>
              <a:r>
                <a:rPr lang="en-US" sz="1100" b="0" i="0" dirty="0">
                  <a:solidFill>
                    <a:schemeClr val="tx1">
                      <a:lumMod val="85000"/>
                      <a:lumOff val="15000"/>
                    </a:schemeClr>
                  </a:solidFill>
                  <a:effectLst/>
                  <a:latin typeface="Gotham Rounded Light" pitchFamily="50" charset="0"/>
                </a:rPr>
                <a:t>.</a:t>
              </a:r>
              <a:endParaRPr lang="en-US" sz="1100" dirty="0">
                <a:solidFill>
                  <a:schemeClr val="tx1">
                    <a:lumMod val="85000"/>
                    <a:lumOff val="15000"/>
                  </a:schemeClr>
                </a:solidFill>
                <a:latin typeface="Gotham Rounded Light" pitchFamily="50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189328DF-9ED4-2F13-7901-888BEEEAE48E}"/>
              </a:ext>
            </a:extLst>
          </p:cNvPr>
          <p:cNvSpPr txBox="1"/>
          <p:nvPr/>
        </p:nvSpPr>
        <p:spPr>
          <a:xfrm>
            <a:off x="476644" y="2861272"/>
            <a:ext cx="2865522" cy="10310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</a:pPr>
            <a:r>
              <a:rPr lang="en-US" sz="1400" spc="-50" dirty="0">
                <a:solidFill>
                  <a:srgbClr val="333333"/>
                </a:solidFill>
                <a:latin typeface="Gotham Rounded Medium" panose="02000000000000000000" pitchFamily="50" charset="0"/>
                <a:ea typeface="Verdana" pitchFamily="34" charset="0"/>
              </a:rPr>
              <a:t>Building elements included</a:t>
            </a:r>
          </a:p>
          <a:p>
            <a:pPr algn="r">
              <a:spcBef>
                <a:spcPts val="600"/>
              </a:spcBef>
            </a:pPr>
            <a:r>
              <a:rPr lang="en-US" sz="1400" spc="-50" dirty="0">
                <a:solidFill>
                  <a:srgbClr val="333333"/>
                </a:solidFill>
                <a:latin typeface="Gotham Rounded Light" pitchFamily="50" charset="0"/>
                <a:ea typeface="Verdana" pitchFamily="34" charset="0"/>
              </a:rPr>
              <a:t>Some schemes only include the superstructure, some include many building elements</a:t>
            </a:r>
            <a:r>
              <a:rPr lang="en-US" sz="1100" b="0" i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Gotham Rounded Light" pitchFamily="50" charset="0"/>
              </a:rPr>
              <a:t>.</a:t>
            </a: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Gotham Rounded Light" pitchFamily="50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8E13A34-F855-A8B5-E285-CC8BB0DED20C}"/>
              </a:ext>
            </a:extLst>
          </p:cNvPr>
          <p:cNvSpPr txBox="1"/>
          <p:nvPr/>
        </p:nvSpPr>
        <p:spPr>
          <a:xfrm>
            <a:off x="858834" y="1177538"/>
            <a:ext cx="3452275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</a:pPr>
            <a:r>
              <a:rPr lang="en-US" sz="1400" spc="-50" dirty="0">
                <a:solidFill>
                  <a:srgbClr val="333333"/>
                </a:solidFill>
                <a:latin typeface="Gotham Rounded Medium" panose="02000000000000000000" pitchFamily="50" charset="0"/>
                <a:ea typeface="Verdana" pitchFamily="34" charset="0"/>
              </a:rPr>
              <a:t>Environmental data</a:t>
            </a:r>
          </a:p>
          <a:p>
            <a:pPr algn="r">
              <a:spcBef>
                <a:spcPts val="600"/>
              </a:spcBef>
            </a:pPr>
            <a:r>
              <a:rPr lang="en-US" sz="1400" spc="-50" dirty="0">
                <a:solidFill>
                  <a:srgbClr val="333333"/>
                </a:solidFill>
                <a:latin typeface="Gotham Rounded Light" pitchFamily="50" charset="0"/>
                <a:ea typeface="Verdana" pitchFamily="34" charset="0"/>
              </a:rPr>
              <a:t>What is the source of data and is it generic data or EPDs? </a:t>
            </a: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latin typeface="Gotham Rounded Light" pitchFamily="50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53C6EE-0A7C-3704-72D7-6C1A5B118233}"/>
              </a:ext>
            </a:extLst>
          </p:cNvPr>
          <p:cNvSpPr txBox="1"/>
          <p:nvPr/>
        </p:nvSpPr>
        <p:spPr>
          <a:xfrm>
            <a:off x="8332529" y="1206461"/>
            <a:ext cx="3746314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b="1" spc="-50" dirty="0">
                <a:solidFill>
                  <a:srgbClr val="333333"/>
                </a:solidFill>
                <a:latin typeface="Gotham Rounded Medium" panose="02000000000000000000" pitchFamily="50" charset="0"/>
                <a:ea typeface="Verdana" pitchFamily="34" charset="0"/>
              </a:rPr>
              <a:t>The reference study period</a:t>
            </a:r>
          </a:p>
          <a:p>
            <a:pPr>
              <a:spcBef>
                <a:spcPts val="600"/>
              </a:spcBef>
            </a:pPr>
            <a:r>
              <a:rPr lang="en-US" sz="1400" spc="-50" dirty="0">
                <a:solidFill>
                  <a:srgbClr val="333333"/>
                </a:solidFill>
                <a:latin typeface="Gotham Rounded Light" pitchFamily="50" charset="0"/>
                <a:ea typeface="Verdana" pitchFamily="34" charset="0"/>
              </a:rPr>
              <a:t>Is the assumed or required lifespan in the scheme 50, 60 or 75 years?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81E79EB-C12A-BFE3-02C5-A8BD3381FB0E}"/>
              </a:ext>
            </a:extLst>
          </p:cNvPr>
          <p:cNvSpPr txBox="1"/>
          <p:nvPr/>
        </p:nvSpPr>
        <p:spPr>
          <a:xfrm>
            <a:off x="9098837" y="4852726"/>
            <a:ext cx="2623390" cy="10310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spc="-50" dirty="0">
                <a:solidFill>
                  <a:srgbClr val="333333"/>
                </a:solidFill>
                <a:latin typeface="Gotham Rounded Medium" panose="02000000000000000000" pitchFamily="50" charset="0"/>
                <a:ea typeface="Verdana" pitchFamily="34" charset="0"/>
              </a:rPr>
              <a:t>The human factor</a:t>
            </a:r>
            <a:endParaRPr lang="en-US" sz="1400" spc="-50" baseline="30000" dirty="0">
              <a:solidFill>
                <a:srgbClr val="333333"/>
              </a:solidFill>
              <a:latin typeface="Gotham Rounded Medium" panose="02000000000000000000" pitchFamily="50" charset="0"/>
              <a:ea typeface="Verdana" pitchFamily="34" charset="0"/>
            </a:endParaRPr>
          </a:p>
          <a:p>
            <a:pPr>
              <a:spcBef>
                <a:spcPts val="600"/>
              </a:spcBef>
            </a:pPr>
            <a:r>
              <a:rPr lang="en-US" sz="1400" spc="-50" dirty="0">
                <a:solidFill>
                  <a:srgbClr val="333333"/>
                </a:solidFill>
                <a:latin typeface="Gotham Rounded Light" pitchFamily="50" charset="0"/>
                <a:ea typeface="Verdana" pitchFamily="34" charset="0"/>
              </a:rPr>
              <a:t>Stage of the design, which tool is used, is it used correctly, risk of errors, etc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949A09F-738D-D4D6-0749-72E2E2345A63}"/>
              </a:ext>
            </a:extLst>
          </p:cNvPr>
          <p:cNvSpPr txBox="1"/>
          <p:nvPr/>
        </p:nvSpPr>
        <p:spPr>
          <a:xfrm>
            <a:off x="9300005" y="3032216"/>
            <a:ext cx="2269822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spc="-50" dirty="0">
                <a:solidFill>
                  <a:srgbClr val="333333"/>
                </a:solidFill>
                <a:latin typeface="Gotham Rounded Medium" panose="02000000000000000000" pitchFamily="50" charset="0"/>
                <a:ea typeface="Verdana" pitchFamily="34" charset="0"/>
              </a:rPr>
              <a:t>The definition of a m</a:t>
            </a:r>
            <a:r>
              <a:rPr lang="en-US" sz="1400" spc="-50" baseline="30000" dirty="0">
                <a:solidFill>
                  <a:srgbClr val="333333"/>
                </a:solidFill>
                <a:latin typeface="Gotham Rounded Medium" panose="02000000000000000000" pitchFamily="50" charset="0"/>
                <a:ea typeface="Verdana" pitchFamily="34" charset="0"/>
              </a:rPr>
              <a:t>2</a:t>
            </a:r>
          </a:p>
          <a:p>
            <a:pPr>
              <a:spcBef>
                <a:spcPts val="600"/>
              </a:spcBef>
            </a:pPr>
            <a:r>
              <a:rPr lang="en-US" sz="1400" spc="-50" dirty="0">
                <a:solidFill>
                  <a:srgbClr val="333333"/>
                </a:solidFill>
                <a:latin typeface="Gotham Rounded Light" pitchFamily="50" charset="0"/>
                <a:ea typeface="Verdana" pitchFamily="34" charset="0"/>
              </a:rPr>
              <a:t>Gross Floor Area, Gross Internal Area?</a:t>
            </a:r>
          </a:p>
        </p:txBody>
      </p:sp>
      <p:sp>
        <p:nvSpPr>
          <p:cNvPr id="37" name="Title 6">
            <a:extLst>
              <a:ext uri="{FF2B5EF4-FFF2-40B4-BE49-F238E27FC236}">
                <a16:creationId xmlns:a16="http://schemas.microsoft.com/office/drawing/2014/main" id="{40786780-E29D-C1D4-0618-4DAB6C892900}"/>
              </a:ext>
            </a:extLst>
          </p:cNvPr>
          <p:cNvSpPr txBox="1">
            <a:spLocks/>
          </p:cNvSpPr>
          <p:nvPr/>
        </p:nvSpPr>
        <p:spPr>
          <a:xfrm>
            <a:off x="469463" y="436283"/>
            <a:ext cx="11013976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sz="28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457098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2pPr>
            <a:lvl3pPr algn="l" defTabSz="457098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3pPr>
            <a:lvl4pPr algn="l" defTabSz="457098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4pPr>
            <a:lvl5pPr algn="l" defTabSz="457098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5pPr>
            <a:lvl6pPr marL="457098" algn="l" defTabSz="457098" rtl="0" eaLnBrk="1" fontAlgn="base" hangingPunct="1">
              <a:spcBef>
                <a:spcPct val="0"/>
              </a:spcBef>
              <a:spcAft>
                <a:spcPct val="0"/>
              </a:spcAft>
              <a:defRPr sz="3199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6pPr>
            <a:lvl7pPr marL="914194" algn="l" defTabSz="457098" rtl="0" eaLnBrk="1" fontAlgn="base" hangingPunct="1">
              <a:spcBef>
                <a:spcPct val="0"/>
              </a:spcBef>
              <a:spcAft>
                <a:spcPct val="0"/>
              </a:spcAft>
              <a:defRPr sz="3199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7pPr>
            <a:lvl8pPr marL="1371292" algn="l" defTabSz="457098" rtl="0" eaLnBrk="1" fontAlgn="base" hangingPunct="1">
              <a:spcBef>
                <a:spcPct val="0"/>
              </a:spcBef>
              <a:spcAft>
                <a:spcPct val="0"/>
              </a:spcAft>
              <a:defRPr sz="3199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8pPr>
            <a:lvl9pPr marL="1828388" algn="l" defTabSz="457098" rtl="0" eaLnBrk="1" fontAlgn="base" hangingPunct="1">
              <a:spcBef>
                <a:spcPct val="0"/>
              </a:spcBef>
              <a:spcAft>
                <a:spcPct val="0"/>
              </a:spcAft>
              <a:defRPr sz="3199" b="1">
                <a:solidFill>
                  <a:schemeClr val="bg1"/>
                </a:solidFill>
                <a:latin typeface="Verdana" pitchFamily="-111" charset="0"/>
                <a:ea typeface="Verdana" pitchFamily="34" charset="0"/>
                <a:cs typeface="Verdana" pitchFamily="34" charset="0"/>
              </a:defRPr>
            </a:lvl9pPr>
          </a:lstStyle>
          <a:p>
            <a:r>
              <a:rPr lang="en-GB" dirty="0">
                <a:latin typeface="Gotham Rounded Book" pitchFamily="50" charset="0"/>
              </a:rPr>
              <a:t>Sources of uncertainty across carbon assessment methods</a:t>
            </a:r>
          </a:p>
        </p:txBody>
      </p:sp>
    </p:spTree>
    <p:extLst>
      <p:ext uri="{BB962C8B-B14F-4D97-AF65-F5344CB8AC3E}">
        <p14:creationId xmlns:p14="http://schemas.microsoft.com/office/powerpoint/2010/main" val="31770456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0DCBD19-C84F-1E88-27DB-D0756A9AF2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9</a:t>
            </a:fld>
            <a:endParaRPr lang="en-GB" dirty="0"/>
          </a:p>
        </p:txBody>
      </p:sp>
      <p:pic>
        <p:nvPicPr>
          <p:cNvPr id="6" name="Picture 5" descr="Hands holding an apple and an orange">
            <a:extLst>
              <a:ext uri="{FF2B5EF4-FFF2-40B4-BE49-F238E27FC236}">
                <a16:creationId xmlns:a16="http://schemas.microsoft.com/office/drawing/2014/main" id="{F3886894-C975-3C01-C849-54C6DA4B62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613172"/>
            <a:ext cx="12192002" cy="8084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5236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801353619728714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Art drawing.s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Access control 1.s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Documents.s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Assessment - decimal 4.s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Data Technology 1.s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Headphones-40.s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Statistics.s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Desktop - 2.s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Report.s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Report.s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Report.s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with Ai 2.s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Statistics.sv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Desktop - 2.s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assessment.s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Assessment - decimal 4.s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Headphones-40.s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assessment.s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OLKR\AppData\Local\Templafy\AddIns\PowerPointVsto\Group of people 1.sv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Documents.s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Data Technology 1.s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Report.s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assessment.sv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Art drawing.s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Access control 1.s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Report.sv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assessment.sv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with Ai 4.sv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Report.s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fgw\AppData\Local\Templafy\AddIns\PowerPointVsto\World.sv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with Ai 2.s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Statistics.s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Desktop - 2.sv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assessment.sv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Assessment - decimal 4.sv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Headphones-40.sv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assessment.s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Documents.sv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Data Technology 1.sv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Report.s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assessment.s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assessment.sv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Art drawing.sv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Access control 1.s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Report.sv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assessment.sv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with Ai 4.sv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Report.sv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with Ai 2.s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assessment.s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assessment.s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assessment.s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pastl\AppData\Local\Templafy\AddIns\PowerPointVsto\Building with Ai 4.svg"/>
</p:tagLst>
</file>

<file path=ppt/theme/theme1.xml><?xml version="1.0" encoding="utf-8"?>
<a:theme xmlns:a="http://schemas.openxmlformats.org/drawingml/2006/main" name="Rambøll">
  <a:themeElements>
    <a:clrScheme name="Ramboll 2021">
      <a:dk1>
        <a:srgbClr val="000000"/>
      </a:dk1>
      <a:lt1>
        <a:srgbClr val="FFFFFF"/>
      </a:lt1>
      <a:dk2>
        <a:srgbClr val="009DF0"/>
      </a:dk2>
      <a:lt2>
        <a:srgbClr val="273943"/>
      </a:lt2>
      <a:accent1>
        <a:srgbClr val="05326E"/>
      </a:accent1>
      <a:accent2>
        <a:srgbClr val="125A40"/>
      </a:accent2>
      <a:accent3>
        <a:srgbClr val="ADD095"/>
      </a:accent3>
      <a:accent4>
        <a:srgbClr val="62294B"/>
      </a:accent4>
      <a:accent5>
        <a:srgbClr val="FF8855"/>
      </a:accent5>
      <a:accent6>
        <a:srgbClr val="E3E1D8"/>
      </a:accent6>
      <a:hlink>
        <a:srgbClr val="009DF0"/>
      </a:hlink>
      <a:folHlink>
        <a:srgbClr val="CCEBFD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BaseTemplate 16-9 UK.potx" id="{99839C17-9291-4D6B-9A70-B923972FEA85}" vid="{497495C2-62DF-4425-B50B-9A17880EC5A0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611cc7e-243d-4120-a4b3-dc62a26f08e1" xsi:nil="true"/>
    <lcf76f155ced4ddcb4097134ff3c332f xmlns="8399085d-7037-4a10-9b9f-548066b42b34">
      <Terms xmlns="http://schemas.microsoft.com/office/infopath/2007/PartnerControls"/>
    </lcf76f155ced4ddcb4097134ff3c332f>
    <Status xmlns="8399085d-7037-4a10-9b9f-548066b42b3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F136C6A81D6FA419D9A6A4BD66761C4" ma:contentTypeVersion="19" ma:contentTypeDescription="Create a new document." ma:contentTypeScope="" ma:versionID="4b43c1ef1c58e22fe0f5bd9b311f5bd5">
  <xsd:schema xmlns:xsd="http://www.w3.org/2001/XMLSchema" xmlns:xs="http://www.w3.org/2001/XMLSchema" xmlns:p="http://schemas.microsoft.com/office/2006/metadata/properties" xmlns:ns2="8399085d-7037-4a10-9b9f-548066b42b34" xmlns:ns3="d9263bb0-4ebf-4a28-b639-1dd5348c5ba8" xmlns:ns4="1611cc7e-243d-4120-a4b3-dc62a26f08e1" targetNamespace="http://schemas.microsoft.com/office/2006/metadata/properties" ma:root="true" ma:fieldsID="e568bcda2c1ed26c83e39fac00fd7925" ns2:_="" ns3:_="" ns4:_="">
    <xsd:import namespace="8399085d-7037-4a10-9b9f-548066b42b34"/>
    <xsd:import namespace="d9263bb0-4ebf-4a28-b639-1dd5348c5ba8"/>
    <xsd:import namespace="1611cc7e-243d-4120-a4b3-dc62a26f08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4:TaxCatchAll" minOccurs="0"/>
                <xsd:element ref="ns2:MediaServiceObjectDetectorVersions" minOccurs="0"/>
                <xsd:element ref="ns2:Statu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99085d-7037-4a10-9b9f-548066b42b3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2a0716b9-ea6c-4544-a4bd-65ac324c60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Status" ma:index="25" nillable="true" ma:displayName="Status" ma:format="Dropdown" ma:internalName="Status">
      <xsd:simpleType>
        <xsd:restriction base="dms:Choice">
          <xsd:enumeration value="Archive"/>
          <xsd:enumeration value="Development"/>
          <xsd:enumeration value="Released"/>
        </xsd:restriction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263bb0-4ebf-4a28-b639-1dd5348c5ba8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11cc7e-243d-4120-a4b3-dc62a26f08e1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5b26eb5f-fff7-450e-bd5f-d0fa1d802b5e}" ma:internalName="TaxCatchAll" ma:showField="CatchAllData" ma:web="d9263bb0-4ebf-4a28-b639-1dd5348c5ba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TemplafyTemplateConfiguration><![CDATA[{"elementsMetadata":[{"type":"shape","id":"3bf15efc-97f2-403c-af89-2afeebc35411","elementConfiguration":{"binding":"{{UserProfile.Office.BlankSelection}}","visibility":"","type":"text","disableUpdates":false}}],"transformationConfigurations":[{"propertyName":"BlankSelection","propertyValue":"{{UserProfile.Office.BlankSelection}}","disableUpdates":false,"type":"customDocumentProperty"},{"propertyName":"IsNew","propertyValue":"true","disableUpdates":false,"type":"customDocumentProperty"},{"language":"{{DocumentLanguage}}","disableUpdates":false,"type":"proofingLanguage"}],"templateName":"Blank","templateDescription":"","enableDocumentContentUpdater":false,"version":"2.0"}]]></TemplafyTemplateConfiguration>
</file>

<file path=customXml/item5.xml><?xml version="1.0" encoding="utf-8"?>
<TemplafyFormConfiguration><![CDATA[{"formFields":[],"formDataEntries":[]}]]></TemplafyFormConfiguration>
</file>

<file path=customXml/item6.xml><?xml version="1.0" encoding="utf-8"?>
<TemplafySlideTemplateConfiguration><![CDATA[{"slideVersion":1,"isValidatorEnabled":false,"isLocked":false,"elementsMetadata":[],"slideId":"925011290818609152","enableDocumentContentUpdater":false,"version":"2.0"}]]></TemplafySlideTemplateConfiguration>
</file>

<file path=customXml/item7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5543EF78-2F65-46A2-8B9B-EEAF70AEB4C8}">
  <ds:schemaRefs>
    <ds:schemaRef ds:uri="http://schemas.microsoft.com/office/2006/metadata/properties"/>
    <ds:schemaRef ds:uri="http://schemas.microsoft.com/office/infopath/2007/PartnerControls"/>
    <ds:schemaRef ds:uri="b78f5926-5d87-48b0-b9f0-7f23033d1efa"/>
    <ds:schemaRef ds:uri="f502ecb4-313b-4c8b-ac1a-a2133c4c55c1"/>
    <ds:schemaRef ds:uri="1611cc7e-243d-4120-a4b3-dc62a26f08e1"/>
    <ds:schemaRef ds:uri="8399085d-7037-4a10-9b9f-548066b42b34"/>
  </ds:schemaRefs>
</ds:datastoreItem>
</file>

<file path=customXml/itemProps2.xml><?xml version="1.0" encoding="utf-8"?>
<ds:datastoreItem xmlns:ds="http://schemas.openxmlformats.org/officeDocument/2006/customXml" ds:itemID="{EE566FA3-D4DD-4910-A3BA-ED32510B33FB}"/>
</file>

<file path=customXml/itemProps3.xml><?xml version="1.0" encoding="utf-8"?>
<ds:datastoreItem xmlns:ds="http://schemas.openxmlformats.org/officeDocument/2006/customXml" ds:itemID="{6499DD09-346E-4084-AE1D-06BF71408F1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0D7A3A21-999B-468C-A495-01738D07585D}">
  <ds:schemaRefs/>
</ds:datastoreItem>
</file>

<file path=customXml/itemProps5.xml><?xml version="1.0" encoding="utf-8"?>
<ds:datastoreItem xmlns:ds="http://schemas.openxmlformats.org/officeDocument/2006/customXml" ds:itemID="{B13A3067-8B87-4BB8-9074-25CDC43A7AD1}">
  <ds:schemaRefs/>
</ds:datastoreItem>
</file>

<file path=customXml/itemProps6.xml><?xml version="1.0" encoding="utf-8"?>
<ds:datastoreItem xmlns:ds="http://schemas.openxmlformats.org/officeDocument/2006/customXml" ds:itemID="{BD0CECAA-4034-4AE7-98FC-A76492A5DB31}">
  <ds:schemaRefs/>
</ds:datastoreItem>
</file>

<file path=customXml/itemProps7.xml><?xml version="1.0" encoding="utf-8"?>
<ds:datastoreItem xmlns:ds="http://schemas.openxmlformats.org/officeDocument/2006/customXml" ds:itemID="{0F00B321-10E7-43D1-86A9-C8A0398A0B6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seTemplate 16-9 UK</Template>
  <TotalTime>2778</TotalTime>
  <Words>301</Words>
  <Application>Microsoft Office PowerPoint</Application>
  <PresentationFormat>Widescreen</PresentationFormat>
  <Paragraphs>101</Paragraphs>
  <Slides>1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Verdana</vt:lpstr>
      <vt:lpstr>CircularXX Offc</vt:lpstr>
      <vt:lpstr>Gotham Rounded Book</vt:lpstr>
      <vt:lpstr>Gotham Rounded Medium</vt:lpstr>
      <vt:lpstr>Gotham Rounded Light</vt:lpstr>
      <vt:lpstr>Rambøll</vt:lpstr>
      <vt:lpstr>think-cell Slide</vt:lpstr>
      <vt:lpstr>CO2mpare</vt:lpstr>
      <vt:lpstr>Andreas Sørensen Digital Lead Sustainability Ramboll Buildings   </vt:lpstr>
      <vt:lpstr>Geographical footprint</vt:lpstr>
      <vt:lpstr>PowerPoint Presentation</vt:lpstr>
      <vt:lpstr>Ramboll’s Carbon Benchmarking Database</vt:lpstr>
      <vt:lpstr>PowerPoint Presentation</vt:lpstr>
      <vt:lpstr>Which life cycle stages are included in the scop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ding Thoughts</vt:lpstr>
      <vt:lpstr>w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ul Astle</dc:creator>
  <cp:lastModifiedBy>Andreas Sørensen</cp:lastModifiedBy>
  <cp:revision>3</cp:revision>
  <dcterms:created xsi:type="dcterms:W3CDTF">2024-08-16T07:40:49Z</dcterms:created>
  <dcterms:modified xsi:type="dcterms:W3CDTF">2024-09-17T14:35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F136C6A81D6FA419D9A6A4BD66761C4</vt:lpwstr>
  </property>
  <property fmtid="{D5CDD505-2E9C-101B-9397-08002B2CF9AE}" pid="3" name="MSIP_Label_459ef8e5-3aaa-41a0-b30c-a77b6f506147_Enabled">
    <vt:lpwstr>true</vt:lpwstr>
  </property>
  <property fmtid="{D5CDD505-2E9C-101B-9397-08002B2CF9AE}" pid="4" name="MSIP_Label_459ef8e5-3aaa-41a0-b30c-a77b6f506147_SetDate">
    <vt:lpwstr>2024-03-19T12:01:25Z</vt:lpwstr>
  </property>
  <property fmtid="{D5CDD505-2E9C-101B-9397-08002B2CF9AE}" pid="5" name="MSIP_Label_459ef8e5-3aaa-41a0-b30c-a77b6f506147_Method">
    <vt:lpwstr>Standard</vt:lpwstr>
  </property>
  <property fmtid="{D5CDD505-2E9C-101B-9397-08002B2CF9AE}" pid="6" name="MSIP_Label_459ef8e5-3aaa-41a0-b30c-a77b6f506147_Name">
    <vt:lpwstr>Internal</vt:lpwstr>
  </property>
  <property fmtid="{D5CDD505-2E9C-101B-9397-08002B2CF9AE}" pid="7" name="MSIP_Label_459ef8e5-3aaa-41a0-b30c-a77b6f506147_SiteId">
    <vt:lpwstr>9343c96b-27bb-4092-add6-977870612481</vt:lpwstr>
  </property>
  <property fmtid="{D5CDD505-2E9C-101B-9397-08002B2CF9AE}" pid="8" name="MSIP_Label_459ef8e5-3aaa-41a0-b30c-a77b6f506147_ActionId">
    <vt:lpwstr>f087f2c6-db2c-47ee-aaa5-6fc8269fc24e</vt:lpwstr>
  </property>
  <property fmtid="{D5CDD505-2E9C-101B-9397-08002B2CF9AE}" pid="9" name="MSIP_Label_459ef8e5-3aaa-41a0-b30c-a77b6f506147_ContentBits">
    <vt:lpwstr>0</vt:lpwstr>
  </property>
  <property fmtid="{D5CDD505-2E9C-101B-9397-08002B2CF9AE}" pid="10" name="TemplafyTimeStamp">
    <vt:lpwstr>2024-07-25T11:31:02</vt:lpwstr>
  </property>
  <property fmtid="{D5CDD505-2E9C-101B-9397-08002B2CF9AE}" pid="11" name="TemplafyTenantId">
    <vt:lpwstr>ramboll</vt:lpwstr>
  </property>
  <property fmtid="{D5CDD505-2E9C-101B-9397-08002B2CF9AE}" pid="12" name="TemplafyTemplateId">
    <vt:lpwstr>965919763211486024</vt:lpwstr>
  </property>
  <property fmtid="{D5CDD505-2E9C-101B-9397-08002B2CF9AE}" pid="13" name="TemplafyUserProfileId">
    <vt:lpwstr>637835489288277438</vt:lpwstr>
  </property>
  <property fmtid="{D5CDD505-2E9C-101B-9397-08002B2CF9AE}" pid="14" name="TemplafyLanguageCode">
    <vt:lpwstr>en-GB</vt:lpwstr>
  </property>
  <property fmtid="{D5CDD505-2E9C-101B-9397-08002B2CF9AE}" pid="15" name="BlankSelection">
    <vt:lpwstr>Ramboll</vt:lpwstr>
  </property>
  <property fmtid="{D5CDD505-2E9C-101B-9397-08002B2CF9AE}" pid="16" name="TemplafyFromBlank">
    <vt:bool>true</vt:bool>
  </property>
  <property fmtid="{D5CDD505-2E9C-101B-9397-08002B2CF9AE}" pid="17" name="Doc_AcceptedBy">
    <vt:lpwstr> </vt:lpwstr>
  </property>
  <property fmtid="{D5CDD505-2E9C-101B-9397-08002B2CF9AE}" pid="18" name="Doc_AcceptedDate">
    <vt:lpwstr> </vt:lpwstr>
  </property>
  <property fmtid="{D5CDD505-2E9C-101B-9397-08002B2CF9AE}" pid="19" name="Doc_ApprovedPublicationBy">
    <vt:lpwstr> </vt:lpwstr>
  </property>
  <property fmtid="{D5CDD505-2E9C-101B-9397-08002B2CF9AE}" pid="20" name="Doc_ApprovedPublicationDate">
    <vt:lpwstr> </vt:lpwstr>
  </property>
  <property fmtid="{D5CDD505-2E9C-101B-9397-08002B2CF9AE}" pid="21" name="Doc_ApprovedSharingBy">
    <vt:lpwstr> </vt:lpwstr>
  </property>
  <property fmtid="{D5CDD505-2E9C-101B-9397-08002B2CF9AE}" pid="22" name="Doc_ApprovedSharingDate">
    <vt:lpwstr> </vt:lpwstr>
  </property>
  <property fmtid="{D5CDD505-2E9C-101B-9397-08002B2CF9AE}" pid="23" name="Doc_CheckedBy">
    <vt:lpwstr> </vt:lpwstr>
  </property>
  <property fmtid="{D5CDD505-2E9C-101B-9397-08002B2CF9AE}" pid="24" name="Doc_CheckedDate">
    <vt:lpwstr> </vt:lpwstr>
  </property>
  <property fmtid="{D5CDD505-2E9C-101B-9397-08002B2CF9AE}" pid="25" name="Doc_Client">
    <vt:lpwstr> </vt:lpwstr>
  </property>
  <property fmtid="{D5CDD505-2E9C-101B-9397-08002B2CF9AE}" pid="26" name="Doc_DesignStatus">
    <vt:lpwstr> </vt:lpwstr>
  </property>
  <property fmtid="{D5CDD505-2E9C-101B-9397-08002B2CF9AE}" pid="27" name="Doc_DocNumber">
    <vt:lpwstr> </vt:lpwstr>
  </property>
  <property fmtid="{D5CDD505-2E9C-101B-9397-08002B2CF9AE}" pid="28" name="Doc_DocTitle1">
    <vt:lpwstr> </vt:lpwstr>
  </property>
  <property fmtid="{D5CDD505-2E9C-101B-9397-08002B2CF9AE}" pid="29" name="Doc_DocTitle2">
    <vt:lpwstr> </vt:lpwstr>
  </property>
  <property fmtid="{D5CDD505-2E9C-101B-9397-08002B2CF9AE}" pid="30" name="Doc_DocTitle3">
    <vt:lpwstr> </vt:lpwstr>
  </property>
  <property fmtid="{D5CDD505-2E9C-101B-9397-08002B2CF9AE}" pid="31" name="Doc_DocTitle4">
    <vt:lpwstr> </vt:lpwstr>
  </property>
  <property fmtid="{D5CDD505-2E9C-101B-9397-08002B2CF9AE}" pid="32" name="Doc_MaconomyID">
    <vt:lpwstr> </vt:lpwstr>
  </property>
  <property fmtid="{D5CDD505-2E9C-101B-9397-08002B2CF9AE}" pid="33" name="Doc_Originator">
    <vt:lpwstr> </vt:lpwstr>
  </property>
  <property fmtid="{D5CDD505-2E9C-101B-9397-08002B2CF9AE}" pid="34" name="Doc_PreparedBy">
    <vt:lpwstr> </vt:lpwstr>
  </property>
  <property fmtid="{D5CDD505-2E9C-101B-9397-08002B2CF9AE}" pid="35" name="Doc_PreparedDate">
    <vt:lpwstr> </vt:lpwstr>
  </property>
  <property fmtid="{D5CDD505-2E9C-101B-9397-08002B2CF9AE}" pid="36" name="Doc_ProjectName">
    <vt:lpwstr> </vt:lpwstr>
  </property>
  <property fmtid="{D5CDD505-2E9C-101B-9397-08002B2CF9AE}" pid="37" name="Doc_Revision">
    <vt:lpwstr> </vt:lpwstr>
  </property>
  <property fmtid="{D5CDD505-2E9C-101B-9397-08002B2CF9AE}" pid="38" name="Doc_Revision1">
    <vt:lpwstr> </vt:lpwstr>
  </property>
  <property fmtid="{D5CDD505-2E9C-101B-9397-08002B2CF9AE}" pid="39" name="Doc_Revision10">
    <vt:lpwstr> </vt:lpwstr>
  </property>
  <property fmtid="{D5CDD505-2E9C-101B-9397-08002B2CF9AE}" pid="40" name="Doc_Revision10ApprovedBy">
    <vt:lpwstr> </vt:lpwstr>
  </property>
  <property fmtid="{D5CDD505-2E9C-101B-9397-08002B2CF9AE}" pid="41" name="Doc_Revision10CheckedBy">
    <vt:lpwstr> </vt:lpwstr>
  </property>
  <property fmtid="{D5CDD505-2E9C-101B-9397-08002B2CF9AE}" pid="42" name="Doc_Revision10Date">
    <vt:lpwstr> </vt:lpwstr>
  </property>
  <property fmtid="{D5CDD505-2E9C-101B-9397-08002B2CF9AE}" pid="43" name="Doc_Revision10DesignedBy">
    <vt:lpwstr> </vt:lpwstr>
  </property>
  <property fmtid="{D5CDD505-2E9C-101B-9397-08002B2CF9AE}" pid="44" name="Doc_Revision10Note">
    <vt:lpwstr> </vt:lpwstr>
  </property>
  <property fmtid="{D5CDD505-2E9C-101B-9397-08002B2CF9AE}" pid="45" name="Doc_Revision10PreparedBy">
    <vt:lpwstr> </vt:lpwstr>
  </property>
  <property fmtid="{D5CDD505-2E9C-101B-9397-08002B2CF9AE}" pid="46" name="Doc_Revision11">
    <vt:lpwstr> </vt:lpwstr>
  </property>
  <property fmtid="{D5CDD505-2E9C-101B-9397-08002B2CF9AE}" pid="47" name="Doc_Revision11ApprovedBy">
    <vt:lpwstr> </vt:lpwstr>
  </property>
  <property fmtid="{D5CDD505-2E9C-101B-9397-08002B2CF9AE}" pid="48" name="Doc_Revision11CheckedBy">
    <vt:lpwstr> </vt:lpwstr>
  </property>
  <property fmtid="{D5CDD505-2E9C-101B-9397-08002B2CF9AE}" pid="49" name="Doc_Revision11Date">
    <vt:lpwstr> </vt:lpwstr>
  </property>
  <property fmtid="{D5CDD505-2E9C-101B-9397-08002B2CF9AE}" pid="50" name="Doc_Revision11DesignedBy">
    <vt:lpwstr> </vt:lpwstr>
  </property>
  <property fmtid="{D5CDD505-2E9C-101B-9397-08002B2CF9AE}" pid="51" name="Doc_Revision11Note">
    <vt:lpwstr> </vt:lpwstr>
  </property>
  <property fmtid="{D5CDD505-2E9C-101B-9397-08002B2CF9AE}" pid="52" name="Doc_Revision11PreparedBy">
    <vt:lpwstr> </vt:lpwstr>
  </property>
  <property fmtid="{D5CDD505-2E9C-101B-9397-08002B2CF9AE}" pid="53" name="Doc_Revision12">
    <vt:lpwstr> </vt:lpwstr>
  </property>
  <property fmtid="{D5CDD505-2E9C-101B-9397-08002B2CF9AE}" pid="54" name="Doc_Revision12ApprovedBy">
    <vt:lpwstr> </vt:lpwstr>
  </property>
  <property fmtid="{D5CDD505-2E9C-101B-9397-08002B2CF9AE}" pid="55" name="Doc_Revision12CheckedBy">
    <vt:lpwstr> </vt:lpwstr>
  </property>
  <property fmtid="{D5CDD505-2E9C-101B-9397-08002B2CF9AE}" pid="56" name="Doc_Revision12Date">
    <vt:lpwstr> </vt:lpwstr>
  </property>
  <property fmtid="{D5CDD505-2E9C-101B-9397-08002B2CF9AE}" pid="57" name="Doc_Revision12DesignedBy">
    <vt:lpwstr> </vt:lpwstr>
  </property>
  <property fmtid="{D5CDD505-2E9C-101B-9397-08002B2CF9AE}" pid="58" name="Doc_Revision12Note">
    <vt:lpwstr> </vt:lpwstr>
  </property>
  <property fmtid="{D5CDD505-2E9C-101B-9397-08002B2CF9AE}" pid="59" name="Doc_Revision12PreparedBy">
    <vt:lpwstr> </vt:lpwstr>
  </property>
  <property fmtid="{D5CDD505-2E9C-101B-9397-08002B2CF9AE}" pid="60" name="Doc_Revision1ApprovedBy">
    <vt:lpwstr> </vt:lpwstr>
  </property>
  <property fmtid="{D5CDD505-2E9C-101B-9397-08002B2CF9AE}" pid="61" name="Doc_Revision1CheckedBy">
    <vt:lpwstr> </vt:lpwstr>
  </property>
  <property fmtid="{D5CDD505-2E9C-101B-9397-08002B2CF9AE}" pid="62" name="Doc_Revision1Date">
    <vt:lpwstr> </vt:lpwstr>
  </property>
  <property fmtid="{D5CDD505-2E9C-101B-9397-08002B2CF9AE}" pid="63" name="Doc_Revision1DesignedBy">
    <vt:lpwstr> </vt:lpwstr>
  </property>
  <property fmtid="{D5CDD505-2E9C-101B-9397-08002B2CF9AE}" pid="64" name="Doc_Revision1Note">
    <vt:lpwstr> </vt:lpwstr>
  </property>
  <property fmtid="{D5CDD505-2E9C-101B-9397-08002B2CF9AE}" pid="65" name="Doc_Revision1PreparedBy">
    <vt:lpwstr> </vt:lpwstr>
  </property>
  <property fmtid="{D5CDD505-2E9C-101B-9397-08002B2CF9AE}" pid="66" name="Doc_Revision2">
    <vt:lpwstr> </vt:lpwstr>
  </property>
  <property fmtid="{D5CDD505-2E9C-101B-9397-08002B2CF9AE}" pid="67" name="Doc_Revision2ApprovedBy">
    <vt:lpwstr> </vt:lpwstr>
  </property>
  <property fmtid="{D5CDD505-2E9C-101B-9397-08002B2CF9AE}" pid="68" name="Doc_Revision2CheckedBy">
    <vt:lpwstr> </vt:lpwstr>
  </property>
  <property fmtid="{D5CDD505-2E9C-101B-9397-08002B2CF9AE}" pid="69" name="Doc_Revision2Date">
    <vt:lpwstr> </vt:lpwstr>
  </property>
  <property fmtid="{D5CDD505-2E9C-101B-9397-08002B2CF9AE}" pid="70" name="Doc_Revision2DesignedBy">
    <vt:lpwstr> </vt:lpwstr>
  </property>
  <property fmtid="{D5CDD505-2E9C-101B-9397-08002B2CF9AE}" pid="71" name="Doc_Revision2Note">
    <vt:lpwstr> </vt:lpwstr>
  </property>
  <property fmtid="{D5CDD505-2E9C-101B-9397-08002B2CF9AE}" pid="72" name="Doc_Revision2PreparedBy">
    <vt:lpwstr> </vt:lpwstr>
  </property>
  <property fmtid="{D5CDD505-2E9C-101B-9397-08002B2CF9AE}" pid="73" name="Doc_Revision3">
    <vt:lpwstr> </vt:lpwstr>
  </property>
  <property fmtid="{D5CDD505-2E9C-101B-9397-08002B2CF9AE}" pid="74" name="Doc_Revision3ApprovedBy">
    <vt:lpwstr> </vt:lpwstr>
  </property>
  <property fmtid="{D5CDD505-2E9C-101B-9397-08002B2CF9AE}" pid="75" name="Doc_Revision3CheckedBy">
    <vt:lpwstr> </vt:lpwstr>
  </property>
  <property fmtid="{D5CDD505-2E9C-101B-9397-08002B2CF9AE}" pid="76" name="Doc_Revision3Date">
    <vt:lpwstr> </vt:lpwstr>
  </property>
  <property fmtid="{D5CDD505-2E9C-101B-9397-08002B2CF9AE}" pid="77" name="Doc_Revision3DesignedBy">
    <vt:lpwstr> </vt:lpwstr>
  </property>
  <property fmtid="{D5CDD505-2E9C-101B-9397-08002B2CF9AE}" pid="78" name="Doc_Revision3Note">
    <vt:lpwstr> </vt:lpwstr>
  </property>
  <property fmtid="{D5CDD505-2E9C-101B-9397-08002B2CF9AE}" pid="79" name="Doc_Revision3PreparedBy">
    <vt:lpwstr> </vt:lpwstr>
  </property>
  <property fmtid="{D5CDD505-2E9C-101B-9397-08002B2CF9AE}" pid="80" name="Doc_Revision4">
    <vt:lpwstr> </vt:lpwstr>
  </property>
  <property fmtid="{D5CDD505-2E9C-101B-9397-08002B2CF9AE}" pid="81" name="Doc_Revision4ApprovedBy">
    <vt:lpwstr> </vt:lpwstr>
  </property>
  <property fmtid="{D5CDD505-2E9C-101B-9397-08002B2CF9AE}" pid="82" name="Doc_Revision4CheckedBy">
    <vt:lpwstr> </vt:lpwstr>
  </property>
  <property fmtid="{D5CDD505-2E9C-101B-9397-08002B2CF9AE}" pid="83" name="Doc_Revision4Date">
    <vt:lpwstr> </vt:lpwstr>
  </property>
  <property fmtid="{D5CDD505-2E9C-101B-9397-08002B2CF9AE}" pid="84" name="Doc_Revision4DesignedBy">
    <vt:lpwstr> </vt:lpwstr>
  </property>
  <property fmtid="{D5CDD505-2E9C-101B-9397-08002B2CF9AE}" pid="85" name="Doc_Revision4Note">
    <vt:lpwstr> </vt:lpwstr>
  </property>
  <property fmtid="{D5CDD505-2E9C-101B-9397-08002B2CF9AE}" pid="86" name="Doc_Revision4PreparedBy">
    <vt:lpwstr> </vt:lpwstr>
  </property>
  <property fmtid="{D5CDD505-2E9C-101B-9397-08002B2CF9AE}" pid="87" name="Doc_Revision5">
    <vt:lpwstr> </vt:lpwstr>
  </property>
  <property fmtid="{D5CDD505-2E9C-101B-9397-08002B2CF9AE}" pid="88" name="Doc_Revision5ApprovedBy">
    <vt:lpwstr> </vt:lpwstr>
  </property>
  <property fmtid="{D5CDD505-2E9C-101B-9397-08002B2CF9AE}" pid="89" name="Doc_Revision5CheckedBy">
    <vt:lpwstr> </vt:lpwstr>
  </property>
  <property fmtid="{D5CDD505-2E9C-101B-9397-08002B2CF9AE}" pid="90" name="Doc_Revision5Date">
    <vt:lpwstr> </vt:lpwstr>
  </property>
  <property fmtid="{D5CDD505-2E9C-101B-9397-08002B2CF9AE}" pid="91" name="Doc_Revision5DesignedBy">
    <vt:lpwstr> </vt:lpwstr>
  </property>
  <property fmtid="{D5CDD505-2E9C-101B-9397-08002B2CF9AE}" pid="92" name="Doc_Revision5Note">
    <vt:lpwstr> </vt:lpwstr>
  </property>
  <property fmtid="{D5CDD505-2E9C-101B-9397-08002B2CF9AE}" pid="93" name="Doc_Revision5PreparedBy">
    <vt:lpwstr> </vt:lpwstr>
  </property>
  <property fmtid="{D5CDD505-2E9C-101B-9397-08002B2CF9AE}" pid="94" name="Doc_Revision6">
    <vt:lpwstr> </vt:lpwstr>
  </property>
  <property fmtid="{D5CDD505-2E9C-101B-9397-08002B2CF9AE}" pid="95" name="Doc_Revision6ApprovedBy">
    <vt:lpwstr> </vt:lpwstr>
  </property>
  <property fmtid="{D5CDD505-2E9C-101B-9397-08002B2CF9AE}" pid="96" name="Doc_Revision6CheckedBy">
    <vt:lpwstr> </vt:lpwstr>
  </property>
  <property fmtid="{D5CDD505-2E9C-101B-9397-08002B2CF9AE}" pid="97" name="Doc_Revision6Date">
    <vt:lpwstr> </vt:lpwstr>
  </property>
  <property fmtid="{D5CDD505-2E9C-101B-9397-08002B2CF9AE}" pid="98" name="Doc_Revision6DesignedBy">
    <vt:lpwstr> </vt:lpwstr>
  </property>
  <property fmtid="{D5CDD505-2E9C-101B-9397-08002B2CF9AE}" pid="99" name="Doc_Revision6Note">
    <vt:lpwstr> </vt:lpwstr>
  </property>
  <property fmtid="{D5CDD505-2E9C-101B-9397-08002B2CF9AE}" pid="100" name="Doc_Revision6PreparedBy">
    <vt:lpwstr> </vt:lpwstr>
  </property>
  <property fmtid="{D5CDD505-2E9C-101B-9397-08002B2CF9AE}" pid="101" name="Doc_Revision7">
    <vt:lpwstr> </vt:lpwstr>
  </property>
  <property fmtid="{D5CDD505-2E9C-101B-9397-08002B2CF9AE}" pid="102" name="Doc_Revision7ApprovedBy">
    <vt:lpwstr> </vt:lpwstr>
  </property>
  <property fmtid="{D5CDD505-2E9C-101B-9397-08002B2CF9AE}" pid="103" name="Doc_Revision7CheckedBy">
    <vt:lpwstr> </vt:lpwstr>
  </property>
  <property fmtid="{D5CDD505-2E9C-101B-9397-08002B2CF9AE}" pid="104" name="Doc_Revision7Date">
    <vt:lpwstr> </vt:lpwstr>
  </property>
  <property fmtid="{D5CDD505-2E9C-101B-9397-08002B2CF9AE}" pid="105" name="Doc_Revision7DesignedBy">
    <vt:lpwstr> </vt:lpwstr>
  </property>
  <property fmtid="{D5CDD505-2E9C-101B-9397-08002B2CF9AE}" pid="106" name="Doc_Revision7Note">
    <vt:lpwstr> </vt:lpwstr>
  </property>
  <property fmtid="{D5CDD505-2E9C-101B-9397-08002B2CF9AE}" pid="107" name="Doc_Revision7PreparedBy">
    <vt:lpwstr> </vt:lpwstr>
  </property>
  <property fmtid="{D5CDD505-2E9C-101B-9397-08002B2CF9AE}" pid="108" name="Doc_Revision8">
    <vt:lpwstr> </vt:lpwstr>
  </property>
  <property fmtid="{D5CDD505-2E9C-101B-9397-08002B2CF9AE}" pid="109" name="Doc_Revision8ApprovedBy">
    <vt:lpwstr> </vt:lpwstr>
  </property>
  <property fmtid="{D5CDD505-2E9C-101B-9397-08002B2CF9AE}" pid="110" name="Doc_Revision8CheckedBy">
    <vt:lpwstr> </vt:lpwstr>
  </property>
  <property fmtid="{D5CDD505-2E9C-101B-9397-08002B2CF9AE}" pid="111" name="Doc_Revision8Date">
    <vt:lpwstr> </vt:lpwstr>
  </property>
  <property fmtid="{D5CDD505-2E9C-101B-9397-08002B2CF9AE}" pid="112" name="Doc_Revision8DesignedBy">
    <vt:lpwstr> </vt:lpwstr>
  </property>
  <property fmtid="{D5CDD505-2E9C-101B-9397-08002B2CF9AE}" pid="113" name="Doc_Revision8Note">
    <vt:lpwstr> </vt:lpwstr>
  </property>
  <property fmtid="{D5CDD505-2E9C-101B-9397-08002B2CF9AE}" pid="114" name="Doc_Revision8PreparedBy">
    <vt:lpwstr> </vt:lpwstr>
  </property>
  <property fmtid="{D5CDD505-2E9C-101B-9397-08002B2CF9AE}" pid="115" name="Doc_Revision9">
    <vt:lpwstr> </vt:lpwstr>
  </property>
  <property fmtid="{D5CDD505-2E9C-101B-9397-08002B2CF9AE}" pid="116" name="Doc_Revision9ApprovedBy">
    <vt:lpwstr> </vt:lpwstr>
  </property>
  <property fmtid="{D5CDD505-2E9C-101B-9397-08002B2CF9AE}" pid="117" name="Doc_Revision9CheckedBy">
    <vt:lpwstr> </vt:lpwstr>
  </property>
  <property fmtid="{D5CDD505-2E9C-101B-9397-08002B2CF9AE}" pid="118" name="Doc_Revision9Date">
    <vt:lpwstr> </vt:lpwstr>
  </property>
  <property fmtid="{D5CDD505-2E9C-101B-9397-08002B2CF9AE}" pid="119" name="Doc_Revision9DesignedBy">
    <vt:lpwstr> </vt:lpwstr>
  </property>
  <property fmtid="{D5CDD505-2E9C-101B-9397-08002B2CF9AE}" pid="120" name="Doc_Revision9Note">
    <vt:lpwstr> </vt:lpwstr>
  </property>
  <property fmtid="{D5CDD505-2E9C-101B-9397-08002B2CF9AE}" pid="121" name="Doc_Revision9PreparedBy">
    <vt:lpwstr> </vt:lpwstr>
  </property>
  <property fmtid="{D5CDD505-2E9C-101B-9397-08002B2CF9AE}" pid="122" name="Doc_RevisionNote">
    <vt:lpwstr> </vt:lpwstr>
  </property>
  <property fmtid="{D5CDD505-2E9C-101B-9397-08002B2CF9AE}" pid="123" name="Doc_SecurityClassification">
    <vt:lpwstr> </vt:lpwstr>
  </property>
  <property fmtid="{D5CDD505-2E9C-101B-9397-08002B2CF9AE}" pid="124" name="Doc_Suitability">
    <vt:lpwstr> </vt:lpwstr>
  </property>
  <property fmtid="{D5CDD505-2E9C-101B-9397-08002B2CF9AE}" pid="125" name="Doc_Unique_ProjectID">
    <vt:lpwstr> </vt:lpwstr>
  </property>
  <property fmtid="{D5CDD505-2E9C-101B-9397-08002B2CF9AE}" pid="126" name="Document_FileName">
    <vt:lpwstr> </vt:lpwstr>
  </property>
  <property fmtid="{D5CDD505-2E9C-101B-9397-08002B2CF9AE}" pid="127" name="Document_Name">
    <vt:lpwstr> </vt:lpwstr>
  </property>
  <property fmtid="{D5CDD505-2E9C-101B-9397-08002B2CF9AE}" pid="128" name="Document_Number">
    <vt:lpwstr> </vt:lpwstr>
  </property>
  <property fmtid="{D5CDD505-2E9C-101B-9397-08002B2CF9AE}" pid="129" name="Document_Version">
    <vt:lpwstr> </vt:lpwstr>
  </property>
  <property fmtid="{D5CDD505-2E9C-101B-9397-08002B2CF9AE}" pid="130" name="Document_VersionSeq">
    <vt:lpwstr> </vt:lpwstr>
  </property>
  <property fmtid="{D5CDD505-2E9C-101B-9397-08002B2CF9AE}" pid="131" name="Folder_Code">
    <vt:lpwstr> </vt:lpwstr>
  </property>
  <property fmtid="{D5CDD505-2E9C-101B-9397-08002B2CF9AE}" pid="132" name="Folder_CreateDate">
    <vt:lpwstr> </vt:lpwstr>
  </property>
  <property fmtid="{D5CDD505-2E9C-101B-9397-08002B2CF9AE}" pid="133" name="Folder_Creator">
    <vt:lpwstr> </vt:lpwstr>
  </property>
  <property fmtid="{D5CDD505-2E9C-101B-9397-08002B2CF9AE}" pid="134" name="Folder_CreatorDesc">
    <vt:lpwstr> </vt:lpwstr>
  </property>
  <property fmtid="{D5CDD505-2E9C-101B-9397-08002B2CF9AE}" pid="135" name="Folder_Description">
    <vt:lpwstr> </vt:lpwstr>
  </property>
  <property fmtid="{D5CDD505-2E9C-101B-9397-08002B2CF9AE}" pid="136" name="Folder_Manager">
    <vt:lpwstr> </vt:lpwstr>
  </property>
  <property fmtid="{D5CDD505-2E9C-101B-9397-08002B2CF9AE}" pid="137" name="Folder_ManagerDesc">
    <vt:lpwstr> </vt:lpwstr>
  </property>
  <property fmtid="{D5CDD505-2E9C-101B-9397-08002B2CF9AE}" pid="138" name="Folder_Name">
    <vt:lpwstr> </vt:lpwstr>
  </property>
  <property fmtid="{D5CDD505-2E9C-101B-9397-08002B2CF9AE}" pid="139" name="Folder_Number">
    <vt:lpwstr> </vt:lpwstr>
  </property>
  <property fmtid="{D5CDD505-2E9C-101B-9397-08002B2CF9AE}" pid="140" name="Folder_Storage">
    <vt:lpwstr> </vt:lpwstr>
  </property>
  <property fmtid="{D5CDD505-2E9C-101B-9397-08002B2CF9AE}" pid="141" name="Folder_StorageDesc">
    <vt:lpwstr> </vt:lpwstr>
  </property>
  <property fmtid="{D5CDD505-2E9C-101B-9397-08002B2CF9AE}" pid="142" name="Folder_UpdateDate">
    <vt:lpwstr> </vt:lpwstr>
  </property>
  <property fmtid="{D5CDD505-2E9C-101B-9397-08002B2CF9AE}" pid="143" name="Folder_UpdateDesc">
    <vt:lpwstr> </vt:lpwstr>
  </property>
  <property fmtid="{D5CDD505-2E9C-101B-9397-08002B2CF9AE}" pid="144" name="Folder_Updater">
    <vt:lpwstr> </vt:lpwstr>
  </property>
  <property fmtid="{D5CDD505-2E9C-101B-9397-08002B2CF9AE}" pid="145" name="Ram_Document_AltName_AltName">
    <vt:lpwstr> </vt:lpwstr>
  </property>
  <property fmtid="{D5CDD505-2E9C-101B-9397-08002B2CF9AE}" pid="146" name="Ram_Document_AltName_DocName">
    <vt:lpwstr> </vt:lpwstr>
  </property>
  <property fmtid="{D5CDD505-2E9C-101B-9397-08002B2CF9AE}" pid="147" name="Ram_Document_AltName_Part1">
    <vt:lpwstr> </vt:lpwstr>
  </property>
  <property fmtid="{D5CDD505-2E9C-101B-9397-08002B2CF9AE}" pid="148" name="Ram_Document_AltName_Part2">
    <vt:lpwstr> </vt:lpwstr>
  </property>
  <property fmtid="{D5CDD505-2E9C-101B-9397-08002B2CF9AE}" pid="149" name="Ram_Document_AltName_Part3">
    <vt:lpwstr> </vt:lpwstr>
  </property>
  <property fmtid="{D5CDD505-2E9C-101B-9397-08002B2CF9AE}" pid="150" name="Ram_Document_AltName_Part4">
    <vt:lpwstr> </vt:lpwstr>
  </property>
  <property fmtid="{D5CDD505-2E9C-101B-9397-08002B2CF9AE}" pid="151" name="Ram_Document_AltName_Part5">
    <vt:lpwstr> </vt:lpwstr>
  </property>
  <property fmtid="{D5CDD505-2E9C-101B-9397-08002B2CF9AE}" pid="152" name="Ram_Document_AltName_Part6">
    <vt:lpwstr> </vt:lpwstr>
  </property>
  <property fmtid="{D5CDD505-2E9C-101B-9397-08002B2CF9AE}" pid="153" name="Ram_Document_AltName_Part7">
    <vt:lpwstr> </vt:lpwstr>
  </property>
  <property fmtid="{D5CDD505-2E9C-101B-9397-08002B2CF9AE}" pid="154" name="Ram_Document_AltName_Part8">
    <vt:lpwstr> </vt:lpwstr>
  </property>
  <property fmtid="{D5CDD505-2E9C-101B-9397-08002B2CF9AE}" pid="155" name="Ram_Document_AltName_Part9">
    <vt:lpwstr> </vt:lpwstr>
  </property>
  <property fmtid="{D5CDD505-2E9C-101B-9397-08002B2CF9AE}" pid="156" name="Ram_Document_CustomerDocName">
    <vt:lpwstr> </vt:lpwstr>
  </property>
  <property fmtid="{D5CDD505-2E9C-101B-9397-08002B2CF9AE}" pid="157" name="Ram_Document_CustomerDocNumber">
    <vt:lpwstr> </vt:lpwstr>
  </property>
  <property fmtid="{D5CDD505-2E9C-101B-9397-08002B2CF9AE}" pid="158" name="Ram_Project_ClientName">
    <vt:lpwstr> </vt:lpwstr>
  </property>
  <property fmtid="{D5CDD505-2E9C-101B-9397-08002B2CF9AE}" pid="159" name="Ram_WorkArea_Client">
    <vt:lpwstr> </vt:lpwstr>
  </property>
  <property fmtid="{D5CDD505-2E9C-101B-9397-08002B2CF9AE}" pid="160" name="Ram_WorkArea_ProjectName">
    <vt:lpwstr> </vt:lpwstr>
  </property>
  <property fmtid="{D5CDD505-2E9C-101B-9397-08002B2CF9AE}" pid="161" name="Ram_Document_ApprovedBy">
    <vt:lpwstr> </vt:lpwstr>
  </property>
  <property fmtid="{D5CDD505-2E9C-101B-9397-08002B2CF9AE}" pid="162" name="Ram_Document_CheckedBy">
    <vt:lpwstr> </vt:lpwstr>
  </property>
  <property fmtid="{D5CDD505-2E9C-101B-9397-08002B2CF9AE}" pid="163" name="Ram_Document_Date">
    <vt:lpwstr> </vt:lpwstr>
  </property>
  <property fmtid="{D5CDD505-2E9C-101B-9397-08002B2CF9AE}" pid="164" name="Ram_Document_DocID">
    <vt:lpwstr> </vt:lpwstr>
  </property>
  <property fmtid="{D5CDD505-2E9C-101B-9397-08002B2CF9AE}" pid="165" name="Ram_Document_DocStructureID">
    <vt:lpwstr> </vt:lpwstr>
  </property>
  <property fmtid="{D5CDD505-2E9C-101B-9397-08002B2CF9AE}" pid="166" name="Ram_Document_PreparedBy">
    <vt:lpwstr> </vt:lpwstr>
  </property>
  <property fmtid="{D5CDD505-2E9C-101B-9397-08002B2CF9AE}" pid="167" name="Ram_Document_Title1">
    <vt:lpwstr> </vt:lpwstr>
  </property>
  <property fmtid="{D5CDD505-2E9C-101B-9397-08002B2CF9AE}" pid="168" name="Ram_Document_Title2">
    <vt:lpwstr> </vt:lpwstr>
  </property>
  <property fmtid="{D5CDD505-2E9C-101B-9397-08002B2CF9AE}" pid="169" name="Ram_Document_Version">
    <vt:lpwstr> </vt:lpwstr>
  </property>
  <property fmtid="{D5CDD505-2E9C-101B-9397-08002B2CF9AE}" pid="170" name="Ram_Document_VersionDescription">
    <vt:lpwstr> </vt:lpwstr>
  </property>
  <property fmtid="{D5CDD505-2E9C-101B-9397-08002B2CF9AE}" pid="171" name="Ram_Project_Name">
    <vt:lpwstr> </vt:lpwstr>
  </property>
  <property fmtid="{D5CDD505-2E9C-101B-9397-08002B2CF9AE}" pid="172" name="Ram_Project_Number">
    <vt:lpwstr> </vt:lpwstr>
  </property>
  <property fmtid="{D5CDD505-2E9C-101B-9397-08002B2CF9AE}" pid="173" name="Ram_Document_Project_Field1">
    <vt:lpwstr> </vt:lpwstr>
  </property>
  <property fmtid="{D5CDD505-2E9C-101B-9397-08002B2CF9AE}" pid="174" name="Ram_Document_Project_Field2">
    <vt:lpwstr> </vt:lpwstr>
  </property>
  <property fmtid="{D5CDD505-2E9C-101B-9397-08002B2CF9AE}" pid="175" name="Ram_Document_Project_Field3">
    <vt:lpwstr> </vt:lpwstr>
  </property>
  <property fmtid="{D5CDD505-2E9C-101B-9397-08002B2CF9AE}" pid="176" name="Ram_Document_PreparedBy_FullName">
    <vt:lpwstr> </vt:lpwstr>
  </property>
  <property fmtid="{D5CDD505-2E9C-101B-9397-08002B2CF9AE}" pid="177" name="Ram_Document_Client_Version">
    <vt:lpwstr> </vt:lpwstr>
  </property>
  <property fmtid="{D5CDD505-2E9C-101B-9397-08002B2CF9AE}" pid="178" name="Ram_Document_Client_Version_Description">
    <vt:lpwstr> </vt:lpwstr>
  </property>
  <property fmtid="{D5CDD505-2E9C-101B-9397-08002B2CF9AE}" pid="179" name="Ram_Document_URN">
    <vt:lpwstr> </vt:lpwstr>
  </property>
  <property fmtid="{D5CDD505-2E9C-101B-9397-08002B2CF9AE}" pid="180" name="Doc_CreatedDate">
    <vt:lpwstr> </vt:lpwstr>
  </property>
  <property fmtid="{D5CDD505-2E9C-101B-9397-08002B2CF9AE}" pid="181" name="Ram_Project_Manager">
    <vt:lpwstr> </vt:lpwstr>
  </property>
  <property fmtid="{D5CDD505-2E9C-101B-9397-08002B2CF9AE}" pid="182" name="Ram_WorkArea_MaconomyProjectID">
    <vt:lpwstr> </vt:lpwstr>
  </property>
  <property fmtid="{D5CDD505-2E9C-101B-9397-08002B2CF9AE}" pid="183" name="MSIP_Label_20ea7001-5c24-4702-a3ac-e436ccb02747_Enabled">
    <vt:lpwstr>true</vt:lpwstr>
  </property>
  <property fmtid="{D5CDD505-2E9C-101B-9397-08002B2CF9AE}" pid="184" name="MSIP_Label_20ea7001-5c24-4702-a3ac-e436ccb02747_SetDate">
    <vt:lpwstr>2024-08-17T20:31:39Z</vt:lpwstr>
  </property>
  <property fmtid="{D5CDD505-2E9C-101B-9397-08002B2CF9AE}" pid="185" name="MSIP_Label_20ea7001-5c24-4702-a3ac-e436ccb02747_Method">
    <vt:lpwstr>Standard</vt:lpwstr>
  </property>
  <property fmtid="{D5CDD505-2E9C-101B-9397-08002B2CF9AE}" pid="186" name="MSIP_Label_20ea7001-5c24-4702-a3ac-e436ccb02747_Name">
    <vt:lpwstr>Confidential</vt:lpwstr>
  </property>
  <property fmtid="{D5CDD505-2E9C-101B-9397-08002B2CF9AE}" pid="187" name="MSIP_Label_20ea7001-5c24-4702-a3ac-e436ccb02747_SiteId">
    <vt:lpwstr>c8823c91-be81-4f89-b024-6c3dd789c106</vt:lpwstr>
  </property>
  <property fmtid="{D5CDD505-2E9C-101B-9397-08002B2CF9AE}" pid="188" name="MSIP_Label_20ea7001-5c24-4702-a3ac-e436ccb02747_ActionId">
    <vt:lpwstr>6eb94362-e6dd-4c6a-a9c7-1604065c1140</vt:lpwstr>
  </property>
  <property fmtid="{D5CDD505-2E9C-101B-9397-08002B2CF9AE}" pid="189" name="MSIP_Label_20ea7001-5c24-4702-a3ac-e436ccb02747_ContentBits">
    <vt:lpwstr>2</vt:lpwstr>
  </property>
  <property fmtid="{D5CDD505-2E9C-101B-9397-08002B2CF9AE}" pid="190" name="MediaServiceImageTags">
    <vt:lpwstr/>
  </property>
</Properties>
</file>